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Lst>
  <p:notesMasterIdLst>
    <p:notesMasterId r:id="rId10"/>
  </p:notesMasterIdLst>
  <p:sldIdLst>
    <p:sldId id="2147482299" r:id="rId5"/>
    <p:sldId id="2147469068" r:id="rId6"/>
    <p:sldId id="2147482381" r:id="rId7"/>
    <p:sldId id="2147482379" r:id="rId8"/>
    <p:sldId id="214748238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pos="302" userDrawn="1">
          <p15:clr>
            <a:srgbClr val="A4A3A4"/>
          </p15:clr>
        </p15:guide>
        <p15:guide id="3" pos="7378" userDrawn="1">
          <p15:clr>
            <a:srgbClr val="A4A3A4"/>
          </p15:clr>
        </p15:guide>
        <p15:guide id="4" pos="4906" userDrawn="1">
          <p15:clr>
            <a:srgbClr val="A4A3A4"/>
          </p15:clr>
        </p15:guide>
        <p15:guide id="5" orient="horz" pos="3635" userDrawn="1">
          <p15:clr>
            <a:srgbClr val="A4A3A4"/>
          </p15:clr>
        </p15:guide>
        <p15:guide id="7" pos="687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AEBF00-EE2A-699B-AE1C-B6D6B42F9B0F}" name="Ninah Lloyd" initials="NL" userId="Ninah Lloyd" providerId="None"/>
  <p188:author id="{14F8CD3B-8F85-9FD7-4671-170B84D7F528}" name="Elaine Tucker" initials="ET" userId="S::elaine.tucker@heliosglobalgroup.com::13f030c2-6da1-4bda-83ad-fe9d3e8114db" providerId="AD"/>
  <p188:author id="{032E7244-2E8E-E8BA-5CF2-FB4F90FD86A9}" name="Beth Broughton" initials="BB" userId="Beth Broughton" providerId="None"/>
  <p188:author id="{AA2F2254-952E-BD80-59A6-4C5B39C69D18}" name="Stach-Klysh, Alexandra" initials="SA" userId="S::astachkl_amgen.com#ext#@azcollaboration.onmicrosoft.com::6347d076-27fb-4b5a-8b3c-dc545670d6e2" providerId="AD"/>
  <p188:author id="{94441E77-4D58-5641-CCFC-A5134C667192}" name="Jasmin Boyd" initials="JB" userId="S::jasmin.boyd@heliosmedcomms.com::e06334d6-8248-48d7-a577-bcb978da56eb" providerId="AD"/>
  <p188:author id="{997137A4-F3BA-D1F3-8AB7-788C19F4D47E}" name="Butylkova, Katia" initials="BK" userId="S::ybutylko_amgen.com#ext#@azcollaboration.onmicrosoft.com::928b97cf-daa7-43db-99fe-ab0f2651eb98" providerId="AD"/>
  <p188:author id="{B3F472B4-2A88-10EF-3F3B-6532E09A6ECA}" name="Helios Medical Communications" initials="HMC" userId="Helios Medical Communications" providerId="None"/>
  <p188:author id="{5F76A2C4-85E1-F716-862A-DD03CEE78D4F}" name="Simran Grewal" initials="SG" userId="Simran Grewal" providerId="None"/>
  <p188:author id="{5C6422E9-3901-F121-E940-18222ED5E4CA}" name="Sam Clark" initials="SC" userId="S::Sam.Clark@heliosmedcomms.com::a192b0f1-c447-4dab-9cde-37b58498411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EE6F4"/>
    <a:srgbClr val="E9F6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4660"/>
  </p:normalViewPr>
  <p:slideViewPr>
    <p:cSldViewPr snapToGrid="0">
      <p:cViewPr varScale="1">
        <p:scale>
          <a:sx n="107" d="100"/>
          <a:sy n="107" d="100"/>
        </p:scale>
        <p:origin x="684" y="96"/>
      </p:cViewPr>
      <p:guideLst>
        <p:guide orient="horz" pos="890"/>
        <p:guide pos="302"/>
        <p:guide pos="7378"/>
        <p:guide pos="4906"/>
        <p:guide orient="horz" pos="3635"/>
        <p:guide pos="687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openxmlformats.org/officeDocument/2006/relationships/customXml" Target="../customXml/item4.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Kennedy" userId="8c4356c8-5755-4235-8f48-53cfcafdda76" providerId="ADAL" clId="{48E931CE-EC05-4DE9-8925-627329A31DBD}"/>
    <pc:docChg chg="undo redo custSel modSld modMainMaster">
      <pc:chgData name="James Kennedy" userId="8c4356c8-5755-4235-8f48-53cfcafdda76" providerId="ADAL" clId="{48E931CE-EC05-4DE9-8925-627329A31DBD}" dt="2026-03-26T13:59:44.727" v="553" actId="20577"/>
      <pc:docMkLst>
        <pc:docMk/>
      </pc:docMkLst>
      <pc:sldChg chg="addSp delSp modSp mod chgLayout">
        <pc:chgData name="James Kennedy" userId="8c4356c8-5755-4235-8f48-53cfcafdda76" providerId="ADAL" clId="{48E931CE-EC05-4DE9-8925-627329A31DBD}" dt="2026-03-26T13:59:19.279" v="539" actId="404"/>
        <pc:sldMkLst>
          <pc:docMk/>
          <pc:sldMk cId="1765956324" sldId="2147469068"/>
        </pc:sldMkLst>
        <pc:spChg chg="mod ord">
          <ac:chgData name="James Kennedy" userId="8c4356c8-5755-4235-8f48-53cfcafdda76" providerId="ADAL" clId="{48E931CE-EC05-4DE9-8925-627329A31DBD}" dt="2026-03-26T11:34:09.348" v="1" actId="6264"/>
          <ac:spMkLst>
            <pc:docMk/>
            <pc:sldMk cId="1765956324" sldId="2147469068"/>
            <ac:spMk id="2" creationId="{A365A930-61E0-53F8-1A17-54CD68CBD995}"/>
          </ac:spMkLst>
        </pc:spChg>
      </pc:sldChg>
      <pc:sldChg chg="addSp delSp modSp mod chgLayout">
        <pc:chgData name="James Kennedy" userId="8c4356c8-5755-4235-8f48-53cfcafdda76" providerId="ADAL" clId="{48E931CE-EC05-4DE9-8925-627329A31DBD}" dt="2026-03-26T13:59:27.652" v="543" actId="404"/>
        <pc:sldMkLst>
          <pc:docMk/>
          <pc:sldMk cId="1220059720" sldId="2147482379"/>
        </pc:sldMkLst>
        <pc:spChg chg="mod ord">
          <ac:chgData name="James Kennedy" userId="8c4356c8-5755-4235-8f48-53cfcafdda76" providerId="ADAL" clId="{48E931CE-EC05-4DE9-8925-627329A31DBD}" dt="2026-03-26T12:18:32.846" v="509" actId="6264"/>
          <ac:spMkLst>
            <pc:docMk/>
            <pc:sldMk cId="1220059720" sldId="2147482379"/>
            <ac:spMk id="2" creationId="{F72CBBBD-0BB1-A80C-CD0D-7520D1CAEE7A}"/>
          </ac:spMkLst>
        </pc:spChg>
        <pc:spChg chg="mod">
          <ac:chgData name="James Kennedy" userId="8c4356c8-5755-4235-8f48-53cfcafdda76" providerId="ADAL" clId="{48E931CE-EC05-4DE9-8925-627329A31DBD}" dt="2026-03-26T11:45:43.085" v="68" actId="553"/>
          <ac:spMkLst>
            <pc:docMk/>
            <pc:sldMk cId="1220059720" sldId="2147482379"/>
            <ac:spMk id="6" creationId="{1E11B23F-0822-4ED3-0404-553306D73229}"/>
          </ac:spMkLst>
        </pc:spChg>
        <pc:spChg chg="mod">
          <ac:chgData name="James Kennedy" userId="8c4356c8-5755-4235-8f48-53cfcafdda76" providerId="ADAL" clId="{48E931CE-EC05-4DE9-8925-627329A31DBD}" dt="2026-03-26T11:45:07.018" v="63" actId="554"/>
          <ac:spMkLst>
            <pc:docMk/>
            <pc:sldMk cId="1220059720" sldId="2147482379"/>
            <ac:spMk id="7" creationId="{96315F34-0215-FD4F-4684-A2E32AFD1BE4}"/>
          </ac:spMkLst>
        </pc:spChg>
        <pc:spChg chg="mod">
          <ac:chgData name="James Kennedy" userId="8c4356c8-5755-4235-8f48-53cfcafdda76" providerId="ADAL" clId="{48E931CE-EC05-4DE9-8925-627329A31DBD}" dt="2026-03-26T11:52:47.352" v="158" actId="12788"/>
          <ac:spMkLst>
            <pc:docMk/>
            <pc:sldMk cId="1220059720" sldId="2147482379"/>
            <ac:spMk id="8" creationId="{F21623E8-C687-A949-DABF-F942C9A8681E}"/>
          </ac:spMkLst>
        </pc:spChg>
        <pc:spChg chg="add mod">
          <ac:chgData name="James Kennedy" userId="8c4356c8-5755-4235-8f48-53cfcafdda76" providerId="ADAL" clId="{48E931CE-EC05-4DE9-8925-627329A31DBD}" dt="2026-03-26T11:44:58.726" v="60" actId="553"/>
          <ac:spMkLst>
            <pc:docMk/>
            <pc:sldMk cId="1220059720" sldId="2147482379"/>
            <ac:spMk id="9" creationId="{F69EAB0C-5FAB-24C6-CFEF-57F443239B34}"/>
          </ac:spMkLst>
        </pc:spChg>
        <pc:spChg chg="add mod ord">
          <ac:chgData name="James Kennedy" userId="8c4356c8-5755-4235-8f48-53cfcafdda76" providerId="ADAL" clId="{48E931CE-EC05-4DE9-8925-627329A31DBD}" dt="2026-03-26T11:54:57.214" v="214" actId="12788"/>
          <ac:spMkLst>
            <pc:docMk/>
            <pc:sldMk cId="1220059720" sldId="2147482379"/>
            <ac:spMk id="13" creationId="{2DB06C64-A498-82AD-4F20-FDA6702D5CD6}"/>
          </ac:spMkLst>
        </pc:spChg>
        <pc:spChg chg="mod topLvl">
          <ac:chgData name="James Kennedy" userId="8c4356c8-5755-4235-8f48-53cfcafdda76" providerId="ADAL" clId="{48E931CE-EC05-4DE9-8925-627329A31DBD}" dt="2026-03-26T11:56:23.876" v="250" actId="12788"/>
          <ac:spMkLst>
            <pc:docMk/>
            <pc:sldMk cId="1220059720" sldId="2147482379"/>
            <ac:spMk id="15" creationId="{E5172AF9-40DB-AD8C-0190-99AC85C72445}"/>
          </ac:spMkLst>
        </pc:spChg>
        <pc:spChg chg="mod topLvl">
          <ac:chgData name="James Kennedy" userId="8c4356c8-5755-4235-8f48-53cfcafdda76" providerId="ADAL" clId="{48E931CE-EC05-4DE9-8925-627329A31DBD}" dt="2026-03-26T11:56:20.646" v="249" actId="12788"/>
          <ac:spMkLst>
            <pc:docMk/>
            <pc:sldMk cId="1220059720" sldId="2147482379"/>
            <ac:spMk id="16" creationId="{DC99CF7F-1D42-B095-235A-3A0E365F035E}"/>
          </ac:spMkLst>
        </pc:spChg>
        <pc:spChg chg="mod">
          <ac:chgData name="James Kennedy" userId="8c4356c8-5755-4235-8f48-53cfcafdda76" providerId="ADAL" clId="{48E931CE-EC05-4DE9-8925-627329A31DBD}" dt="2026-03-26T11:54:56.897" v="207" actId="1076"/>
          <ac:spMkLst>
            <pc:docMk/>
            <pc:sldMk cId="1220059720" sldId="2147482379"/>
            <ac:spMk id="22" creationId="{FF605EFB-648A-0D5A-B9C5-CC879DB837BB}"/>
          </ac:spMkLst>
        </pc:spChg>
        <pc:spChg chg="mod">
          <ac:chgData name="James Kennedy" userId="8c4356c8-5755-4235-8f48-53cfcafdda76" providerId="ADAL" clId="{48E931CE-EC05-4DE9-8925-627329A31DBD}" dt="2026-03-26T11:54:56.897" v="207" actId="1076"/>
          <ac:spMkLst>
            <pc:docMk/>
            <pc:sldMk cId="1220059720" sldId="2147482379"/>
            <ac:spMk id="23" creationId="{201CFC27-5F7F-F573-9F1E-D9927646B855}"/>
          </ac:spMkLst>
        </pc:spChg>
        <pc:spChg chg="mod">
          <ac:chgData name="James Kennedy" userId="8c4356c8-5755-4235-8f48-53cfcafdda76" providerId="ADAL" clId="{48E931CE-EC05-4DE9-8925-627329A31DBD}" dt="2026-03-26T11:57:07.937" v="260" actId="1076"/>
          <ac:spMkLst>
            <pc:docMk/>
            <pc:sldMk cId="1220059720" sldId="2147482379"/>
            <ac:spMk id="25" creationId="{4C90F3A7-CC84-1C24-E79A-81F2CE41E87F}"/>
          </ac:spMkLst>
        </pc:spChg>
        <pc:spChg chg="mod">
          <ac:chgData name="James Kennedy" userId="8c4356c8-5755-4235-8f48-53cfcafdda76" providerId="ADAL" clId="{48E931CE-EC05-4DE9-8925-627329A31DBD}" dt="2026-03-26T11:55:39.088" v="233" actId="164"/>
          <ac:spMkLst>
            <pc:docMk/>
            <pc:sldMk cId="1220059720" sldId="2147482379"/>
            <ac:spMk id="26" creationId="{D7955DA3-EEA5-8D2A-F476-D54A7FC1DD04}"/>
          </ac:spMkLst>
        </pc:spChg>
        <pc:spChg chg="mod">
          <ac:chgData name="James Kennedy" userId="8c4356c8-5755-4235-8f48-53cfcafdda76" providerId="ADAL" clId="{48E931CE-EC05-4DE9-8925-627329A31DBD}" dt="2026-03-26T11:55:39.088" v="233" actId="164"/>
          <ac:spMkLst>
            <pc:docMk/>
            <pc:sldMk cId="1220059720" sldId="2147482379"/>
            <ac:spMk id="27" creationId="{9AF830FE-DFF0-8E81-A9C4-13060F92530A}"/>
          </ac:spMkLst>
        </pc:spChg>
        <pc:spChg chg="mod topLvl">
          <ac:chgData name="James Kennedy" userId="8c4356c8-5755-4235-8f48-53cfcafdda76" providerId="ADAL" clId="{48E931CE-EC05-4DE9-8925-627329A31DBD}" dt="2026-03-26T11:56:57.471" v="258" actId="165"/>
          <ac:spMkLst>
            <pc:docMk/>
            <pc:sldMk cId="1220059720" sldId="2147482379"/>
            <ac:spMk id="33" creationId="{E4A97F5E-AA0E-26E6-1766-2EC7ACC5F1D9}"/>
          </ac:spMkLst>
        </pc:spChg>
        <pc:spChg chg="mod topLvl">
          <ac:chgData name="James Kennedy" userId="8c4356c8-5755-4235-8f48-53cfcafdda76" providerId="ADAL" clId="{48E931CE-EC05-4DE9-8925-627329A31DBD}" dt="2026-03-26T11:57:11.685" v="261" actId="1076"/>
          <ac:spMkLst>
            <pc:docMk/>
            <pc:sldMk cId="1220059720" sldId="2147482379"/>
            <ac:spMk id="35" creationId="{AD711FB8-E4EC-E698-B74D-73A08807F299}"/>
          </ac:spMkLst>
        </pc:spChg>
        <pc:spChg chg="add mod">
          <ac:chgData name="James Kennedy" userId="8c4356c8-5755-4235-8f48-53cfcafdda76" providerId="ADAL" clId="{48E931CE-EC05-4DE9-8925-627329A31DBD}" dt="2026-03-26T11:57:19.565" v="263" actId="12788"/>
          <ac:spMkLst>
            <pc:docMk/>
            <pc:sldMk cId="1220059720" sldId="2147482379"/>
            <ac:spMk id="38" creationId="{9FED3872-AD50-6792-1A2B-204F6EB61078}"/>
          </ac:spMkLst>
        </pc:spChg>
        <pc:spChg chg="add mod">
          <ac:chgData name="James Kennedy" userId="8c4356c8-5755-4235-8f48-53cfcafdda76" providerId="ADAL" clId="{48E931CE-EC05-4DE9-8925-627329A31DBD}" dt="2026-03-26T11:57:17.505" v="262" actId="12788"/>
          <ac:spMkLst>
            <pc:docMk/>
            <pc:sldMk cId="1220059720" sldId="2147482379"/>
            <ac:spMk id="39" creationId="{31A4988C-30A4-910B-6691-2731D66133C9}"/>
          </ac:spMkLst>
        </pc:spChg>
        <pc:spChg chg="add mod ord">
          <ac:chgData name="James Kennedy" userId="8c4356c8-5755-4235-8f48-53cfcafdda76" providerId="ADAL" clId="{48E931CE-EC05-4DE9-8925-627329A31DBD}" dt="2026-03-26T13:59:27.652" v="543" actId="404"/>
          <ac:spMkLst>
            <pc:docMk/>
            <pc:sldMk cId="1220059720" sldId="2147482379"/>
            <ac:spMk id="41" creationId="{7FBF0174-D94B-03DF-8497-9388426085FB}"/>
          </ac:spMkLst>
        </pc:spChg>
        <pc:grpChg chg="add mod">
          <ac:chgData name="James Kennedy" userId="8c4356c8-5755-4235-8f48-53cfcafdda76" providerId="ADAL" clId="{48E931CE-EC05-4DE9-8925-627329A31DBD}" dt="2026-03-26T11:57:19.565" v="263" actId="12788"/>
          <ac:grpSpMkLst>
            <pc:docMk/>
            <pc:sldMk cId="1220059720" sldId="2147482379"/>
            <ac:grpSpMk id="31" creationId="{46D7A425-8E63-DFB5-DE7E-1CA8171BB274}"/>
          </ac:grpSpMkLst>
        </pc:grpChg>
        <pc:picChg chg="mod topLvl">
          <ac:chgData name="James Kennedy" userId="8c4356c8-5755-4235-8f48-53cfcafdda76" providerId="ADAL" clId="{48E931CE-EC05-4DE9-8925-627329A31DBD}" dt="2026-03-26T11:56:23.876" v="250" actId="12788"/>
          <ac:picMkLst>
            <pc:docMk/>
            <pc:sldMk cId="1220059720" sldId="2147482379"/>
            <ac:picMk id="10" creationId="{E859FF91-5655-949B-8280-94434B190EAC}"/>
          </ac:picMkLst>
        </pc:picChg>
        <pc:picChg chg="mod topLvl">
          <ac:chgData name="James Kennedy" userId="8c4356c8-5755-4235-8f48-53cfcafdda76" providerId="ADAL" clId="{48E931CE-EC05-4DE9-8925-627329A31DBD}" dt="2026-03-26T11:56:20.646" v="249" actId="12788"/>
          <ac:picMkLst>
            <pc:docMk/>
            <pc:sldMk cId="1220059720" sldId="2147482379"/>
            <ac:picMk id="11" creationId="{541A6A45-4AF5-FEE3-2832-4492E0C82F73}"/>
          </ac:picMkLst>
        </pc:picChg>
        <pc:picChg chg="mod">
          <ac:chgData name="James Kennedy" userId="8c4356c8-5755-4235-8f48-53cfcafdda76" providerId="ADAL" clId="{48E931CE-EC05-4DE9-8925-627329A31DBD}" dt="2026-03-26T11:56:41.156" v="252" actId="14100"/>
          <ac:picMkLst>
            <pc:docMk/>
            <pc:sldMk cId="1220059720" sldId="2147482379"/>
            <ac:picMk id="28" creationId="{FDA63538-3407-5C11-8030-05CCC354EDE2}"/>
          </ac:picMkLst>
        </pc:picChg>
        <pc:picChg chg="mod topLvl">
          <ac:chgData name="James Kennedy" userId="8c4356c8-5755-4235-8f48-53cfcafdda76" providerId="ADAL" clId="{48E931CE-EC05-4DE9-8925-627329A31DBD}" dt="2026-03-26T11:57:17.505" v="262" actId="12788"/>
          <ac:picMkLst>
            <pc:docMk/>
            <pc:sldMk cId="1220059720" sldId="2147482379"/>
            <ac:picMk id="36" creationId="{1A1C6A4F-65B2-775B-D486-8DE0F745D43E}"/>
          </ac:picMkLst>
        </pc:picChg>
        <pc:cxnChg chg="mod">
          <ac:chgData name="James Kennedy" userId="8c4356c8-5755-4235-8f48-53cfcafdda76" providerId="ADAL" clId="{48E931CE-EC05-4DE9-8925-627329A31DBD}" dt="2026-03-26T11:57:07.937" v="260" actId="1076"/>
          <ac:cxnSpMkLst>
            <pc:docMk/>
            <pc:sldMk cId="1220059720" sldId="2147482379"/>
            <ac:cxnSpMk id="24" creationId="{58A91093-5010-3EC1-A151-F62361DA2359}"/>
          </ac:cxnSpMkLst>
        </pc:cxnChg>
        <pc:cxnChg chg="mod topLvl">
          <ac:chgData name="James Kennedy" userId="8c4356c8-5755-4235-8f48-53cfcafdda76" providerId="ADAL" clId="{48E931CE-EC05-4DE9-8925-627329A31DBD}" dt="2026-03-26T11:56:57.471" v="258" actId="165"/>
          <ac:cxnSpMkLst>
            <pc:docMk/>
            <pc:sldMk cId="1220059720" sldId="2147482379"/>
            <ac:cxnSpMk id="32" creationId="{EAF66A0F-382E-AB88-2D8E-1C3255CFD6FB}"/>
          </ac:cxnSpMkLst>
        </pc:cxnChg>
        <pc:cxnChg chg="mod topLvl">
          <ac:chgData name="James Kennedy" userId="8c4356c8-5755-4235-8f48-53cfcafdda76" providerId="ADAL" clId="{48E931CE-EC05-4DE9-8925-627329A31DBD}" dt="2026-03-26T11:57:11.685" v="261" actId="1076"/>
          <ac:cxnSpMkLst>
            <pc:docMk/>
            <pc:sldMk cId="1220059720" sldId="2147482379"/>
            <ac:cxnSpMk id="34" creationId="{693C9951-742E-F1B4-D10C-8809CB3E2B11}"/>
          </ac:cxnSpMkLst>
        </pc:cxnChg>
      </pc:sldChg>
      <pc:sldChg chg="addSp delSp modSp mod chgLayout">
        <pc:chgData name="James Kennedy" userId="8c4356c8-5755-4235-8f48-53cfcafdda76" providerId="ADAL" clId="{48E931CE-EC05-4DE9-8925-627329A31DBD}" dt="2026-03-26T13:59:44.727" v="553" actId="20577"/>
        <pc:sldMkLst>
          <pc:docMk/>
          <pc:sldMk cId="3455731704" sldId="2147482381"/>
        </pc:sldMkLst>
        <pc:spChg chg="mod ord">
          <ac:chgData name="James Kennedy" userId="8c4356c8-5755-4235-8f48-53cfcafdda76" providerId="ADAL" clId="{48E931CE-EC05-4DE9-8925-627329A31DBD}" dt="2026-03-26T12:18:22.826" v="505" actId="6264"/>
          <ac:spMkLst>
            <pc:docMk/>
            <pc:sldMk cId="3455731704" sldId="2147482381"/>
            <ac:spMk id="2" creationId="{9B2E0106-BD72-63DF-1CCB-9AF810B0235F}"/>
          </ac:spMkLst>
        </pc:spChg>
        <pc:spChg chg="mod">
          <ac:chgData name="James Kennedy" userId="8c4356c8-5755-4235-8f48-53cfcafdda76" providerId="ADAL" clId="{48E931CE-EC05-4DE9-8925-627329A31DBD}" dt="2026-03-26T11:48:54.428" v="109" actId="552"/>
          <ac:spMkLst>
            <pc:docMk/>
            <pc:sldMk cId="3455731704" sldId="2147482381"/>
            <ac:spMk id="5" creationId="{4CBD2883-A364-E282-6E0B-8E850287A0D5}"/>
          </ac:spMkLst>
        </pc:spChg>
        <pc:spChg chg="mod">
          <ac:chgData name="James Kennedy" userId="8c4356c8-5755-4235-8f48-53cfcafdda76" providerId="ADAL" clId="{48E931CE-EC05-4DE9-8925-627329A31DBD}" dt="2026-03-26T11:48:59.029" v="112" actId="12788"/>
          <ac:spMkLst>
            <pc:docMk/>
            <pc:sldMk cId="3455731704" sldId="2147482381"/>
            <ac:spMk id="7" creationId="{860FC995-09F2-82E1-4872-5B34471E8D70}"/>
          </ac:spMkLst>
        </pc:spChg>
        <pc:spChg chg="mod ord">
          <ac:chgData name="James Kennedy" userId="8c4356c8-5755-4235-8f48-53cfcafdda76" providerId="ADAL" clId="{48E931CE-EC05-4DE9-8925-627329A31DBD}" dt="2026-03-26T11:48:59.029" v="112" actId="12788"/>
          <ac:spMkLst>
            <pc:docMk/>
            <pc:sldMk cId="3455731704" sldId="2147482381"/>
            <ac:spMk id="8" creationId="{B02CA59F-95DB-3AAC-1067-FEC3F63B7560}"/>
          </ac:spMkLst>
        </pc:spChg>
        <pc:spChg chg="add mod ord">
          <ac:chgData name="James Kennedy" userId="8c4356c8-5755-4235-8f48-53cfcafdda76" providerId="ADAL" clId="{48E931CE-EC05-4DE9-8925-627329A31DBD}" dt="2026-03-26T13:59:44.727" v="553" actId="20577"/>
          <ac:spMkLst>
            <pc:docMk/>
            <pc:sldMk cId="3455731704" sldId="2147482381"/>
            <ac:spMk id="9" creationId="{03DC9221-BC05-62AB-D649-A90C7547D732}"/>
          </ac:spMkLst>
        </pc:spChg>
        <pc:spChg chg="mod topLvl">
          <ac:chgData name="James Kennedy" userId="8c4356c8-5755-4235-8f48-53cfcafdda76" providerId="ADAL" clId="{48E931CE-EC05-4DE9-8925-627329A31DBD}" dt="2026-03-26T11:42:40.468" v="14" actId="165"/>
          <ac:spMkLst>
            <pc:docMk/>
            <pc:sldMk cId="3455731704" sldId="2147482381"/>
            <ac:spMk id="31" creationId="{48E0A47A-2E33-EBEC-7C5A-A9DB8CFC75BC}"/>
          </ac:spMkLst>
        </pc:spChg>
        <pc:spChg chg="mod">
          <ac:chgData name="James Kennedy" userId="8c4356c8-5755-4235-8f48-53cfcafdda76" providerId="ADAL" clId="{48E931CE-EC05-4DE9-8925-627329A31DBD}" dt="2026-03-26T11:48:59.029" v="112" actId="12788"/>
          <ac:spMkLst>
            <pc:docMk/>
            <pc:sldMk cId="3455731704" sldId="2147482381"/>
            <ac:spMk id="32" creationId="{51B8E336-4823-084D-153E-A6F0F249E90C}"/>
          </ac:spMkLst>
        </pc:spChg>
        <pc:spChg chg="mod ord">
          <ac:chgData name="James Kennedy" userId="8c4356c8-5755-4235-8f48-53cfcafdda76" providerId="ADAL" clId="{48E931CE-EC05-4DE9-8925-627329A31DBD}" dt="2026-03-26T11:48:50.799" v="106" actId="553"/>
          <ac:spMkLst>
            <pc:docMk/>
            <pc:sldMk cId="3455731704" sldId="2147482381"/>
            <ac:spMk id="33" creationId="{F10E97AC-F93F-83E0-EC4F-D3926226B104}"/>
          </ac:spMkLst>
        </pc:spChg>
        <pc:spChg chg="mod ord">
          <ac:chgData name="James Kennedy" userId="8c4356c8-5755-4235-8f48-53cfcafdda76" providerId="ADAL" clId="{48E931CE-EC05-4DE9-8925-627329A31DBD}" dt="2026-03-26T11:47:44.534" v="88" actId="167"/>
          <ac:spMkLst>
            <pc:docMk/>
            <pc:sldMk cId="3455731704" sldId="2147482381"/>
            <ac:spMk id="36" creationId="{E38B46D8-F31C-A97E-E657-E443BFDE3AE6}"/>
          </ac:spMkLst>
        </pc:spChg>
        <pc:spChg chg="mod">
          <ac:chgData name="James Kennedy" userId="8c4356c8-5755-4235-8f48-53cfcafdda76" providerId="ADAL" clId="{48E931CE-EC05-4DE9-8925-627329A31DBD}" dt="2026-03-26T11:47:08.338" v="76" actId="1076"/>
          <ac:spMkLst>
            <pc:docMk/>
            <pc:sldMk cId="3455731704" sldId="2147482381"/>
            <ac:spMk id="39" creationId="{554E9DFA-47FC-85E2-E5A9-496E57A5D43A}"/>
          </ac:spMkLst>
        </pc:spChg>
        <pc:spChg chg="mod">
          <ac:chgData name="James Kennedy" userId="8c4356c8-5755-4235-8f48-53cfcafdda76" providerId="ADAL" clId="{48E931CE-EC05-4DE9-8925-627329A31DBD}" dt="2026-03-26T11:42:48.327" v="21" actId="1035"/>
          <ac:spMkLst>
            <pc:docMk/>
            <pc:sldMk cId="3455731704" sldId="2147482381"/>
            <ac:spMk id="45" creationId="{65B628D0-8A74-5AE3-B2B7-0A43F531C8A3}"/>
          </ac:spMkLst>
        </pc:spChg>
        <pc:spChg chg="mod">
          <ac:chgData name="James Kennedy" userId="8c4356c8-5755-4235-8f48-53cfcafdda76" providerId="ADAL" clId="{48E931CE-EC05-4DE9-8925-627329A31DBD}" dt="2026-03-26T11:47:08.338" v="76" actId="1076"/>
          <ac:spMkLst>
            <pc:docMk/>
            <pc:sldMk cId="3455731704" sldId="2147482381"/>
            <ac:spMk id="46" creationId="{8325C585-74F1-F9C1-5EEB-DDB7AD22DBA7}"/>
          </ac:spMkLst>
        </pc:spChg>
        <pc:spChg chg="mod">
          <ac:chgData name="James Kennedy" userId="8c4356c8-5755-4235-8f48-53cfcafdda76" providerId="ADAL" clId="{48E931CE-EC05-4DE9-8925-627329A31DBD}" dt="2026-03-26T11:42:34.668" v="13" actId="2711"/>
          <ac:spMkLst>
            <pc:docMk/>
            <pc:sldMk cId="3455731704" sldId="2147482381"/>
            <ac:spMk id="63" creationId="{F1A76BCB-1729-8A9D-E818-9F8B39F49997}"/>
          </ac:spMkLst>
        </pc:spChg>
        <pc:spChg chg="mod">
          <ac:chgData name="James Kennedy" userId="8c4356c8-5755-4235-8f48-53cfcafdda76" providerId="ADAL" clId="{48E931CE-EC05-4DE9-8925-627329A31DBD}" dt="2026-03-26T11:48:50.799" v="106" actId="553"/>
          <ac:spMkLst>
            <pc:docMk/>
            <pc:sldMk cId="3455731704" sldId="2147482381"/>
            <ac:spMk id="102" creationId="{E36EF91B-14A5-FF70-F227-70F298E48B85}"/>
          </ac:spMkLst>
        </pc:spChg>
        <pc:spChg chg="mod">
          <ac:chgData name="James Kennedy" userId="8c4356c8-5755-4235-8f48-53cfcafdda76" providerId="ADAL" clId="{48E931CE-EC05-4DE9-8925-627329A31DBD}" dt="2026-03-26T11:47:35.228" v="85" actId="1036"/>
          <ac:spMkLst>
            <pc:docMk/>
            <pc:sldMk cId="3455731704" sldId="2147482381"/>
            <ac:spMk id="113" creationId="{33FDAC10-6048-E43D-2A08-873C4EF2C355}"/>
          </ac:spMkLst>
        </pc:spChg>
        <pc:spChg chg="mod">
          <ac:chgData name="James Kennedy" userId="8c4356c8-5755-4235-8f48-53cfcafdda76" providerId="ADAL" clId="{48E931CE-EC05-4DE9-8925-627329A31DBD}" dt="2026-03-26T11:47:35.228" v="85" actId="1036"/>
          <ac:spMkLst>
            <pc:docMk/>
            <pc:sldMk cId="3455731704" sldId="2147482381"/>
            <ac:spMk id="114" creationId="{4B3BDC19-634E-FA55-B13F-7E37EF1D573C}"/>
          </ac:spMkLst>
        </pc:spChg>
        <pc:spChg chg="mod">
          <ac:chgData name="James Kennedy" userId="8c4356c8-5755-4235-8f48-53cfcafdda76" providerId="ADAL" clId="{48E931CE-EC05-4DE9-8925-627329A31DBD}" dt="2026-03-26T11:42:48.327" v="21" actId="1035"/>
          <ac:spMkLst>
            <pc:docMk/>
            <pc:sldMk cId="3455731704" sldId="2147482381"/>
            <ac:spMk id="121" creationId="{ED481378-762E-F03E-6399-5251205FD807}"/>
          </ac:spMkLst>
        </pc:spChg>
        <pc:spChg chg="mod">
          <ac:chgData name="James Kennedy" userId="8c4356c8-5755-4235-8f48-53cfcafdda76" providerId="ADAL" clId="{48E931CE-EC05-4DE9-8925-627329A31DBD}" dt="2026-03-26T11:42:48.327" v="21" actId="1035"/>
          <ac:spMkLst>
            <pc:docMk/>
            <pc:sldMk cId="3455731704" sldId="2147482381"/>
            <ac:spMk id="122" creationId="{366B0887-3E37-C8FB-138C-4E53BDA3698A}"/>
          </ac:spMkLst>
        </pc:spChg>
        <pc:spChg chg="mod">
          <ac:chgData name="James Kennedy" userId="8c4356c8-5755-4235-8f48-53cfcafdda76" providerId="ADAL" clId="{48E931CE-EC05-4DE9-8925-627329A31DBD}" dt="2026-03-26T11:42:34.668" v="13" actId="2711"/>
          <ac:spMkLst>
            <pc:docMk/>
            <pc:sldMk cId="3455731704" sldId="2147482381"/>
            <ac:spMk id="130" creationId="{B523C453-2A2A-4F46-9841-1AEFCD1226CF}"/>
          </ac:spMkLst>
        </pc:spChg>
        <pc:spChg chg="mod">
          <ac:chgData name="James Kennedy" userId="8c4356c8-5755-4235-8f48-53cfcafdda76" providerId="ADAL" clId="{48E931CE-EC05-4DE9-8925-627329A31DBD}" dt="2026-03-26T11:42:34.668" v="13" actId="2711"/>
          <ac:spMkLst>
            <pc:docMk/>
            <pc:sldMk cId="3455731704" sldId="2147482381"/>
            <ac:spMk id="178" creationId="{CE79B6B1-61DC-8CE4-4B8B-FDB43EC256BF}"/>
          </ac:spMkLst>
        </pc:spChg>
        <pc:spChg chg="mod topLvl">
          <ac:chgData name="James Kennedy" userId="8c4356c8-5755-4235-8f48-53cfcafdda76" providerId="ADAL" clId="{48E931CE-EC05-4DE9-8925-627329A31DBD}" dt="2026-03-26T11:42:40.468" v="14" actId="165"/>
          <ac:spMkLst>
            <pc:docMk/>
            <pc:sldMk cId="3455731704" sldId="2147482381"/>
            <ac:spMk id="228" creationId="{8FEA6EBE-1B04-8EE3-0016-28EA1A2D2DBB}"/>
          </ac:spMkLst>
        </pc:spChg>
        <pc:spChg chg="mod topLvl">
          <ac:chgData name="James Kennedy" userId="8c4356c8-5755-4235-8f48-53cfcafdda76" providerId="ADAL" clId="{48E931CE-EC05-4DE9-8925-627329A31DBD}" dt="2026-03-26T11:42:40.468" v="14" actId="165"/>
          <ac:spMkLst>
            <pc:docMk/>
            <pc:sldMk cId="3455731704" sldId="2147482381"/>
            <ac:spMk id="229" creationId="{4B0605AE-81F7-EF90-5F8F-77ECC692A2E4}"/>
          </ac:spMkLst>
        </pc:spChg>
        <pc:spChg chg="mod">
          <ac:chgData name="James Kennedy" userId="8c4356c8-5755-4235-8f48-53cfcafdda76" providerId="ADAL" clId="{48E931CE-EC05-4DE9-8925-627329A31DBD}" dt="2026-03-26T11:42:26.439" v="12" actId="1076"/>
          <ac:spMkLst>
            <pc:docMk/>
            <pc:sldMk cId="3455731704" sldId="2147482381"/>
            <ac:spMk id="231" creationId="{CF806807-A3B9-CB44-413C-76E71538CA20}"/>
          </ac:spMkLst>
        </pc:spChg>
        <pc:spChg chg="mod ord topLvl">
          <ac:chgData name="James Kennedy" userId="8c4356c8-5755-4235-8f48-53cfcafdda76" providerId="ADAL" clId="{48E931CE-EC05-4DE9-8925-627329A31DBD}" dt="2026-03-26T11:48:22.413" v="98" actId="167"/>
          <ac:spMkLst>
            <pc:docMk/>
            <pc:sldMk cId="3455731704" sldId="2147482381"/>
            <ac:spMk id="234" creationId="{7C2001E4-E709-399B-A2CB-B9853ACC13DA}"/>
          </ac:spMkLst>
        </pc:spChg>
        <pc:spChg chg="mod ord topLvl">
          <ac:chgData name="James Kennedy" userId="8c4356c8-5755-4235-8f48-53cfcafdda76" providerId="ADAL" clId="{48E931CE-EC05-4DE9-8925-627329A31DBD}" dt="2026-03-26T11:48:22.413" v="98" actId="167"/>
          <ac:spMkLst>
            <pc:docMk/>
            <pc:sldMk cId="3455731704" sldId="2147482381"/>
            <ac:spMk id="235" creationId="{BC6A4024-60FB-DF99-3A0B-745FE4F9955F}"/>
          </ac:spMkLst>
        </pc:spChg>
        <pc:spChg chg="mod topLvl">
          <ac:chgData name="James Kennedy" userId="8c4356c8-5755-4235-8f48-53cfcafdda76" providerId="ADAL" clId="{48E931CE-EC05-4DE9-8925-627329A31DBD}" dt="2026-03-26T11:47:08.338" v="76" actId="1076"/>
          <ac:spMkLst>
            <pc:docMk/>
            <pc:sldMk cId="3455731704" sldId="2147482381"/>
            <ac:spMk id="240" creationId="{3DC70796-BAD8-7EAE-9E40-FB32AE65379C}"/>
          </ac:spMkLst>
        </pc:spChg>
        <pc:spChg chg="mod topLvl">
          <ac:chgData name="James Kennedy" userId="8c4356c8-5755-4235-8f48-53cfcafdda76" providerId="ADAL" clId="{48E931CE-EC05-4DE9-8925-627329A31DBD}" dt="2026-03-26T11:47:08.338" v="76" actId="1076"/>
          <ac:spMkLst>
            <pc:docMk/>
            <pc:sldMk cId="3455731704" sldId="2147482381"/>
            <ac:spMk id="241" creationId="{2F5657FA-A238-3CA6-3E7F-520D83DF178E}"/>
          </ac:spMkLst>
        </pc:spChg>
        <pc:spChg chg="mod">
          <ac:chgData name="James Kennedy" userId="8c4356c8-5755-4235-8f48-53cfcafdda76" providerId="ADAL" clId="{48E931CE-EC05-4DE9-8925-627329A31DBD}" dt="2026-03-26T11:42:40.468" v="14" actId="165"/>
          <ac:spMkLst>
            <pc:docMk/>
            <pc:sldMk cId="3455731704" sldId="2147482381"/>
            <ac:spMk id="244" creationId="{AF687280-4E1B-C153-6D4F-AFA7814BBE0D}"/>
          </ac:spMkLst>
        </pc:spChg>
        <pc:spChg chg="mod">
          <ac:chgData name="James Kennedy" userId="8c4356c8-5755-4235-8f48-53cfcafdda76" providerId="ADAL" clId="{48E931CE-EC05-4DE9-8925-627329A31DBD}" dt="2026-03-26T11:42:34.668" v="13" actId="2711"/>
          <ac:spMkLst>
            <pc:docMk/>
            <pc:sldMk cId="3455731704" sldId="2147482381"/>
            <ac:spMk id="249" creationId="{3EAD3D2D-B2D9-BDBD-1604-5ED5DD80BCCE}"/>
          </ac:spMkLst>
        </pc:spChg>
        <pc:spChg chg="mod">
          <ac:chgData name="James Kennedy" userId="8c4356c8-5755-4235-8f48-53cfcafdda76" providerId="ADAL" clId="{48E931CE-EC05-4DE9-8925-627329A31DBD}" dt="2026-03-26T11:42:40.468" v="14" actId="165"/>
          <ac:spMkLst>
            <pc:docMk/>
            <pc:sldMk cId="3455731704" sldId="2147482381"/>
            <ac:spMk id="251" creationId="{1C7AA2AA-4195-1DCD-5366-7D0C4BAEF60A}"/>
          </ac:spMkLst>
        </pc:spChg>
        <pc:spChg chg="mod">
          <ac:chgData name="James Kennedy" userId="8c4356c8-5755-4235-8f48-53cfcafdda76" providerId="ADAL" clId="{48E931CE-EC05-4DE9-8925-627329A31DBD}" dt="2026-03-26T11:42:34.668" v="13" actId="2711"/>
          <ac:spMkLst>
            <pc:docMk/>
            <pc:sldMk cId="3455731704" sldId="2147482381"/>
            <ac:spMk id="262" creationId="{44F47493-4DA5-07D0-D006-0D142289B31F}"/>
          </ac:spMkLst>
        </pc:spChg>
        <pc:spChg chg="mod">
          <ac:chgData name="James Kennedy" userId="8c4356c8-5755-4235-8f48-53cfcafdda76" providerId="ADAL" clId="{48E931CE-EC05-4DE9-8925-627329A31DBD}" dt="2026-03-26T11:42:34.668" v="13" actId="2711"/>
          <ac:spMkLst>
            <pc:docMk/>
            <pc:sldMk cId="3455731704" sldId="2147482381"/>
            <ac:spMk id="264" creationId="{6AAA191A-AE01-4FBF-AAE1-981C71DF25A1}"/>
          </ac:spMkLst>
        </pc:spChg>
        <pc:spChg chg="mod">
          <ac:chgData name="James Kennedy" userId="8c4356c8-5755-4235-8f48-53cfcafdda76" providerId="ADAL" clId="{48E931CE-EC05-4DE9-8925-627329A31DBD}" dt="2026-03-26T11:48:54.428" v="109" actId="552"/>
          <ac:spMkLst>
            <pc:docMk/>
            <pc:sldMk cId="3455731704" sldId="2147482381"/>
            <ac:spMk id="265" creationId="{CC893648-9F30-904E-0E10-A52411C1F14E}"/>
          </ac:spMkLst>
        </pc:spChg>
        <pc:spChg chg="mod">
          <ac:chgData name="James Kennedy" userId="8c4356c8-5755-4235-8f48-53cfcafdda76" providerId="ADAL" clId="{48E931CE-EC05-4DE9-8925-627329A31DBD}" dt="2026-03-26T11:47:35.228" v="85" actId="1036"/>
          <ac:spMkLst>
            <pc:docMk/>
            <pc:sldMk cId="3455731704" sldId="2147482381"/>
            <ac:spMk id="336" creationId="{105AA22D-37E6-72E4-74B1-48BCCB529AC1}"/>
          </ac:spMkLst>
        </pc:spChg>
        <pc:spChg chg="mod">
          <ac:chgData name="James Kennedy" userId="8c4356c8-5755-4235-8f48-53cfcafdda76" providerId="ADAL" clId="{48E931CE-EC05-4DE9-8925-627329A31DBD}" dt="2026-03-26T11:47:35.228" v="85" actId="1036"/>
          <ac:spMkLst>
            <pc:docMk/>
            <pc:sldMk cId="3455731704" sldId="2147482381"/>
            <ac:spMk id="337" creationId="{DD9C62F3-89DE-A258-218E-5AF916ABDD32}"/>
          </ac:spMkLst>
        </pc:spChg>
        <pc:spChg chg="mod ord topLvl">
          <ac:chgData name="James Kennedy" userId="8c4356c8-5755-4235-8f48-53cfcafdda76" providerId="ADAL" clId="{48E931CE-EC05-4DE9-8925-627329A31DBD}" dt="2026-03-26T11:48:22.413" v="98" actId="167"/>
          <ac:spMkLst>
            <pc:docMk/>
            <pc:sldMk cId="3455731704" sldId="2147482381"/>
            <ac:spMk id="342" creationId="{06888742-54FF-09FD-375D-6AD3FCD8FFA0}"/>
          </ac:spMkLst>
        </pc:spChg>
        <pc:spChg chg="mod ord">
          <ac:chgData name="James Kennedy" userId="8c4356c8-5755-4235-8f48-53cfcafdda76" providerId="ADAL" clId="{48E931CE-EC05-4DE9-8925-627329A31DBD}" dt="2026-03-26T11:48:22.413" v="98" actId="167"/>
          <ac:spMkLst>
            <pc:docMk/>
            <pc:sldMk cId="3455731704" sldId="2147482381"/>
            <ac:spMk id="343" creationId="{A3632402-F617-72BB-1B1A-B80DFD22B3CA}"/>
          </ac:spMkLst>
        </pc:spChg>
        <pc:spChg chg="mod ord">
          <ac:chgData name="James Kennedy" userId="8c4356c8-5755-4235-8f48-53cfcafdda76" providerId="ADAL" clId="{48E931CE-EC05-4DE9-8925-627329A31DBD}" dt="2026-03-26T11:47:44.534" v="88" actId="167"/>
          <ac:spMkLst>
            <pc:docMk/>
            <pc:sldMk cId="3455731704" sldId="2147482381"/>
            <ac:spMk id="355" creationId="{339146DE-AA95-A029-70F9-A851B72117C5}"/>
          </ac:spMkLst>
        </pc:spChg>
        <pc:spChg chg="mod ord">
          <ac:chgData name="James Kennedy" userId="8c4356c8-5755-4235-8f48-53cfcafdda76" providerId="ADAL" clId="{48E931CE-EC05-4DE9-8925-627329A31DBD}" dt="2026-03-26T11:47:44.534" v="88" actId="167"/>
          <ac:spMkLst>
            <pc:docMk/>
            <pc:sldMk cId="3455731704" sldId="2147482381"/>
            <ac:spMk id="356" creationId="{A0FAF8B8-87FC-5BB4-0A9E-BECEAED68BDE}"/>
          </ac:spMkLst>
        </pc:spChg>
        <pc:grpChg chg="mod">
          <ac:chgData name="James Kennedy" userId="8c4356c8-5755-4235-8f48-53cfcafdda76" providerId="ADAL" clId="{48E931CE-EC05-4DE9-8925-627329A31DBD}" dt="2026-03-26T11:47:26.616" v="82" actId="555"/>
          <ac:grpSpMkLst>
            <pc:docMk/>
            <pc:sldMk cId="3455731704" sldId="2147482381"/>
            <ac:grpSpMk id="29" creationId="{E83DECB7-1916-FF50-6C4F-5C58E662723B}"/>
          </ac:grpSpMkLst>
        </pc:grpChg>
        <pc:cxnChg chg="mod">
          <ac:chgData name="James Kennedy" userId="8c4356c8-5755-4235-8f48-53cfcafdda76" providerId="ADAL" clId="{48E931CE-EC05-4DE9-8925-627329A31DBD}" dt="2026-03-26T11:48:17.843" v="97" actId="12788"/>
          <ac:cxnSpMkLst>
            <pc:docMk/>
            <pc:sldMk cId="3455731704" sldId="2147482381"/>
            <ac:cxnSpMk id="25" creationId="{9D50D503-8B89-E07E-86B9-451128893B94}"/>
          </ac:cxnSpMkLst>
        </pc:cxnChg>
        <pc:cxnChg chg="mod">
          <ac:chgData name="James Kennedy" userId="8c4356c8-5755-4235-8f48-53cfcafdda76" providerId="ADAL" clId="{48E931CE-EC05-4DE9-8925-627329A31DBD}" dt="2026-03-26T11:48:12.944" v="96" actId="12788"/>
          <ac:cxnSpMkLst>
            <pc:docMk/>
            <pc:sldMk cId="3455731704" sldId="2147482381"/>
            <ac:cxnSpMk id="28" creationId="{195DBAD5-AC93-EE87-AB6E-B3A350E83DCA}"/>
          </ac:cxnSpMkLst>
        </pc:cxnChg>
        <pc:cxnChg chg="mod">
          <ac:chgData name="James Kennedy" userId="8c4356c8-5755-4235-8f48-53cfcafdda76" providerId="ADAL" clId="{48E931CE-EC05-4DE9-8925-627329A31DBD}" dt="2026-03-26T11:48:17.843" v="97" actId="12788"/>
          <ac:cxnSpMkLst>
            <pc:docMk/>
            <pc:sldMk cId="3455731704" sldId="2147482381"/>
            <ac:cxnSpMk id="238" creationId="{9E14D407-B485-0DDF-A4BB-9BF6D9F5380F}"/>
          </ac:cxnSpMkLst>
        </pc:cxnChg>
        <pc:cxnChg chg="mod">
          <ac:chgData name="James Kennedy" userId="8c4356c8-5755-4235-8f48-53cfcafdda76" providerId="ADAL" clId="{48E931CE-EC05-4DE9-8925-627329A31DBD}" dt="2026-03-26T11:48:12.944" v="96" actId="12788"/>
          <ac:cxnSpMkLst>
            <pc:docMk/>
            <pc:sldMk cId="3455731704" sldId="2147482381"/>
            <ac:cxnSpMk id="239" creationId="{A00C8722-CFB7-9D56-B7B9-18BA4733015C}"/>
          </ac:cxnSpMkLst>
        </pc:cxnChg>
        <pc:cxnChg chg="mod ord">
          <ac:chgData name="James Kennedy" userId="8c4356c8-5755-4235-8f48-53cfcafdda76" providerId="ADAL" clId="{48E931CE-EC05-4DE9-8925-627329A31DBD}" dt="2026-03-26T11:48:25.943" v="99" actId="167"/>
          <ac:cxnSpMkLst>
            <pc:docMk/>
            <pc:sldMk cId="3455731704" sldId="2147482381"/>
            <ac:cxnSpMk id="340" creationId="{0EE991E2-96C4-09F5-E5D4-6746ED462296}"/>
          </ac:cxnSpMkLst>
        </pc:cxnChg>
        <pc:cxnChg chg="mod ord">
          <ac:chgData name="James Kennedy" userId="8c4356c8-5755-4235-8f48-53cfcafdda76" providerId="ADAL" clId="{48E931CE-EC05-4DE9-8925-627329A31DBD}" dt="2026-03-26T11:48:25.943" v="99" actId="167"/>
          <ac:cxnSpMkLst>
            <pc:docMk/>
            <pc:sldMk cId="3455731704" sldId="2147482381"/>
            <ac:cxnSpMk id="341" creationId="{FE6E418B-0185-9E98-D17F-8F978C5AD2F7}"/>
          </ac:cxnSpMkLst>
        </pc:cxnChg>
        <pc:cxnChg chg="mod">
          <ac:chgData name="James Kennedy" userId="8c4356c8-5755-4235-8f48-53cfcafdda76" providerId="ADAL" clId="{48E931CE-EC05-4DE9-8925-627329A31DBD}" dt="2026-03-26T11:48:09.476" v="95" actId="12788"/>
          <ac:cxnSpMkLst>
            <pc:docMk/>
            <pc:sldMk cId="3455731704" sldId="2147482381"/>
            <ac:cxnSpMk id="344" creationId="{3268E76D-B1A3-5BE4-E5F3-9FC7C1AC09C9}"/>
          </ac:cxnSpMkLst>
        </pc:cxnChg>
        <pc:cxnChg chg="mod">
          <ac:chgData name="James Kennedy" userId="8c4356c8-5755-4235-8f48-53cfcafdda76" providerId="ADAL" clId="{48E931CE-EC05-4DE9-8925-627329A31DBD}" dt="2026-03-26T11:48:04.799" v="93" actId="12788"/>
          <ac:cxnSpMkLst>
            <pc:docMk/>
            <pc:sldMk cId="3455731704" sldId="2147482381"/>
            <ac:cxnSpMk id="345" creationId="{C1FC975A-7771-DE9C-007E-6BD86A630F5F}"/>
          </ac:cxnSpMkLst>
        </pc:cxnChg>
        <pc:cxnChg chg="ord">
          <ac:chgData name="James Kennedy" userId="8c4356c8-5755-4235-8f48-53cfcafdda76" providerId="ADAL" clId="{48E931CE-EC05-4DE9-8925-627329A31DBD}" dt="2026-03-26T11:47:48.360" v="89" actId="167"/>
          <ac:cxnSpMkLst>
            <pc:docMk/>
            <pc:sldMk cId="3455731704" sldId="2147482381"/>
            <ac:cxnSpMk id="353" creationId="{98F958BC-B128-B883-3168-19BD680C69BF}"/>
          </ac:cxnSpMkLst>
        </pc:cxnChg>
        <pc:cxnChg chg="ord">
          <ac:chgData name="James Kennedy" userId="8c4356c8-5755-4235-8f48-53cfcafdda76" providerId="ADAL" clId="{48E931CE-EC05-4DE9-8925-627329A31DBD}" dt="2026-03-26T11:47:48.360" v="89" actId="167"/>
          <ac:cxnSpMkLst>
            <pc:docMk/>
            <pc:sldMk cId="3455731704" sldId="2147482381"/>
            <ac:cxnSpMk id="354" creationId="{52C4E351-B6FB-1AF2-AB24-3CF42253929A}"/>
          </ac:cxnSpMkLst>
        </pc:cxnChg>
      </pc:sldChg>
      <pc:sldChg chg="addSp delSp modSp mod chgLayout">
        <pc:chgData name="James Kennedy" userId="8c4356c8-5755-4235-8f48-53cfcafdda76" providerId="ADAL" clId="{48E931CE-EC05-4DE9-8925-627329A31DBD}" dt="2026-03-26T13:59:34.934" v="547" actId="20577"/>
        <pc:sldMkLst>
          <pc:docMk/>
          <pc:sldMk cId="2078397052" sldId="2147482384"/>
        </pc:sldMkLst>
        <pc:spChg chg="add mod ord">
          <ac:chgData name="James Kennedy" userId="8c4356c8-5755-4235-8f48-53cfcafdda76" providerId="ADAL" clId="{48E931CE-EC05-4DE9-8925-627329A31DBD}" dt="2026-03-26T12:10:31.873" v="383" actId="14100"/>
          <ac:spMkLst>
            <pc:docMk/>
            <pc:sldMk cId="2078397052" sldId="2147482384"/>
            <ac:spMk id="2" creationId="{F629B511-AB5F-9FF1-72DC-62301BCA2B38}"/>
          </ac:spMkLst>
        </pc:spChg>
        <pc:spChg chg="mod ord">
          <ac:chgData name="James Kennedy" userId="8c4356c8-5755-4235-8f48-53cfcafdda76" providerId="ADAL" clId="{48E931CE-EC05-4DE9-8925-627329A31DBD}" dt="2026-03-26T12:18:50.295" v="517" actId="20577"/>
          <ac:spMkLst>
            <pc:docMk/>
            <pc:sldMk cId="2078397052" sldId="2147482384"/>
            <ac:spMk id="7" creationId="{C605D5B4-55D2-A5D3-5924-DD51B50EEA55}"/>
          </ac:spMkLst>
        </pc:spChg>
        <pc:spChg chg="mod topLvl">
          <ac:chgData name="James Kennedy" userId="8c4356c8-5755-4235-8f48-53cfcafdda76" providerId="ADAL" clId="{48E931CE-EC05-4DE9-8925-627329A31DBD}" dt="2026-03-26T12:09:56.472" v="368" actId="1076"/>
          <ac:spMkLst>
            <pc:docMk/>
            <pc:sldMk cId="2078397052" sldId="2147482384"/>
            <ac:spMk id="9" creationId="{F88830F3-A5F3-7EC2-83D7-ABD330E11216}"/>
          </ac:spMkLst>
        </pc:spChg>
        <pc:spChg chg="mod">
          <ac:chgData name="James Kennedy" userId="8c4356c8-5755-4235-8f48-53cfcafdda76" providerId="ADAL" clId="{48E931CE-EC05-4DE9-8925-627329A31DBD}" dt="2026-03-26T12:08:56.620" v="351" actId="552"/>
          <ac:spMkLst>
            <pc:docMk/>
            <pc:sldMk cId="2078397052" sldId="2147482384"/>
            <ac:spMk id="11" creationId="{D84AEDB9-E0BC-989C-20D7-FF27921FB0BE}"/>
          </ac:spMkLst>
        </pc:spChg>
        <pc:spChg chg="mod">
          <ac:chgData name="James Kennedy" userId="8c4356c8-5755-4235-8f48-53cfcafdda76" providerId="ADAL" clId="{48E931CE-EC05-4DE9-8925-627329A31DBD}" dt="2026-03-26T12:10:31.873" v="383" actId="14100"/>
          <ac:spMkLst>
            <pc:docMk/>
            <pc:sldMk cId="2078397052" sldId="2147482384"/>
            <ac:spMk id="32" creationId="{F8CF3639-B3CA-96AD-E509-20B8E73FA05A}"/>
          </ac:spMkLst>
        </pc:spChg>
        <pc:spChg chg="mod">
          <ac:chgData name="James Kennedy" userId="8c4356c8-5755-4235-8f48-53cfcafdda76" providerId="ADAL" clId="{48E931CE-EC05-4DE9-8925-627329A31DBD}" dt="2026-03-26T12:03:14.760" v="282" actId="164"/>
          <ac:spMkLst>
            <pc:docMk/>
            <pc:sldMk cId="2078397052" sldId="2147482384"/>
            <ac:spMk id="41" creationId="{6F0177E1-2650-6A4D-FED7-C933D38B8C5B}"/>
          </ac:spMkLst>
        </pc:spChg>
        <pc:spChg chg="mod">
          <ac:chgData name="James Kennedy" userId="8c4356c8-5755-4235-8f48-53cfcafdda76" providerId="ADAL" clId="{48E931CE-EC05-4DE9-8925-627329A31DBD}" dt="2026-03-26T12:03:14.760" v="282" actId="164"/>
          <ac:spMkLst>
            <pc:docMk/>
            <pc:sldMk cId="2078397052" sldId="2147482384"/>
            <ac:spMk id="50" creationId="{2AE30682-50CE-8FF5-2F27-48C340575C15}"/>
          </ac:spMkLst>
        </pc:spChg>
        <pc:spChg chg="mod">
          <ac:chgData name="James Kennedy" userId="8c4356c8-5755-4235-8f48-53cfcafdda76" providerId="ADAL" clId="{48E931CE-EC05-4DE9-8925-627329A31DBD}" dt="2026-03-26T12:03:14.760" v="282" actId="164"/>
          <ac:spMkLst>
            <pc:docMk/>
            <pc:sldMk cId="2078397052" sldId="2147482384"/>
            <ac:spMk id="67" creationId="{783ED312-B7CF-F62F-D0C3-A03DC699FEB9}"/>
          </ac:spMkLst>
        </pc:spChg>
        <pc:spChg chg="mod">
          <ac:chgData name="James Kennedy" userId="8c4356c8-5755-4235-8f48-53cfcafdda76" providerId="ADAL" clId="{48E931CE-EC05-4DE9-8925-627329A31DBD}" dt="2026-03-26T12:03:14.760" v="282" actId="164"/>
          <ac:spMkLst>
            <pc:docMk/>
            <pc:sldMk cId="2078397052" sldId="2147482384"/>
            <ac:spMk id="71" creationId="{B830ED51-847B-5986-7258-B40DC9860B9B}"/>
          </ac:spMkLst>
        </pc:spChg>
        <pc:spChg chg="mod">
          <ac:chgData name="James Kennedy" userId="8c4356c8-5755-4235-8f48-53cfcafdda76" providerId="ADAL" clId="{48E931CE-EC05-4DE9-8925-627329A31DBD}" dt="2026-03-26T12:03:14.760" v="282" actId="164"/>
          <ac:spMkLst>
            <pc:docMk/>
            <pc:sldMk cId="2078397052" sldId="2147482384"/>
            <ac:spMk id="78" creationId="{1E7EFDAC-FA0B-08F9-96EF-6FAD068D24CE}"/>
          </ac:spMkLst>
        </pc:spChg>
        <pc:spChg chg="mod">
          <ac:chgData name="James Kennedy" userId="8c4356c8-5755-4235-8f48-53cfcafdda76" providerId="ADAL" clId="{48E931CE-EC05-4DE9-8925-627329A31DBD}" dt="2026-03-26T12:03:14.760" v="282" actId="164"/>
          <ac:spMkLst>
            <pc:docMk/>
            <pc:sldMk cId="2078397052" sldId="2147482384"/>
            <ac:spMk id="92" creationId="{78A2CD5F-32B6-8784-2D81-3E6EBE7B0E32}"/>
          </ac:spMkLst>
        </pc:spChg>
        <pc:spChg chg="mod">
          <ac:chgData name="James Kennedy" userId="8c4356c8-5755-4235-8f48-53cfcafdda76" providerId="ADAL" clId="{48E931CE-EC05-4DE9-8925-627329A31DBD}" dt="2026-03-26T12:03:14.760" v="282" actId="164"/>
          <ac:spMkLst>
            <pc:docMk/>
            <pc:sldMk cId="2078397052" sldId="2147482384"/>
            <ac:spMk id="104" creationId="{8F00F514-CA08-71D3-6E00-6AD518AD001E}"/>
          </ac:spMkLst>
        </pc:spChg>
        <pc:spChg chg="mod">
          <ac:chgData name="James Kennedy" userId="8c4356c8-5755-4235-8f48-53cfcafdda76" providerId="ADAL" clId="{48E931CE-EC05-4DE9-8925-627329A31DBD}" dt="2026-03-26T12:03:14.760" v="282" actId="164"/>
          <ac:spMkLst>
            <pc:docMk/>
            <pc:sldMk cId="2078397052" sldId="2147482384"/>
            <ac:spMk id="108" creationId="{74C23F1E-FE8B-8142-C47D-B2E0232FD2F1}"/>
          </ac:spMkLst>
        </pc:spChg>
        <pc:spChg chg="mod">
          <ac:chgData name="James Kennedy" userId="8c4356c8-5755-4235-8f48-53cfcafdda76" providerId="ADAL" clId="{48E931CE-EC05-4DE9-8925-627329A31DBD}" dt="2026-03-26T12:03:14.760" v="282" actId="164"/>
          <ac:spMkLst>
            <pc:docMk/>
            <pc:sldMk cId="2078397052" sldId="2147482384"/>
            <ac:spMk id="111" creationId="{CCFD48EC-DEE0-26DF-3CCD-FF44206EBF9F}"/>
          </ac:spMkLst>
        </pc:spChg>
        <pc:spChg chg="mod">
          <ac:chgData name="James Kennedy" userId="8c4356c8-5755-4235-8f48-53cfcafdda76" providerId="ADAL" clId="{48E931CE-EC05-4DE9-8925-627329A31DBD}" dt="2026-03-26T12:03:14.760" v="282" actId="164"/>
          <ac:spMkLst>
            <pc:docMk/>
            <pc:sldMk cId="2078397052" sldId="2147482384"/>
            <ac:spMk id="113" creationId="{CA1C1281-396D-B258-DD2F-EAB9F322C3C1}"/>
          </ac:spMkLst>
        </pc:spChg>
        <pc:spChg chg="mod">
          <ac:chgData name="James Kennedy" userId="8c4356c8-5755-4235-8f48-53cfcafdda76" providerId="ADAL" clId="{48E931CE-EC05-4DE9-8925-627329A31DBD}" dt="2026-03-26T12:03:30.602" v="285" actId="1076"/>
          <ac:spMkLst>
            <pc:docMk/>
            <pc:sldMk cId="2078397052" sldId="2147482384"/>
            <ac:spMk id="115" creationId="{F1386F9B-2B9A-9487-21A6-B977EBD0B052}"/>
          </ac:spMkLst>
        </pc:spChg>
        <pc:spChg chg="add mod">
          <ac:chgData name="James Kennedy" userId="8c4356c8-5755-4235-8f48-53cfcafdda76" providerId="ADAL" clId="{48E931CE-EC05-4DE9-8925-627329A31DBD}" dt="2026-03-26T12:09:58.974" v="369" actId="14100"/>
          <ac:spMkLst>
            <pc:docMk/>
            <pc:sldMk cId="2078397052" sldId="2147482384"/>
            <ac:spMk id="116" creationId="{ACCAC8EE-2507-F38B-138B-316E5F0FD950}"/>
          </ac:spMkLst>
        </pc:spChg>
        <pc:spChg chg="add mod ord">
          <ac:chgData name="James Kennedy" userId="8c4356c8-5755-4235-8f48-53cfcafdda76" providerId="ADAL" clId="{48E931CE-EC05-4DE9-8925-627329A31DBD}" dt="2026-03-26T12:10:23.364" v="382" actId="555"/>
          <ac:spMkLst>
            <pc:docMk/>
            <pc:sldMk cId="2078397052" sldId="2147482384"/>
            <ac:spMk id="117" creationId="{409802E6-1764-C5FD-6B8A-0CF9EA3AE8D5}"/>
          </ac:spMkLst>
        </pc:spChg>
        <pc:spChg chg="add mod">
          <ac:chgData name="James Kennedy" userId="8c4356c8-5755-4235-8f48-53cfcafdda76" providerId="ADAL" clId="{48E931CE-EC05-4DE9-8925-627329A31DBD}" dt="2026-03-26T12:10:23.364" v="382" actId="555"/>
          <ac:spMkLst>
            <pc:docMk/>
            <pc:sldMk cId="2078397052" sldId="2147482384"/>
            <ac:spMk id="118" creationId="{6313DB40-BE31-640E-D3CB-6C23D5C6E12C}"/>
          </ac:spMkLst>
        </pc:spChg>
        <pc:spChg chg="add mod ord">
          <ac:chgData name="James Kennedy" userId="8c4356c8-5755-4235-8f48-53cfcafdda76" providerId="ADAL" clId="{48E931CE-EC05-4DE9-8925-627329A31DBD}" dt="2026-03-26T12:14:53.895" v="480" actId="1076"/>
          <ac:spMkLst>
            <pc:docMk/>
            <pc:sldMk cId="2078397052" sldId="2147482384"/>
            <ac:spMk id="121" creationId="{11D5DCCC-2D1F-F4F2-C655-62D22981526A}"/>
          </ac:spMkLst>
        </pc:spChg>
        <pc:spChg chg="mod">
          <ac:chgData name="James Kennedy" userId="8c4356c8-5755-4235-8f48-53cfcafdda76" providerId="ADAL" clId="{48E931CE-EC05-4DE9-8925-627329A31DBD}" dt="2026-03-26T12:13:40.040" v="424" actId="692"/>
          <ac:spMkLst>
            <pc:docMk/>
            <pc:sldMk cId="2078397052" sldId="2147482384"/>
            <ac:spMk id="127" creationId="{A2176715-B4E0-D2BE-41DD-78E608B31D6C}"/>
          </ac:spMkLst>
        </pc:spChg>
        <pc:spChg chg="mod">
          <ac:chgData name="James Kennedy" userId="8c4356c8-5755-4235-8f48-53cfcafdda76" providerId="ADAL" clId="{48E931CE-EC05-4DE9-8925-627329A31DBD}" dt="2026-03-26T12:13:40.040" v="424" actId="692"/>
          <ac:spMkLst>
            <pc:docMk/>
            <pc:sldMk cId="2078397052" sldId="2147482384"/>
            <ac:spMk id="128" creationId="{FC2B20D3-211F-58E0-DDFB-968E05E38173}"/>
          </ac:spMkLst>
        </pc:spChg>
        <pc:spChg chg="mod">
          <ac:chgData name="James Kennedy" userId="8c4356c8-5755-4235-8f48-53cfcafdda76" providerId="ADAL" clId="{48E931CE-EC05-4DE9-8925-627329A31DBD}" dt="2026-03-26T12:13:40.040" v="424" actId="692"/>
          <ac:spMkLst>
            <pc:docMk/>
            <pc:sldMk cId="2078397052" sldId="2147482384"/>
            <ac:spMk id="129" creationId="{5CAF29ED-45CE-B1FB-7A83-7A95DEC10132}"/>
          </ac:spMkLst>
        </pc:spChg>
        <pc:spChg chg="mod">
          <ac:chgData name="James Kennedy" userId="8c4356c8-5755-4235-8f48-53cfcafdda76" providerId="ADAL" clId="{48E931CE-EC05-4DE9-8925-627329A31DBD}" dt="2026-03-26T12:13:40.040" v="424" actId="692"/>
          <ac:spMkLst>
            <pc:docMk/>
            <pc:sldMk cId="2078397052" sldId="2147482384"/>
            <ac:spMk id="131" creationId="{57A8A4B2-4ED3-63AB-1B7E-80070B23482C}"/>
          </ac:spMkLst>
        </pc:spChg>
        <pc:spChg chg="mod">
          <ac:chgData name="James Kennedy" userId="8c4356c8-5755-4235-8f48-53cfcafdda76" providerId="ADAL" clId="{48E931CE-EC05-4DE9-8925-627329A31DBD}" dt="2026-03-26T12:13:40.040" v="424" actId="692"/>
          <ac:spMkLst>
            <pc:docMk/>
            <pc:sldMk cId="2078397052" sldId="2147482384"/>
            <ac:spMk id="132" creationId="{BBC3625B-33B3-4D2A-ECE7-8A0914570C91}"/>
          </ac:spMkLst>
        </pc:spChg>
        <pc:spChg chg="mod">
          <ac:chgData name="James Kennedy" userId="8c4356c8-5755-4235-8f48-53cfcafdda76" providerId="ADAL" clId="{48E931CE-EC05-4DE9-8925-627329A31DBD}" dt="2026-03-26T12:13:40.040" v="424" actId="692"/>
          <ac:spMkLst>
            <pc:docMk/>
            <pc:sldMk cId="2078397052" sldId="2147482384"/>
            <ac:spMk id="133" creationId="{445A38FC-72C2-8B11-19AF-2B412FC1F646}"/>
          </ac:spMkLst>
        </pc:spChg>
        <pc:spChg chg="mod">
          <ac:chgData name="James Kennedy" userId="8c4356c8-5755-4235-8f48-53cfcafdda76" providerId="ADAL" clId="{48E931CE-EC05-4DE9-8925-627329A31DBD}" dt="2026-03-26T12:13:40.040" v="424" actId="692"/>
          <ac:spMkLst>
            <pc:docMk/>
            <pc:sldMk cId="2078397052" sldId="2147482384"/>
            <ac:spMk id="134" creationId="{73F296DC-BD82-8385-865E-D06468BD71D0}"/>
          </ac:spMkLst>
        </pc:spChg>
        <pc:spChg chg="mod">
          <ac:chgData name="James Kennedy" userId="8c4356c8-5755-4235-8f48-53cfcafdda76" providerId="ADAL" clId="{48E931CE-EC05-4DE9-8925-627329A31DBD}" dt="2026-03-26T12:13:40.040" v="424" actId="692"/>
          <ac:spMkLst>
            <pc:docMk/>
            <pc:sldMk cId="2078397052" sldId="2147482384"/>
            <ac:spMk id="135" creationId="{B74CDEBB-3776-8FF9-86C1-310791F48389}"/>
          </ac:spMkLst>
        </pc:spChg>
        <pc:spChg chg="mod">
          <ac:chgData name="James Kennedy" userId="8c4356c8-5755-4235-8f48-53cfcafdda76" providerId="ADAL" clId="{48E931CE-EC05-4DE9-8925-627329A31DBD}" dt="2026-03-26T12:13:40.040" v="424" actId="692"/>
          <ac:spMkLst>
            <pc:docMk/>
            <pc:sldMk cId="2078397052" sldId="2147482384"/>
            <ac:spMk id="138" creationId="{E73B2885-A07E-3CA9-8A97-A0353E372FB5}"/>
          </ac:spMkLst>
        </pc:spChg>
        <pc:spChg chg="mod">
          <ac:chgData name="James Kennedy" userId="8c4356c8-5755-4235-8f48-53cfcafdda76" providerId="ADAL" clId="{48E931CE-EC05-4DE9-8925-627329A31DBD}" dt="2026-03-26T12:13:40.040" v="424" actId="692"/>
          <ac:spMkLst>
            <pc:docMk/>
            <pc:sldMk cId="2078397052" sldId="2147482384"/>
            <ac:spMk id="140" creationId="{4DBE63C8-4852-EDCD-72D8-92CBADFFFA08}"/>
          </ac:spMkLst>
        </pc:spChg>
        <pc:spChg chg="add mod">
          <ac:chgData name="James Kennedy" userId="8c4356c8-5755-4235-8f48-53cfcafdda76" providerId="ADAL" clId="{48E931CE-EC05-4DE9-8925-627329A31DBD}" dt="2026-03-26T12:14:53.895" v="480" actId="1076"/>
          <ac:spMkLst>
            <pc:docMk/>
            <pc:sldMk cId="2078397052" sldId="2147482384"/>
            <ac:spMk id="145" creationId="{4B8ECB8B-7A32-9C68-9716-720122890B21}"/>
          </ac:spMkLst>
        </pc:spChg>
        <pc:spChg chg="add mod">
          <ac:chgData name="James Kennedy" userId="8c4356c8-5755-4235-8f48-53cfcafdda76" providerId="ADAL" clId="{48E931CE-EC05-4DE9-8925-627329A31DBD}" dt="2026-03-26T12:15:05.779" v="484" actId="114"/>
          <ac:spMkLst>
            <pc:docMk/>
            <pc:sldMk cId="2078397052" sldId="2147482384"/>
            <ac:spMk id="146" creationId="{6E8A89E7-A0C5-9BD2-0BBA-2546F59B6918}"/>
          </ac:spMkLst>
        </pc:spChg>
        <pc:spChg chg="add mod">
          <ac:chgData name="James Kennedy" userId="8c4356c8-5755-4235-8f48-53cfcafdda76" providerId="ADAL" clId="{48E931CE-EC05-4DE9-8925-627329A31DBD}" dt="2026-03-26T12:16:04.332" v="499" actId="12789"/>
          <ac:spMkLst>
            <pc:docMk/>
            <pc:sldMk cId="2078397052" sldId="2147482384"/>
            <ac:spMk id="147" creationId="{2AE69E2B-3D6F-9F01-1A57-EF3A5E740C79}"/>
          </ac:spMkLst>
        </pc:spChg>
        <pc:spChg chg="mod topLvl">
          <ac:chgData name="James Kennedy" userId="8c4356c8-5755-4235-8f48-53cfcafdda76" providerId="ADAL" clId="{48E931CE-EC05-4DE9-8925-627329A31DBD}" dt="2026-03-26T12:15:55.548" v="494" actId="692"/>
          <ac:spMkLst>
            <pc:docMk/>
            <pc:sldMk cId="2078397052" sldId="2147482384"/>
            <ac:spMk id="171" creationId="{F6E7706A-141D-55F6-9975-AA1A7DB16CD7}"/>
          </ac:spMkLst>
        </pc:spChg>
        <pc:spChg chg="mod topLvl">
          <ac:chgData name="James Kennedy" userId="8c4356c8-5755-4235-8f48-53cfcafdda76" providerId="ADAL" clId="{48E931CE-EC05-4DE9-8925-627329A31DBD}" dt="2026-03-26T12:15:55.548" v="494" actId="692"/>
          <ac:spMkLst>
            <pc:docMk/>
            <pc:sldMk cId="2078397052" sldId="2147482384"/>
            <ac:spMk id="172" creationId="{FB5C695B-824D-657F-0134-B726E3B4AA79}"/>
          </ac:spMkLst>
        </pc:spChg>
        <pc:spChg chg="mod topLvl">
          <ac:chgData name="James Kennedy" userId="8c4356c8-5755-4235-8f48-53cfcafdda76" providerId="ADAL" clId="{48E931CE-EC05-4DE9-8925-627329A31DBD}" dt="2026-03-26T12:15:55.548" v="494" actId="692"/>
          <ac:spMkLst>
            <pc:docMk/>
            <pc:sldMk cId="2078397052" sldId="2147482384"/>
            <ac:spMk id="173" creationId="{57AFD1AA-A8DC-AB11-9104-03D7389787E6}"/>
          </ac:spMkLst>
        </pc:spChg>
        <pc:spChg chg="mod topLvl">
          <ac:chgData name="James Kennedy" userId="8c4356c8-5755-4235-8f48-53cfcafdda76" providerId="ADAL" clId="{48E931CE-EC05-4DE9-8925-627329A31DBD}" dt="2026-03-26T12:15:55.548" v="494" actId="692"/>
          <ac:spMkLst>
            <pc:docMk/>
            <pc:sldMk cId="2078397052" sldId="2147482384"/>
            <ac:spMk id="174" creationId="{A45071B0-3EDF-4FCE-F8BA-3F091B071B76}"/>
          </ac:spMkLst>
        </pc:spChg>
        <pc:spChg chg="mod topLvl">
          <ac:chgData name="James Kennedy" userId="8c4356c8-5755-4235-8f48-53cfcafdda76" providerId="ADAL" clId="{48E931CE-EC05-4DE9-8925-627329A31DBD}" dt="2026-03-26T12:15:55.548" v="494" actId="692"/>
          <ac:spMkLst>
            <pc:docMk/>
            <pc:sldMk cId="2078397052" sldId="2147482384"/>
            <ac:spMk id="175" creationId="{BC52A1BB-36F9-2B22-2026-960AF231B47E}"/>
          </ac:spMkLst>
        </pc:spChg>
        <pc:spChg chg="add mod ord">
          <ac:chgData name="James Kennedy" userId="8c4356c8-5755-4235-8f48-53cfcafdda76" providerId="ADAL" clId="{48E931CE-EC05-4DE9-8925-627329A31DBD}" dt="2026-03-26T13:59:34.934" v="547" actId="20577"/>
          <ac:spMkLst>
            <pc:docMk/>
            <pc:sldMk cId="2078397052" sldId="2147482384"/>
            <ac:spMk id="180" creationId="{0C0C7E67-33FD-6AD5-4ED6-C107C5BA7C0D}"/>
          </ac:spMkLst>
        </pc:spChg>
        <pc:grpChg chg="mod">
          <ac:chgData name="James Kennedy" userId="8c4356c8-5755-4235-8f48-53cfcafdda76" providerId="ADAL" clId="{48E931CE-EC05-4DE9-8925-627329A31DBD}" dt="2026-03-26T12:03:20.466" v="283" actId="12788"/>
          <ac:grpSpMkLst>
            <pc:docMk/>
            <pc:sldMk cId="2078397052" sldId="2147482384"/>
            <ac:grpSpMk id="33" creationId="{ED8E999F-82AC-DBA6-37D2-83D1726D0F7F}"/>
          </ac:grpSpMkLst>
        </pc:grpChg>
        <pc:grpChg chg="mod">
          <ac:chgData name="James Kennedy" userId="8c4356c8-5755-4235-8f48-53cfcafdda76" providerId="ADAL" clId="{48E931CE-EC05-4DE9-8925-627329A31DBD}" dt="2026-03-26T12:13:07.941" v="404" actId="164"/>
          <ac:grpSpMkLst>
            <pc:docMk/>
            <pc:sldMk cId="2078397052" sldId="2147482384"/>
            <ac:grpSpMk id="123" creationId="{D1BFC775-6267-BC9C-E0ED-286EA3571C96}"/>
          </ac:grpSpMkLst>
        </pc:grpChg>
        <pc:grpChg chg="mod">
          <ac:chgData name="James Kennedy" userId="8c4356c8-5755-4235-8f48-53cfcafdda76" providerId="ADAL" clId="{48E931CE-EC05-4DE9-8925-627329A31DBD}" dt="2026-03-26T12:13:07.941" v="404" actId="164"/>
          <ac:grpSpMkLst>
            <pc:docMk/>
            <pc:sldMk cId="2078397052" sldId="2147482384"/>
            <ac:grpSpMk id="126" creationId="{16AF870F-78E5-11F9-DFF6-BC98933BF724}"/>
          </ac:grpSpMkLst>
        </pc:grpChg>
        <pc:grpChg chg="mod">
          <ac:chgData name="James Kennedy" userId="8c4356c8-5755-4235-8f48-53cfcafdda76" providerId="ADAL" clId="{48E931CE-EC05-4DE9-8925-627329A31DBD}" dt="2026-03-26T12:13:07.941" v="404" actId="164"/>
          <ac:grpSpMkLst>
            <pc:docMk/>
            <pc:sldMk cId="2078397052" sldId="2147482384"/>
            <ac:grpSpMk id="130" creationId="{3EAEA663-431D-24EA-41A7-DE011C58035D}"/>
          </ac:grpSpMkLst>
        </pc:grpChg>
        <pc:grpChg chg="mod">
          <ac:chgData name="James Kennedy" userId="8c4356c8-5755-4235-8f48-53cfcafdda76" providerId="ADAL" clId="{48E931CE-EC05-4DE9-8925-627329A31DBD}" dt="2026-03-26T12:13:07.941" v="404" actId="164"/>
          <ac:grpSpMkLst>
            <pc:docMk/>
            <pc:sldMk cId="2078397052" sldId="2147482384"/>
            <ac:grpSpMk id="136" creationId="{B584622A-938F-5B52-A525-33927B4F0B9F}"/>
          </ac:grpSpMkLst>
        </pc:grpChg>
        <pc:grpChg chg="mod">
          <ac:chgData name="James Kennedy" userId="8c4356c8-5755-4235-8f48-53cfcafdda76" providerId="ADAL" clId="{48E931CE-EC05-4DE9-8925-627329A31DBD}" dt="2026-03-26T12:13:07.941" v="404" actId="164"/>
          <ac:grpSpMkLst>
            <pc:docMk/>
            <pc:sldMk cId="2078397052" sldId="2147482384"/>
            <ac:grpSpMk id="139" creationId="{4D52D015-71EC-9600-1060-31F4A26A0D0E}"/>
          </ac:grpSpMkLst>
        </pc:grpChg>
        <pc:grpChg chg="add mod ord">
          <ac:chgData name="James Kennedy" userId="8c4356c8-5755-4235-8f48-53cfcafdda76" providerId="ADAL" clId="{48E931CE-EC05-4DE9-8925-627329A31DBD}" dt="2026-03-26T12:14:53.895" v="480" actId="1076"/>
          <ac:grpSpMkLst>
            <pc:docMk/>
            <pc:sldMk cId="2078397052" sldId="2147482384"/>
            <ac:grpSpMk id="143" creationId="{82BD5986-4B12-ADCA-D497-FBAB55554452}"/>
          </ac:grpSpMkLst>
        </pc:grpChg>
        <pc:grpChg chg="add mod">
          <ac:chgData name="James Kennedy" userId="8c4356c8-5755-4235-8f48-53cfcafdda76" providerId="ADAL" clId="{48E931CE-EC05-4DE9-8925-627329A31DBD}" dt="2026-03-26T12:16:04.332" v="499" actId="12789"/>
          <ac:grpSpMkLst>
            <pc:docMk/>
            <pc:sldMk cId="2078397052" sldId="2147482384"/>
            <ac:grpSpMk id="176" creationId="{C34D8159-1AF4-60C0-5074-1D86A33CC53F}"/>
          </ac:grpSpMkLst>
        </pc:grpChg>
        <pc:picChg chg="mod">
          <ac:chgData name="James Kennedy" userId="8c4356c8-5755-4235-8f48-53cfcafdda76" providerId="ADAL" clId="{48E931CE-EC05-4DE9-8925-627329A31DBD}" dt="2026-03-26T12:03:35.944" v="287" actId="14100"/>
          <ac:picMkLst>
            <pc:docMk/>
            <pc:sldMk cId="2078397052" sldId="2147482384"/>
            <ac:picMk id="114" creationId="{3460DB5F-484A-6D7E-DFDA-0106A97A2712}"/>
          </ac:picMkLst>
        </pc:picChg>
      </pc:sldChg>
      <pc:sldMasterChg chg="delSp mod modSldLayout">
        <pc:chgData name="James Kennedy" userId="8c4356c8-5755-4235-8f48-53cfcafdda76" providerId="ADAL" clId="{48E931CE-EC05-4DE9-8925-627329A31DBD}" dt="2026-03-26T13:58:51.191" v="537"/>
        <pc:sldMasterMkLst>
          <pc:docMk/>
          <pc:sldMasterMk cId="2815037715" sldId="2147483677"/>
        </pc:sldMasterMkLst>
        <pc:sldLayoutChg chg="addSp delSp modSp mod">
          <pc:chgData name="James Kennedy" userId="8c4356c8-5755-4235-8f48-53cfcafdda76" providerId="ADAL" clId="{48E931CE-EC05-4DE9-8925-627329A31DBD}" dt="2026-03-26T13:58:30.381" v="526" actId="207"/>
          <pc:sldLayoutMkLst>
            <pc:docMk/>
            <pc:sldMasterMk cId="2815037715" sldId="2147483677"/>
            <pc:sldLayoutMk cId="1326332566" sldId="2147483678"/>
          </pc:sldLayoutMkLst>
          <pc:spChg chg="add mod">
            <ac:chgData name="James Kennedy" userId="8c4356c8-5755-4235-8f48-53cfcafdda76" providerId="ADAL" clId="{48E931CE-EC05-4DE9-8925-627329A31DBD}" dt="2026-03-26T13:58:30.381" v="526" actId="207"/>
            <ac:spMkLst>
              <pc:docMk/>
              <pc:sldMasterMk cId="2815037715" sldId="2147483677"/>
              <pc:sldLayoutMk cId="1326332566" sldId="2147483678"/>
              <ac:spMk id="4" creationId="{65F70CA3-C0DB-00B2-5E79-36CA62E16F89}"/>
            </ac:spMkLst>
          </pc:spChg>
        </pc:sldLayoutChg>
        <pc:sldLayoutChg chg="addSp delSp modSp mod">
          <pc:chgData name="James Kennedy" userId="8c4356c8-5755-4235-8f48-53cfcafdda76" providerId="ADAL" clId="{48E931CE-EC05-4DE9-8925-627329A31DBD}" dt="2026-03-26T13:58:38.091" v="528"/>
          <pc:sldLayoutMkLst>
            <pc:docMk/>
            <pc:sldMasterMk cId="2815037715" sldId="2147483677"/>
            <pc:sldLayoutMk cId="20734339" sldId="2147483680"/>
          </pc:sldLayoutMkLst>
          <pc:spChg chg="add mod">
            <ac:chgData name="James Kennedy" userId="8c4356c8-5755-4235-8f48-53cfcafdda76" providerId="ADAL" clId="{48E931CE-EC05-4DE9-8925-627329A31DBD}" dt="2026-03-26T13:58:38.091" v="528"/>
            <ac:spMkLst>
              <pc:docMk/>
              <pc:sldMasterMk cId="2815037715" sldId="2147483677"/>
              <pc:sldLayoutMk cId="20734339" sldId="2147483680"/>
              <ac:spMk id="2" creationId="{5509E36E-BCD6-F1DE-FBD0-210375D36BE4}"/>
            </ac:spMkLst>
          </pc:spChg>
        </pc:sldLayoutChg>
        <pc:sldLayoutChg chg="addSp delSp modSp mod">
          <pc:chgData name="James Kennedy" userId="8c4356c8-5755-4235-8f48-53cfcafdda76" providerId="ADAL" clId="{48E931CE-EC05-4DE9-8925-627329A31DBD}" dt="2026-03-26T13:58:42.617" v="531" actId="207"/>
          <pc:sldLayoutMkLst>
            <pc:docMk/>
            <pc:sldMasterMk cId="2815037715" sldId="2147483677"/>
            <pc:sldLayoutMk cId="4261198508" sldId="2147483681"/>
          </pc:sldLayoutMkLst>
          <pc:spChg chg="add mod">
            <ac:chgData name="James Kennedy" userId="8c4356c8-5755-4235-8f48-53cfcafdda76" providerId="ADAL" clId="{48E931CE-EC05-4DE9-8925-627329A31DBD}" dt="2026-03-26T13:58:42.617" v="531" actId="207"/>
            <ac:spMkLst>
              <pc:docMk/>
              <pc:sldMasterMk cId="2815037715" sldId="2147483677"/>
              <pc:sldLayoutMk cId="4261198508" sldId="2147483681"/>
              <ac:spMk id="7" creationId="{A0CD0ED4-4C17-238E-DC26-B3A8413E6333}"/>
            </ac:spMkLst>
          </pc:spChg>
        </pc:sldLayoutChg>
        <pc:sldLayoutChg chg="addSp delSp modSp mod">
          <pc:chgData name="James Kennedy" userId="8c4356c8-5755-4235-8f48-53cfcafdda76" providerId="ADAL" clId="{48E931CE-EC05-4DE9-8925-627329A31DBD}" dt="2026-03-26T13:58:45.084" v="533"/>
          <pc:sldLayoutMkLst>
            <pc:docMk/>
            <pc:sldMasterMk cId="2815037715" sldId="2147483677"/>
            <pc:sldLayoutMk cId="2137450510" sldId="2147483682"/>
          </pc:sldLayoutMkLst>
          <pc:spChg chg="add mod">
            <ac:chgData name="James Kennedy" userId="8c4356c8-5755-4235-8f48-53cfcafdda76" providerId="ADAL" clId="{48E931CE-EC05-4DE9-8925-627329A31DBD}" dt="2026-03-26T13:58:45.084" v="533"/>
            <ac:spMkLst>
              <pc:docMk/>
              <pc:sldMasterMk cId="2815037715" sldId="2147483677"/>
              <pc:sldLayoutMk cId="2137450510" sldId="2147483682"/>
              <ac:spMk id="7" creationId="{1277C976-1D7F-98A9-9099-D08CA8FF1481}"/>
            </ac:spMkLst>
          </pc:spChg>
        </pc:sldLayoutChg>
        <pc:sldLayoutChg chg="addSp modSp">
          <pc:chgData name="James Kennedy" userId="8c4356c8-5755-4235-8f48-53cfcafdda76" providerId="ADAL" clId="{48E931CE-EC05-4DE9-8925-627329A31DBD}" dt="2026-03-26T13:58:47.074" v="534"/>
          <pc:sldLayoutMkLst>
            <pc:docMk/>
            <pc:sldMasterMk cId="2815037715" sldId="2147483677"/>
            <pc:sldLayoutMk cId="879038646" sldId="2147483683"/>
          </pc:sldLayoutMkLst>
          <pc:spChg chg="add mod">
            <ac:chgData name="James Kennedy" userId="8c4356c8-5755-4235-8f48-53cfcafdda76" providerId="ADAL" clId="{48E931CE-EC05-4DE9-8925-627329A31DBD}" dt="2026-03-26T13:58:47.074" v="534"/>
            <ac:spMkLst>
              <pc:docMk/>
              <pc:sldMasterMk cId="2815037715" sldId="2147483677"/>
              <pc:sldLayoutMk cId="879038646" sldId="2147483683"/>
              <ac:spMk id="4" creationId="{4436770F-902D-D0FA-34DA-C767073E3C17}"/>
            </ac:spMkLst>
          </pc:spChg>
        </pc:sldLayoutChg>
        <pc:sldLayoutChg chg="addSp modSp">
          <pc:chgData name="James Kennedy" userId="8c4356c8-5755-4235-8f48-53cfcafdda76" providerId="ADAL" clId="{48E931CE-EC05-4DE9-8925-627329A31DBD}" dt="2026-03-26T13:58:48.764" v="535"/>
          <pc:sldLayoutMkLst>
            <pc:docMk/>
            <pc:sldMasterMk cId="2815037715" sldId="2147483677"/>
            <pc:sldLayoutMk cId="2554052857" sldId="2147483684"/>
          </pc:sldLayoutMkLst>
          <pc:spChg chg="add mod">
            <ac:chgData name="James Kennedy" userId="8c4356c8-5755-4235-8f48-53cfcafdda76" providerId="ADAL" clId="{48E931CE-EC05-4DE9-8925-627329A31DBD}" dt="2026-03-26T13:58:48.764" v="535"/>
            <ac:spMkLst>
              <pc:docMk/>
              <pc:sldMasterMk cId="2815037715" sldId="2147483677"/>
              <pc:sldLayoutMk cId="2554052857" sldId="2147483684"/>
              <ac:spMk id="5" creationId="{1AC74F2A-2BB5-0FC6-352F-24F71E824432}"/>
            </ac:spMkLst>
          </pc:spChg>
        </pc:sldLayoutChg>
        <pc:sldLayoutChg chg="addSp modSp">
          <pc:chgData name="James Kennedy" userId="8c4356c8-5755-4235-8f48-53cfcafdda76" providerId="ADAL" clId="{48E931CE-EC05-4DE9-8925-627329A31DBD}" dt="2026-03-26T13:58:50.047" v="536"/>
          <pc:sldLayoutMkLst>
            <pc:docMk/>
            <pc:sldMasterMk cId="2815037715" sldId="2147483677"/>
            <pc:sldLayoutMk cId="2484555505" sldId="2147483685"/>
          </pc:sldLayoutMkLst>
          <pc:spChg chg="add mod">
            <ac:chgData name="James Kennedy" userId="8c4356c8-5755-4235-8f48-53cfcafdda76" providerId="ADAL" clId="{48E931CE-EC05-4DE9-8925-627329A31DBD}" dt="2026-03-26T13:58:50.047" v="536"/>
            <ac:spMkLst>
              <pc:docMk/>
              <pc:sldMasterMk cId="2815037715" sldId="2147483677"/>
              <pc:sldLayoutMk cId="2484555505" sldId="2147483685"/>
              <ac:spMk id="3" creationId="{4545844B-A23E-EE6D-EE6E-5058B194A42D}"/>
            </ac:spMkLst>
          </pc:spChg>
        </pc:sldLayoutChg>
        <pc:sldLayoutChg chg="addSp modSp">
          <pc:chgData name="James Kennedy" userId="8c4356c8-5755-4235-8f48-53cfcafdda76" providerId="ADAL" clId="{48E931CE-EC05-4DE9-8925-627329A31DBD}" dt="2026-03-26T13:58:51.191" v="537"/>
          <pc:sldLayoutMkLst>
            <pc:docMk/>
            <pc:sldMasterMk cId="2815037715" sldId="2147483677"/>
            <pc:sldLayoutMk cId="1698031451" sldId="2147483686"/>
          </pc:sldLayoutMkLst>
          <pc:spChg chg="add mod">
            <ac:chgData name="James Kennedy" userId="8c4356c8-5755-4235-8f48-53cfcafdda76" providerId="ADAL" clId="{48E931CE-EC05-4DE9-8925-627329A31DBD}" dt="2026-03-26T13:58:51.191" v="537"/>
            <ac:spMkLst>
              <pc:docMk/>
              <pc:sldMasterMk cId="2815037715" sldId="2147483677"/>
              <pc:sldLayoutMk cId="1698031451" sldId="2147483686"/>
              <ac:spMk id="2" creationId="{66817177-59E1-B946-2FE9-32FD1725CED7}"/>
            </ac:spMkLst>
          </pc:spChg>
        </pc:sldLayoutChg>
      </pc:sldMasterChg>
    </pc:docChg>
  </pc:docChgLst>
  <pc:docChgLst>
    <pc:chgData name="Simran Grewal" userId="a7ecafdb-a46f-47b3-b3a5-ce082d1771d5" providerId="ADAL" clId="{5BB8BA20-3895-41E0-8D22-7E654B36AE07}"/>
    <pc:docChg chg="custSel modSld">
      <pc:chgData name="Simran Grewal" userId="a7ecafdb-a46f-47b3-b3a5-ce082d1771d5" providerId="ADAL" clId="{5BB8BA20-3895-41E0-8D22-7E654B36AE07}" dt="2026-04-16T15:06:29.163" v="284" actId="207"/>
      <pc:docMkLst>
        <pc:docMk/>
      </pc:docMkLst>
      <pc:sldChg chg="delSp modSp mod">
        <pc:chgData name="Simran Grewal" userId="a7ecafdb-a46f-47b3-b3a5-ce082d1771d5" providerId="ADAL" clId="{5BB8BA20-3895-41E0-8D22-7E654B36AE07}" dt="2026-04-16T15:06:29.163" v="284" actId="207"/>
        <pc:sldMkLst>
          <pc:docMk/>
          <pc:sldMk cId="2078397052" sldId="2147482384"/>
        </pc:sldMkLst>
        <pc:spChg chg="mod">
          <ac:chgData name="Simran Grewal" userId="a7ecafdb-a46f-47b3-b3a5-ce082d1771d5" providerId="ADAL" clId="{5BB8BA20-3895-41E0-8D22-7E654B36AE07}" dt="2026-04-16T15:06:23.762" v="283" actId="14100"/>
          <ac:spMkLst>
            <pc:docMk/>
            <pc:sldMk cId="2078397052" sldId="2147482384"/>
            <ac:spMk id="2" creationId="{F629B511-AB5F-9FF1-72DC-62301BCA2B38}"/>
          </ac:spMkLst>
        </pc:spChg>
        <pc:spChg chg="mod">
          <ac:chgData name="Simran Grewal" userId="a7ecafdb-a46f-47b3-b3a5-ce082d1771d5" providerId="ADAL" clId="{5BB8BA20-3895-41E0-8D22-7E654B36AE07}" dt="2026-04-16T15:05:43.569" v="179" actId="1038"/>
          <ac:spMkLst>
            <pc:docMk/>
            <pc:sldMk cId="2078397052" sldId="2147482384"/>
            <ac:spMk id="4" creationId="{BAFEF2DF-FF42-9F81-15DE-CEF8247F2856}"/>
          </ac:spMkLst>
        </pc:spChg>
        <pc:spChg chg="mod">
          <ac:chgData name="Simran Grewal" userId="a7ecafdb-a46f-47b3-b3a5-ce082d1771d5" providerId="ADAL" clId="{5BB8BA20-3895-41E0-8D22-7E654B36AE07}" dt="2026-04-16T15:05:43.569" v="179" actId="1038"/>
          <ac:spMkLst>
            <pc:docMk/>
            <pc:sldMk cId="2078397052" sldId="2147482384"/>
            <ac:spMk id="5" creationId="{03ABF00D-C64D-8D68-D663-691B5DBEB2CE}"/>
          </ac:spMkLst>
        </pc:spChg>
        <pc:spChg chg="mod">
          <ac:chgData name="Simran Grewal" userId="a7ecafdb-a46f-47b3-b3a5-ce082d1771d5" providerId="ADAL" clId="{5BB8BA20-3895-41E0-8D22-7E654B36AE07}" dt="2026-04-16T15:05:43.569" v="179" actId="1038"/>
          <ac:spMkLst>
            <pc:docMk/>
            <pc:sldMk cId="2078397052" sldId="2147482384"/>
            <ac:spMk id="6" creationId="{E247540E-ABF8-A494-AC45-A66E09C07CB5}"/>
          </ac:spMkLst>
        </pc:spChg>
        <pc:spChg chg="mod">
          <ac:chgData name="Simran Grewal" userId="a7ecafdb-a46f-47b3-b3a5-ce082d1771d5" providerId="ADAL" clId="{5BB8BA20-3895-41E0-8D22-7E654B36AE07}" dt="2026-04-16T15:05:43.569" v="179" actId="1038"/>
          <ac:spMkLst>
            <pc:docMk/>
            <pc:sldMk cId="2078397052" sldId="2147482384"/>
            <ac:spMk id="8" creationId="{1F6647B7-B6BF-1278-A9B2-1125359DB09A}"/>
          </ac:spMkLst>
        </pc:spChg>
        <pc:spChg chg="mod">
          <ac:chgData name="Simran Grewal" userId="a7ecafdb-a46f-47b3-b3a5-ce082d1771d5" providerId="ADAL" clId="{5BB8BA20-3895-41E0-8D22-7E654B36AE07}" dt="2026-04-16T15:06:29.163" v="284" actId="207"/>
          <ac:spMkLst>
            <pc:docMk/>
            <pc:sldMk cId="2078397052" sldId="2147482384"/>
            <ac:spMk id="19" creationId="{7CE991DB-F7BA-E578-82BC-14625DA2DBCA}"/>
          </ac:spMkLst>
        </pc:spChg>
        <pc:spChg chg="mod">
          <ac:chgData name="Simran Grewal" userId="a7ecafdb-a46f-47b3-b3a5-ce082d1771d5" providerId="ADAL" clId="{5BB8BA20-3895-41E0-8D22-7E654B36AE07}" dt="2026-04-16T15:05:43.569" v="179" actId="1038"/>
          <ac:spMkLst>
            <pc:docMk/>
            <pc:sldMk cId="2078397052" sldId="2147482384"/>
            <ac:spMk id="32" creationId="{F8CF3639-B3CA-96AD-E509-20B8E73FA05A}"/>
          </ac:spMkLst>
        </pc:spChg>
        <pc:spChg chg="mod">
          <ac:chgData name="Simran Grewal" userId="a7ecafdb-a46f-47b3-b3a5-ce082d1771d5" providerId="ADAL" clId="{5BB8BA20-3895-41E0-8D22-7E654B36AE07}" dt="2026-04-16T15:05:43.569" v="179" actId="1038"/>
          <ac:spMkLst>
            <pc:docMk/>
            <pc:sldMk cId="2078397052" sldId="2147482384"/>
            <ac:spMk id="115" creationId="{F1386F9B-2B9A-9487-21A6-B977EBD0B052}"/>
          </ac:spMkLst>
        </pc:spChg>
        <pc:spChg chg="mod">
          <ac:chgData name="Simran Grewal" userId="a7ecafdb-a46f-47b3-b3a5-ce082d1771d5" providerId="ADAL" clId="{5BB8BA20-3895-41E0-8D22-7E654B36AE07}" dt="2026-04-16T15:05:52.890" v="278" actId="1037"/>
          <ac:spMkLst>
            <pc:docMk/>
            <pc:sldMk cId="2078397052" sldId="2147482384"/>
            <ac:spMk id="693" creationId="{C3380D4D-AD15-B074-598C-64DE9AB394F2}"/>
          </ac:spMkLst>
        </pc:spChg>
        <pc:spChg chg="mod">
          <ac:chgData name="Simran Grewal" userId="a7ecafdb-a46f-47b3-b3a5-ce082d1771d5" providerId="ADAL" clId="{5BB8BA20-3895-41E0-8D22-7E654B36AE07}" dt="2026-04-16T15:05:52.890" v="278" actId="1037"/>
          <ac:spMkLst>
            <pc:docMk/>
            <pc:sldMk cId="2078397052" sldId="2147482384"/>
            <ac:spMk id="694" creationId="{634BB3FF-BB1B-B5E2-E24B-D4A2095E989B}"/>
          </ac:spMkLst>
        </pc:spChg>
        <pc:spChg chg="mod">
          <ac:chgData name="Simran Grewal" userId="a7ecafdb-a46f-47b3-b3a5-ce082d1771d5" providerId="ADAL" clId="{5BB8BA20-3895-41E0-8D22-7E654B36AE07}" dt="2026-04-16T15:05:52.890" v="278" actId="1037"/>
          <ac:spMkLst>
            <pc:docMk/>
            <pc:sldMk cId="2078397052" sldId="2147482384"/>
            <ac:spMk id="695" creationId="{497C029B-8C00-44D1-6E58-0CA03CDFACDC}"/>
          </ac:spMkLst>
        </pc:spChg>
        <pc:spChg chg="mod">
          <ac:chgData name="Simran Grewal" userId="a7ecafdb-a46f-47b3-b3a5-ce082d1771d5" providerId="ADAL" clId="{5BB8BA20-3895-41E0-8D22-7E654B36AE07}" dt="2026-04-16T15:05:52.890" v="278" actId="1037"/>
          <ac:spMkLst>
            <pc:docMk/>
            <pc:sldMk cId="2078397052" sldId="2147482384"/>
            <ac:spMk id="696" creationId="{9EE23385-7662-B1DB-3282-DF303A23E6FF}"/>
          </ac:spMkLst>
        </pc:spChg>
        <pc:spChg chg="mod">
          <ac:chgData name="Simran Grewal" userId="a7ecafdb-a46f-47b3-b3a5-ce082d1771d5" providerId="ADAL" clId="{5BB8BA20-3895-41E0-8D22-7E654B36AE07}" dt="2026-04-16T15:05:52.890" v="278" actId="1037"/>
          <ac:spMkLst>
            <pc:docMk/>
            <pc:sldMk cId="2078397052" sldId="2147482384"/>
            <ac:spMk id="697" creationId="{04957D4C-59A9-5437-EF6C-A8191003CA45}"/>
          </ac:spMkLst>
        </pc:spChg>
        <pc:spChg chg="mod">
          <ac:chgData name="Simran Grewal" userId="a7ecafdb-a46f-47b3-b3a5-ce082d1771d5" providerId="ADAL" clId="{5BB8BA20-3895-41E0-8D22-7E654B36AE07}" dt="2026-04-16T15:05:52.890" v="278" actId="1037"/>
          <ac:spMkLst>
            <pc:docMk/>
            <pc:sldMk cId="2078397052" sldId="2147482384"/>
            <ac:spMk id="698" creationId="{D21C3B4F-CEF7-B08A-D6A3-67F14970FAF1}"/>
          </ac:spMkLst>
        </pc:spChg>
        <pc:grpChg chg="mod">
          <ac:chgData name="Simran Grewal" userId="a7ecafdb-a46f-47b3-b3a5-ce082d1771d5" providerId="ADAL" clId="{5BB8BA20-3895-41E0-8D22-7E654B36AE07}" dt="2026-04-16T15:05:43.569" v="179" actId="1038"/>
          <ac:grpSpMkLst>
            <pc:docMk/>
            <pc:sldMk cId="2078397052" sldId="2147482384"/>
            <ac:grpSpMk id="33" creationId="{ED8E999F-82AC-DBA6-37D2-83D1726D0F7F}"/>
          </ac:grpSpMkLst>
        </pc:grpChg>
        <pc:grpChg chg="mod">
          <ac:chgData name="Simran Grewal" userId="a7ecafdb-a46f-47b3-b3a5-ce082d1771d5" providerId="ADAL" clId="{5BB8BA20-3895-41E0-8D22-7E654B36AE07}" dt="2026-04-16T15:05:52.890" v="278" actId="1037"/>
          <ac:grpSpMkLst>
            <pc:docMk/>
            <pc:sldMk cId="2078397052" sldId="2147482384"/>
            <ac:grpSpMk id="703" creationId="{37335CB5-E8AD-29D5-814A-CED29CDA127E}"/>
          </ac:grpSpMkLst>
        </pc:grpChg>
        <pc:grpChg chg="mod">
          <ac:chgData name="Simran Grewal" userId="a7ecafdb-a46f-47b3-b3a5-ce082d1771d5" providerId="ADAL" clId="{5BB8BA20-3895-41E0-8D22-7E654B36AE07}" dt="2026-04-16T15:05:52.890" v="278" actId="1037"/>
          <ac:grpSpMkLst>
            <pc:docMk/>
            <pc:sldMk cId="2078397052" sldId="2147482384"/>
            <ac:grpSpMk id="852" creationId="{F107B599-5FA0-5BC7-FBCB-BDC845ECEC3B}"/>
          </ac:grpSpMkLst>
        </pc:grpChg>
        <pc:picChg chg="mod">
          <ac:chgData name="Simran Grewal" userId="a7ecafdb-a46f-47b3-b3a5-ce082d1771d5" providerId="ADAL" clId="{5BB8BA20-3895-41E0-8D22-7E654B36AE07}" dt="2026-04-16T15:05:43.569" v="179" actId="1038"/>
          <ac:picMkLst>
            <pc:docMk/>
            <pc:sldMk cId="2078397052" sldId="2147482384"/>
            <ac:picMk id="114" creationId="{3460DB5F-484A-6D7E-DFDA-0106A97A2712}"/>
          </ac:picMkLst>
        </pc:picChg>
        <pc:cxnChg chg="mod">
          <ac:chgData name="Simran Grewal" userId="a7ecafdb-a46f-47b3-b3a5-ce082d1771d5" providerId="ADAL" clId="{5BB8BA20-3895-41E0-8D22-7E654B36AE07}" dt="2026-04-16T15:05:43.569" v="179" actId="1038"/>
          <ac:cxnSpMkLst>
            <pc:docMk/>
            <pc:sldMk cId="2078397052" sldId="2147482384"/>
            <ac:cxnSpMk id="12" creationId="{F24FEDCF-E44F-8FFA-F9B4-371D0FC9B3D3}"/>
          </ac:cxnSpMkLst>
        </pc:cxnChg>
      </pc:sldChg>
    </pc:docChg>
  </pc:docChgLst>
  <pc:docChgLst>
    <pc:chgData name="Jake Carus" userId="S::jake.carus@heliosmedcomms.com::eadba49d-72ad-4398-8ad8-909c4c09090e" providerId="AD" clId="Web-{A7469E84-3070-504C-2D2D-40337521F9CB}"/>
    <pc:docChg chg="modSld">
      <pc:chgData name="Jake Carus" userId="S::jake.carus@heliosmedcomms.com::eadba49d-72ad-4398-8ad8-909c4c09090e" providerId="AD" clId="Web-{A7469E84-3070-504C-2D2D-40337521F9CB}" dt="2026-04-02T18:45:52.190" v="0" actId="20577"/>
      <pc:docMkLst>
        <pc:docMk/>
      </pc:docMkLst>
      <pc:sldChg chg="modSp">
        <pc:chgData name="Jake Carus" userId="S::jake.carus@heliosmedcomms.com::eadba49d-72ad-4398-8ad8-909c4c09090e" providerId="AD" clId="Web-{A7469E84-3070-504C-2D2D-40337521F9CB}" dt="2026-04-02T18:45:52.190" v="0" actId="20577"/>
        <pc:sldMkLst>
          <pc:docMk/>
          <pc:sldMk cId="2078397052" sldId="2147482384"/>
        </pc:sldMkLst>
        <pc:spChg chg="mod">
          <ac:chgData name="Jake Carus" userId="S::jake.carus@heliosmedcomms.com::eadba49d-72ad-4398-8ad8-909c4c09090e" providerId="AD" clId="Web-{A7469E84-3070-504C-2D2D-40337521F9CB}" dt="2026-04-02T18:45:52.190" v="0" actId="20577"/>
          <ac:spMkLst>
            <pc:docMk/>
            <pc:sldMk cId="2078397052" sldId="2147482384"/>
            <ac:spMk id="180" creationId="{0C0C7E67-33FD-6AD5-4ED6-C107C5BA7C0D}"/>
          </ac:spMkLst>
        </pc:spChg>
      </pc:sldChg>
    </pc:docChg>
  </pc:docChgLst>
  <pc:docChgLst>
    <pc:chgData name="Karen Smith" userId="674fbaca-8204-4c14-a783-bec32124c23c" providerId="ADAL" clId="{CF1252B2-FCC6-4EA0-8053-51C510C28A0F}"/>
    <pc:docChg chg="undo redo custSel modSld modMainMaster">
      <pc:chgData name="Karen Smith" userId="674fbaca-8204-4c14-a783-bec32124c23c" providerId="ADAL" clId="{CF1252B2-FCC6-4EA0-8053-51C510C28A0F}" dt="2026-04-14T13:25:32.203" v="8167" actId="207"/>
      <pc:docMkLst>
        <pc:docMk/>
      </pc:docMkLst>
      <pc:sldChg chg="addSp modSp mod">
        <pc:chgData name="Karen Smith" userId="674fbaca-8204-4c14-a783-bec32124c23c" providerId="ADAL" clId="{CF1252B2-FCC6-4EA0-8053-51C510C28A0F}" dt="2026-04-14T11:31:26.506" v="35"/>
        <pc:sldMkLst>
          <pc:docMk/>
          <pc:sldMk cId="1765956324" sldId="2147469068"/>
        </pc:sldMkLst>
        <pc:spChg chg="mod">
          <ac:chgData name="Karen Smith" userId="674fbaca-8204-4c14-a783-bec32124c23c" providerId="ADAL" clId="{CF1252B2-FCC6-4EA0-8053-51C510C28A0F}" dt="2026-04-14T11:31:25.312" v="6" actId="299"/>
          <ac:spMkLst>
            <pc:docMk/>
            <pc:sldMk cId="1765956324" sldId="2147469068"/>
            <ac:spMk id="2" creationId="{A365A930-61E0-53F8-1A17-54CD68CBD995}"/>
          </ac:spMkLst>
        </pc:spChg>
        <pc:graphicFrameChg chg="add mod ord modVis">
          <ac:chgData name="Karen Smith" userId="674fbaca-8204-4c14-a783-bec32124c23c" providerId="ADAL" clId="{CF1252B2-FCC6-4EA0-8053-51C510C28A0F}" dt="2026-04-14T11:31:25.354" v="34"/>
          <ac:graphicFrameMkLst>
            <pc:docMk/>
            <pc:sldMk cId="1765956324" sldId="2147469068"/>
            <ac:graphicFrameMk id="3" creationId="{5AEFD5FB-D2B3-2A3D-0FA6-F37063234CAB}"/>
          </ac:graphicFrameMkLst>
        </pc:graphicFrameChg>
      </pc:sldChg>
      <pc:sldChg chg="addSp delSp modSp mod">
        <pc:chgData name="Karen Smith" userId="674fbaca-8204-4c14-a783-bec32124c23c" providerId="ADAL" clId="{CF1252B2-FCC6-4EA0-8053-51C510C28A0F}" dt="2026-04-14T13:25:32.203" v="8167" actId="207"/>
        <pc:sldMkLst>
          <pc:docMk/>
          <pc:sldMk cId="2078397052" sldId="2147482384"/>
        </pc:sldMkLst>
        <pc:spChg chg="mod ord">
          <ac:chgData name="Karen Smith" userId="674fbaca-8204-4c14-a783-bec32124c23c" providerId="ADAL" clId="{CF1252B2-FCC6-4EA0-8053-51C510C28A0F}" dt="2026-04-14T13:21:26.511" v="7844"/>
          <ac:spMkLst>
            <pc:docMk/>
            <pc:sldMk cId="2078397052" sldId="2147482384"/>
            <ac:spMk id="2" creationId="{F629B511-AB5F-9FF1-72DC-62301BCA2B38}"/>
          </ac:spMkLst>
        </pc:spChg>
        <pc:spChg chg="add mod ord">
          <ac:chgData name="Karen Smith" userId="674fbaca-8204-4c14-a783-bec32124c23c" providerId="ADAL" clId="{CF1252B2-FCC6-4EA0-8053-51C510C28A0F}" dt="2026-04-14T13:21:26.533" v="7888"/>
          <ac:spMkLst>
            <pc:docMk/>
            <pc:sldMk cId="2078397052" sldId="2147482384"/>
            <ac:spMk id="4" creationId="{BAFEF2DF-FF42-9F81-15DE-CEF8247F2856}"/>
          </ac:spMkLst>
        </pc:spChg>
        <pc:spChg chg="add mod ord">
          <ac:chgData name="Karen Smith" userId="674fbaca-8204-4c14-a783-bec32124c23c" providerId="ADAL" clId="{CF1252B2-FCC6-4EA0-8053-51C510C28A0F}" dt="2026-04-14T13:21:26.533" v="7890"/>
          <ac:spMkLst>
            <pc:docMk/>
            <pc:sldMk cId="2078397052" sldId="2147482384"/>
            <ac:spMk id="5" creationId="{03ABF00D-C64D-8D68-D663-691B5DBEB2CE}"/>
          </ac:spMkLst>
        </pc:spChg>
        <pc:spChg chg="add mod ord">
          <ac:chgData name="Karen Smith" userId="674fbaca-8204-4c14-a783-bec32124c23c" providerId="ADAL" clId="{CF1252B2-FCC6-4EA0-8053-51C510C28A0F}" dt="2026-04-14T13:21:26.511" v="7852"/>
          <ac:spMkLst>
            <pc:docMk/>
            <pc:sldMk cId="2078397052" sldId="2147482384"/>
            <ac:spMk id="6" creationId="{E247540E-ABF8-A494-AC45-A66E09C07CB5}"/>
          </ac:spMkLst>
        </pc:spChg>
        <pc:spChg chg="mod ord">
          <ac:chgData name="Karen Smith" userId="674fbaca-8204-4c14-a783-bec32124c23c" providerId="ADAL" clId="{CF1252B2-FCC6-4EA0-8053-51C510C28A0F}" dt="2026-04-14T13:21:26.511" v="7858"/>
          <ac:spMkLst>
            <pc:docMk/>
            <pc:sldMk cId="2078397052" sldId="2147482384"/>
            <ac:spMk id="7" creationId="{C605D5B4-55D2-A5D3-5924-DD51B50EEA55}"/>
          </ac:spMkLst>
        </pc:spChg>
        <pc:spChg chg="add mod ord">
          <ac:chgData name="Karen Smith" userId="674fbaca-8204-4c14-a783-bec32124c23c" providerId="ADAL" clId="{CF1252B2-FCC6-4EA0-8053-51C510C28A0F}" dt="2026-04-14T13:21:26.511" v="7854"/>
          <ac:spMkLst>
            <pc:docMk/>
            <pc:sldMk cId="2078397052" sldId="2147482384"/>
            <ac:spMk id="8" creationId="{1F6647B7-B6BF-1278-A9B2-1125359DB09A}"/>
          </ac:spMkLst>
        </pc:spChg>
        <pc:spChg chg="mod ord">
          <ac:chgData name="Karen Smith" userId="674fbaca-8204-4c14-a783-bec32124c23c" providerId="ADAL" clId="{CF1252B2-FCC6-4EA0-8053-51C510C28A0F}" dt="2026-04-14T13:21:26.511" v="7862"/>
          <ac:spMkLst>
            <pc:docMk/>
            <pc:sldMk cId="2078397052" sldId="2147482384"/>
            <ac:spMk id="9" creationId="{F88830F3-A5F3-7EC2-83D7-ABD330E11216}"/>
          </ac:spMkLst>
        </pc:spChg>
        <pc:spChg chg="mod ord">
          <ac:chgData name="Karen Smith" userId="674fbaca-8204-4c14-a783-bec32124c23c" providerId="ADAL" clId="{CF1252B2-FCC6-4EA0-8053-51C510C28A0F}" dt="2026-04-14T13:21:26.511" v="7864"/>
          <ac:spMkLst>
            <pc:docMk/>
            <pc:sldMk cId="2078397052" sldId="2147482384"/>
            <ac:spMk id="11" creationId="{D84AEDB9-E0BC-989C-20D7-FF27921FB0BE}"/>
          </ac:spMkLst>
        </pc:spChg>
        <pc:spChg chg="add mod ord">
          <ac:chgData name="Karen Smith" userId="674fbaca-8204-4c14-a783-bec32124c23c" providerId="ADAL" clId="{CF1252B2-FCC6-4EA0-8053-51C510C28A0F}" dt="2026-04-14T13:24:09.429" v="8157" actId="207"/>
          <ac:spMkLst>
            <pc:docMk/>
            <pc:sldMk cId="2078397052" sldId="2147482384"/>
            <ac:spMk id="19" creationId="{7CE991DB-F7BA-E578-82BC-14625DA2DBCA}"/>
          </ac:spMkLst>
        </pc:spChg>
        <pc:spChg chg="mod ord">
          <ac:chgData name="Karen Smith" userId="674fbaca-8204-4c14-a783-bec32124c23c" providerId="ADAL" clId="{CF1252B2-FCC6-4EA0-8053-51C510C28A0F}" dt="2026-04-14T13:21:26.527" v="7866"/>
          <ac:spMkLst>
            <pc:docMk/>
            <pc:sldMk cId="2078397052" sldId="2147482384"/>
            <ac:spMk id="32" creationId="{F8CF3639-B3CA-96AD-E509-20B8E73FA05A}"/>
          </ac:spMkLst>
        </pc:spChg>
        <pc:spChg chg="mod">
          <ac:chgData name="Karen Smith" userId="674fbaca-8204-4c14-a783-bec32124c23c" providerId="ADAL" clId="{CF1252B2-FCC6-4EA0-8053-51C510C28A0F}" dt="2026-04-14T11:43:00.848" v="444" actId="1038"/>
          <ac:spMkLst>
            <pc:docMk/>
            <pc:sldMk cId="2078397052" sldId="2147482384"/>
            <ac:spMk id="41" creationId="{6F0177E1-2650-6A4D-FED7-C933D38B8C5B}"/>
          </ac:spMkLst>
        </pc:spChg>
        <pc:spChg chg="mod">
          <ac:chgData name="Karen Smith" userId="674fbaca-8204-4c14-a783-bec32124c23c" providerId="ADAL" clId="{CF1252B2-FCC6-4EA0-8053-51C510C28A0F}" dt="2026-04-14T11:43:00.848" v="444" actId="1038"/>
          <ac:spMkLst>
            <pc:docMk/>
            <pc:sldMk cId="2078397052" sldId="2147482384"/>
            <ac:spMk id="42" creationId="{1194A291-68D2-6F7A-F391-0D76EC7720E7}"/>
          </ac:spMkLst>
        </pc:spChg>
        <pc:spChg chg="mod">
          <ac:chgData name="Karen Smith" userId="674fbaca-8204-4c14-a783-bec32124c23c" providerId="ADAL" clId="{CF1252B2-FCC6-4EA0-8053-51C510C28A0F}" dt="2026-04-14T11:43:00.848" v="444" actId="1038"/>
          <ac:spMkLst>
            <pc:docMk/>
            <pc:sldMk cId="2078397052" sldId="2147482384"/>
            <ac:spMk id="43" creationId="{30DEFAC0-5495-2165-BDD1-4F0965CF8D2A}"/>
          </ac:spMkLst>
        </pc:spChg>
        <pc:spChg chg="mod">
          <ac:chgData name="Karen Smith" userId="674fbaca-8204-4c14-a783-bec32124c23c" providerId="ADAL" clId="{CF1252B2-FCC6-4EA0-8053-51C510C28A0F}" dt="2026-04-14T11:43:00.848" v="444" actId="1038"/>
          <ac:spMkLst>
            <pc:docMk/>
            <pc:sldMk cId="2078397052" sldId="2147482384"/>
            <ac:spMk id="44" creationId="{F7381233-4D27-E32F-A492-884AB56C12BE}"/>
          </ac:spMkLst>
        </pc:spChg>
        <pc:spChg chg="mod ord">
          <ac:chgData name="Karen Smith" userId="674fbaca-8204-4c14-a783-bec32124c23c" providerId="ADAL" clId="{CF1252B2-FCC6-4EA0-8053-51C510C28A0F}" dt="2026-04-14T13:21:26.527" v="7870"/>
          <ac:spMkLst>
            <pc:docMk/>
            <pc:sldMk cId="2078397052" sldId="2147482384"/>
            <ac:spMk id="115" creationId="{F1386F9B-2B9A-9487-21A6-B977EBD0B052}"/>
          </ac:spMkLst>
        </pc:spChg>
        <pc:spChg chg="mod ord">
          <ac:chgData name="Karen Smith" userId="674fbaca-8204-4c14-a783-bec32124c23c" providerId="ADAL" clId="{CF1252B2-FCC6-4EA0-8053-51C510C28A0F}" dt="2026-04-14T13:21:26.527" v="7872"/>
          <ac:spMkLst>
            <pc:docMk/>
            <pc:sldMk cId="2078397052" sldId="2147482384"/>
            <ac:spMk id="116" creationId="{ACCAC8EE-2507-F38B-138B-316E5F0FD950}"/>
          </ac:spMkLst>
        </pc:spChg>
        <pc:spChg chg="mod ord">
          <ac:chgData name="Karen Smith" userId="674fbaca-8204-4c14-a783-bec32124c23c" providerId="ADAL" clId="{CF1252B2-FCC6-4EA0-8053-51C510C28A0F}" dt="2026-04-14T13:21:26.511" v="7856"/>
          <ac:spMkLst>
            <pc:docMk/>
            <pc:sldMk cId="2078397052" sldId="2147482384"/>
            <ac:spMk id="117" creationId="{409802E6-1764-C5FD-6B8A-0CF9EA3AE8D5}"/>
          </ac:spMkLst>
        </pc:spChg>
        <pc:spChg chg="mod ord">
          <ac:chgData name="Karen Smith" userId="674fbaca-8204-4c14-a783-bec32124c23c" providerId="ADAL" clId="{CF1252B2-FCC6-4EA0-8053-51C510C28A0F}" dt="2026-04-14T13:21:26.527" v="7874"/>
          <ac:spMkLst>
            <pc:docMk/>
            <pc:sldMk cId="2078397052" sldId="2147482384"/>
            <ac:spMk id="118" creationId="{6313DB40-BE31-640E-D3CB-6C23D5C6E12C}"/>
          </ac:spMkLst>
        </pc:spChg>
        <pc:spChg chg="mod ord">
          <ac:chgData name="Karen Smith" userId="674fbaca-8204-4c14-a783-bec32124c23c" providerId="ADAL" clId="{CF1252B2-FCC6-4EA0-8053-51C510C28A0F}" dt="2026-04-14T13:21:26.527" v="7878"/>
          <ac:spMkLst>
            <pc:docMk/>
            <pc:sldMk cId="2078397052" sldId="2147482384"/>
            <ac:spMk id="121" creationId="{11D5DCCC-2D1F-F4F2-C655-62D22981526A}"/>
          </ac:spMkLst>
        </pc:spChg>
        <pc:spChg chg="mod ord">
          <ac:chgData name="Karen Smith" userId="674fbaca-8204-4c14-a783-bec32124c23c" providerId="ADAL" clId="{CF1252B2-FCC6-4EA0-8053-51C510C28A0F}" dt="2026-04-14T13:21:26.527" v="7876"/>
          <ac:spMkLst>
            <pc:docMk/>
            <pc:sldMk cId="2078397052" sldId="2147482384"/>
            <ac:spMk id="145" creationId="{4B8ECB8B-7A32-9C68-9716-720122890B21}"/>
          </ac:spMkLst>
        </pc:spChg>
        <pc:spChg chg="mod ord">
          <ac:chgData name="Karen Smith" userId="674fbaca-8204-4c14-a783-bec32124c23c" providerId="ADAL" clId="{CF1252B2-FCC6-4EA0-8053-51C510C28A0F}" dt="2026-04-14T13:21:26.527" v="7882"/>
          <ac:spMkLst>
            <pc:docMk/>
            <pc:sldMk cId="2078397052" sldId="2147482384"/>
            <ac:spMk id="146" creationId="{6E8A89E7-A0C5-9BD2-0BBA-2546F59B6918}"/>
          </ac:spMkLst>
        </pc:spChg>
        <pc:spChg chg="mod ord">
          <ac:chgData name="Karen Smith" userId="674fbaca-8204-4c14-a783-bec32124c23c" providerId="ADAL" clId="{CF1252B2-FCC6-4EA0-8053-51C510C28A0F}" dt="2026-04-14T13:21:26.533" v="7884"/>
          <ac:spMkLst>
            <pc:docMk/>
            <pc:sldMk cId="2078397052" sldId="2147482384"/>
            <ac:spMk id="147" creationId="{2AE69E2B-3D6F-9F01-1A57-EF3A5E740C79}"/>
          </ac:spMkLst>
        </pc:spChg>
        <pc:spChg chg="mod ord">
          <ac:chgData name="Karen Smith" userId="674fbaca-8204-4c14-a783-bec32124c23c" providerId="ADAL" clId="{CF1252B2-FCC6-4EA0-8053-51C510C28A0F}" dt="2026-04-14T13:21:26.511" v="7860"/>
          <ac:spMkLst>
            <pc:docMk/>
            <pc:sldMk cId="2078397052" sldId="2147482384"/>
            <ac:spMk id="180" creationId="{0C0C7E67-33FD-6AD5-4ED6-C107C5BA7C0D}"/>
          </ac:spMkLst>
        </pc:spChg>
        <pc:spChg chg="add mod ord">
          <ac:chgData name="Karen Smith" userId="674fbaca-8204-4c14-a783-bec32124c23c" providerId="ADAL" clId="{CF1252B2-FCC6-4EA0-8053-51C510C28A0F}" dt="2026-04-14T13:23:03.785" v="8148" actId="1076"/>
          <ac:spMkLst>
            <pc:docMk/>
            <pc:sldMk cId="2078397052" sldId="2147482384"/>
            <ac:spMk id="693" creationId="{C3380D4D-AD15-B074-598C-64DE9AB394F2}"/>
          </ac:spMkLst>
        </pc:spChg>
        <pc:spChg chg="add mod ord">
          <ac:chgData name="Karen Smith" userId="674fbaca-8204-4c14-a783-bec32124c23c" providerId="ADAL" clId="{CF1252B2-FCC6-4EA0-8053-51C510C28A0F}" dt="2026-04-14T13:23:03.785" v="8148" actId="1076"/>
          <ac:spMkLst>
            <pc:docMk/>
            <pc:sldMk cId="2078397052" sldId="2147482384"/>
            <ac:spMk id="694" creationId="{634BB3FF-BB1B-B5E2-E24B-D4A2095E989B}"/>
          </ac:spMkLst>
        </pc:spChg>
        <pc:spChg chg="add mod ord">
          <ac:chgData name="Karen Smith" userId="674fbaca-8204-4c14-a783-bec32124c23c" providerId="ADAL" clId="{CF1252B2-FCC6-4EA0-8053-51C510C28A0F}" dt="2026-04-14T13:23:03.785" v="8148" actId="1076"/>
          <ac:spMkLst>
            <pc:docMk/>
            <pc:sldMk cId="2078397052" sldId="2147482384"/>
            <ac:spMk id="695" creationId="{497C029B-8C00-44D1-6E58-0CA03CDFACDC}"/>
          </ac:spMkLst>
        </pc:spChg>
        <pc:spChg chg="add mod ord">
          <ac:chgData name="Karen Smith" userId="674fbaca-8204-4c14-a783-bec32124c23c" providerId="ADAL" clId="{CF1252B2-FCC6-4EA0-8053-51C510C28A0F}" dt="2026-04-14T13:23:03.785" v="8148" actId="1076"/>
          <ac:spMkLst>
            <pc:docMk/>
            <pc:sldMk cId="2078397052" sldId="2147482384"/>
            <ac:spMk id="696" creationId="{9EE23385-7662-B1DB-3282-DF303A23E6FF}"/>
          </ac:spMkLst>
        </pc:spChg>
        <pc:spChg chg="add mod ord">
          <ac:chgData name="Karen Smith" userId="674fbaca-8204-4c14-a783-bec32124c23c" providerId="ADAL" clId="{CF1252B2-FCC6-4EA0-8053-51C510C28A0F}" dt="2026-04-14T13:23:03.785" v="8148" actId="1076"/>
          <ac:spMkLst>
            <pc:docMk/>
            <pc:sldMk cId="2078397052" sldId="2147482384"/>
            <ac:spMk id="697" creationId="{04957D4C-59A9-5437-EF6C-A8191003CA45}"/>
          </ac:spMkLst>
        </pc:spChg>
        <pc:spChg chg="add mod ord">
          <ac:chgData name="Karen Smith" userId="674fbaca-8204-4c14-a783-bec32124c23c" providerId="ADAL" clId="{CF1252B2-FCC6-4EA0-8053-51C510C28A0F}" dt="2026-04-14T13:23:03.785" v="8148" actId="1076"/>
          <ac:spMkLst>
            <pc:docMk/>
            <pc:sldMk cId="2078397052" sldId="2147482384"/>
            <ac:spMk id="698" creationId="{D21C3B4F-CEF7-B08A-D6A3-67F14970FAF1}"/>
          </ac:spMkLst>
        </pc:spChg>
        <pc:spChg chg="mod">
          <ac:chgData name="Karen Smith" userId="674fbaca-8204-4c14-a783-bec32124c23c" providerId="ADAL" clId="{CF1252B2-FCC6-4EA0-8053-51C510C28A0F}" dt="2026-04-14T13:25:32.203" v="8167" actId="207"/>
          <ac:spMkLst>
            <pc:docMk/>
            <pc:sldMk cId="2078397052" sldId="2147482384"/>
            <ac:spMk id="704" creationId="{A5FF4A0E-D2CD-9DE7-60F6-18EE627D409B}"/>
          </ac:spMkLst>
        </pc:spChg>
        <pc:spChg chg="mod">
          <ac:chgData name="Karen Smith" userId="674fbaca-8204-4c14-a783-bec32124c23c" providerId="ADAL" clId="{CF1252B2-FCC6-4EA0-8053-51C510C28A0F}" dt="2026-04-14T13:25:24.895" v="8166" actId="207"/>
          <ac:spMkLst>
            <pc:docMk/>
            <pc:sldMk cId="2078397052" sldId="2147482384"/>
            <ac:spMk id="705" creationId="{514B1B8D-04E7-D861-B81E-36866310558D}"/>
          </ac:spMkLst>
        </pc:spChg>
        <pc:spChg chg="mod">
          <ac:chgData name="Karen Smith" userId="674fbaca-8204-4c14-a783-bec32124c23c" providerId="ADAL" clId="{CF1252B2-FCC6-4EA0-8053-51C510C28A0F}" dt="2026-04-14T13:25:14.357" v="8164" actId="207"/>
          <ac:spMkLst>
            <pc:docMk/>
            <pc:sldMk cId="2078397052" sldId="2147482384"/>
            <ac:spMk id="853" creationId="{A7B17245-6AE1-75EE-3ECE-926F0D149C5F}"/>
          </ac:spMkLst>
        </pc:spChg>
        <pc:spChg chg="mod">
          <ac:chgData name="Karen Smith" userId="674fbaca-8204-4c14-a783-bec32124c23c" providerId="ADAL" clId="{CF1252B2-FCC6-4EA0-8053-51C510C28A0F}" dt="2026-04-14T13:25:18.566" v="8165" actId="207"/>
          <ac:spMkLst>
            <pc:docMk/>
            <pc:sldMk cId="2078397052" sldId="2147482384"/>
            <ac:spMk id="854" creationId="{B0D2046E-5682-CD4A-109B-2B34D74D65BA}"/>
          </ac:spMkLst>
        </pc:spChg>
        <pc:spChg chg="mod">
          <ac:chgData name="Karen Smith" userId="674fbaca-8204-4c14-a783-bec32124c23c" providerId="ADAL" clId="{CF1252B2-FCC6-4EA0-8053-51C510C28A0F}" dt="2026-04-14T13:22:45.583" v="8141"/>
          <ac:spMkLst>
            <pc:docMk/>
            <pc:sldMk cId="2078397052" sldId="2147482384"/>
            <ac:spMk id="856" creationId="{470D8857-5B98-7F3C-A5A2-94AB59A2009D}"/>
          </ac:spMkLst>
        </pc:spChg>
        <pc:spChg chg="mod">
          <ac:chgData name="Karen Smith" userId="674fbaca-8204-4c14-a783-bec32124c23c" providerId="ADAL" clId="{CF1252B2-FCC6-4EA0-8053-51C510C28A0F}" dt="2026-04-14T13:22:45.583" v="8141"/>
          <ac:spMkLst>
            <pc:docMk/>
            <pc:sldMk cId="2078397052" sldId="2147482384"/>
            <ac:spMk id="857" creationId="{97DB8406-9FFA-6131-4B08-D528770795B5}"/>
          </ac:spMkLst>
        </pc:spChg>
        <pc:spChg chg="mod">
          <ac:chgData name="Karen Smith" userId="674fbaca-8204-4c14-a783-bec32124c23c" providerId="ADAL" clId="{CF1252B2-FCC6-4EA0-8053-51C510C28A0F}" dt="2026-04-14T13:23:15.783" v="8149" actId="207"/>
          <ac:spMkLst>
            <pc:docMk/>
            <pc:sldMk cId="2078397052" sldId="2147482384"/>
            <ac:spMk id="863" creationId="{2F042D0B-2E63-3063-FA6F-9D583FFFA3F0}"/>
          </ac:spMkLst>
        </pc:spChg>
        <pc:spChg chg="mod">
          <ac:chgData name="Karen Smith" userId="674fbaca-8204-4c14-a783-bec32124c23c" providerId="ADAL" clId="{CF1252B2-FCC6-4EA0-8053-51C510C28A0F}" dt="2026-04-14T13:23:21.722" v="8150" actId="207"/>
          <ac:spMkLst>
            <pc:docMk/>
            <pc:sldMk cId="2078397052" sldId="2147482384"/>
            <ac:spMk id="864" creationId="{18B5764E-9652-3571-3396-5B8A944168C6}"/>
          </ac:spMkLst>
        </pc:spChg>
        <pc:spChg chg="mod">
          <ac:chgData name="Karen Smith" userId="674fbaca-8204-4c14-a783-bec32124c23c" providerId="ADAL" clId="{CF1252B2-FCC6-4EA0-8053-51C510C28A0F}" dt="2026-04-14T13:20:09.278" v="7261" actId="207"/>
          <ac:spMkLst>
            <pc:docMk/>
            <pc:sldMk cId="2078397052" sldId="2147482384"/>
            <ac:spMk id="1426" creationId="{C7FE499F-BD43-1E00-2F14-DD8D6A5CC8E2}"/>
          </ac:spMkLst>
        </pc:spChg>
        <pc:spChg chg="mod">
          <ac:chgData name="Karen Smith" userId="674fbaca-8204-4c14-a783-bec32124c23c" providerId="ADAL" clId="{CF1252B2-FCC6-4EA0-8053-51C510C28A0F}" dt="2026-04-14T13:19:23.674" v="7124" actId="20577"/>
          <ac:spMkLst>
            <pc:docMk/>
            <pc:sldMk cId="2078397052" sldId="2147482384"/>
            <ac:spMk id="1428" creationId="{608D7924-925A-7AFF-EEA5-31F7C21906F8}"/>
          </ac:spMkLst>
        </pc:spChg>
        <pc:spChg chg="mod">
          <ac:chgData name="Karen Smith" userId="674fbaca-8204-4c14-a783-bec32124c23c" providerId="ADAL" clId="{CF1252B2-FCC6-4EA0-8053-51C510C28A0F}" dt="2026-04-14T13:19:23.690" v="7125" actId="20577"/>
          <ac:spMkLst>
            <pc:docMk/>
            <pc:sldMk cId="2078397052" sldId="2147482384"/>
            <ac:spMk id="1429" creationId="{DE17A140-6A32-5108-9B59-4553F20E924A}"/>
          </ac:spMkLst>
        </pc:spChg>
        <pc:spChg chg="mod">
          <ac:chgData name="Karen Smith" userId="674fbaca-8204-4c14-a783-bec32124c23c" providerId="ADAL" clId="{CF1252B2-FCC6-4EA0-8053-51C510C28A0F}" dt="2026-04-14T13:22:45.583" v="8143"/>
          <ac:spMkLst>
            <pc:docMk/>
            <pc:sldMk cId="2078397052" sldId="2147482384"/>
            <ac:spMk id="1430" creationId="{927EDA1C-D887-8E36-DFED-E8488121C40D}"/>
          </ac:spMkLst>
        </pc:spChg>
        <pc:spChg chg="mod">
          <ac:chgData name="Karen Smith" userId="674fbaca-8204-4c14-a783-bec32124c23c" providerId="ADAL" clId="{CF1252B2-FCC6-4EA0-8053-51C510C28A0F}" dt="2026-04-14T13:19:23.690" v="7127" actId="20577"/>
          <ac:spMkLst>
            <pc:docMk/>
            <pc:sldMk cId="2078397052" sldId="2147482384"/>
            <ac:spMk id="1431" creationId="{180F2148-4456-9313-C95A-5322DD69B11A}"/>
          </ac:spMkLst>
        </pc:spChg>
        <pc:spChg chg="mod">
          <ac:chgData name="Karen Smith" userId="674fbaca-8204-4c14-a783-bec32124c23c" providerId="ADAL" clId="{CF1252B2-FCC6-4EA0-8053-51C510C28A0F}" dt="2026-04-14T13:19:23.690" v="7128" actId="20577"/>
          <ac:spMkLst>
            <pc:docMk/>
            <pc:sldMk cId="2078397052" sldId="2147482384"/>
            <ac:spMk id="1432" creationId="{D4CEE9F1-95C3-05D7-C3F2-176DCE5E8BF1}"/>
          </ac:spMkLst>
        </pc:spChg>
        <pc:spChg chg="mod">
          <ac:chgData name="Karen Smith" userId="674fbaca-8204-4c14-a783-bec32124c23c" providerId="ADAL" clId="{CF1252B2-FCC6-4EA0-8053-51C510C28A0F}" dt="2026-04-14T13:19:23.690" v="7129" actId="20577"/>
          <ac:spMkLst>
            <pc:docMk/>
            <pc:sldMk cId="2078397052" sldId="2147482384"/>
            <ac:spMk id="1433" creationId="{6CE55AF6-04A6-D56C-DFB0-561994287258}"/>
          </ac:spMkLst>
        </pc:spChg>
        <pc:spChg chg="mod">
          <ac:chgData name="Karen Smith" userId="674fbaca-8204-4c14-a783-bec32124c23c" providerId="ADAL" clId="{CF1252B2-FCC6-4EA0-8053-51C510C28A0F}" dt="2026-04-14T13:19:23.690" v="7130" actId="20577"/>
          <ac:spMkLst>
            <pc:docMk/>
            <pc:sldMk cId="2078397052" sldId="2147482384"/>
            <ac:spMk id="1434" creationId="{9DE0515B-0F0B-7EE8-B0F2-68155839E3D8}"/>
          </ac:spMkLst>
        </pc:spChg>
        <pc:spChg chg="mod">
          <ac:chgData name="Karen Smith" userId="674fbaca-8204-4c14-a783-bec32124c23c" providerId="ADAL" clId="{CF1252B2-FCC6-4EA0-8053-51C510C28A0F}" dt="2026-04-14T13:19:23.690" v="7131" actId="20577"/>
          <ac:spMkLst>
            <pc:docMk/>
            <pc:sldMk cId="2078397052" sldId="2147482384"/>
            <ac:spMk id="1435" creationId="{30F5795A-6A15-49E9-7035-E9751FF59670}"/>
          </ac:spMkLst>
        </pc:spChg>
        <pc:spChg chg="mod">
          <ac:chgData name="Karen Smith" userId="674fbaca-8204-4c14-a783-bec32124c23c" providerId="ADAL" clId="{CF1252B2-FCC6-4EA0-8053-51C510C28A0F}" dt="2026-04-14T13:19:23.698" v="7132" actId="20577"/>
          <ac:spMkLst>
            <pc:docMk/>
            <pc:sldMk cId="2078397052" sldId="2147482384"/>
            <ac:spMk id="1436" creationId="{3BC1F19B-2A92-7C2C-D0F0-DDD62F507A61}"/>
          </ac:spMkLst>
        </pc:spChg>
        <pc:spChg chg="mod">
          <ac:chgData name="Karen Smith" userId="674fbaca-8204-4c14-a783-bec32124c23c" providerId="ADAL" clId="{CF1252B2-FCC6-4EA0-8053-51C510C28A0F}" dt="2026-04-14T13:19:23.698" v="7133" actId="20577"/>
          <ac:spMkLst>
            <pc:docMk/>
            <pc:sldMk cId="2078397052" sldId="2147482384"/>
            <ac:spMk id="1437" creationId="{DB745539-7FAA-2ACF-26E9-8B52412F775C}"/>
          </ac:spMkLst>
        </pc:spChg>
        <pc:spChg chg="mod">
          <ac:chgData name="Karen Smith" userId="674fbaca-8204-4c14-a783-bec32124c23c" providerId="ADAL" clId="{CF1252B2-FCC6-4EA0-8053-51C510C28A0F}" dt="2026-04-14T13:19:23.698" v="7134" actId="20577"/>
          <ac:spMkLst>
            <pc:docMk/>
            <pc:sldMk cId="2078397052" sldId="2147482384"/>
            <ac:spMk id="1438" creationId="{8014D951-0EEB-F722-FFD9-7E3E2A35B96B}"/>
          </ac:spMkLst>
        </pc:spChg>
        <pc:spChg chg="mod">
          <ac:chgData name="Karen Smith" userId="674fbaca-8204-4c14-a783-bec32124c23c" providerId="ADAL" clId="{CF1252B2-FCC6-4EA0-8053-51C510C28A0F}" dt="2026-04-14T13:19:23.698" v="7135" actId="20577"/>
          <ac:spMkLst>
            <pc:docMk/>
            <pc:sldMk cId="2078397052" sldId="2147482384"/>
            <ac:spMk id="1439" creationId="{CB8780B8-BC03-F8FD-32CA-36BCDACE8305}"/>
          </ac:spMkLst>
        </pc:spChg>
        <pc:spChg chg="mod">
          <ac:chgData name="Karen Smith" userId="674fbaca-8204-4c14-a783-bec32124c23c" providerId="ADAL" clId="{CF1252B2-FCC6-4EA0-8053-51C510C28A0F}" dt="2026-04-14T13:19:23.698" v="7136" actId="20577"/>
          <ac:spMkLst>
            <pc:docMk/>
            <pc:sldMk cId="2078397052" sldId="2147482384"/>
            <ac:spMk id="1440" creationId="{48E7DDFA-10EB-F743-F5C3-8E0A37FF9111}"/>
          </ac:spMkLst>
        </pc:spChg>
        <pc:spChg chg="mod">
          <ac:chgData name="Karen Smith" userId="674fbaca-8204-4c14-a783-bec32124c23c" providerId="ADAL" clId="{CF1252B2-FCC6-4EA0-8053-51C510C28A0F}" dt="2026-04-14T13:19:23.706" v="7137" actId="20577"/>
          <ac:spMkLst>
            <pc:docMk/>
            <pc:sldMk cId="2078397052" sldId="2147482384"/>
            <ac:spMk id="1441" creationId="{7E8785A8-F292-C759-006F-921054E58F3D}"/>
          </ac:spMkLst>
        </pc:spChg>
        <pc:spChg chg="mod">
          <ac:chgData name="Karen Smith" userId="674fbaca-8204-4c14-a783-bec32124c23c" providerId="ADAL" clId="{CF1252B2-FCC6-4EA0-8053-51C510C28A0F}" dt="2026-04-14T13:19:23.706" v="7138" actId="20577"/>
          <ac:spMkLst>
            <pc:docMk/>
            <pc:sldMk cId="2078397052" sldId="2147482384"/>
            <ac:spMk id="1442" creationId="{1E030DF7-03CB-ECC5-674A-BF452D91DA56}"/>
          </ac:spMkLst>
        </pc:spChg>
        <pc:spChg chg="mod">
          <ac:chgData name="Karen Smith" userId="674fbaca-8204-4c14-a783-bec32124c23c" providerId="ADAL" clId="{CF1252B2-FCC6-4EA0-8053-51C510C28A0F}" dt="2026-04-14T13:19:23.706" v="7139" actId="20577"/>
          <ac:spMkLst>
            <pc:docMk/>
            <pc:sldMk cId="2078397052" sldId="2147482384"/>
            <ac:spMk id="1443" creationId="{E5F86A92-E4CF-6440-544A-BE02421DAE5F}"/>
          </ac:spMkLst>
        </pc:spChg>
        <pc:spChg chg="mod">
          <ac:chgData name="Karen Smith" userId="674fbaca-8204-4c14-a783-bec32124c23c" providerId="ADAL" clId="{CF1252B2-FCC6-4EA0-8053-51C510C28A0F}" dt="2026-04-14T13:19:23.706" v="7140" actId="20577"/>
          <ac:spMkLst>
            <pc:docMk/>
            <pc:sldMk cId="2078397052" sldId="2147482384"/>
            <ac:spMk id="1444" creationId="{577ABD10-0CAD-7888-359B-7067E27C952E}"/>
          </ac:spMkLst>
        </pc:spChg>
        <pc:spChg chg="mod">
          <ac:chgData name="Karen Smith" userId="674fbaca-8204-4c14-a783-bec32124c23c" providerId="ADAL" clId="{CF1252B2-FCC6-4EA0-8053-51C510C28A0F}" dt="2026-04-14T13:19:23.706" v="7141" actId="20577"/>
          <ac:spMkLst>
            <pc:docMk/>
            <pc:sldMk cId="2078397052" sldId="2147482384"/>
            <ac:spMk id="1445" creationId="{D355A0A3-FDC5-73AC-ECE7-5FC3D8315C0F}"/>
          </ac:spMkLst>
        </pc:spChg>
        <pc:spChg chg="mod">
          <ac:chgData name="Karen Smith" userId="674fbaca-8204-4c14-a783-bec32124c23c" providerId="ADAL" clId="{CF1252B2-FCC6-4EA0-8053-51C510C28A0F}" dt="2026-04-14T13:19:23.706" v="7142" actId="20577"/>
          <ac:spMkLst>
            <pc:docMk/>
            <pc:sldMk cId="2078397052" sldId="2147482384"/>
            <ac:spMk id="1446" creationId="{BC7700D4-53FD-A053-3D12-88D83C5B1A81}"/>
          </ac:spMkLst>
        </pc:spChg>
        <pc:spChg chg="mod">
          <ac:chgData name="Karen Smith" userId="674fbaca-8204-4c14-a783-bec32124c23c" providerId="ADAL" clId="{CF1252B2-FCC6-4EA0-8053-51C510C28A0F}" dt="2026-04-14T13:19:23.706" v="7143" actId="20577"/>
          <ac:spMkLst>
            <pc:docMk/>
            <pc:sldMk cId="2078397052" sldId="2147482384"/>
            <ac:spMk id="1447" creationId="{F1FA725F-10F9-B7A2-2365-364F519E0B80}"/>
          </ac:spMkLst>
        </pc:spChg>
        <pc:spChg chg="mod">
          <ac:chgData name="Karen Smith" userId="674fbaca-8204-4c14-a783-bec32124c23c" providerId="ADAL" clId="{CF1252B2-FCC6-4EA0-8053-51C510C28A0F}" dt="2026-04-14T13:22:45.583" v="8143"/>
          <ac:spMkLst>
            <pc:docMk/>
            <pc:sldMk cId="2078397052" sldId="2147482384"/>
            <ac:spMk id="1448" creationId="{D2948561-52F8-B414-AB7F-1341B5E988E1}"/>
          </ac:spMkLst>
        </pc:spChg>
        <pc:spChg chg="mod">
          <ac:chgData name="Karen Smith" userId="674fbaca-8204-4c14-a783-bec32124c23c" providerId="ADAL" clId="{CF1252B2-FCC6-4EA0-8053-51C510C28A0F}" dt="2026-04-14T13:19:23.706" v="7145" actId="20577"/>
          <ac:spMkLst>
            <pc:docMk/>
            <pc:sldMk cId="2078397052" sldId="2147482384"/>
            <ac:spMk id="1449" creationId="{04414C80-2518-33A4-4CE2-789396A8D21E}"/>
          </ac:spMkLst>
        </pc:spChg>
        <pc:spChg chg="mod">
          <ac:chgData name="Karen Smith" userId="674fbaca-8204-4c14-a783-bec32124c23c" providerId="ADAL" clId="{CF1252B2-FCC6-4EA0-8053-51C510C28A0F}" dt="2026-04-14T13:19:23.706" v="7146" actId="20577"/>
          <ac:spMkLst>
            <pc:docMk/>
            <pc:sldMk cId="2078397052" sldId="2147482384"/>
            <ac:spMk id="1450" creationId="{19A4FA9B-BB32-725F-68D7-15E654FFE417}"/>
          </ac:spMkLst>
        </pc:spChg>
        <pc:spChg chg="mod">
          <ac:chgData name="Karen Smith" userId="674fbaca-8204-4c14-a783-bec32124c23c" providerId="ADAL" clId="{CF1252B2-FCC6-4EA0-8053-51C510C28A0F}" dt="2026-04-14T13:19:23.706" v="7147" actId="20577"/>
          <ac:spMkLst>
            <pc:docMk/>
            <pc:sldMk cId="2078397052" sldId="2147482384"/>
            <ac:spMk id="1451" creationId="{7085497E-BC83-F5E1-1C81-6DFC511B9B2C}"/>
          </ac:spMkLst>
        </pc:spChg>
        <pc:spChg chg="mod">
          <ac:chgData name="Karen Smith" userId="674fbaca-8204-4c14-a783-bec32124c23c" providerId="ADAL" clId="{CF1252B2-FCC6-4EA0-8053-51C510C28A0F}" dt="2026-04-14T13:19:23.706" v="7148" actId="20577"/>
          <ac:spMkLst>
            <pc:docMk/>
            <pc:sldMk cId="2078397052" sldId="2147482384"/>
            <ac:spMk id="1452" creationId="{564E8E50-EB84-7480-E092-3F2982D90AC0}"/>
          </ac:spMkLst>
        </pc:spChg>
        <pc:spChg chg="mod">
          <ac:chgData name="Karen Smith" userId="674fbaca-8204-4c14-a783-bec32124c23c" providerId="ADAL" clId="{CF1252B2-FCC6-4EA0-8053-51C510C28A0F}" dt="2026-04-14T13:19:23.706" v="7149" actId="20577"/>
          <ac:spMkLst>
            <pc:docMk/>
            <pc:sldMk cId="2078397052" sldId="2147482384"/>
            <ac:spMk id="1453" creationId="{409A1D6E-93DA-739E-1092-A9E0624DE598}"/>
          </ac:spMkLst>
        </pc:spChg>
        <pc:spChg chg="mod">
          <ac:chgData name="Karen Smith" userId="674fbaca-8204-4c14-a783-bec32124c23c" providerId="ADAL" clId="{CF1252B2-FCC6-4EA0-8053-51C510C28A0F}" dt="2026-04-14T13:19:23.722" v="7150" actId="20577"/>
          <ac:spMkLst>
            <pc:docMk/>
            <pc:sldMk cId="2078397052" sldId="2147482384"/>
            <ac:spMk id="1454" creationId="{1AA0B7E9-3201-26CD-7B51-AF3E94D74C60}"/>
          </ac:spMkLst>
        </pc:spChg>
        <pc:spChg chg="mod">
          <ac:chgData name="Karen Smith" userId="674fbaca-8204-4c14-a783-bec32124c23c" providerId="ADAL" clId="{CF1252B2-FCC6-4EA0-8053-51C510C28A0F}" dt="2026-04-14T13:22:37.882" v="8123"/>
          <ac:spMkLst>
            <pc:docMk/>
            <pc:sldMk cId="2078397052" sldId="2147482384"/>
            <ac:spMk id="1455" creationId="{7FE2D0ED-A366-8CB1-921F-1ADE9B98DAD4}"/>
          </ac:spMkLst>
        </pc:spChg>
        <pc:spChg chg="mod">
          <ac:chgData name="Karen Smith" userId="674fbaca-8204-4c14-a783-bec32124c23c" providerId="ADAL" clId="{CF1252B2-FCC6-4EA0-8053-51C510C28A0F}" dt="2026-04-14T13:19:23.722" v="7152" actId="20577"/>
          <ac:spMkLst>
            <pc:docMk/>
            <pc:sldMk cId="2078397052" sldId="2147482384"/>
            <ac:spMk id="1456" creationId="{14321E42-E1FE-D27C-5AD8-01BFA643027F}"/>
          </ac:spMkLst>
        </pc:spChg>
        <pc:spChg chg="mod">
          <ac:chgData name="Karen Smith" userId="674fbaca-8204-4c14-a783-bec32124c23c" providerId="ADAL" clId="{CF1252B2-FCC6-4EA0-8053-51C510C28A0F}" dt="2026-04-14T13:19:23.722" v="7153" actId="20577"/>
          <ac:spMkLst>
            <pc:docMk/>
            <pc:sldMk cId="2078397052" sldId="2147482384"/>
            <ac:spMk id="1457" creationId="{039C520B-9CBE-B7CE-DA5B-220F3A9CEE4C}"/>
          </ac:spMkLst>
        </pc:spChg>
        <pc:spChg chg="mod">
          <ac:chgData name="Karen Smith" userId="674fbaca-8204-4c14-a783-bec32124c23c" providerId="ADAL" clId="{CF1252B2-FCC6-4EA0-8053-51C510C28A0F}" dt="2026-04-14T13:19:23.722" v="7154" actId="20577"/>
          <ac:spMkLst>
            <pc:docMk/>
            <pc:sldMk cId="2078397052" sldId="2147482384"/>
            <ac:spMk id="1458" creationId="{E4AD3F03-3302-B61D-35A4-CA794EAB1781}"/>
          </ac:spMkLst>
        </pc:spChg>
        <pc:spChg chg="mod">
          <ac:chgData name="Karen Smith" userId="674fbaca-8204-4c14-a783-bec32124c23c" providerId="ADAL" clId="{CF1252B2-FCC6-4EA0-8053-51C510C28A0F}" dt="2026-04-14T13:19:23.722" v="7155" actId="20577"/>
          <ac:spMkLst>
            <pc:docMk/>
            <pc:sldMk cId="2078397052" sldId="2147482384"/>
            <ac:spMk id="1459" creationId="{50821A6B-6AE6-731B-4CB0-9D53B5DE3804}"/>
          </ac:spMkLst>
        </pc:spChg>
        <pc:spChg chg="mod">
          <ac:chgData name="Karen Smith" userId="674fbaca-8204-4c14-a783-bec32124c23c" providerId="ADAL" clId="{CF1252B2-FCC6-4EA0-8053-51C510C28A0F}" dt="2026-04-14T13:22:37.882" v="8123"/>
          <ac:spMkLst>
            <pc:docMk/>
            <pc:sldMk cId="2078397052" sldId="2147482384"/>
            <ac:spMk id="1460" creationId="{2E4D2D86-44F5-8F0C-11F4-A54DCF0125FA}"/>
          </ac:spMkLst>
        </pc:spChg>
        <pc:spChg chg="mod">
          <ac:chgData name="Karen Smith" userId="674fbaca-8204-4c14-a783-bec32124c23c" providerId="ADAL" clId="{CF1252B2-FCC6-4EA0-8053-51C510C28A0F}" dt="2026-04-14T13:19:23.722" v="7157" actId="20577"/>
          <ac:spMkLst>
            <pc:docMk/>
            <pc:sldMk cId="2078397052" sldId="2147482384"/>
            <ac:spMk id="1461" creationId="{2890AE63-BA7F-F5D2-8DD7-7F3C0043E9E1}"/>
          </ac:spMkLst>
        </pc:spChg>
        <pc:spChg chg="mod">
          <ac:chgData name="Karen Smith" userId="674fbaca-8204-4c14-a783-bec32124c23c" providerId="ADAL" clId="{CF1252B2-FCC6-4EA0-8053-51C510C28A0F}" dt="2026-04-14T13:22:45.583" v="8143"/>
          <ac:spMkLst>
            <pc:docMk/>
            <pc:sldMk cId="2078397052" sldId="2147482384"/>
            <ac:spMk id="1462" creationId="{D3F888D9-B175-BC2F-BDCA-4601D8917C8B}"/>
          </ac:spMkLst>
        </pc:spChg>
        <pc:spChg chg="mod">
          <ac:chgData name="Karen Smith" userId="674fbaca-8204-4c14-a783-bec32124c23c" providerId="ADAL" clId="{CF1252B2-FCC6-4EA0-8053-51C510C28A0F}" dt="2026-04-14T13:19:23.722" v="7159" actId="20577"/>
          <ac:spMkLst>
            <pc:docMk/>
            <pc:sldMk cId="2078397052" sldId="2147482384"/>
            <ac:spMk id="1463" creationId="{5555F1E1-8813-B752-1FA4-5A516F3B6FCC}"/>
          </ac:spMkLst>
        </pc:spChg>
        <pc:spChg chg="mod">
          <ac:chgData name="Karen Smith" userId="674fbaca-8204-4c14-a783-bec32124c23c" providerId="ADAL" clId="{CF1252B2-FCC6-4EA0-8053-51C510C28A0F}" dt="2026-04-14T13:19:23.722" v="7160" actId="20577"/>
          <ac:spMkLst>
            <pc:docMk/>
            <pc:sldMk cId="2078397052" sldId="2147482384"/>
            <ac:spMk id="1464" creationId="{4A27B257-A9D3-213E-F841-099630D546D9}"/>
          </ac:spMkLst>
        </pc:spChg>
        <pc:spChg chg="mod">
          <ac:chgData name="Karen Smith" userId="674fbaca-8204-4c14-a783-bec32124c23c" providerId="ADAL" clId="{CF1252B2-FCC6-4EA0-8053-51C510C28A0F}" dt="2026-04-14T13:19:23.722" v="7161" actId="20577"/>
          <ac:spMkLst>
            <pc:docMk/>
            <pc:sldMk cId="2078397052" sldId="2147482384"/>
            <ac:spMk id="1465" creationId="{7B9B30B0-8BE5-875E-528F-1ADD7DA0ED82}"/>
          </ac:spMkLst>
        </pc:spChg>
        <pc:spChg chg="mod">
          <ac:chgData name="Karen Smith" userId="674fbaca-8204-4c14-a783-bec32124c23c" providerId="ADAL" clId="{CF1252B2-FCC6-4EA0-8053-51C510C28A0F}" dt="2026-04-14T13:19:23.722" v="7162" actId="20577"/>
          <ac:spMkLst>
            <pc:docMk/>
            <pc:sldMk cId="2078397052" sldId="2147482384"/>
            <ac:spMk id="1466" creationId="{C891F91B-02A6-501D-95EF-21C93D246035}"/>
          </ac:spMkLst>
        </pc:spChg>
        <pc:spChg chg="mod">
          <ac:chgData name="Karen Smith" userId="674fbaca-8204-4c14-a783-bec32124c23c" providerId="ADAL" clId="{CF1252B2-FCC6-4EA0-8053-51C510C28A0F}" dt="2026-04-14T13:22:45.583" v="8143"/>
          <ac:spMkLst>
            <pc:docMk/>
            <pc:sldMk cId="2078397052" sldId="2147482384"/>
            <ac:spMk id="1467" creationId="{94B60424-CBB6-593D-F647-345A8B781197}"/>
          </ac:spMkLst>
        </pc:spChg>
        <pc:spChg chg="mod">
          <ac:chgData name="Karen Smith" userId="674fbaca-8204-4c14-a783-bec32124c23c" providerId="ADAL" clId="{CF1252B2-FCC6-4EA0-8053-51C510C28A0F}" dt="2026-04-14T13:19:23.737" v="7164" actId="20577"/>
          <ac:spMkLst>
            <pc:docMk/>
            <pc:sldMk cId="2078397052" sldId="2147482384"/>
            <ac:spMk id="1468" creationId="{23DD0DA9-0512-CD83-D9C1-C30A13FF13A6}"/>
          </ac:spMkLst>
        </pc:spChg>
        <pc:spChg chg="mod">
          <ac:chgData name="Karen Smith" userId="674fbaca-8204-4c14-a783-bec32124c23c" providerId="ADAL" clId="{CF1252B2-FCC6-4EA0-8053-51C510C28A0F}" dt="2026-04-14T13:19:23.740" v="7165" actId="20577"/>
          <ac:spMkLst>
            <pc:docMk/>
            <pc:sldMk cId="2078397052" sldId="2147482384"/>
            <ac:spMk id="1469" creationId="{0649C104-EA02-20CF-6FA9-76F3E228C481}"/>
          </ac:spMkLst>
        </pc:spChg>
        <pc:spChg chg="mod">
          <ac:chgData name="Karen Smith" userId="674fbaca-8204-4c14-a783-bec32124c23c" providerId="ADAL" clId="{CF1252B2-FCC6-4EA0-8053-51C510C28A0F}" dt="2026-04-14T13:22:37.882" v="8123"/>
          <ac:spMkLst>
            <pc:docMk/>
            <pc:sldMk cId="2078397052" sldId="2147482384"/>
            <ac:spMk id="1470" creationId="{3F1C42BF-8FD4-0493-C310-FC4F796B515D}"/>
          </ac:spMkLst>
        </pc:spChg>
        <pc:spChg chg="mod">
          <ac:chgData name="Karen Smith" userId="674fbaca-8204-4c14-a783-bec32124c23c" providerId="ADAL" clId="{CF1252B2-FCC6-4EA0-8053-51C510C28A0F}" dt="2026-04-14T13:19:23.740" v="7167" actId="20577"/>
          <ac:spMkLst>
            <pc:docMk/>
            <pc:sldMk cId="2078397052" sldId="2147482384"/>
            <ac:spMk id="1471" creationId="{920562B4-806C-9BC7-96FD-F4052A0D85AD}"/>
          </ac:spMkLst>
        </pc:spChg>
        <pc:spChg chg="mod">
          <ac:chgData name="Karen Smith" userId="674fbaca-8204-4c14-a783-bec32124c23c" providerId="ADAL" clId="{CF1252B2-FCC6-4EA0-8053-51C510C28A0F}" dt="2026-04-14T13:22:37.882" v="8123"/>
          <ac:spMkLst>
            <pc:docMk/>
            <pc:sldMk cId="2078397052" sldId="2147482384"/>
            <ac:spMk id="1472" creationId="{07E37895-2251-47D1-CFFF-29807FEBA371}"/>
          </ac:spMkLst>
        </pc:spChg>
        <pc:spChg chg="mod">
          <ac:chgData name="Karen Smith" userId="674fbaca-8204-4c14-a783-bec32124c23c" providerId="ADAL" clId="{CF1252B2-FCC6-4EA0-8053-51C510C28A0F}" dt="2026-04-14T13:22:45.583" v="8143"/>
          <ac:spMkLst>
            <pc:docMk/>
            <pc:sldMk cId="2078397052" sldId="2147482384"/>
            <ac:spMk id="1473" creationId="{296E4CE1-2633-F35F-2198-D7BD63FD417B}"/>
          </ac:spMkLst>
        </pc:spChg>
        <pc:spChg chg="mod">
          <ac:chgData name="Karen Smith" userId="674fbaca-8204-4c14-a783-bec32124c23c" providerId="ADAL" clId="{CF1252B2-FCC6-4EA0-8053-51C510C28A0F}" dt="2026-04-14T13:19:23.740" v="7170" actId="20577"/>
          <ac:spMkLst>
            <pc:docMk/>
            <pc:sldMk cId="2078397052" sldId="2147482384"/>
            <ac:spMk id="1474" creationId="{BDB4DB53-71F6-94D5-DBD8-64D339542C47}"/>
          </ac:spMkLst>
        </pc:spChg>
        <pc:spChg chg="mod">
          <ac:chgData name="Karen Smith" userId="674fbaca-8204-4c14-a783-bec32124c23c" providerId="ADAL" clId="{CF1252B2-FCC6-4EA0-8053-51C510C28A0F}" dt="2026-04-14T13:19:23.740" v="7171" actId="20577"/>
          <ac:spMkLst>
            <pc:docMk/>
            <pc:sldMk cId="2078397052" sldId="2147482384"/>
            <ac:spMk id="1475" creationId="{654C849B-B93B-8F98-C137-4ECA4E67610C}"/>
          </ac:spMkLst>
        </pc:spChg>
        <pc:spChg chg="mod">
          <ac:chgData name="Karen Smith" userId="674fbaca-8204-4c14-a783-bec32124c23c" providerId="ADAL" clId="{CF1252B2-FCC6-4EA0-8053-51C510C28A0F}" dt="2026-04-14T13:19:23.740" v="7172" actId="20577"/>
          <ac:spMkLst>
            <pc:docMk/>
            <pc:sldMk cId="2078397052" sldId="2147482384"/>
            <ac:spMk id="1476" creationId="{10EFB313-1190-1A8A-6BAF-024CC882D886}"/>
          </ac:spMkLst>
        </pc:spChg>
        <pc:spChg chg="mod">
          <ac:chgData name="Karen Smith" userId="674fbaca-8204-4c14-a783-bec32124c23c" providerId="ADAL" clId="{CF1252B2-FCC6-4EA0-8053-51C510C28A0F}" dt="2026-04-14T13:19:23.740" v="7173" actId="20577"/>
          <ac:spMkLst>
            <pc:docMk/>
            <pc:sldMk cId="2078397052" sldId="2147482384"/>
            <ac:spMk id="1477" creationId="{6036EE5C-75B7-F4FE-12BD-4E4186831B53}"/>
          </ac:spMkLst>
        </pc:spChg>
        <pc:spChg chg="mod">
          <ac:chgData name="Karen Smith" userId="674fbaca-8204-4c14-a783-bec32124c23c" providerId="ADAL" clId="{CF1252B2-FCC6-4EA0-8053-51C510C28A0F}" dt="2026-04-14T13:19:23.740" v="7174" actId="20577"/>
          <ac:spMkLst>
            <pc:docMk/>
            <pc:sldMk cId="2078397052" sldId="2147482384"/>
            <ac:spMk id="1478" creationId="{21110E1E-45E3-EDC7-E3AB-1D57D2AB93B1}"/>
          </ac:spMkLst>
        </pc:spChg>
        <pc:spChg chg="mod">
          <ac:chgData name="Karen Smith" userId="674fbaca-8204-4c14-a783-bec32124c23c" providerId="ADAL" clId="{CF1252B2-FCC6-4EA0-8053-51C510C28A0F}" dt="2026-04-14T13:19:23.740" v="7175" actId="20577"/>
          <ac:spMkLst>
            <pc:docMk/>
            <pc:sldMk cId="2078397052" sldId="2147482384"/>
            <ac:spMk id="1479" creationId="{2819737F-B507-3F8D-7618-49095494881C}"/>
          </ac:spMkLst>
        </pc:spChg>
        <pc:spChg chg="mod">
          <ac:chgData name="Karen Smith" userId="674fbaca-8204-4c14-a783-bec32124c23c" providerId="ADAL" clId="{CF1252B2-FCC6-4EA0-8053-51C510C28A0F}" dt="2026-04-14T13:22:45.583" v="8143"/>
          <ac:spMkLst>
            <pc:docMk/>
            <pc:sldMk cId="2078397052" sldId="2147482384"/>
            <ac:spMk id="1480" creationId="{A828C379-D4AB-A79F-E26D-380379CD0696}"/>
          </ac:spMkLst>
        </pc:spChg>
        <pc:spChg chg="mod">
          <ac:chgData name="Karen Smith" userId="674fbaca-8204-4c14-a783-bec32124c23c" providerId="ADAL" clId="{CF1252B2-FCC6-4EA0-8053-51C510C28A0F}" dt="2026-04-14T13:19:23.753" v="7177" actId="20577"/>
          <ac:spMkLst>
            <pc:docMk/>
            <pc:sldMk cId="2078397052" sldId="2147482384"/>
            <ac:spMk id="1481" creationId="{75BC0B33-5D56-CE91-010D-56C40DC46FEC}"/>
          </ac:spMkLst>
        </pc:spChg>
        <pc:spChg chg="mod">
          <ac:chgData name="Karen Smith" userId="674fbaca-8204-4c14-a783-bec32124c23c" providerId="ADAL" clId="{CF1252B2-FCC6-4EA0-8053-51C510C28A0F}" dt="2026-04-14T13:19:23.753" v="7178" actId="20577"/>
          <ac:spMkLst>
            <pc:docMk/>
            <pc:sldMk cId="2078397052" sldId="2147482384"/>
            <ac:spMk id="1482" creationId="{12BA577A-069E-3DC6-93EB-8B403E67E071}"/>
          </ac:spMkLst>
        </pc:spChg>
        <pc:spChg chg="mod">
          <ac:chgData name="Karen Smith" userId="674fbaca-8204-4c14-a783-bec32124c23c" providerId="ADAL" clId="{CF1252B2-FCC6-4EA0-8053-51C510C28A0F}" dt="2026-04-14T13:19:23.753" v="7179" actId="20577"/>
          <ac:spMkLst>
            <pc:docMk/>
            <pc:sldMk cId="2078397052" sldId="2147482384"/>
            <ac:spMk id="1483" creationId="{28FC0911-AAC1-6299-EA1D-CA3AC93FCDF1}"/>
          </ac:spMkLst>
        </pc:spChg>
        <pc:spChg chg="mod">
          <ac:chgData name="Karen Smith" userId="674fbaca-8204-4c14-a783-bec32124c23c" providerId="ADAL" clId="{CF1252B2-FCC6-4EA0-8053-51C510C28A0F}" dt="2026-04-14T13:19:23.753" v="7180" actId="20577"/>
          <ac:spMkLst>
            <pc:docMk/>
            <pc:sldMk cId="2078397052" sldId="2147482384"/>
            <ac:spMk id="1484" creationId="{D6CD6A8A-03CA-5696-E712-2A62146842A6}"/>
          </ac:spMkLst>
        </pc:spChg>
        <pc:spChg chg="mod">
          <ac:chgData name="Karen Smith" userId="674fbaca-8204-4c14-a783-bec32124c23c" providerId="ADAL" clId="{CF1252B2-FCC6-4EA0-8053-51C510C28A0F}" dt="2026-04-14T13:19:23.753" v="7181" actId="20577"/>
          <ac:spMkLst>
            <pc:docMk/>
            <pc:sldMk cId="2078397052" sldId="2147482384"/>
            <ac:spMk id="1485" creationId="{5FEB06EE-565D-9031-C147-6259E665B0EA}"/>
          </ac:spMkLst>
        </pc:spChg>
        <pc:spChg chg="mod">
          <ac:chgData name="Karen Smith" userId="674fbaca-8204-4c14-a783-bec32124c23c" providerId="ADAL" clId="{CF1252B2-FCC6-4EA0-8053-51C510C28A0F}" dt="2026-04-14T13:19:23.753" v="7182" actId="20577"/>
          <ac:spMkLst>
            <pc:docMk/>
            <pc:sldMk cId="2078397052" sldId="2147482384"/>
            <ac:spMk id="1486" creationId="{CA8535C8-138B-7307-31B2-C910120963C7}"/>
          </ac:spMkLst>
        </pc:spChg>
        <pc:spChg chg="mod">
          <ac:chgData name="Karen Smith" userId="674fbaca-8204-4c14-a783-bec32124c23c" providerId="ADAL" clId="{CF1252B2-FCC6-4EA0-8053-51C510C28A0F}" dt="2026-04-14T13:19:23.753" v="7183" actId="20577"/>
          <ac:spMkLst>
            <pc:docMk/>
            <pc:sldMk cId="2078397052" sldId="2147482384"/>
            <ac:spMk id="1487" creationId="{672EAEA9-0770-1F68-7234-0176E958B48B}"/>
          </ac:spMkLst>
        </pc:spChg>
        <pc:spChg chg="mod">
          <ac:chgData name="Karen Smith" userId="674fbaca-8204-4c14-a783-bec32124c23c" providerId="ADAL" clId="{CF1252B2-FCC6-4EA0-8053-51C510C28A0F}" dt="2026-04-14T13:19:23.753" v="7184" actId="20577"/>
          <ac:spMkLst>
            <pc:docMk/>
            <pc:sldMk cId="2078397052" sldId="2147482384"/>
            <ac:spMk id="1488" creationId="{CDC3931A-78A5-44B4-D213-737E483D5E67}"/>
          </ac:spMkLst>
        </pc:spChg>
        <pc:spChg chg="mod">
          <ac:chgData name="Karen Smith" userId="674fbaca-8204-4c14-a783-bec32124c23c" providerId="ADAL" clId="{CF1252B2-FCC6-4EA0-8053-51C510C28A0F}" dt="2026-04-14T13:19:23.753" v="7185" actId="20577"/>
          <ac:spMkLst>
            <pc:docMk/>
            <pc:sldMk cId="2078397052" sldId="2147482384"/>
            <ac:spMk id="1489" creationId="{B2056009-0F5E-B2BD-6615-E21AA283F447}"/>
          </ac:spMkLst>
        </pc:spChg>
        <pc:spChg chg="mod">
          <ac:chgData name="Karen Smith" userId="674fbaca-8204-4c14-a783-bec32124c23c" providerId="ADAL" clId="{CF1252B2-FCC6-4EA0-8053-51C510C28A0F}" dt="2026-04-14T13:19:23.753" v="7186" actId="20577"/>
          <ac:spMkLst>
            <pc:docMk/>
            <pc:sldMk cId="2078397052" sldId="2147482384"/>
            <ac:spMk id="1490" creationId="{933A695B-8692-5CBB-F164-47AE1A65EE56}"/>
          </ac:spMkLst>
        </pc:spChg>
        <pc:spChg chg="mod">
          <ac:chgData name="Karen Smith" userId="674fbaca-8204-4c14-a783-bec32124c23c" providerId="ADAL" clId="{CF1252B2-FCC6-4EA0-8053-51C510C28A0F}" dt="2026-04-14T13:19:23.753" v="7187" actId="20577"/>
          <ac:spMkLst>
            <pc:docMk/>
            <pc:sldMk cId="2078397052" sldId="2147482384"/>
            <ac:spMk id="1491" creationId="{51951ACC-6B04-0C9A-6C5F-25856BAF9455}"/>
          </ac:spMkLst>
        </pc:spChg>
        <pc:spChg chg="mod">
          <ac:chgData name="Karen Smith" userId="674fbaca-8204-4c14-a783-bec32124c23c" providerId="ADAL" clId="{CF1252B2-FCC6-4EA0-8053-51C510C28A0F}" dt="2026-04-14T13:19:23.769" v="7188" actId="20577"/>
          <ac:spMkLst>
            <pc:docMk/>
            <pc:sldMk cId="2078397052" sldId="2147482384"/>
            <ac:spMk id="1492" creationId="{E701F354-9F46-1B53-A9E6-913F7900E440}"/>
          </ac:spMkLst>
        </pc:spChg>
        <pc:spChg chg="mod">
          <ac:chgData name="Karen Smith" userId="674fbaca-8204-4c14-a783-bec32124c23c" providerId="ADAL" clId="{CF1252B2-FCC6-4EA0-8053-51C510C28A0F}" dt="2026-04-14T13:19:23.769" v="7189" actId="20577"/>
          <ac:spMkLst>
            <pc:docMk/>
            <pc:sldMk cId="2078397052" sldId="2147482384"/>
            <ac:spMk id="1493" creationId="{38E9FBC0-3955-EF04-B1BC-DB05BB6723CA}"/>
          </ac:spMkLst>
        </pc:spChg>
        <pc:spChg chg="mod">
          <ac:chgData name="Karen Smith" userId="674fbaca-8204-4c14-a783-bec32124c23c" providerId="ADAL" clId="{CF1252B2-FCC6-4EA0-8053-51C510C28A0F}" dt="2026-04-14T13:19:23.769" v="7190" actId="20577"/>
          <ac:spMkLst>
            <pc:docMk/>
            <pc:sldMk cId="2078397052" sldId="2147482384"/>
            <ac:spMk id="1494" creationId="{144BEFA9-02B8-EBAA-BE7E-13671A324BDB}"/>
          </ac:spMkLst>
        </pc:spChg>
        <pc:spChg chg="mod">
          <ac:chgData name="Karen Smith" userId="674fbaca-8204-4c14-a783-bec32124c23c" providerId="ADAL" clId="{CF1252B2-FCC6-4EA0-8053-51C510C28A0F}" dt="2026-04-14T13:19:23.769" v="7191" actId="20577"/>
          <ac:spMkLst>
            <pc:docMk/>
            <pc:sldMk cId="2078397052" sldId="2147482384"/>
            <ac:spMk id="1495" creationId="{9EEB8114-22C0-768C-0484-BA1F4D13A8F4}"/>
          </ac:spMkLst>
        </pc:spChg>
        <pc:spChg chg="mod">
          <ac:chgData name="Karen Smith" userId="674fbaca-8204-4c14-a783-bec32124c23c" providerId="ADAL" clId="{CF1252B2-FCC6-4EA0-8053-51C510C28A0F}" dt="2026-04-14T13:19:23.769" v="7192" actId="20577"/>
          <ac:spMkLst>
            <pc:docMk/>
            <pc:sldMk cId="2078397052" sldId="2147482384"/>
            <ac:spMk id="1496" creationId="{EE31676D-1AE6-45C3-2129-72C5D2E792AF}"/>
          </ac:spMkLst>
        </pc:spChg>
        <pc:spChg chg="mod">
          <ac:chgData name="Karen Smith" userId="674fbaca-8204-4c14-a783-bec32124c23c" providerId="ADAL" clId="{CF1252B2-FCC6-4EA0-8053-51C510C28A0F}" dt="2026-04-14T13:19:23.769" v="7193" actId="20577"/>
          <ac:spMkLst>
            <pc:docMk/>
            <pc:sldMk cId="2078397052" sldId="2147482384"/>
            <ac:spMk id="1497" creationId="{AAC89FC0-B9C8-BDA3-B225-495DF4FB032B}"/>
          </ac:spMkLst>
        </pc:spChg>
        <pc:spChg chg="mod">
          <ac:chgData name="Karen Smith" userId="674fbaca-8204-4c14-a783-bec32124c23c" providerId="ADAL" clId="{CF1252B2-FCC6-4EA0-8053-51C510C28A0F}" dt="2026-04-14T13:19:23.769" v="7194" actId="20577"/>
          <ac:spMkLst>
            <pc:docMk/>
            <pc:sldMk cId="2078397052" sldId="2147482384"/>
            <ac:spMk id="1498" creationId="{B8D1EA3C-948E-73F3-0CA3-2EC043B28F83}"/>
          </ac:spMkLst>
        </pc:spChg>
        <pc:spChg chg="mod">
          <ac:chgData name="Karen Smith" userId="674fbaca-8204-4c14-a783-bec32124c23c" providerId="ADAL" clId="{CF1252B2-FCC6-4EA0-8053-51C510C28A0F}" dt="2026-04-14T13:19:23.769" v="7195" actId="20577"/>
          <ac:spMkLst>
            <pc:docMk/>
            <pc:sldMk cId="2078397052" sldId="2147482384"/>
            <ac:spMk id="1499" creationId="{DB925ED4-CF5B-BD20-D723-242C0ACB8C9C}"/>
          </ac:spMkLst>
        </pc:spChg>
        <pc:spChg chg="mod">
          <ac:chgData name="Karen Smith" userId="674fbaca-8204-4c14-a783-bec32124c23c" providerId="ADAL" clId="{CF1252B2-FCC6-4EA0-8053-51C510C28A0F}" dt="2026-04-14T13:19:23.769" v="7196" actId="20577"/>
          <ac:spMkLst>
            <pc:docMk/>
            <pc:sldMk cId="2078397052" sldId="2147482384"/>
            <ac:spMk id="1500" creationId="{7214C7A2-36E0-E63E-2DC1-A05B76B2DEEF}"/>
          </ac:spMkLst>
        </pc:spChg>
        <pc:spChg chg="mod">
          <ac:chgData name="Karen Smith" userId="674fbaca-8204-4c14-a783-bec32124c23c" providerId="ADAL" clId="{CF1252B2-FCC6-4EA0-8053-51C510C28A0F}" dt="2026-04-14T13:19:23.769" v="7197" actId="20577"/>
          <ac:spMkLst>
            <pc:docMk/>
            <pc:sldMk cId="2078397052" sldId="2147482384"/>
            <ac:spMk id="1501" creationId="{400A6843-9E18-E6FA-01D0-B5C58628A3C6}"/>
          </ac:spMkLst>
        </pc:spChg>
        <pc:spChg chg="mod">
          <ac:chgData name="Karen Smith" userId="674fbaca-8204-4c14-a783-bec32124c23c" providerId="ADAL" clId="{CF1252B2-FCC6-4EA0-8053-51C510C28A0F}" dt="2026-04-14T13:19:23.769" v="7198" actId="20577"/>
          <ac:spMkLst>
            <pc:docMk/>
            <pc:sldMk cId="2078397052" sldId="2147482384"/>
            <ac:spMk id="1502" creationId="{5CB823DE-CC6A-5A1F-F3B5-D4F9E08092F3}"/>
          </ac:spMkLst>
        </pc:spChg>
        <pc:spChg chg="mod">
          <ac:chgData name="Karen Smith" userId="674fbaca-8204-4c14-a783-bec32124c23c" providerId="ADAL" clId="{CF1252B2-FCC6-4EA0-8053-51C510C28A0F}" dt="2026-04-14T13:22:45.583" v="8143"/>
          <ac:spMkLst>
            <pc:docMk/>
            <pc:sldMk cId="2078397052" sldId="2147482384"/>
            <ac:spMk id="1503" creationId="{C9AF382A-CF71-35F2-0804-147C65FD13C9}"/>
          </ac:spMkLst>
        </pc:spChg>
        <pc:spChg chg="mod">
          <ac:chgData name="Karen Smith" userId="674fbaca-8204-4c14-a783-bec32124c23c" providerId="ADAL" clId="{CF1252B2-FCC6-4EA0-8053-51C510C28A0F}" dt="2026-04-14T13:19:23.785" v="7200" actId="20577"/>
          <ac:spMkLst>
            <pc:docMk/>
            <pc:sldMk cId="2078397052" sldId="2147482384"/>
            <ac:spMk id="1504" creationId="{B9025218-F6BE-CA08-3EBC-756E10F778E8}"/>
          </ac:spMkLst>
        </pc:spChg>
        <pc:spChg chg="mod">
          <ac:chgData name="Karen Smith" userId="674fbaca-8204-4c14-a783-bec32124c23c" providerId="ADAL" clId="{CF1252B2-FCC6-4EA0-8053-51C510C28A0F}" dt="2026-04-14T13:19:23.785" v="7201" actId="20577"/>
          <ac:spMkLst>
            <pc:docMk/>
            <pc:sldMk cId="2078397052" sldId="2147482384"/>
            <ac:spMk id="1505" creationId="{718D3181-7A7A-B1BB-CC96-91C37B346D23}"/>
          </ac:spMkLst>
        </pc:spChg>
        <pc:spChg chg="mod">
          <ac:chgData name="Karen Smith" userId="674fbaca-8204-4c14-a783-bec32124c23c" providerId="ADAL" clId="{CF1252B2-FCC6-4EA0-8053-51C510C28A0F}" dt="2026-04-14T13:19:23.785" v="7202" actId="20577"/>
          <ac:spMkLst>
            <pc:docMk/>
            <pc:sldMk cId="2078397052" sldId="2147482384"/>
            <ac:spMk id="1506" creationId="{4B3D27CE-3478-205A-345F-29B521C20065}"/>
          </ac:spMkLst>
        </pc:spChg>
        <pc:spChg chg="mod">
          <ac:chgData name="Karen Smith" userId="674fbaca-8204-4c14-a783-bec32124c23c" providerId="ADAL" clId="{CF1252B2-FCC6-4EA0-8053-51C510C28A0F}" dt="2026-04-14T13:19:23.785" v="7203" actId="20577"/>
          <ac:spMkLst>
            <pc:docMk/>
            <pc:sldMk cId="2078397052" sldId="2147482384"/>
            <ac:spMk id="1507" creationId="{B8C6420D-7283-B2EE-CCEB-2708AF09CD7B}"/>
          </ac:spMkLst>
        </pc:spChg>
        <pc:spChg chg="mod">
          <ac:chgData name="Karen Smith" userId="674fbaca-8204-4c14-a783-bec32124c23c" providerId="ADAL" clId="{CF1252B2-FCC6-4EA0-8053-51C510C28A0F}" dt="2026-04-14T13:19:23.785" v="7204" actId="20577"/>
          <ac:spMkLst>
            <pc:docMk/>
            <pc:sldMk cId="2078397052" sldId="2147482384"/>
            <ac:spMk id="1508" creationId="{ADA2B560-80FB-CD0A-3F9A-B8AF6CEEBA41}"/>
          </ac:spMkLst>
        </pc:spChg>
        <pc:spChg chg="mod">
          <ac:chgData name="Karen Smith" userId="674fbaca-8204-4c14-a783-bec32124c23c" providerId="ADAL" clId="{CF1252B2-FCC6-4EA0-8053-51C510C28A0F}" dt="2026-04-14T13:19:23.785" v="7205" actId="20577"/>
          <ac:spMkLst>
            <pc:docMk/>
            <pc:sldMk cId="2078397052" sldId="2147482384"/>
            <ac:spMk id="1509" creationId="{16AAD3F8-A660-5073-922F-C76824C5FFE1}"/>
          </ac:spMkLst>
        </pc:spChg>
        <pc:spChg chg="mod">
          <ac:chgData name="Karen Smith" userId="674fbaca-8204-4c14-a783-bec32124c23c" providerId="ADAL" clId="{CF1252B2-FCC6-4EA0-8053-51C510C28A0F}" dt="2026-04-14T13:22:45.583" v="8143"/>
          <ac:spMkLst>
            <pc:docMk/>
            <pc:sldMk cId="2078397052" sldId="2147482384"/>
            <ac:spMk id="1510" creationId="{6D229ED7-60B7-ADC9-57C2-1A4426F2B448}"/>
          </ac:spMkLst>
        </pc:spChg>
        <pc:spChg chg="mod">
          <ac:chgData name="Karen Smith" userId="674fbaca-8204-4c14-a783-bec32124c23c" providerId="ADAL" clId="{CF1252B2-FCC6-4EA0-8053-51C510C28A0F}" dt="2026-04-14T13:19:23.785" v="7207" actId="20577"/>
          <ac:spMkLst>
            <pc:docMk/>
            <pc:sldMk cId="2078397052" sldId="2147482384"/>
            <ac:spMk id="1511" creationId="{EEBB5430-73D7-B0A9-6C2B-356F1B1857C0}"/>
          </ac:spMkLst>
        </pc:spChg>
        <pc:spChg chg="mod">
          <ac:chgData name="Karen Smith" userId="674fbaca-8204-4c14-a783-bec32124c23c" providerId="ADAL" clId="{CF1252B2-FCC6-4EA0-8053-51C510C28A0F}" dt="2026-04-14T13:19:23.785" v="7208" actId="20577"/>
          <ac:spMkLst>
            <pc:docMk/>
            <pc:sldMk cId="2078397052" sldId="2147482384"/>
            <ac:spMk id="1512" creationId="{6744F6AA-EED1-19B1-9DE5-F1E06ABF8CE5}"/>
          </ac:spMkLst>
        </pc:spChg>
        <pc:spChg chg="mod">
          <ac:chgData name="Karen Smith" userId="674fbaca-8204-4c14-a783-bec32124c23c" providerId="ADAL" clId="{CF1252B2-FCC6-4EA0-8053-51C510C28A0F}" dt="2026-04-14T13:22:45.583" v="8143"/>
          <ac:spMkLst>
            <pc:docMk/>
            <pc:sldMk cId="2078397052" sldId="2147482384"/>
            <ac:spMk id="1513" creationId="{193743DD-102D-6FAE-EF1F-30314953BF8D}"/>
          </ac:spMkLst>
        </pc:spChg>
        <pc:spChg chg="mod">
          <ac:chgData name="Karen Smith" userId="674fbaca-8204-4c14-a783-bec32124c23c" providerId="ADAL" clId="{CF1252B2-FCC6-4EA0-8053-51C510C28A0F}" dt="2026-04-14T13:19:23.785" v="7210" actId="20577"/>
          <ac:spMkLst>
            <pc:docMk/>
            <pc:sldMk cId="2078397052" sldId="2147482384"/>
            <ac:spMk id="1514" creationId="{76B66353-239E-AA10-8267-9BB166414991}"/>
          </ac:spMkLst>
        </pc:spChg>
        <pc:spChg chg="mod">
          <ac:chgData name="Karen Smith" userId="674fbaca-8204-4c14-a783-bec32124c23c" providerId="ADAL" clId="{CF1252B2-FCC6-4EA0-8053-51C510C28A0F}" dt="2026-04-14T13:22:37.882" v="8123"/>
          <ac:spMkLst>
            <pc:docMk/>
            <pc:sldMk cId="2078397052" sldId="2147482384"/>
            <ac:spMk id="1515" creationId="{98B56068-0717-80F9-57EE-E0132539FE2A}"/>
          </ac:spMkLst>
        </pc:spChg>
        <pc:spChg chg="mod">
          <ac:chgData name="Karen Smith" userId="674fbaca-8204-4c14-a783-bec32124c23c" providerId="ADAL" clId="{CF1252B2-FCC6-4EA0-8053-51C510C28A0F}" dt="2026-04-14T13:19:23.801" v="7212" actId="20577"/>
          <ac:spMkLst>
            <pc:docMk/>
            <pc:sldMk cId="2078397052" sldId="2147482384"/>
            <ac:spMk id="1516" creationId="{BE6CBFFC-D2EA-81CB-2E42-536847DD9784}"/>
          </ac:spMkLst>
        </pc:spChg>
        <pc:spChg chg="mod">
          <ac:chgData name="Karen Smith" userId="674fbaca-8204-4c14-a783-bec32124c23c" providerId="ADAL" clId="{CF1252B2-FCC6-4EA0-8053-51C510C28A0F}" dt="2026-04-14T13:19:23.801" v="7213" actId="20577"/>
          <ac:spMkLst>
            <pc:docMk/>
            <pc:sldMk cId="2078397052" sldId="2147482384"/>
            <ac:spMk id="1517" creationId="{8D9BB8B5-714A-C61F-03BE-B1EA0655C396}"/>
          </ac:spMkLst>
        </pc:spChg>
        <pc:spChg chg="mod">
          <ac:chgData name="Karen Smith" userId="674fbaca-8204-4c14-a783-bec32124c23c" providerId="ADAL" clId="{CF1252B2-FCC6-4EA0-8053-51C510C28A0F}" dt="2026-04-14T13:19:23.801" v="7214" actId="20577"/>
          <ac:spMkLst>
            <pc:docMk/>
            <pc:sldMk cId="2078397052" sldId="2147482384"/>
            <ac:spMk id="1518" creationId="{BA4E1843-5568-A516-02E1-796DA39406BF}"/>
          </ac:spMkLst>
        </pc:spChg>
        <pc:spChg chg="mod">
          <ac:chgData name="Karen Smith" userId="674fbaca-8204-4c14-a783-bec32124c23c" providerId="ADAL" clId="{CF1252B2-FCC6-4EA0-8053-51C510C28A0F}" dt="2026-04-14T13:19:23.801" v="7215" actId="20577"/>
          <ac:spMkLst>
            <pc:docMk/>
            <pc:sldMk cId="2078397052" sldId="2147482384"/>
            <ac:spMk id="1519" creationId="{56D50C5B-EF17-BB79-F1D1-69D2BC64756B}"/>
          </ac:spMkLst>
        </pc:spChg>
        <pc:spChg chg="mod">
          <ac:chgData name="Karen Smith" userId="674fbaca-8204-4c14-a783-bec32124c23c" providerId="ADAL" clId="{CF1252B2-FCC6-4EA0-8053-51C510C28A0F}" dt="2026-04-14T13:19:23.801" v="7216" actId="20577"/>
          <ac:spMkLst>
            <pc:docMk/>
            <pc:sldMk cId="2078397052" sldId="2147482384"/>
            <ac:spMk id="1520" creationId="{BFE6B3C1-7C70-C82D-60FE-8562B20CCB59}"/>
          </ac:spMkLst>
        </pc:spChg>
        <pc:spChg chg="mod">
          <ac:chgData name="Karen Smith" userId="674fbaca-8204-4c14-a783-bec32124c23c" providerId="ADAL" clId="{CF1252B2-FCC6-4EA0-8053-51C510C28A0F}" dt="2026-04-14T13:19:23.801" v="7217" actId="20577"/>
          <ac:spMkLst>
            <pc:docMk/>
            <pc:sldMk cId="2078397052" sldId="2147482384"/>
            <ac:spMk id="1521" creationId="{655C44C7-3D09-CD00-9585-86EF80DDADB5}"/>
          </ac:spMkLst>
        </pc:spChg>
        <pc:spChg chg="mod">
          <ac:chgData name="Karen Smith" userId="674fbaca-8204-4c14-a783-bec32124c23c" providerId="ADAL" clId="{CF1252B2-FCC6-4EA0-8053-51C510C28A0F}" dt="2026-04-14T13:19:23.801" v="7218" actId="20577"/>
          <ac:spMkLst>
            <pc:docMk/>
            <pc:sldMk cId="2078397052" sldId="2147482384"/>
            <ac:spMk id="1522" creationId="{A638BAD9-EAB7-92BC-EAC8-EB1831FA8CDC}"/>
          </ac:spMkLst>
        </pc:spChg>
        <pc:spChg chg="mod">
          <ac:chgData name="Karen Smith" userId="674fbaca-8204-4c14-a783-bec32124c23c" providerId="ADAL" clId="{CF1252B2-FCC6-4EA0-8053-51C510C28A0F}" dt="2026-04-14T13:19:23.801" v="7219" actId="20577"/>
          <ac:spMkLst>
            <pc:docMk/>
            <pc:sldMk cId="2078397052" sldId="2147482384"/>
            <ac:spMk id="1523" creationId="{96002EA5-DF7C-907E-D98C-CE10172D4B86}"/>
          </ac:spMkLst>
        </pc:spChg>
        <pc:spChg chg="mod">
          <ac:chgData name="Karen Smith" userId="674fbaca-8204-4c14-a783-bec32124c23c" providerId="ADAL" clId="{CF1252B2-FCC6-4EA0-8053-51C510C28A0F}" dt="2026-04-14T13:19:23.801" v="7220" actId="20577"/>
          <ac:spMkLst>
            <pc:docMk/>
            <pc:sldMk cId="2078397052" sldId="2147482384"/>
            <ac:spMk id="1524" creationId="{CB8D1EA6-7EF2-6675-08AD-046A05D18BC1}"/>
          </ac:spMkLst>
        </pc:spChg>
        <pc:spChg chg="mod">
          <ac:chgData name="Karen Smith" userId="674fbaca-8204-4c14-a783-bec32124c23c" providerId="ADAL" clId="{CF1252B2-FCC6-4EA0-8053-51C510C28A0F}" dt="2026-04-14T13:19:23.801" v="7221" actId="20577"/>
          <ac:spMkLst>
            <pc:docMk/>
            <pc:sldMk cId="2078397052" sldId="2147482384"/>
            <ac:spMk id="1525" creationId="{8D7CF049-18EC-B9B3-569F-237B9B68B69A}"/>
          </ac:spMkLst>
        </pc:spChg>
        <pc:spChg chg="mod">
          <ac:chgData name="Karen Smith" userId="674fbaca-8204-4c14-a783-bec32124c23c" providerId="ADAL" clId="{CF1252B2-FCC6-4EA0-8053-51C510C28A0F}" dt="2026-04-14T13:22:45.583" v="8143"/>
          <ac:spMkLst>
            <pc:docMk/>
            <pc:sldMk cId="2078397052" sldId="2147482384"/>
            <ac:spMk id="1526" creationId="{04D9AAD4-94BA-15FB-3EAE-17F95271A419}"/>
          </ac:spMkLst>
        </pc:spChg>
        <pc:spChg chg="mod">
          <ac:chgData name="Karen Smith" userId="674fbaca-8204-4c14-a783-bec32124c23c" providerId="ADAL" clId="{CF1252B2-FCC6-4EA0-8053-51C510C28A0F}" dt="2026-04-14T13:19:23.801" v="7223" actId="20577"/>
          <ac:spMkLst>
            <pc:docMk/>
            <pc:sldMk cId="2078397052" sldId="2147482384"/>
            <ac:spMk id="1527" creationId="{CC7DE428-F36F-395D-D9CA-FCCC0C2E3162}"/>
          </ac:spMkLst>
        </pc:spChg>
        <pc:spChg chg="mod">
          <ac:chgData name="Karen Smith" userId="674fbaca-8204-4c14-a783-bec32124c23c" providerId="ADAL" clId="{CF1252B2-FCC6-4EA0-8053-51C510C28A0F}" dt="2026-04-14T13:19:23.801" v="7224" actId="20577"/>
          <ac:spMkLst>
            <pc:docMk/>
            <pc:sldMk cId="2078397052" sldId="2147482384"/>
            <ac:spMk id="1528" creationId="{B04AD7F4-C001-4D9E-B2D8-740C0B76AA16}"/>
          </ac:spMkLst>
        </pc:spChg>
        <pc:spChg chg="mod">
          <ac:chgData name="Karen Smith" userId="674fbaca-8204-4c14-a783-bec32124c23c" providerId="ADAL" clId="{CF1252B2-FCC6-4EA0-8053-51C510C28A0F}" dt="2026-04-14T13:19:23.801" v="7225" actId="20577"/>
          <ac:spMkLst>
            <pc:docMk/>
            <pc:sldMk cId="2078397052" sldId="2147482384"/>
            <ac:spMk id="1529" creationId="{E63716B5-BD05-192A-A044-73B122F5B636}"/>
          </ac:spMkLst>
        </pc:spChg>
        <pc:spChg chg="mod">
          <ac:chgData name="Karen Smith" userId="674fbaca-8204-4c14-a783-bec32124c23c" providerId="ADAL" clId="{CF1252B2-FCC6-4EA0-8053-51C510C28A0F}" dt="2026-04-14T13:19:23.817" v="7226" actId="20577"/>
          <ac:spMkLst>
            <pc:docMk/>
            <pc:sldMk cId="2078397052" sldId="2147482384"/>
            <ac:spMk id="1530" creationId="{655AE0B8-1A10-065F-C809-D5519061F0F5}"/>
          </ac:spMkLst>
        </pc:spChg>
        <pc:spChg chg="mod">
          <ac:chgData name="Karen Smith" userId="674fbaca-8204-4c14-a783-bec32124c23c" providerId="ADAL" clId="{CF1252B2-FCC6-4EA0-8053-51C510C28A0F}" dt="2026-04-14T13:19:23.817" v="7227" actId="20577"/>
          <ac:spMkLst>
            <pc:docMk/>
            <pc:sldMk cId="2078397052" sldId="2147482384"/>
            <ac:spMk id="1531" creationId="{9C99E7EB-773C-8AEA-90E1-57E248361167}"/>
          </ac:spMkLst>
        </pc:spChg>
        <pc:spChg chg="mod">
          <ac:chgData name="Karen Smith" userId="674fbaca-8204-4c14-a783-bec32124c23c" providerId="ADAL" clId="{CF1252B2-FCC6-4EA0-8053-51C510C28A0F}" dt="2026-04-14T13:19:23.817" v="7228" actId="20577"/>
          <ac:spMkLst>
            <pc:docMk/>
            <pc:sldMk cId="2078397052" sldId="2147482384"/>
            <ac:spMk id="1532" creationId="{1E8F819C-2035-1530-EE31-9B30B15C9449}"/>
          </ac:spMkLst>
        </pc:spChg>
        <pc:spChg chg="mod">
          <ac:chgData name="Karen Smith" userId="674fbaca-8204-4c14-a783-bec32124c23c" providerId="ADAL" clId="{CF1252B2-FCC6-4EA0-8053-51C510C28A0F}" dt="2026-04-14T13:19:23.817" v="7229" actId="20577"/>
          <ac:spMkLst>
            <pc:docMk/>
            <pc:sldMk cId="2078397052" sldId="2147482384"/>
            <ac:spMk id="1533" creationId="{BA2D6472-8B1C-043B-56D2-A0C4C9B1DFFD}"/>
          </ac:spMkLst>
        </pc:spChg>
        <pc:spChg chg="mod">
          <ac:chgData name="Karen Smith" userId="674fbaca-8204-4c14-a783-bec32124c23c" providerId="ADAL" clId="{CF1252B2-FCC6-4EA0-8053-51C510C28A0F}" dt="2026-04-14T13:19:23.817" v="7230" actId="20577"/>
          <ac:spMkLst>
            <pc:docMk/>
            <pc:sldMk cId="2078397052" sldId="2147482384"/>
            <ac:spMk id="1534" creationId="{AB195C3E-CB42-C58E-60C7-4293789AC2CE}"/>
          </ac:spMkLst>
        </pc:spChg>
        <pc:spChg chg="mod">
          <ac:chgData name="Karen Smith" userId="674fbaca-8204-4c14-a783-bec32124c23c" providerId="ADAL" clId="{CF1252B2-FCC6-4EA0-8053-51C510C28A0F}" dt="2026-04-14T13:19:23.817" v="7231" actId="20577"/>
          <ac:spMkLst>
            <pc:docMk/>
            <pc:sldMk cId="2078397052" sldId="2147482384"/>
            <ac:spMk id="1535" creationId="{407F1D90-CD8C-4AA7-DFAB-88C4C7842D2C}"/>
          </ac:spMkLst>
        </pc:spChg>
        <pc:spChg chg="mod">
          <ac:chgData name="Karen Smith" userId="674fbaca-8204-4c14-a783-bec32124c23c" providerId="ADAL" clId="{CF1252B2-FCC6-4EA0-8053-51C510C28A0F}" dt="2026-04-14T13:19:23.817" v="7232" actId="20577"/>
          <ac:spMkLst>
            <pc:docMk/>
            <pc:sldMk cId="2078397052" sldId="2147482384"/>
            <ac:spMk id="1536" creationId="{FAE12BB9-3802-6388-6BD7-222770A8B326}"/>
          </ac:spMkLst>
        </pc:spChg>
        <pc:spChg chg="mod">
          <ac:chgData name="Karen Smith" userId="674fbaca-8204-4c14-a783-bec32124c23c" providerId="ADAL" clId="{CF1252B2-FCC6-4EA0-8053-51C510C28A0F}" dt="2026-04-14T13:19:23.817" v="7233" actId="20577"/>
          <ac:spMkLst>
            <pc:docMk/>
            <pc:sldMk cId="2078397052" sldId="2147482384"/>
            <ac:spMk id="1537" creationId="{82FB41E6-7F52-2B44-AF76-4EBFFA81F3E9}"/>
          </ac:spMkLst>
        </pc:spChg>
        <pc:spChg chg="mod">
          <ac:chgData name="Karen Smith" userId="674fbaca-8204-4c14-a783-bec32124c23c" providerId="ADAL" clId="{CF1252B2-FCC6-4EA0-8053-51C510C28A0F}" dt="2026-04-14T13:19:23.817" v="7234" actId="20577"/>
          <ac:spMkLst>
            <pc:docMk/>
            <pc:sldMk cId="2078397052" sldId="2147482384"/>
            <ac:spMk id="1538" creationId="{7A68F7C2-EB64-A964-418F-824D1FD82DC0}"/>
          </ac:spMkLst>
        </pc:spChg>
        <pc:spChg chg="mod">
          <ac:chgData name="Karen Smith" userId="674fbaca-8204-4c14-a783-bec32124c23c" providerId="ADAL" clId="{CF1252B2-FCC6-4EA0-8053-51C510C28A0F}" dt="2026-04-14T13:19:23.817" v="7235" actId="20577"/>
          <ac:spMkLst>
            <pc:docMk/>
            <pc:sldMk cId="2078397052" sldId="2147482384"/>
            <ac:spMk id="1539" creationId="{32C40E9F-D968-3E35-1743-7A5BCCCF2201}"/>
          </ac:spMkLst>
        </pc:spChg>
        <pc:spChg chg="mod">
          <ac:chgData name="Karen Smith" userId="674fbaca-8204-4c14-a783-bec32124c23c" providerId="ADAL" clId="{CF1252B2-FCC6-4EA0-8053-51C510C28A0F}" dt="2026-04-14T13:19:23.817" v="7236" actId="20577"/>
          <ac:spMkLst>
            <pc:docMk/>
            <pc:sldMk cId="2078397052" sldId="2147482384"/>
            <ac:spMk id="1540" creationId="{35899558-EEF3-C88F-04E2-91E3A8476DB0}"/>
          </ac:spMkLst>
        </pc:spChg>
        <pc:spChg chg="mod">
          <ac:chgData name="Karen Smith" userId="674fbaca-8204-4c14-a783-bec32124c23c" providerId="ADAL" clId="{CF1252B2-FCC6-4EA0-8053-51C510C28A0F}" dt="2026-04-14T13:19:23.817" v="7237" actId="20577"/>
          <ac:spMkLst>
            <pc:docMk/>
            <pc:sldMk cId="2078397052" sldId="2147482384"/>
            <ac:spMk id="1541" creationId="{78BAAFC0-012E-B4AB-3A62-D2BD5E818A83}"/>
          </ac:spMkLst>
        </pc:spChg>
        <pc:spChg chg="mod">
          <ac:chgData name="Karen Smith" userId="674fbaca-8204-4c14-a783-bec32124c23c" providerId="ADAL" clId="{CF1252B2-FCC6-4EA0-8053-51C510C28A0F}" dt="2026-04-14T13:22:37.882" v="8123"/>
          <ac:spMkLst>
            <pc:docMk/>
            <pc:sldMk cId="2078397052" sldId="2147482384"/>
            <ac:spMk id="1542" creationId="{23C35A3C-E070-8B39-73D4-4FCDCC984720}"/>
          </ac:spMkLst>
        </pc:spChg>
        <pc:spChg chg="mod">
          <ac:chgData name="Karen Smith" userId="674fbaca-8204-4c14-a783-bec32124c23c" providerId="ADAL" clId="{CF1252B2-FCC6-4EA0-8053-51C510C28A0F}" dt="2026-04-14T13:19:23.817" v="7239" actId="20577"/>
          <ac:spMkLst>
            <pc:docMk/>
            <pc:sldMk cId="2078397052" sldId="2147482384"/>
            <ac:spMk id="1543" creationId="{8C6C095A-916F-C4F4-BB80-E38371A28801}"/>
          </ac:spMkLst>
        </pc:spChg>
        <pc:spChg chg="mod">
          <ac:chgData name="Karen Smith" userId="674fbaca-8204-4c14-a783-bec32124c23c" providerId="ADAL" clId="{CF1252B2-FCC6-4EA0-8053-51C510C28A0F}" dt="2026-04-14T13:19:23.833" v="7240" actId="20577"/>
          <ac:spMkLst>
            <pc:docMk/>
            <pc:sldMk cId="2078397052" sldId="2147482384"/>
            <ac:spMk id="1544" creationId="{54906FFE-C9FF-112C-B481-282CDA2CFF8F}"/>
          </ac:spMkLst>
        </pc:spChg>
        <pc:spChg chg="mod">
          <ac:chgData name="Karen Smith" userId="674fbaca-8204-4c14-a783-bec32124c23c" providerId="ADAL" clId="{CF1252B2-FCC6-4EA0-8053-51C510C28A0F}" dt="2026-04-14T13:19:23.833" v="7241" actId="20577"/>
          <ac:spMkLst>
            <pc:docMk/>
            <pc:sldMk cId="2078397052" sldId="2147482384"/>
            <ac:spMk id="1545" creationId="{D288AAE6-0E38-C6E1-DC85-FD72810D1544}"/>
          </ac:spMkLst>
        </pc:spChg>
        <pc:spChg chg="mod">
          <ac:chgData name="Karen Smith" userId="674fbaca-8204-4c14-a783-bec32124c23c" providerId="ADAL" clId="{CF1252B2-FCC6-4EA0-8053-51C510C28A0F}" dt="2026-04-14T13:19:23.833" v="7242" actId="20577"/>
          <ac:spMkLst>
            <pc:docMk/>
            <pc:sldMk cId="2078397052" sldId="2147482384"/>
            <ac:spMk id="1546" creationId="{9611BBE4-22EB-7230-7686-E579F35E1B60}"/>
          </ac:spMkLst>
        </pc:spChg>
        <pc:spChg chg="mod">
          <ac:chgData name="Karen Smith" userId="674fbaca-8204-4c14-a783-bec32124c23c" providerId="ADAL" clId="{CF1252B2-FCC6-4EA0-8053-51C510C28A0F}" dt="2026-04-14T13:22:37.882" v="8123"/>
          <ac:spMkLst>
            <pc:docMk/>
            <pc:sldMk cId="2078397052" sldId="2147482384"/>
            <ac:spMk id="1547" creationId="{E12C548F-BFF1-B5F1-6B1C-3AB526095364}"/>
          </ac:spMkLst>
        </pc:spChg>
        <pc:spChg chg="mod">
          <ac:chgData name="Karen Smith" userId="674fbaca-8204-4c14-a783-bec32124c23c" providerId="ADAL" clId="{CF1252B2-FCC6-4EA0-8053-51C510C28A0F}" dt="2026-04-14T13:19:23.833" v="7244" actId="20577"/>
          <ac:spMkLst>
            <pc:docMk/>
            <pc:sldMk cId="2078397052" sldId="2147482384"/>
            <ac:spMk id="1548" creationId="{C0687D14-D792-109C-AA49-B09A0D1BBA21}"/>
          </ac:spMkLst>
        </pc:spChg>
        <pc:spChg chg="mod">
          <ac:chgData name="Karen Smith" userId="674fbaca-8204-4c14-a783-bec32124c23c" providerId="ADAL" clId="{CF1252B2-FCC6-4EA0-8053-51C510C28A0F}" dt="2026-04-14T13:19:23.833" v="7245" actId="20577"/>
          <ac:spMkLst>
            <pc:docMk/>
            <pc:sldMk cId="2078397052" sldId="2147482384"/>
            <ac:spMk id="1549" creationId="{4CFD76D1-7D7C-004B-E057-83305E6B0C61}"/>
          </ac:spMkLst>
        </pc:spChg>
        <pc:spChg chg="mod">
          <ac:chgData name="Karen Smith" userId="674fbaca-8204-4c14-a783-bec32124c23c" providerId="ADAL" clId="{CF1252B2-FCC6-4EA0-8053-51C510C28A0F}" dt="2026-04-14T13:19:23.840" v="7246" actId="20577"/>
          <ac:spMkLst>
            <pc:docMk/>
            <pc:sldMk cId="2078397052" sldId="2147482384"/>
            <ac:spMk id="1550" creationId="{F9245189-D026-C178-6A34-605C47ED8DA2}"/>
          </ac:spMkLst>
        </pc:spChg>
        <pc:spChg chg="mod">
          <ac:chgData name="Karen Smith" userId="674fbaca-8204-4c14-a783-bec32124c23c" providerId="ADAL" clId="{CF1252B2-FCC6-4EA0-8053-51C510C28A0F}" dt="2026-04-14T13:19:23.840" v="7247" actId="20577"/>
          <ac:spMkLst>
            <pc:docMk/>
            <pc:sldMk cId="2078397052" sldId="2147482384"/>
            <ac:spMk id="1551" creationId="{C98D8EC1-269B-E952-C06C-39C333537A5F}"/>
          </ac:spMkLst>
        </pc:spChg>
        <pc:spChg chg="mod">
          <ac:chgData name="Karen Smith" userId="674fbaca-8204-4c14-a783-bec32124c23c" providerId="ADAL" clId="{CF1252B2-FCC6-4EA0-8053-51C510C28A0F}" dt="2026-04-14T13:19:23.840" v="7248" actId="20577"/>
          <ac:spMkLst>
            <pc:docMk/>
            <pc:sldMk cId="2078397052" sldId="2147482384"/>
            <ac:spMk id="1552" creationId="{446E019E-609A-4590-D425-AEF29E810F1B}"/>
          </ac:spMkLst>
        </pc:spChg>
        <pc:spChg chg="mod">
          <ac:chgData name="Karen Smith" userId="674fbaca-8204-4c14-a783-bec32124c23c" providerId="ADAL" clId="{CF1252B2-FCC6-4EA0-8053-51C510C28A0F}" dt="2026-04-14T13:19:23.840" v="7249" actId="20577"/>
          <ac:spMkLst>
            <pc:docMk/>
            <pc:sldMk cId="2078397052" sldId="2147482384"/>
            <ac:spMk id="1553" creationId="{BB3010BA-BC70-6476-5628-DCA78075743D}"/>
          </ac:spMkLst>
        </pc:spChg>
        <pc:spChg chg="mod">
          <ac:chgData name="Karen Smith" userId="674fbaca-8204-4c14-a783-bec32124c23c" providerId="ADAL" clId="{CF1252B2-FCC6-4EA0-8053-51C510C28A0F}" dt="2026-04-14T13:19:23.840" v="7250" actId="20577"/>
          <ac:spMkLst>
            <pc:docMk/>
            <pc:sldMk cId="2078397052" sldId="2147482384"/>
            <ac:spMk id="1554" creationId="{D7E23558-2E87-CF09-0D9E-A27672E56592}"/>
          </ac:spMkLst>
        </pc:spChg>
        <pc:spChg chg="mod">
          <ac:chgData name="Karen Smith" userId="674fbaca-8204-4c14-a783-bec32124c23c" providerId="ADAL" clId="{CF1252B2-FCC6-4EA0-8053-51C510C28A0F}" dt="2026-04-14T13:19:23.840" v="7251" actId="20577"/>
          <ac:spMkLst>
            <pc:docMk/>
            <pc:sldMk cId="2078397052" sldId="2147482384"/>
            <ac:spMk id="1555" creationId="{619D6C95-F994-1957-718B-16ACDD423667}"/>
          </ac:spMkLst>
        </pc:spChg>
        <pc:spChg chg="mod">
          <ac:chgData name="Karen Smith" userId="674fbaca-8204-4c14-a783-bec32124c23c" providerId="ADAL" clId="{CF1252B2-FCC6-4EA0-8053-51C510C28A0F}" dt="2026-04-14T13:19:23.840" v="7252" actId="20577"/>
          <ac:spMkLst>
            <pc:docMk/>
            <pc:sldMk cId="2078397052" sldId="2147482384"/>
            <ac:spMk id="1556" creationId="{04AF06A3-5FA7-B231-736F-99D6A3F7EAF5}"/>
          </ac:spMkLst>
        </pc:spChg>
        <pc:spChg chg="mod">
          <ac:chgData name="Karen Smith" userId="674fbaca-8204-4c14-a783-bec32124c23c" providerId="ADAL" clId="{CF1252B2-FCC6-4EA0-8053-51C510C28A0F}" dt="2026-04-14T13:19:23.840" v="7253" actId="20577"/>
          <ac:spMkLst>
            <pc:docMk/>
            <pc:sldMk cId="2078397052" sldId="2147482384"/>
            <ac:spMk id="1557" creationId="{DB43CB3C-341C-E15D-DA38-15A22867837D}"/>
          </ac:spMkLst>
        </pc:spChg>
        <pc:spChg chg="mod">
          <ac:chgData name="Karen Smith" userId="674fbaca-8204-4c14-a783-bec32124c23c" providerId="ADAL" clId="{CF1252B2-FCC6-4EA0-8053-51C510C28A0F}" dt="2026-04-14T13:21:02.918" v="7834" actId="207"/>
          <ac:spMkLst>
            <pc:docMk/>
            <pc:sldMk cId="2078397052" sldId="2147482384"/>
            <ac:spMk id="1558" creationId="{9214BE9E-D2A4-15E3-3FC7-3B77C7986AB2}"/>
          </ac:spMkLst>
        </pc:spChg>
        <pc:spChg chg="mod ord">
          <ac:chgData name="Karen Smith" userId="674fbaca-8204-4c14-a783-bec32124c23c" providerId="ADAL" clId="{CF1252B2-FCC6-4EA0-8053-51C510C28A0F}" dt="2026-04-14T13:21:26.543" v="7920"/>
          <ac:spMkLst>
            <pc:docMk/>
            <pc:sldMk cId="2078397052" sldId="2147482384"/>
            <ac:spMk id="1737" creationId="{659857F8-6C5E-6675-0315-3C5F2B16CFF8}"/>
          </ac:spMkLst>
        </pc:spChg>
        <pc:spChg chg="mod ord">
          <ac:chgData name="Karen Smith" userId="674fbaca-8204-4c14-a783-bec32124c23c" providerId="ADAL" clId="{CF1252B2-FCC6-4EA0-8053-51C510C28A0F}" dt="2026-04-14T13:21:33.994" v="8073" actId="1076"/>
          <ac:spMkLst>
            <pc:docMk/>
            <pc:sldMk cId="2078397052" sldId="2147482384"/>
            <ac:spMk id="1738" creationId="{69A35E2C-E02F-E9E4-1926-2868591484D4}"/>
          </ac:spMkLst>
        </pc:spChg>
        <pc:spChg chg="mod ord">
          <ac:chgData name="Karen Smith" userId="674fbaca-8204-4c14-a783-bec32124c23c" providerId="ADAL" clId="{CF1252B2-FCC6-4EA0-8053-51C510C28A0F}" dt="2026-04-14T13:21:26.543" v="7924"/>
          <ac:spMkLst>
            <pc:docMk/>
            <pc:sldMk cId="2078397052" sldId="2147482384"/>
            <ac:spMk id="1739" creationId="{67727774-0041-7B04-4EFF-9072CAA30094}"/>
          </ac:spMkLst>
        </pc:spChg>
        <pc:spChg chg="mod ord">
          <ac:chgData name="Karen Smith" userId="674fbaca-8204-4c14-a783-bec32124c23c" providerId="ADAL" clId="{CF1252B2-FCC6-4EA0-8053-51C510C28A0F}" dt="2026-04-14T13:21:26.543" v="7926"/>
          <ac:spMkLst>
            <pc:docMk/>
            <pc:sldMk cId="2078397052" sldId="2147482384"/>
            <ac:spMk id="1740" creationId="{A823E781-8BD6-9162-8A3D-B2148EB087EF}"/>
          </ac:spMkLst>
        </pc:spChg>
        <pc:spChg chg="mod ord">
          <ac:chgData name="Karen Smith" userId="674fbaca-8204-4c14-a783-bec32124c23c" providerId="ADAL" clId="{CF1252B2-FCC6-4EA0-8053-51C510C28A0F}" dt="2026-04-14T13:21:26.543" v="7928"/>
          <ac:spMkLst>
            <pc:docMk/>
            <pc:sldMk cId="2078397052" sldId="2147482384"/>
            <ac:spMk id="1741" creationId="{CF5B6788-B9D7-59A4-636F-68BD6703CEF9}"/>
          </ac:spMkLst>
        </pc:spChg>
        <pc:spChg chg="mod ord">
          <ac:chgData name="Karen Smith" userId="674fbaca-8204-4c14-a783-bec32124c23c" providerId="ADAL" clId="{CF1252B2-FCC6-4EA0-8053-51C510C28A0F}" dt="2026-04-14T13:21:26.543" v="7930"/>
          <ac:spMkLst>
            <pc:docMk/>
            <pc:sldMk cId="2078397052" sldId="2147482384"/>
            <ac:spMk id="1742" creationId="{307050C4-49AC-0B8E-6EF5-FDCCFD9DF56B}"/>
          </ac:spMkLst>
        </pc:spChg>
        <pc:spChg chg="mod ord">
          <ac:chgData name="Karen Smith" userId="674fbaca-8204-4c14-a783-bec32124c23c" providerId="ADAL" clId="{CF1252B2-FCC6-4EA0-8053-51C510C28A0F}" dt="2026-04-14T13:21:26.543" v="7932"/>
          <ac:spMkLst>
            <pc:docMk/>
            <pc:sldMk cId="2078397052" sldId="2147482384"/>
            <ac:spMk id="1743" creationId="{7640E18F-B4B9-6E46-CCFF-8A76FD1F6666}"/>
          </ac:spMkLst>
        </pc:spChg>
        <pc:spChg chg="mod ord">
          <ac:chgData name="Karen Smith" userId="674fbaca-8204-4c14-a783-bec32124c23c" providerId="ADAL" clId="{CF1252B2-FCC6-4EA0-8053-51C510C28A0F}" dt="2026-04-14T13:21:26.543" v="7934"/>
          <ac:spMkLst>
            <pc:docMk/>
            <pc:sldMk cId="2078397052" sldId="2147482384"/>
            <ac:spMk id="1744" creationId="{295A03E3-4422-2800-E354-952251EA6230}"/>
          </ac:spMkLst>
        </pc:spChg>
        <pc:spChg chg="mod ord">
          <ac:chgData name="Karen Smith" userId="674fbaca-8204-4c14-a783-bec32124c23c" providerId="ADAL" clId="{CF1252B2-FCC6-4EA0-8053-51C510C28A0F}" dt="2026-04-14T13:21:26.543" v="7936"/>
          <ac:spMkLst>
            <pc:docMk/>
            <pc:sldMk cId="2078397052" sldId="2147482384"/>
            <ac:spMk id="1745" creationId="{8DB01E83-A49B-98AD-4756-D86B9642A37B}"/>
          </ac:spMkLst>
        </pc:spChg>
        <pc:spChg chg="mod ord">
          <ac:chgData name="Karen Smith" userId="674fbaca-8204-4c14-a783-bec32124c23c" providerId="ADAL" clId="{CF1252B2-FCC6-4EA0-8053-51C510C28A0F}" dt="2026-04-14T13:22:45.583" v="8147"/>
          <ac:spMkLst>
            <pc:docMk/>
            <pc:sldMk cId="2078397052" sldId="2147482384"/>
            <ac:spMk id="1746" creationId="{B156B750-E3DA-680B-65A8-0B2C80AB90A2}"/>
          </ac:spMkLst>
        </pc:spChg>
        <pc:spChg chg="mod ord">
          <ac:chgData name="Karen Smith" userId="674fbaca-8204-4c14-a783-bec32124c23c" providerId="ADAL" clId="{CF1252B2-FCC6-4EA0-8053-51C510C28A0F}" dt="2026-04-14T13:21:33.994" v="8073" actId="1076"/>
          <ac:spMkLst>
            <pc:docMk/>
            <pc:sldMk cId="2078397052" sldId="2147482384"/>
            <ac:spMk id="1747" creationId="{67653971-EB13-3E15-7FA4-2A2378C0290E}"/>
          </ac:spMkLst>
        </pc:spChg>
        <pc:spChg chg="mod ord">
          <ac:chgData name="Karen Smith" userId="674fbaca-8204-4c14-a783-bec32124c23c" providerId="ADAL" clId="{CF1252B2-FCC6-4EA0-8053-51C510C28A0F}" dt="2026-04-14T13:21:26.543" v="7942"/>
          <ac:spMkLst>
            <pc:docMk/>
            <pc:sldMk cId="2078397052" sldId="2147482384"/>
            <ac:spMk id="1748" creationId="{54E0C700-BFB4-C3EE-2B0A-DD6D2E2C9ECE}"/>
          </ac:spMkLst>
        </pc:spChg>
        <pc:spChg chg="mod ord">
          <ac:chgData name="Karen Smith" userId="674fbaca-8204-4c14-a783-bec32124c23c" providerId="ADAL" clId="{CF1252B2-FCC6-4EA0-8053-51C510C28A0F}" dt="2026-04-14T13:21:26.543" v="7944"/>
          <ac:spMkLst>
            <pc:docMk/>
            <pc:sldMk cId="2078397052" sldId="2147482384"/>
            <ac:spMk id="1749" creationId="{38420BDC-B431-0DFC-C480-F8346DD29FB7}"/>
          </ac:spMkLst>
        </pc:spChg>
        <pc:spChg chg="mod ord">
          <ac:chgData name="Karen Smith" userId="674fbaca-8204-4c14-a783-bec32124c23c" providerId="ADAL" clId="{CF1252B2-FCC6-4EA0-8053-51C510C28A0F}" dt="2026-04-14T13:21:26.543" v="7946"/>
          <ac:spMkLst>
            <pc:docMk/>
            <pc:sldMk cId="2078397052" sldId="2147482384"/>
            <ac:spMk id="1750" creationId="{58B4DAC0-B93B-C2D6-667E-4BCFFD1E1626}"/>
          </ac:spMkLst>
        </pc:spChg>
        <pc:spChg chg="mod ord">
          <ac:chgData name="Karen Smith" userId="674fbaca-8204-4c14-a783-bec32124c23c" providerId="ADAL" clId="{CF1252B2-FCC6-4EA0-8053-51C510C28A0F}" dt="2026-04-14T13:21:26.543" v="7948"/>
          <ac:spMkLst>
            <pc:docMk/>
            <pc:sldMk cId="2078397052" sldId="2147482384"/>
            <ac:spMk id="1751" creationId="{E22109F1-8FA8-5F92-0B3E-6C1C6A22B9E0}"/>
          </ac:spMkLst>
        </pc:spChg>
        <pc:spChg chg="mod ord">
          <ac:chgData name="Karen Smith" userId="674fbaca-8204-4c14-a783-bec32124c23c" providerId="ADAL" clId="{CF1252B2-FCC6-4EA0-8053-51C510C28A0F}" dt="2026-04-14T13:21:26.543" v="7950"/>
          <ac:spMkLst>
            <pc:docMk/>
            <pc:sldMk cId="2078397052" sldId="2147482384"/>
            <ac:spMk id="1752" creationId="{78E9FAD0-107A-7471-E532-D6A9303BE54E}"/>
          </ac:spMkLst>
        </pc:spChg>
        <pc:spChg chg="mod ord">
          <ac:chgData name="Karen Smith" userId="674fbaca-8204-4c14-a783-bec32124c23c" providerId="ADAL" clId="{CF1252B2-FCC6-4EA0-8053-51C510C28A0F}" dt="2026-04-14T13:21:26.543" v="7952"/>
          <ac:spMkLst>
            <pc:docMk/>
            <pc:sldMk cId="2078397052" sldId="2147482384"/>
            <ac:spMk id="1753" creationId="{2399AA05-C5D4-AB0A-421C-823DE47CF7FC}"/>
          </ac:spMkLst>
        </pc:spChg>
        <pc:spChg chg="mod ord">
          <ac:chgData name="Karen Smith" userId="674fbaca-8204-4c14-a783-bec32124c23c" providerId="ADAL" clId="{CF1252B2-FCC6-4EA0-8053-51C510C28A0F}" dt="2026-04-14T13:22:45.583" v="8147"/>
          <ac:spMkLst>
            <pc:docMk/>
            <pc:sldMk cId="2078397052" sldId="2147482384"/>
            <ac:spMk id="1754" creationId="{A97E009B-BCDB-BF1C-D7A9-5B30B782036D}"/>
          </ac:spMkLst>
        </pc:spChg>
        <pc:spChg chg="mod ord">
          <ac:chgData name="Karen Smith" userId="674fbaca-8204-4c14-a783-bec32124c23c" providerId="ADAL" clId="{CF1252B2-FCC6-4EA0-8053-51C510C28A0F}" dt="2026-04-14T13:21:26.543" v="7956"/>
          <ac:spMkLst>
            <pc:docMk/>
            <pc:sldMk cId="2078397052" sldId="2147482384"/>
            <ac:spMk id="1755" creationId="{65341A71-F98E-033C-75D6-580CD464F3F3}"/>
          </ac:spMkLst>
        </pc:spChg>
        <pc:spChg chg="mod ord">
          <ac:chgData name="Karen Smith" userId="674fbaca-8204-4c14-a783-bec32124c23c" providerId="ADAL" clId="{CF1252B2-FCC6-4EA0-8053-51C510C28A0F}" dt="2026-04-14T13:21:26.543" v="7958"/>
          <ac:spMkLst>
            <pc:docMk/>
            <pc:sldMk cId="2078397052" sldId="2147482384"/>
            <ac:spMk id="1756" creationId="{CB733C41-794F-AFA9-679C-80B027DB742C}"/>
          </ac:spMkLst>
        </pc:spChg>
        <pc:spChg chg="mod ord">
          <ac:chgData name="Karen Smith" userId="674fbaca-8204-4c14-a783-bec32124c23c" providerId="ADAL" clId="{CF1252B2-FCC6-4EA0-8053-51C510C28A0F}" dt="2026-04-14T13:21:26.543" v="7960"/>
          <ac:spMkLst>
            <pc:docMk/>
            <pc:sldMk cId="2078397052" sldId="2147482384"/>
            <ac:spMk id="1757" creationId="{5409412E-CC0C-F7A4-8896-E8B62F8A2A54}"/>
          </ac:spMkLst>
        </pc:spChg>
        <pc:spChg chg="mod ord">
          <ac:chgData name="Karen Smith" userId="674fbaca-8204-4c14-a783-bec32124c23c" providerId="ADAL" clId="{CF1252B2-FCC6-4EA0-8053-51C510C28A0F}" dt="2026-04-14T13:21:26.543" v="7962"/>
          <ac:spMkLst>
            <pc:docMk/>
            <pc:sldMk cId="2078397052" sldId="2147482384"/>
            <ac:spMk id="1758" creationId="{49D4CB97-B1C8-4A2F-CB5D-CBA8A943D02B}"/>
          </ac:spMkLst>
        </pc:spChg>
        <pc:spChg chg="mod ord">
          <ac:chgData name="Karen Smith" userId="674fbaca-8204-4c14-a783-bec32124c23c" providerId="ADAL" clId="{CF1252B2-FCC6-4EA0-8053-51C510C28A0F}" dt="2026-04-14T13:22:45.583" v="8147"/>
          <ac:spMkLst>
            <pc:docMk/>
            <pc:sldMk cId="2078397052" sldId="2147482384"/>
            <ac:spMk id="1759" creationId="{17072B92-5DEF-D811-DE97-84910D4FA98B}"/>
          </ac:spMkLst>
        </pc:spChg>
        <pc:spChg chg="mod ord">
          <ac:chgData name="Karen Smith" userId="674fbaca-8204-4c14-a783-bec32124c23c" providerId="ADAL" clId="{CF1252B2-FCC6-4EA0-8053-51C510C28A0F}" dt="2026-04-14T13:21:26.543" v="7966"/>
          <ac:spMkLst>
            <pc:docMk/>
            <pc:sldMk cId="2078397052" sldId="2147482384"/>
            <ac:spMk id="1760" creationId="{54A1CD33-35D3-022D-2C62-BB7D2F363DD2}"/>
          </ac:spMkLst>
        </pc:spChg>
        <pc:spChg chg="mod ord">
          <ac:chgData name="Karen Smith" userId="674fbaca-8204-4c14-a783-bec32124c23c" providerId="ADAL" clId="{CF1252B2-FCC6-4EA0-8053-51C510C28A0F}" dt="2026-04-14T13:21:26.543" v="7968"/>
          <ac:spMkLst>
            <pc:docMk/>
            <pc:sldMk cId="2078397052" sldId="2147482384"/>
            <ac:spMk id="1761" creationId="{2B693DD3-E385-3D94-8447-F337203625F1}"/>
          </ac:spMkLst>
        </pc:spChg>
        <pc:spChg chg="mod ord">
          <ac:chgData name="Karen Smith" userId="674fbaca-8204-4c14-a783-bec32124c23c" providerId="ADAL" clId="{CF1252B2-FCC6-4EA0-8053-51C510C28A0F}" dt="2026-04-14T13:21:26.543" v="7970"/>
          <ac:spMkLst>
            <pc:docMk/>
            <pc:sldMk cId="2078397052" sldId="2147482384"/>
            <ac:spMk id="1762" creationId="{6E95F13A-6671-F850-9742-1F46298F72B2}"/>
          </ac:spMkLst>
        </pc:spChg>
        <pc:spChg chg="mod ord">
          <ac:chgData name="Karen Smith" userId="674fbaca-8204-4c14-a783-bec32124c23c" providerId="ADAL" clId="{CF1252B2-FCC6-4EA0-8053-51C510C28A0F}" dt="2026-04-14T13:22:45.583" v="8147"/>
          <ac:spMkLst>
            <pc:docMk/>
            <pc:sldMk cId="2078397052" sldId="2147482384"/>
            <ac:spMk id="1763" creationId="{47E7FED7-0684-DCC7-6A4A-2B3A8CB30DD6}"/>
          </ac:spMkLst>
        </pc:spChg>
        <pc:spChg chg="mod ord">
          <ac:chgData name="Karen Smith" userId="674fbaca-8204-4c14-a783-bec32124c23c" providerId="ADAL" clId="{CF1252B2-FCC6-4EA0-8053-51C510C28A0F}" dt="2026-04-14T13:21:26.543" v="7974"/>
          <ac:spMkLst>
            <pc:docMk/>
            <pc:sldMk cId="2078397052" sldId="2147482384"/>
            <ac:spMk id="1765" creationId="{F288A46C-6167-1A69-1F2A-5A51343D94B1}"/>
          </ac:spMkLst>
        </pc:spChg>
        <pc:spChg chg="mod ord">
          <ac:chgData name="Karen Smith" userId="674fbaca-8204-4c14-a783-bec32124c23c" providerId="ADAL" clId="{CF1252B2-FCC6-4EA0-8053-51C510C28A0F}" dt="2026-04-14T13:21:26.543" v="7976"/>
          <ac:spMkLst>
            <pc:docMk/>
            <pc:sldMk cId="2078397052" sldId="2147482384"/>
            <ac:spMk id="1766" creationId="{F1AE6DE4-8B2B-24E1-8E6E-7EAABFA1041F}"/>
          </ac:spMkLst>
        </pc:spChg>
        <pc:spChg chg="mod ord">
          <ac:chgData name="Karen Smith" userId="674fbaca-8204-4c14-a783-bec32124c23c" providerId="ADAL" clId="{CF1252B2-FCC6-4EA0-8053-51C510C28A0F}" dt="2026-04-14T13:22:37.882" v="8123"/>
          <ac:spMkLst>
            <pc:docMk/>
            <pc:sldMk cId="2078397052" sldId="2147482384"/>
            <ac:spMk id="1767" creationId="{4FDBE35C-BFB8-44BF-6867-134774997455}"/>
          </ac:spMkLst>
        </pc:spChg>
        <pc:spChg chg="mod ord">
          <ac:chgData name="Karen Smith" userId="674fbaca-8204-4c14-a783-bec32124c23c" providerId="ADAL" clId="{CF1252B2-FCC6-4EA0-8053-51C510C28A0F}" dt="2026-04-14T13:22:45.583" v="8147"/>
          <ac:spMkLst>
            <pc:docMk/>
            <pc:sldMk cId="2078397052" sldId="2147482384"/>
            <ac:spMk id="1768" creationId="{24FEE521-8726-76EA-5244-4A7B9061080C}"/>
          </ac:spMkLst>
        </pc:spChg>
        <pc:spChg chg="mod ord">
          <ac:chgData name="Karen Smith" userId="674fbaca-8204-4c14-a783-bec32124c23c" providerId="ADAL" clId="{CF1252B2-FCC6-4EA0-8053-51C510C28A0F}" dt="2026-04-14T13:21:26.559" v="7982"/>
          <ac:spMkLst>
            <pc:docMk/>
            <pc:sldMk cId="2078397052" sldId="2147482384"/>
            <ac:spMk id="1769" creationId="{EF97E973-C77E-A521-0469-B5353D9C69F0}"/>
          </ac:spMkLst>
        </pc:spChg>
        <pc:spChg chg="mod ord">
          <ac:chgData name="Karen Smith" userId="674fbaca-8204-4c14-a783-bec32124c23c" providerId="ADAL" clId="{CF1252B2-FCC6-4EA0-8053-51C510C28A0F}" dt="2026-04-14T13:21:26.559" v="7984"/>
          <ac:spMkLst>
            <pc:docMk/>
            <pc:sldMk cId="2078397052" sldId="2147482384"/>
            <ac:spMk id="1770" creationId="{0748F4B1-925A-5904-4ACE-46AFFE2CFE94}"/>
          </ac:spMkLst>
        </pc:spChg>
        <pc:spChg chg="mod ord">
          <ac:chgData name="Karen Smith" userId="674fbaca-8204-4c14-a783-bec32124c23c" providerId="ADAL" clId="{CF1252B2-FCC6-4EA0-8053-51C510C28A0F}" dt="2026-04-14T13:21:26.559" v="7986"/>
          <ac:spMkLst>
            <pc:docMk/>
            <pc:sldMk cId="2078397052" sldId="2147482384"/>
            <ac:spMk id="1771" creationId="{1984BC06-6813-3FD4-71B8-E43E60380A7A}"/>
          </ac:spMkLst>
        </pc:spChg>
        <pc:spChg chg="mod ord">
          <ac:chgData name="Karen Smith" userId="674fbaca-8204-4c14-a783-bec32124c23c" providerId="ADAL" clId="{CF1252B2-FCC6-4EA0-8053-51C510C28A0F}" dt="2026-04-14T13:21:26.559" v="7988"/>
          <ac:spMkLst>
            <pc:docMk/>
            <pc:sldMk cId="2078397052" sldId="2147482384"/>
            <ac:spMk id="1772" creationId="{489B6762-64E0-DD43-B0E8-5EEA7B6F9552}"/>
          </ac:spMkLst>
        </pc:spChg>
        <pc:spChg chg="mod ord">
          <ac:chgData name="Karen Smith" userId="674fbaca-8204-4c14-a783-bec32124c23c" providerId="ADAL" clId="{CF1252B2-FCC6-4EA0-8053-51C510C28A0F}" dt="2026-04-14T13:21:26.559" v="7990"/>
          <ac:spMkLst>
            <pc:docMk/>
            <pc:sldMk cId="2078397052" sldId="2147482384"/>
            <ac:spMk id="1773" creationId="{23243B8F-9C11-4F9B-BD78-8D6C3BB30A18}"/>
          </ac:spMkLst>
        </pc:spChg>
        <pc:spChg chg="mod ord">
          <ac:chgData name="Karen Smith" userId="674fbaca-8204-4c14-a783-bec32124c23c" providerId="ADAL" clId="{CF1252B2-FCC6-4EA0-8053-51C510C28A0F}" dt="2026-04-14T13:21:26.559" v="7992"/>
          <ac:spMkLst>
            <pc:docMk/>
            <pc:sldMk cId="2078397052" sldId="2147482384"/>
            <ac:spMk id="1774" creationId="{5028A1AB-A9D9-DF37-9D08-3F62B585848A}"/>
          </ac:spMkLst>
        </pc:spChg>
        <pc:spChg chg="mod ord">
          <ac:chgData name="Karen Smith" userId="674fbaca-8204-4c14-a783-bec32124c23c" providerId="ADAL" clId="{CF1252B2-FCC6-4EA0-8053-51C510C28A0F}" dt="2026-04-14T13:21:26.559" v="7994"/>
          <ac:spMkLst>
            <pc:docMk/>
            <pc:sldMk cId="2078397052" sldId="2147482384"/>
            <ac:spMk id="1775" creationId="{8EF48570-1CA9-C654-CD99-A42D83D52C86}"/>
          </ac:spMkLst>
        </pc:spChg>
        <pc:spChg chg="mod ord">
          <ac:chgData name="Karen Smith" userId="674fbaca-8204-4c14-a783-bec32124c23c" providerId="ADAL" clId="{CF1252B2-FCC6-4EA0-8053-51C510C28A0F}" dt="2026-04-14T13:21:26.559" v="7996"/>
          <ac:spMkLst>
            <pc:docMk/>
            <pc:sldMk cId="2078397052" sldId="2147482384"/>
            <ac:spMk id="1776" creationId="{F85902EC-CF02-5089-CCAE-F28F9CB11408}"/>
          </ac:spMkLst>
        </pc:spChg>
        <pc:spChg chg="mod ord">
          <ac:chgData name="Karen Smith" userId="674fbaca-8204-4c14-a783-bec32124c23c" providerId="ADAL" clId="{CF1252B2-FCC6-4EA0-8053-51C510C28A0F}" dt="2026-04-14T13:21:26.559" v="7998"/>
          <ac:spMkLst>
            <pc:docMk/>
            <pc:sldMk cId="2078397052" sldId="2147482384"/>
            <ac:spMk id="1777" creationId="{B182511F-C08B-EB6C-CB22-062A41AA21B2}"/>
          </ac:spMkLst>
        </pc:spChg>
        <pc:spChg chg="mod ord">
          <ac:chgData name="Karen Smith" userId="674fbaca-8204-4c14-a783-bec32124c23c" providerId="ADAL" clId="{CF1252B2-FCC6-4EA0-8053-51C510C28A0F}" dt="2026-04-14T13:21:26.559" v="8000"/>
          <ac:spMkLst>
            <pc:docMk/>
            <pc:sldMk cId="2078397052" sldId="2147482384"/>
            <ac:spMk id="1778" creationId="{B01A2F10-AFEB-1F77-CFFE-045610EB48EB}"/>
          </ac:spMkLst>
        </pc:spChg>
        <pc:spChg chg="mod ord">
          <ac:chgData name="Karen Smith" userId="674fbaca-8204-4c14-a783-bec32124c23c" providerId="ADAL" clId="{CF1252B2-FCC6-4EA0-8053-51C510C28A0F}" dt="2026-04-14T13:21:26.559" v="8002"/>
          <ac:spMkLst>
            <pc:docMk/>
            <pc:sldMk cId="2078397052" sldId="2147482384"/>
            <ac:spMk id="1779" creationId="{0FCA7648-7866-3854-1AB1-ED2B9A99BF38}"/>
          </ac:spMkLst>
        </pc:spChg>
        <pc:spChg chg="mod ord">
          <ac:chgData name="Karen Smith" userId="674fbaca-8204-4c14-a783-bec32124c23c" providerId="ADAL" clId="{CF1252B2-FCC6-4EA0-8053-51C510C28A0F}" dt="2026-04-14T13:21:26.559" v="8004"/>
          <ac:spMkLst>
            <pc:docMk/>
            <pc:sldMk cId="2078397052" sldId="2147482384"/>
            <ac:spMk id="1780" creationId="{53F5A72D-C21B-11FC-B737-2A8EEC1DB24F}"/>
          </ac:spMkLst>
        </pc:spChg>
        <pc:spChg chg="mod ord">
          <ac:chgData name="Karen Smith" userId="674fbaca-8204-4c14-a783-bec32124c23c" providerId="ADAL" clId="{CF1252B2-FCC6-4EA0-8053-51C510C28A0F}" dt="2026-04-14T13:21:26.559" v="8006"/>
          <ac:spMkLst>
            <pc:docMk/>
            <pc:sldMk cId="2078397052" sldId="2147482384"/>
            <ac:spMk id="1781" creationId="{5217C060-26D5-CFD7-F8F3-4E10DA95FE62}"/>
          </ac:spMkLst>
        </pc:spChg>
        <pc:spChg chg="mod ord">
          <ac:chgData name="Karen Smith" userId="674fbaca-8204-4c14-a783-bec32124c23c" providerId="ADAL" clId="{CF1252B2-FCC6-4EA0-8053-51C510C28A0F}" dt="2026-04-14T13:22:45.583" v="8147"/>
          <ac:spMkLst>
            <pc:docMk/>
            <pc:sldMk cId="2078397052" sldId="2147482384"/>
            <ac:spMk id="1782" creationId="{4CCEF569-FF8B-AF1E-256B-79B65C708F8C}"/>
          </ac:spMkLst>
        </pc:spChg>
        <pc:spChg chg="mod ord">
          <ac:chgData name="Karen Smith" userId="674fbaca-8204-4c14-a783-bec32124c23c" providerId="ADAL" clId="{CF1252B2-FCC6-4EA0-8053-51C510C28A0F}" dt="2026-04-14T13:22:37.882" v="8123"/>
          <ac:spMkLst>
            <pc:docMk/>
            <pc:sldMk cId="2078397052" sldId="2147482384"/>
            <ac:spMk id="1783" creationId="{15E886CC-D113-3830-61BA-8D454F794BD4}"/>
          </ac:spMkLst>
        </pc:spChg>
        <pc:spChg chg="mod ord">
          <ac:chgData name="Karen Smith" userId="674fbaca-8204-4c14-a783-bec32124c23c" providerId="ADAL" clId="{CF1252B2-FCC6-4EA0-8053-51C510C28A0F}" dt="2026-04-14T13:21:26.559" v="8012"/>
          <ac:spMkLst>
            <pc:docMk/>
            <pc:sldMk cId="2078397052" sldId="2147482384"/>
            <ac:spMk id="1784" creationId="{B69DA66E-09D6-F666-BC10-B07E815FF996}"/>
          </ac:spMkLst>
        </pc:spChg>
        <pc:spChg chg="mod ord">
          <ac:chgData name="Karen Smith" userId="674fbaca-8204-4c14-a783-bec32124c23c" providerId="ADAL" clId="{CF1252B2-FCC6-4EA0-8053-51C510C28A0F}" dt="2026-04-14T13:21:26.559" v="8014"/>
          <ac:spMkLst>
            <pc:docMk/>
            <pc:sldMk cId="2078397052" sldId="2147482384"/>
            <ac:spMk id="1785" creationId="{4485FBF7-0F95-E35C-E61B-317A7320EF14}"/>
          </ac:spMkLst>
        </pc:spChg>
        <pc:spChg chg="mod ord">
          <ac:chgData name="Karen Smith" userId="674fbaca-8204-4c14-a783-bec32124c23c" providerId="ADAL" clId="{CF1252B2-FCC6-4EA0-8053-51C510C28A0F}" dt="2026-04-14T13:21:26.559" v="8016"/>
          <ac:spMkLst>
            <pc:docMk/>
            <pc:sldMk cId="2078397052" sldId="2147482384"/>
            <ac:spMk id="1786" creationId="{CD75AC14-19B5-C959-9B51-1DBE354AEBD7}"/>
          </ac:spMkLst>
        </pc:spChg>
        <pc:spChg chg="mod ord">
          <ac:chgData name="Karen Smith" userId="674fbaca-8204-4c14-a783-bec32124c23c" providerId="ADAL" clId="{CF1252B2-FCC6-4EA0-8053-51C510C28A0F}" dt="2026-04-14T13:21:26.559" v="8018"/>
          <ac:spMkLst>
            <pc:docMk/>
            <pc:sldMk cId="2078397052" sldId="2147482384"/>
            <ac:spMk id="1787" creationId="{5E011A72-16B3-5C19-1DFE-D11BAA7877DB}"/>
          </ac:spMkLst>
        </pc:spChg>
        <pc:spChg chg="mod ord">
          <ac:chgData name="Karen Smith" userId="674fbaca-8204-4c14-a783-bec32124c23c" providerId="ADAL" clId="{CF1252B2-FCC6-4EA0-8053-51C510C28A0F}" dt="2026-04-14T13:21:26.559" v="8020"/>
          <ac:spMkLst>
            <pc:docMk/>
            <pc:sldMk cId="2078397052" sldId="2147482384"/>
            <ac:spMk id="1788" creationId="{80E16AE2-4C4F-FA8A-08E8-FAC4765AC054}"/>
          </ac:spMkLst>
        </pc:spChg>
        <pc:spChg chg="mod ord">
          <ac:chgData name="Karen Smith" userId="674fbaca-8204-4c14-a783-bec32124c23c" providerId="ADAL" clId="{CF1252B2-FCC6-4EA0-8053-51C510C28A0F}" dt="2026-04-14T13:21:26.559" v="8022"/>
          <ac:spMkLst>
            <pc:docMk/>
            <pc:sldMk cId="2078397052" sldId="2147482384"/>
            <ac:spMk id="1789" creationId="{C82BEBB6-EE3F-B393-E0F3-38710071382D}"/>
          </ac:spMkLst>
        </pc:spChg>
        <pc:spChg chg="mod ord">
          <ac:chgData name="Karen Smith" userId="674fbaca-8204-4c14-a783-bec32124c23c" providerId="ADAL" clId="{CF1252B2-FCC6-4EA0-8053-51C510C28A0F}" dt="2026-04-14T13:21:26.559" v="8024"/>
          <ac:spMkLst>
            <pc:docMk/>
            <pc:sldMk cId="2078397052" sldId="2147482384"/>
            <ac:spMk id="1790" creationId="{1A85096F-2CB4-DC1E-436E-7B80F71A1B23}"/>
          </ac:spMkLst>
        </pc:spChg>
        <pc:spChg chg="mod ord">
          <ac:chgData name="Karen Smith" userId="674fbaca-8204-4c14-a783-bec32124c23c" providerId="ADAL" clId="{CF1252B2-FCC6-4EA0-8053-51C510C28A0F}" dt="2026-04-14T13:21:26.559" v="8026"/>
          <ac:spMkLst>
            <pc:docMk/>
            <pc:sldMk cId="2078397052" sldId="2147482384"/>
            <ac:spMk id="1791" creationId="{43B39055-EC30-460E-F5E4-91CEF0F81F74}"/>
          </ac:spMkLst>
        </pc:spChg>
        <pc:spChg chg="mod ord">
          <ac:chgData name="Karen Smith" userId="674fbaca-8204-4c14-a783-bec32124c23c" providerId="ADAL" clId="{CF1252B2-FCC6-4EA0-8053-51C510C28A0F}" dt="2026-04-14T13:21:26.559" v="8028"/>
          <ac:spMkLst>
            <pc:docMk/>
            <pc:sldMk cId="2078397052" sldId="2147482384"/>
            <ac:spMk id="1792" creationId="{CEE0AEA3-BE6A-F473-B74C-5544D560A4C9}"/>
          </ac:spMkLst>
        </pc:spChg>
        <pc:spChg chg="mod ord">
          <ac:chgData name="Karen Smith" userId="674fbaca-8204-4c14-a783-bec32124c23c" providerId="ADAL" clId="{CF1252B2-FCC6-4EA0-8053-51C510C28A0F}" dt="2026-04-14T13:22:45.583" v="8147"/>
          <ac:spMkLst>
            <pc:docMk/>
            <pc:sldMk cId="2078397052" sldId="2147482384"/>
            <ac:spMk id="1793" creationId="{74A62E3A-687E-0747-B4C7-14CAC585DDBE}"/>
          </ac:spMkLst>
        </pc:spChg>
        <pc:spChg chg="mod ord">
          <ac:chgData name="Karen Smith" userId="674fbaca-8204-4c14-a783-bec32124c23c" providerId="ADAL" clId="{CF1252B2-FCC6-4EA0-8053-51C510C28A0F}" dt="2026-04-14T13:21:26.559" v="8032"/>
          <ac:spMkLst>
            <pc:docMk/>
            <pc:sldMk cId="2078397052" sldId="2147482384"/>
            <ac:spMk id="1794" creationId="{8FC82625-1C16-C944-372D-E9877B36F3FE}"/>
          </ac:spMkLst>
        </pc:spChg>
        <pc:spChg chg="mod ord">
          <ac:chgData name="Karen Smith" userId="674fbaca-8204-4c14-a783-bec32124c23c" providerId="ADAL" clId="{CF1252B2-FCC6-4EA0-8053-51C510C28A0F}" dt="2026-04-14T13:21:26.559" v="8034"/>
          <ac:spMkLst>
            <pc:docMk/>
            <pc:sldMk cId="2078397052" sldId="2147482384"/>
            <ac:spMk id="1795" creationId="{F2D207F1-F0F8-3073-FAED-060F4117274B}"/>
          </ac:spMkLst>
        </pc:spChg>
        <pc:spChg chg="mod ord">
          <ac:chgData name="Karen Smith" userId="674fbaca-8204-4c14-a783-bec32124c23c" providerId="ADAL" clId="{CF1252B2-FCC6-4EA0-8053-51C510C28A0F}" dt="2026-04-14T13:22:45.583" v="8147"/>
          <ac:spMkLst>
            <pc:docMk/>
            <pc:sldMk cId="2078397052" sldId="2147482384"/>
            <ac:spMk id="1796" creationId="{9E5A53B6-AE84-E74C-4CF9-DE506FBED73E}"/>
          </ac:spMkLst>
        </pc:spChg>
        <pc:spChg chg="mod ord">
          <ac:chgData name="Karen Smith" userId="674fbaca-8204-4c14-a783-bec32124c23c" providerId="ADAL" clId="{CF1252B2-FCC6-4EA0-8053-51C510C28A0F}" dt="2026-04-14T13:21:26.575" v="8038"/>
          <ac:spMkLst>
            <pc:docMk/>
            <pc:sldMk cId="2078397052" sldId="2147482384"/>
            <ac:spMk id="1797" creationId="{9579C027-990F-2EDC-C50C-F021D8DE8637}"/>
          </ac:spMkLst>
        </pc:spChg>
        <pc:spChg chg="mod ord">
          <ac:chgData name="Karen Smith" userId="674fbaca-8204-4c14-a783-bec32124c23c" providerId="ADAL" clId="{CF1252B2-FCC6-4EA0-8053-51C510C28A0F}" dt="2026-04-14T13:21:26.575" v="8040"/>
          <ac:spMkLst>
            <pc:docMk/>
            <pc:sldMk cId="2078397052" sldId="2147482384"/>
            <ac:spMk id="1798" creationId="{F9F8C6A2-2894-B18E-66B8-5249785A1794}"/>
          </ac:spMkLst>
        </pc:spChg>
        <pc:spChg chg="mod ord">
          <ac:chgData name="Karen Smith" userId="674fbaca-8204-4c14-a783-bec32124c23c" providerId="ADAL" clId="{CF1252B2-FCC6-4EA0-8053-51C510C28A0F}" dt="2026-04-14T13:21:26.575" v="8042"/>
          <ac:spMkLst>
            <pc:docMk/>
            <pc:sldMk cId="2078397052" sldId="2147482384"/>
            <ac:spMk id="1799" creationId="{73E84D9E-BF38-1DC5-9F13-C1E40E9D814A}"/>
          </ac:spMkLst>
        </pc:spChg>
        <pc:spChg chg="mod ord">
          <ac:chgData name="Karen Smith" userId="674fbaca-8204-4c14-a783-bec32124c23c" providerId="ADAL" clId="{CF1252B2-FCC6-4EA0-8053-51C510C28A0F}" dt="2026-04-14T13:21:26.575" v="8044"/>
          <ac:spMkLst>
            <pc:docMk/>
            <pc:sldMk cId="2078397052" sldId="2147482384"/>
            <ac:spMk id="1800" creationId="{89FE4ED5-0B28-1EEB-F654-215E0DC0C6CD}"/>
          </ac:spMkLst>
        </pc:spChg>
        <pc:spChg chg="mod ord">
          <ac:chgData name="Karen Smith" userId="674fbaca-8204-4c14-a783-bec32124c23c" providerId="ADAL" clId="{CF1252B2-FCC6-4EA0-8053-51C510C28A0F}" dt="2026-04-14T13:21:26.575" v="8046"/>
          <ac:spMkLst>
            <pc:docMk/>
            <pc:sldMk cId="2078397052" sldId="2147482384"/>
            <ac:spMk id="1801" creationId="{EE4EE362-D8D4-0D9D-170D-10EF42CA1885}"/>
          </ac:spMkLst>
        </pc:spChg>
        <pc:spChg chg="mod ord">
          <ac:chgData name="Karen Smith" userId="674fbaca-8204-4c14-a783-bec32124c23c" providerId="ADAL" clId="{CF1252B2-FCC6-4EA0-8053-51C510C28A0F}" dt="2026-04-14T13:22:45.583" v="8147"/>
          <ac:spMkLst>
            <pc:docMk/>
            <pc:sldMk cId="2078397052" sldId="2147482384"/>
            <ac:spMk id="1802" creationId="{E2E72879-2891-E477-458C-AD1702A36DAD}"/>
          </ac:spMkLst>
        </pc:spChg>
        <pc:spChg chg="mod ord">
          <ac:chgData name="Karen Smith" userId="674fbaca-8204-4c14-a783-bec32124c23c" providerId="ADAL" clId="{CF1252B2-FCC6-4EA0-8053-51C510C28A0F}" dt="2026-04-14T13:21:26.575" v="8050"/>
          <ac:spMkLst>
            <pc:docMk/>
            <pc:sldMk cId="2078397052" sldId="2147482384"/>
            <ac:spMk id="1803" creationId="{38E462BB-DFE4-89EC-EAFE-FF7679EDB109}"/>
          </ac:spMkLst>
        </pc:spChg>
        <pc:spChg chg="mod ord">
          <ac:chgData name="Karen Smith" userId="674fbaca-8204-4c14-a783-bec32124c23c" providerId="ADAL" clId="{CF1252B2-FCC6-4EA0-8053-51C510C28A0F}" dt="2026-04-14T13:21:26.575" v="8052"/>
          <ac:spMkLst>
            <pc:docMk/>
            <pc:sldMk cId="2078397052" sldId="2147482384"/>
            <ac:spMk id="1804" creationId="{2DBC9EB2-FFBA-6F5D-4BC0-3D0F04461522}"/>
          </ac:spMkLst>
        </pc:spChg>
        <pc:spChg chg="mod ord">
          <ac:chgData name="Karen Smith" userId="674fbaca-8204-4c14-a783-bec32124c23c" providerId="ADAL" clId="{CF1252B2-FCC6-4EA0-8053-51C510C28A0F}" dt="2026-04-14T13:21:26.575" v="8054"/>
          <ac:spMkLst>
            <pc:docMk/>
            <pc:sldMk cId="2078397052" sldId="2147482384"/>
            <ac:spMk id="1805" creationId="{7A14B3DB-AF91-BCF7-AD60-5255B85441D0}"/>
          </ac:spMkLst>
        </pc:spChg>
        <pc:spChg chg="mod ord">
          <ac:chgData name="Karen Smith" userId="674fbaca-8204-4c14-a783-bec32124c23c" providerId="ADAL" clId="{CF1252B2-FCC6-4EA0-8053-51C510C28A0F}" dt="2026-04-14T13:21:26.575" v="8056"/>
          <ac:spMkLst>
            <pc:docMk/>
            <pc:sldMk cId="2078397052" sldId="2147482384"/>
            <ac:spMk id="1806" creationId="{92BD652B-12A6-173E-12A1-69DB4FE4814B}"/>
          </ac:spMkLst>
        </pc:spChg>
        <pc:spChg chg="mod ord">
          <ac:chgData name="Karen Smith" userId="674fbaca-8204-4c14-a783-bec32124c23c" providerId="ADAL" clId="{CF1252B2-FCC6-4EA0-8053-51C510C28A0F}" dt="2026-04-14T13:21:33.994" v="8073" actId="1076"/>
          <ac:spMkLst>
            <pc:docMk/>
            <pc:sldMk cId="2078397052" sldId="2147482384"/>
            <ac:spMk id="1807" creationId="{464C116D-2F15-5E27-4EAB-EE917FB8D54A}"/>
          </ac:spMkLst>
        </pc:spChg>
        <pc:spChg chg="mod ord">
          <ac:chgData name="Karen Smith" userId="674fbaca-8204-4c14-a783-bec32124c23c" providerId="ADAL" clId="{CF1252B2-FCC6-4EA0-8053-51C510C28A0F}" dt="2026-04-14T13:21:26.575" v="8060"/>
          <ac:spMkLst>
            <pc:docMk/>
            <pc:sldMk cId="2078397052" sldId="2147482384"/>
            <ac:spMk id="1808" creationId="{024EFF26-C5CC-6EDF-BB64-437281ADF4AB}"/>
          </ac:spMkLst>
        </pc:spChg>
        <pc:spChg chg="mod ord">
          <ac:chgData name="Karen Smith" userId="674fbaca-8204-4c14-a783-bec32124c23c" providerId="ADAL" clId="{CF1252B2-FCC6-4EA0-8053-51C510C28A0F}" dt="2026-04-14T13:21:26.575" v="8062"/>
          <ac:spMkLst>
            <pc:docMk/>
            <pc:sldMk cId="2078397052" sldId="2147482384"/>
            <ac:spMk id="1809" creationId="{FA380176-5786-94B8-EE83-A891BBA6CC8D}"/>
          </ac:spMkLst>
        </pc:spChg>
        <pc:spChg chg="mod ord">
          <ac:chgData name="Karen Smith" userId="674fbaca-8204-4c14-a783-bec32124c23c" providerId="ADAL" clId="{CF1252B2-FCC6-4EA0-8053-51C510C28A0F}" dt="2026-04-14T13:21:33.994" v="8073" actId="1076"/>
          <ac:spMkLst>
            <pc:docMk/>
            <pc:sldMk cId="2078397052" sldId="2147482384"/>
            <ac:spMk id="1810" creationId="{3A1C3345-195A-276C-4BAE-203D96BBE4C1}"/>
          </ac:spMkLst>
        </pc:spChg>
        <pc:spChg chg="mod ord">
          <ac:chgData name="Karen Smith" userId="674fbaca-8204-4c14-a783-bec32124c23c" providerId="ADAL" clId="{CF1252B2-FCC6-4EA0-8053-51C510C28A0F}" dt="2026-04-14T13:21:33.994" v="8073" actId="1076"/>
          <ac:spMkLst>
            <pc:docMk/>
            <pc:sldMk cId="2078397052" sldId="2147482384"/>
            <ac:spMk id="1812" creationId="{EF01B053-D6B2-8558-F1C9-75F12933E41B}"/>
          </ac:spMkLst>
        </pc:spChg>
        <pc:spChg chg="mod ord">
          <ac:chgData name="Karen Smith" userId="674fbaca-8204-4c14-a783-bec32124c23c" providerId="ADAL" clId="{CF1252B2-FCC6-4EA0-8053-51C510C28A0F}" dt="2026-04-14T13:21:26.575" v="8068"/>
          <ac:spMkLst>
            <pc:docMk/>
            <pc:sldMk cId="2078397052" sldId="2147482384"/>
            <ac:spMk id="1813" creationId="{8F0285F7-30CE-E3A3-25A6-5A18294C9E69}"/>
          </ac:spMkLst>
        </pc:spChg>
        <pc:spChg chg="add mod ord">
          <ac:chgData name="Karen Smith" userId="674fbaca-8204-4c14-a783-bec32124c23c" providerId="ADAL" clId="{CF1252B2-FCC6-4EA0-8053-51C510C28A0F}" dt="2026-04-14T13:25:06.567" v="8163" actId="207"/>
          <ac:spMkLst>
            <pc:docMk/>
            <pc:sldMk cId="2078397052" sldId="2147482384"/>
            <ac:spMk id="2121" creationId="{FFB6179D-372D-4148-1E0D-3BEB1239932C}"/>
          </ac:spMkLst>
        </pc:spChg>
        <pc:spChg chg="add mod">
          <ac:chgData name="Karen Smith" userId="674fbaca-8204-4c14-a783-bec32124c23c" providerId="ADAL" clId="{CF1252B2-FCC6-4EA0-8053-51C510C28A0F}" dt="2026-04-14T13:25:00.568" v="8162" actId="207"/>
          <ac:spMkLst>
            <pc:docMk/>
            <pc:sldMk cId="2078397052" sldId="2147482384"/>
            <ac:spMk id="2122" creationId="{BDCD2490-F9C5-19A5-CF61-9E81AE2D6642}"/>
          </ac:spMkLst>
        </pc:spChg>
        <pc:grpChg chg="mod ord">
          <ac:chgData name="Karen Smith" userId="674fbaca-8204-4c14-a783-bec32124c23c" providerId="ADAL" clId="{CF1252B2-FCC6-4EA0-8053-51C510C28A0F}" dt="2026-04-14T13:21:26.527" v="7868"/>
          <ac:grpSpMkLst>
            <pc:docMk/>
            <pc:sldMk cId="2078397052" sldId="2147482384"/>
            <ac:grpSpMk id="33" creationId="{ED8E999F-82AC-DBA6-37D2-83D1726D0F7F}"/>
          </ac:grpSpMkLst>
        </pc:grpChg>
        <pc:grpChg chg="mod ord">
          <ac:chgData name="Karen Smith" userId="674fbaca-8204-4c14-a783-bec32124c23c" providerId="ADAL" clId="{CF1252B2-FCC6-4EA0-8053-51C510C28A0F}" dt="2026-04-14T13:21:26.527" v="7880"/>
          <ac:grpSpMkLst>
            <pc:docMk/>
            <pc:sldMk cId="2078397052" sldId="2147482384"/>
            <ac:grpSpMk id="143" creationId="{82BD5986-4B12-ADCA-D497-FBAB55554452}"/>
          </ac:grpSpMkLst>
        </pc:grpChg>
        <pc:grpChg chg="mod ord">
          <ac:chgData name="Karen Smith" userId="674fbaca-8204-4c14-a783-bec32124c23c" providerId="ADAL" clId="{CF1252B2-FCC6-4EA0-8053-51C510C28A0F}" dt="2026-04-14T13:21:26.533" v="7886"/>
          <ac:grpSpMkLst>
            <pc:docMk/>
            <pc:sldMk cId="2078397052" sldId="2147482384"/>
            <ac:grpSpMk id="176" creationId="{C34D8159-1AF4-60C0-5074-1D86A33CC53F}"/>
          </ac:grpSpMkLst>
        </pc:grpChg>
        <pc:grpChg chg="add mod ord">
          <ac:chgData name="Karen Smith" userId="674fbaca-8204-4c14-a783-bec32124c23c" providerId="ADAL" clId="{CF1252B2-FCC6-4EA0-8053-51C510C28A0F}" dt="2026-04-14T13:23:33.343" v="8155" actId="1076"/>
          <ac:grpSpMkLst>
            <pc:docMk/>
            <pc:sldMk cId="2078397052" sldId="2147482384"/>
            <ac:grpSpMk id="703" creationId="{37335CB5-E8AD-29D5-814A-CED29CDA127E}"/>
          </ac:grpSpMkLst>
        </pc:grpChg>
        <pc:grpChg chg="add mod ord">
          <ac:chgData name="Karen Smith" userId="674fbaca-8204-4c14-a783-bec32124c23c" providerId="ADAL" clId="{CF1252B2-FCC6-4EA0-8053-51C510C28A0F}" dt="2026-04-14T13:23:03.785" v="8148" actId="1076"/>
          <ac:grpSpMkLst>
            <pc:docMk/>
            <pc:sldMk cId="2078397052" sldId="2147482384"/>
            <ac:grpSpMk id="852" creationId="{F107B599-5FA0-5BC7-FBCB-BDC845ECEC3B}"/>
          </ac:grpSpMkLst>
        </pc:grpChg>
        <pc:grpChg chg="add mod ord">
          <ac:chgData name="Karen Smith" userId="674fbaca-8204-4c14-a783-bec32124c23c" providerId="ADAL" clId="{CF1252B2-FCC6-4EA0-8053-51C510C28A0F}" dt="2026-04-14T13:23:03.785" v="8148" actId="1076"/>
          <ac:grpSpMkLst>
            <pc:docMk/>
            <pc:sldMk cId="2078397052" sldId="2147482384"/>
            <ac:grpSpMk id="855" creationId="{15FCB4AB-187A-FF7D-D04F-AD989DEE115C}"/>
          </ac:grpSpMkLst>
        </pc:grpChg>
        <pc:grpChg chg="add mod ord">
          <ac:chgData name="Karen Smith" userId="674fbaca-8204-4c14-a783-bec32124c23c" providerId="ADAL" clId="{CF1252B2-FCC6-4EA0-8053-51C510C28A0F}" dt="2026-04-14T13:22:45.583" v="8145"/>
          <ac:grpSpMkLst>
            <pc:docMk/>
            <pc:sldMk cId="2078397052" sldId="2147482384"/>
            <ac:grpSpMk id="862" creationId="{1373B90C-F691-4918-C276-501FF5A704E4}"/>
          </ac:grpSpMkLst>
        </pc:grpChg>
        <pc:grpChg chg="mod ord">
          <ac:chgData name="Karen Smith" userId="674fbaca-8204-4c14-a783-bec32124c23c" providerId="ADAL" clId="{CF1252B2-FCC6-4EA0-8053-51C510C28A0F}" dt="2026-04-14T13:23:03.785" v="8148" actId="1076"/>
          <ac:grpSpMkLst>
            <pc:docMk/>
            <pc:sldMk cId="2078397052" sldId="2147482384"/>
            <ac:grpSpMk id="2120" creationId="{DC51500A-3DE6-6818-7401-0C62F6859876}"/>
          </ac:grpSpMkLst>
        </pc:grpChg>
        <pc:grpChg chg="mod">
          <ac:chgData name="Karen Smith" userId="674fbaca-8204-4c14-a783-bec32124c23c" providerId="ADAL" clId="{CF1252B2-FCC6-4EA0-8053-51C510C28A0F}" dt="2026-04-14T13:23:03.785" v="8148" actId="1076"/>
          <ac:grpSpMkLst>
            <pc:docMk/>
            <pc:sldMk cId="2078397052" sldId="2147482384"/>
            <ac:grpSpMk id="2123" creationId="{9423492A-6170-D670-91AE-B1DE7DA467A7}"/>
          </ac:grpSpMkLst>
        </pc:grpChg>
        <pc:graphicFrameChg chg="add mod ord modVis">
          <ac:chgData name="Karen Smith" userId="674fbaca-8204-4c14-a783-bec32124c23c" providerId="ADAL" clId="{CF1252B2-FCC6-4EA0-8053-51C510C28A0F}" dt="2026-04-14T13:21:26.575" v="8070"/>
          <ac:graphicFrameMkLst>
            <pc:docMk/>
            <pc:sldMk cId="2078397052" sldId="2147482384"/>
            <ac:graphicFrameMk id="15" creationId="{38EA7683-442F-E175-53C5-1DF8A6ED953C}"/>
          </ac:graphicFrameMkLst>
        </pc:graphicFrameChg>
        <pc:picChg chg="mod ord modCrop">
          <ac:chgData name="Karen Smith" userId="674fbaca-8204-4c14-a783-bec32124c23c" providerId="ADAL" clId="{CF1252B2-FCC6-4EA0-8053-51C510C28A0F}" dt="2026-04-14T13:22:37.499" v="8116" actId="1076"/>
          <ac:picMkLst>
            <pc:docMk/>
            <pc:sldMk cId="2078397052" sldId="2147482384"/>
            <ac:picMk id="114" creationId="{3460DB5F-484A-6D7E-DFDA-0106A97A2712}"/>
          </ac:picMkLst>
        </pc:picChg>
        <pc:cxnChg chg="add mod ord">
          <ac:chgData name="Karen Smith" userId="674fbaca-8204-4c14-a783-bec32124c23c" providerId="ADAL" clId="{CF1252B2-FCC6-4EA0-8053-51C510C28A0F}" dt="2026-04-14T13:21:26.511" v="7848"/>
          <ac:cxnSpMkLst>
            <pc:docMk/>
            <pc:sldMk cId="2078397052" sldId="2147482384"/>
            <ac:cxnSpMk id="12" creationId="{F24FEDCF-E44F-8FFA-F9B4-371D0FC9B3D3}"/>
          </ac:cxnSpMkLst>
        </pc:cxnChg>
        <pc:cxnChg chg="add mod ord">
          <ac:chgData name="Karen Smith" userId="674fbaca-8204-4c14-a783-bec32124c23c" providerId="ADAL" clId="{CF1252B2-FCC6-4EA0-8053-51C510C28A0F}" dt="2026-04-14T13:21:26.511" v="7850"/>
          <ac:cxnSpMkLst>
            <pc:docMk/>
            <pc:sldMk cId="2078397052" sldId="2147482384"/>
            <ac:cxnSpMk id="14" creationId="{4BD621CB-D1F9-CD3A-830D-8A5E2D8917EF}"/>
          </ac:cxnSpMkLst>
        </pc:cxnChg>
      </pc:sldChg>
      <pc:sldMasterChg chg="addSp modSp mod">
        <pc:chgData name="Karen Smith" userId="674fbaca-8204-4c14-a783-bec32124c23c" providerId="ADAL" clId="{CF1252B2-FCC6-4EA0-8053-51C510C28A0F}" dt="2026-04-14T11:31:25.338" v="20"/>
        <pc:sldMasterMkLst>
          <pc:docMk/>
          <pc:sldMasterMk cId="2815037715" sldId="2147483677"/>
        </pc:sldMasterMkLst>
        <pc:spChg chg="mod">
          <ac:chgData name="Karen Smith" userId="674fbaca-8204-4c14-a783-bec32124c23c" providerId="ADAL" clId="{CF1252B2-FCC6-4EA0-8053-51C510C28A0F}" dt="2026-04-14T11:31:25.306" v="3" actId="299"/>
          <ac:spMkLst>
            <pc:docMk/>
            <pc:sldMasterMk cId="2815037715" sldId="2147483677"/>
            <ac:spMk id="2" creationId="{4E595B33-58AD-4532-AEF7-AB747A047888}"/>
          </ac:spMkLst>
        </pc:spChg>
        <pc:graphicFrameChg chg="add mod ord modVis">
          <ac:chgData name="Karen Smith" userId="674fbaca-8204-4c14-a783-bec32124c23c" providerId="ADAL" clId="{CF1252B2-FCC6-4EA0-8053-51C510C28A0F}" dt="2026-04-14T11:31:25.338" v="20"/>
          <ac:graphicFrameMkLst>
            <pc:docMk/>
            <pc:sldMasterMk cId="2815037715" sldId="2147483677"/>
            <ac:graphicFrameMk id="4" creationId="{245EBDB3-ECDD-D52F-6280-8290B24FB6FD}"/>
          </ac:graphicFrameMkLst>
        </pc:graphicFrameChg>
      </pc:sldMasterChg>
    </pc:docChg>
  </pc:docChgLst>
  <pc:docChgLst>
    <pc:chgData name="Jasmin Boyd" userId="e06334d6-8248-48d7-a577-bcb978da56eb" providerId="ADAL" clId="{A3129676-0728-4285-8A48-C03F3108D3F9}"/>
    <pc:docChg chg="custSel modSld modMainMaster">
      <pc:chgData name="Jasmin Boyd" userId="e06334d6-8248-48d7-a577-bcb978da56eb" providerId="ADAL" clId="{A3129676-0728-4285-8A48-C03F3108D3F9}" dt="2026-04-22T13:54:51.035" v="252" actId="20577"/>
      <pc:docMkLst>
        <pc:docMk/>
      </pc:docMkLst>
      <pc:sldChg chg="delSp modSp mod">
        <pc:chgData name="Jasmin Boyd" userId="e06334d6-8248-48d7-a577-bcb978da56eb" providerId="ADAL" clId="{A3129676-0728-4285-8A48-C03F3108D3F9}" dt="2026-04-15T19:06:35.335" v="167" actId="478"/>
        <pc:sldMkLst>
          <pc:docMk/>
          <pc:sldMk cId="1765956324" sldId="2147469068"/>
        </pc:sldMkLst>
        <pc:spChg chg="mod">
          <ac:chgData name="Jasmin Boyd" userId="e06334d6-8248-48d7-a577-bcb978da56eb" providerId="ADAL" clId="{A3129676-0728-4285-8A48-C03F3108D3F9}" dt="2026-04-15T19:02:09.098" v="165" actId="20577"/>
          <ac:spMkLst>
            <pc:docMk/>
            <pc:sldMk cId="1765956324" sldId="2147469068"/>
            <ac:spMk id="2" creationId="{A365A930-61E0-53F8-1A17-54CD68CBD995}"/>
          </ac:spMkLst>
        </pc:spChg>
      </pc:sldChg>
      <pc:sldChg chg="modSp mod modCm">
        <pc:chgData name="Jasmin Boyd" userId="e06334d6-8248-48d7-a577-bcb978da56eb" providerId="ADAL" clId="{A3129676-0728-4285-8A48-C03F3108D3F9}" dt="2026-04-22T13:54:51.035" v="252" actId="20577"/>
        <pc:sldMkLst>
          <pc:docMk/>
          <pc:sldMk cId="2078397052" sldId="2147482384"/>
        </pc:sldMkLst>
        <pc:spChg chg="mod">
          <ac:chgData name="Jasmin Boyd" userId="e06334d6-8248-48d7-a577-bcb978da56eb" providerId="ADAL" clId="{A3129676-0728-4285-8A48-C03F3108D3F9}" dt="2026-04-22T13:54:51.035" v="252" actId="20577"/>
          <ac:spMkLst>
            <pc:docMk/>
            <pc:sldMk cId="2078397052" sldId="2147482384"/>
            <ac:spMk id="180" creationId="{0C0C7E67-33FD-6AD5-4ED6-C107C5BA7C0D}"/>
          </ac:spMkLst>
        </pc:spChg>
        <pc:extLst>
          <p:ext xmlns:p="http://schemas.openxmlformats.org/presentationml/2006/main" uri="{D6D511B9-2390-475A-947B-AFAB55BFBCF1}">
            <pc226:cmChg xmlns:pc226="http://schemas.microsoft.com/office/powerpoint/2022/06/main/command" chg="mod">
              <pc226:chgData name="Jasmin Boyd" userId="e06334d6-8248-48d7-a577-bcb978da56eb" providerId="ADAL" clId="{A3129676-0728-4285-8A48-C03F3108D3F9}" dt="2026-04-22T13:47:46.279" v="199" actId="20577"/>
              <pc2:cmMkLst xmlns:pc2="http://schemas.microsoft.com/office/powerpoint/2019/9/main/command">
                <pc:docMk/>
                <pc:sldMk cId="2078397052" sldId="2147482384"/>
                <pc2:cmMk id="{FA2FA876-0467-4EBE-BA9A-F0A21365E36F}"/>
              </pc2:cmMkLst>
            </pc226:cmChg>
          </p:ext>
        </pc:extLst>
      </pc:sldChg>
      <pc:sldMasterChg chg="modSldLayout">
        <pc:chgData name="Jasmin Boyd" userId="e06334d6-8248-48d7-a577-bcb978da56eb" providerId="ADAL" clId="{A3129676-0728-4285-8A48-C03F3108D3F9}" dt="2026-04-02T11:38:28.918" v="92" actId="20577"/>
        <pc:sldMasterMkLst>
          <pc:docMk/>
          <pc:sldMasterMk cId="2815037715" sldId="2147483677"/>
        </pc:sldMasterMkLst>
        <pc:sldLayoutChg chg="modSp mod">
          <pc:chgData name="Jasmin Boyd" userId="e06334d6-8248-48d7-a577-bcb978da56eb" providerId="ADAL" clId="{A3129676-0728-4285-8A48-C03F3108D3F9}" dt="2026-04-02T11:35:58.344" v="18"/>
          <pc:sldLayoutMkLst>
            <pc:docMk/>
            <pc:sldMasterMk cId="2815037715" sldId="2147483677"/>
            <pc:sldLayoutMk cId="1326332566" sldId="2147483678"/>
          </pc:sldLayoutMkLst>
          <pc:spChg chg="mod">
            <ac:chgData name="Jasmin Boyd" userId="e06334d6-8248-48d7-a577-bcb978da56eb" providerId="ADAL" clId="{A3129676-0728-4285-8A48-C03F3108D3F9}" dt="2026-04-02T11:35:58.344" v="18"/>
            <ac:spMkLst>
              <pc:docMk/>
              <pc:sldMasterMk cId="2815037715" sldId="2147483677"/>
              <pc:sldLayoutMk cId="1326332566" sldId="2147483678"/>
              <ac:spMk id="4" creationId="{65F70CA3-C0DB-00B2-5E79-36CA62E16F89}"/>
            </ac:spMkLst>
          </pc:spChg>
        </pc:sldLayoutChg>
        <pc:sldLayoutChg chg="modSp mod">
          <pc:chgData name="Jasmin Boyd" userId="e06334d6-8248-48d7-a577-bcb978da56eb" providerId="ADAL" clId="{A3129676-0728-4285-8A48-C03F3108D3F9}" dt="2026-04-02T11:37:03.999" v="35" actId="13926"/>
          <pc:sldLayoutMkLst>
            <pc:docMk/>
            <pc:sldMasterMk cId="2815037715" sldId="2147483677"/>
            <pc:sldLayoutMk cId="20734339" sldId="2147483680"/>
          </pc:sldLayoutMkLst>
          <pc:spChg chg="mod">
            <ac:chgData name="Jasmin Boyd" userId="e06334d6-8248-48d7-a577-bcb978da56eb" providerId="ADAL" clId="{A3129676-0728-4285-8A48-C03F3108D3F9}" dt="2026-04-02T11:37:03.999" v="35" actId="13926"/>
            <ac:spMkLst>
              <pc:docMk/>
              <pc:sldMasterMk cId="2815037715" sldId="2147483677"/>
              <pc:sldLayoutMk cId="20734339" sldId="2147483680"/>
              <ac:spMk id="2" creationId="{5509E36E-BCD6-F1DE-FBD0-210375D36BE4}"/>
            </ac:spMkLst>
          </pc:spChg>
        </pc:sldLayoutChg>
        <pc:sldLayoutChg chg="modSp mod">
          <pc:chgData name="Jasmin Boyd" userId="e06334d6-8248-48d7-a577-bcb978da56eb" providerId="ADAL" clId="{A3129676-0728-4285-8A48-C03F3108D3F9}" dt="2026-04-02T11:37:11.785" v="46"/>
          <pc:sldLayoutMkLst>
            <pc:docMk/>
            <pc:sldMasterMk cId="2815037715" sldId="2147483677"/>
            <pc:sldLayoutMk cId="4261198508" sldId="2147483681"/>
          </pc:sldLayoutMkLst>
          <pc:spChg chg="mod">
            <ac:chgData name="Jasmin Boyd" userId="e06334d6-8248-48d7-a577-bcb978da56eb" providerId="ADAL" clId="{A3129676-0728-4285-8A48-C03F3108D3F9}" dt="2026-04-02T11:37:11.785" v="46"/>
            <ac:spMkLst>
              <pc:docMk/>
              <pc:sldMasterMk cId="2815037715" sldId="2147483677"/>
              <pc:sldLayoutMk cId="4261198508" sldId="2147483681"/>
              <ac:spMk id="7" creationId="{A0CD0ED4-4C17-238E-DC26-B3A8413E6333}"/>
            </ac:spMkLst>
          </pc:spChg>
        </pc:sldLayoutChg>
        <pc:sldLayoutChg chg="modSp mod">
          <pc:chgData name="Jasmin Boyd" userId="e06334d6-8248-48d7-a577-bcb978da56eb" providerId="ADAL" clId="{A3129676-0728-4285-8A48-C03F3108D3F9}" dt="2026-04-02T11:37:22.391" v="57" actId="13926"/>
          <pc:sldLayoutMkLst>
            <pc:docMk/>
            <pc:sldMasterMk cId="2815037715" sldId="2147483677"/>
            <pc:sldLayoutMk cId="2137450510" sldId="2147483682"/>
          </pc:sldLayoutMkLst>
          <pc:spChg chg="mod">
            <ac:chgData name="Jasmin Boyd" userId="e06334d6-8248-48d7-a577-bcb978da56eb" providerId="ADAL" clId="{A3129676-0728-4285-8A48-C03F3108D3F9}" dt="2026-04-02T11:37:22.391" v="57" actId="13926"/>
            <ac:spMkLst>
              <pc:docMk/>
              <pc:sldMasterMk cId="2815037715" sldId="2147483677"/>
              <pc:sldLayoutMk cId="2137450510" sldId="2147483682"/>
              <ac:spMk id="7" creationId="{1277C976-1D7F-98A9-9099-D08CA8FF1481}"/>
            </ac:spMkLst>
          </pc:spChg>
        </pc:sldLayoutChg>
        <pc:sldLayoutChg chg="modSp mod">
          <pc:chgData name="Jasmin Boyd" userId="e06334d6-8248-48d7-a577-bcb978da56eb" providerId="ADAL" clId="{A3129676-0728-4285-8A48-C03F3108D3F9}" dt="2026-04-02T11:38:28.918" v="92" actId="20577"/>
          <pc:sldLayoutMkLst>
            <pc:docMk/>
            <pc:sldMasterMk cId="2815037715" sldId="2147483677"/>
            <pc:sldLayoutMk cId="879038646" sldId="2147483683"/>
          </pc:sldLayoutMkLst>
          <pc:spChg chg="mod">
            <ac:chgData name="Jasmin Boyd" userId="e06334d6-8248-48d7-a577-bcb978da56eb" providerId="ADAL" clId="{A3129676-0728-4285-8A48-C03F3108D3F9}" dt="2026-04-02T11:38:28.918" v="92" actId="20577"/>
            <ac:spMkLst>
              <pc:docMk/>
              <pc:sldMasterMk cId="2815037715" sldId="2147483677"/>
              <pc:sldLayoutMk cId="879038646" sldId="2147483683"/>
              <ac:spMk id="4" creationId="{4436770F-902D-D0FA-34DA-C767073E3C17}"/>
            </ac:spMkLst>
          </pc:spChg>
        </pc:sldLayoutChg>
        <pc:sldLayoutChg chg="modSp mod">
          <pc:chgData name="Jasmin Boyd" userId="e06334d6-8248-48d7-a577-bcb978da56eb" providerId="ADAL" clId="{A3129676-0728-4285-8A48-C03F3108D3F9}" dt="2026-04-02T11:38:12.915" v="77" actId="13926"/>
          <pc:sldLayoutMkLst>
            <pc:docMk/>
            <pc:sldMasterMk cId="2815037715" sldId="2147483677"/>
            <pc:sldLayoutMk cId="2554052857" sldId="2147483684"/>
          </pc:sldLayoutMkLst>
          <pc:spChg chg="mod">
            <ac:chgData name="Jasmin Boyd" userId="e06334d6-8248-48d7-a577-bcb978da56eb" providerId="ADAL" clId="{A3129676-0728-4285-8A48-C03F3108D3F9}" dt="2026-04-02T11:38:12.915" v="77" actId="13926"/>
            <ac:spMkLst>
              <pc:docMk/>
              <pc:sldMasterMk cId="2815037715" sldId="2147483677"/>
              <pc:sldLayoutMk cId="2554052857" sldId="2147483684"/>
              <ac:spMk id="5" creationId="{1AC74F2A-2BB5-0FC6-352F-24F71E824432}"/>
            </ac:spMkLst>
          </pc:spChg>
        </pc:sldLayoutChg>
        <pc:sldLayoutChg chg="modSp mod">
          <pc:chgData name="Jasmin Boyd" userId="e06334d6-8248-48d7-a577-bcb978da56eb" providerId="ADAL" clId="{A3129676-0728-4285-8A48-C03F3108D3F9}" dt="2026-04-02T11:35:46.415" v="10" actId="13926"/>
          <pc:sldLayoutMkLst>
            <pc:docMk/>
            <pc:sldMasterMk cId="2815037715" sldId="2147483677"/>
            <pc:sldLayoutMk cId="2484555505" sldId="2147483685"/>
          </pc:sldLayoutMkLst>
          <pc:spChg chg="mod">
            <ac:chgData name="Jasmin Boyd" userId="e06334d6-8248-48d7-a577-bcb978da56eb" providerId="ADAL" clId="{A3129676-0728-4285-8A48-C03F3108D3F9}" dt="2026-04-02T11:35:46.415" v="10" actId="13926"/>
            <ac:spMkLst>
              <pc:docMk/>
              <pc:sldMasterMk cId="2815037715" sldId="2147483677"/>
              <pc:sldLayoutMk cId="2484555505" sldId="2147483685"/>
              <ac:spMk id="3" creationId="{4545844B-A23E-EE6D-EE6E-5058B194A42D}"/>
            </ac:spMkLst>
          </pc:spChg>
        </pc:sldLayoutChg>
        <pc:sldLayoutChg chg="modSp mod">
          <pc:chgData name="Jasmin Boyd" userId="e06334d6-8248-48d7-a577-bcb978da56eb" providerId="ADAL" clId="{A3129676-0728-4285-8A48-C03F3108D3F9}" dt="2026-04-02T11:38:22.884" v="90" actId="13926"/>
          <pc:sldLayoutMkLst>
            <pc:docMk/>
            <pc:sldMasterMk cId="2815037715" sldId="2147483677"/>
            <pc:sldLayoutMk cId="1698031451" sldId="2147483686"/>
          </pc:sldLayoutMkLst>
          <pc:spChg chg="mod">
            <ac:chgData name="Jasmin Boyd" userId="e06334d6-8248-48d7-a577-bcb978da56eb" providerId="ADAL" clId="{A3129676-0728-4285-8A48-C03F3108D3F9}" dt="2026-04-02T11:38:22.884" v="90" actId="13926"/>
            <ac:spMkLst>
              <pc:docMk/>
              <pc:sldMasterMk cId="2815037715" sldId="2147483677"/>
              <pc:sldLayoutMk cId="1698031451" sldId="2147483686"/>
              <ac:spMk id="2" creationId="{66817177-59E1-B946-2FE9-32FD1725CED7}"/>
            </ac:spMkLst>
          </pc:spChg>
        </pc:sldLayoutChg>
      </pc:sldMasterChg>
    </pc:docChg>
  </pc:docChgLst>
  <pc:docChgLst>
    <pc:chgData name="Ninah Lloyd" userId="49e49e96-8329-41fe-9772-efafe6f262e4" providerId="ADAL" clId="{7041B810-5D52-4A7C-8462-E8DF01FDB6E4}"/>
    <pc:docChg chg="undo redo custSel modSld">
      <pc:chgData name="Ninah Lloyd" userId="49e49e96-8329-41fe-9772-efafe6f262e4" providerId="ADAL" clId="{7041B810-5D52-4A7C-8462-E8DF01FDB6E4}" dt="2026-04-17T11:33:23.351" v="188" actId="20577"/>
      <pc:docMkLst>
        <pc:docMk/>
      </pc:docMkLst>
      <pc:sldChg chg="addSp delSp modSp mod">
        <pc:chgData name="Ninah Lloyd" userId="49e49e96-8329-41fe-9772-efafe6f262e4" providerId="ADAL" clId="{7041B810-5D52-4A7C-8462-E8DF01FDB6E4}" dt="2026-04-17T11:33:23.351" v="188" actId="20577"/>
        <pc:sldMkLst>
          <pc:docMk/>
          <pc:sldMk cId="1765956324" sldId="2147469068"/>
        </pc:sldMkLst>
        <pc:spChg chg="add mod">
          <ac:chgData name="Ninah Lloyd" userId="49e49e96-8329-41fe-9772-efafe6f262e4" providerId="ADAL" clId="{7041B810-5D52-4A7C-8462-E8DF01FDB6E4}" dt="2026-04-17T11:33:23.351" v="188" actId="20577"/>
          <ac:spMkLst>
            <pc:docMk/>
            <pc:sldMk cId="1765956324" sldId="2147469068"/>
            <ac:spMk id="10" creationId="{14517E4D-37C2-600B-4F8E-97B504DDABEC}"/>
          </ac:spMkLst>
        </pc:spChg>
        <pc:picChg chg="add mod">
          <ac:chgData name="Ninah Lloyd" userId="49e49e96-8329-41fe-9772-efafe6f262e4" providerId="ADAL" clId="{7041B810-5D52-4A7C-8462-E8DF01FDB6E4}" dt="2026-04-17T11:31:51.179" v="147" actId="1076"/>
          <ac:picMkLst>
            <pc:docMk/>
            <pc:sldMk cId="1765956324" sldId="2147469068"/>
            <ac:picMk id="12" creationId="{69CEC689-E4E8-00BF-569F-B3A6986E03EF}"/>
          </ac:picMkLst>
        </pc:picChg>
      </pc:sldChg>
      <pc:sldChg chg="modSp mod">
        <pc:chgData name="Ninah Lloyd" userId="49e49e96-8329-41fe-9772-efafe6f262e4" providerId="ADAL" clId="{7041B810-5D52-4A7C-8462-E8DF01FDB6E4}" dt="2026-04-17T09:53:33.510" v="102" actId="20577"/>
        <pc:sldMkLst>
          <pc:docMk/>
          <pc:sldMk cId="1220059720" sldId="2147482379"/>
        </pc:sldMkLst>
        <pc:spChg chg="mod">
          <ac:chgData name="Ninah Lloyd" userId="49e49e96-8329-41fe-9772-efafe6f262e4" providerId="ADAL" clId="{7041B810-5D52-4A7C-8462-E8DF01FDB6E4}" dt="2026-04-17T09:50:49.637" v="69" actId="20577"/>
          <ac:spMkLst>
            <pc:docMk/>
            <pc:sldMk cId="1220059720" sldId="2147482379"/>
            <ac:spMk id="2" creationId="{F72CBBBD-0BB1-A80C-CD0D-7520D1CAEE7A}"/>
          </ac:spMkLst>
        </pc:spChg>
        <pc:spChg chg="mod">
          <ac:chgData name="Ninah Lloyd" userId="49e49e96-8329-41fe-9772-efafe6f262e4" providerId="ADAL" clId="{7041B810-5D52-4A7C-8462-E8DF01FDB6E4}" dt="2026-04-17T09:53:33.510" v="102" actId="20577"/>
          <ac:spMkLst>
            <pc:docMk/>
            <pc:sldMk cId="1220059720" sldId="2147482379"/>
            <ac:spMk id="41" creationId="{7FBF0174-D94B-03DF-8497-9388426085FB}"/>
          </ac:spMkLst>
        </pc:spChg>
      </pc:sldChg>
      <pc:sldChg chg="modSp mod">
        <pc:chgData name="Ninah Lloyd" userId="49e49e96-8329-41fe-9772-efafe6f262e4" providerId="ADAL" clId="{7041B810-5D52-4A7C-8462-E8DF01FDB6E4}" dt="2026-04-17T09:49:49.727" v="26" actId="20577"/>
        <pc:sldMkLst>
          <pc:docMk/>
          <pc:sldMk cId="3455731704" sldId="2147482381"/>
        </pc:sldMkLst>
        <pc:spChg chg="mod">
          <ac:chgData name="Ninah Lloyd" userId="49e49e96-8329-41fe-9772-efafe6f262e4" providerId="ADAL" clId="{7041B810-5D52-4A7C-8462-E8DF01FDB6E4}" dt="2026-04-17T09:49:49.727" v="26" actId="20577"/>
          <ac:spMkLst>
            <pc:docMk/>
            <pc:sldMk cId="3455731704" sldId="2147482381"/>
            <ac:spMk id="9" creationId="{03DC9221-BC05-62AB-D649-A90C7547D732}"/>
          </ac:spMkLst>
        </pc:spChg>
      </pc:sldChg>
      <pc:sldChg chg="modSp mod">
        <pc:chgData name="Ninah Lloyd" userId="49e49e96-8329-41fe-9772-efafe6f262e4" providerId="ADAL" clId="{7041B810-5D52-4A7C-8462-E8DF01FDB6E4}" dt="2026-04-17T10:04:44.369" v="104" actId="114"/>
        <pc:sldMkLst>
          <pc:docMk/>
          <pc:sldMk cId="2078397052" sldId="2147482384"/>
        </pc:sldMkLst>
        <pc:spChg chg="mod">
          <ac:chgData name="Ninah Lloyd" userId="49e49e96-8329-41fe-9772-efafe6f262e4" providerId="ADAL" clId="{7041B810-5D52-4A7C-8462-E8DF01FDB6E4}" dt="2026-04-17T10:04:44.369" v="104" actId="114"/>
          <ac:spMkLst>
            <pc:docMk/>
            <pc:sldMk cId="2078397052" sldId="2147482384"/>
            <ac:spMk id="180" creationId="{0C0C7E67-33FD-6AD5-4ED6-C107C5BA7C0D}"/>
          </ac:spMkLst>
        </pc:spChg>
      </pc:sldChg>
    </pc:docChg>
  </pc:docChgLst>
  <pc:docChgLst>
    <pc:chgData clId="Web-{A7469E84-3070-504C-2D2D-40337521F9CB}"/>
    <pc:docChg chg="modSld">
      <pc:chgData name="" userId="" providerId="" clId="Web-{A7469E84-3070-504C-2D2D-40337521F9CB}" dt="2026-04-02T18:45:48.347" v="0" actId="20577"/>
      <pc:docMkLst>
        <pc:docMk/>
      </pc:docMkLst>
      <pc:sldChg chg="modSp">
        <pc:chgData name="" userId="" providerId="" clId="Web-{A7469E84-3070-504C-2D2D-40337521F9CB}" dt="2026-04-02T18:45:48.347" v="0" actId="20577"/>
        <pc:sldMkLst>
          <pc:docMk/>
          <pc:sldMk cId="2078397052" sldId="2147482384"/>
        </pc:sldMkLst>
        <pc:spChg chg="mod">
          <ac:chgData name="" userId="" providerId="" clId="Web-{A7469E84-3070-504C-2D2D-40337521F9CB}" dt="2026-04-02T18:45:48.347" v="0" actId="20577"/>
          <ac:spMkLst>
            <pc:docMk/>
            <pc:sldMk cId="2078397052" sldId="2147482384"/>
            <ac:spMk id="180" creationId="{0C0C7E67-33FD-6AD5-4ED6-C107C5BA7C0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C3BFA7-2D5C-47BE-8830-3448D7994B0B}" type="datetimeFigureOut">
              <a:rPr lang="en-GB" smtClean="0"/>
              <a:t>22/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CB9700-3782-4EB6-9B75-4B36ADE6C080}" type="slidenum">
              <a:rPr lang="en-GB" smtClean="0"/>
              <a:t>‹#›</a:t>
            </a:fld>
            <a:endParaRPr lang="en-GB"/>
          </a:p>
        </p:txBody>
      </p:sp>
    </p:spTree>
    <p:extLst>
      <p:ext uri="{BB962C8B-B14F-4D97-AF65-F5344CB8AC3E}">
        <p14:creationId xmlns:p14="http://schemas.microsoft.com/office/powerpoint/2010/main" val="1332912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87F27-F4AC-478C-A07B-A71CA0B86259}"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27195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D20F3-5288-6859-692B-00729E9D0E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A619F6-1E28-919F-1CC9-D8342205B0B2}"/>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556269D1-8D7B-B228-C6AE-4EB402DE9ABB}"/>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1098D81-FFD5-6399-7C1D-D95A2EF1852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0317081-42C1-8F8D-C2EA-2C100C76B8F0}"/>
              </a:ext>
            </a:extLst>
          </p:cNvPr>
          <p:cNvSpPr>
            <a:spLocks noGrp="1"/>
          </p:cNvSpPr>
          <p:nvPr>
            <p:ph type="ftr" sz="quarter" idx="4"/>
          </p:nvPr>
        </p:nvSpPr>
        <p:spPr/>
        <p:txBody>
          <a:bodyPr/>
          <a:lstStyle/>
          <a:p>
            <a:endParaRPr lang="en-US"/>
          </a:p>
        </p:txBody>
      </p:sp>
      <p:sp>
        <p:nvSpPr>
          <p:cNvPr id="6" name="Slide Number Placeholder 5">
            <a:extLst>
              <a:ext uri="{FF2B5EF4-FFF2-40B4-BE49-F238E27FC236}">
                <a16:creationId xmlns:a16="http://schemas.microsoft.com/office/drawing/2014/main" id="{2C94F665-3B8D-2CF0-4619-59B2CFF46AE7}"/>
              </a:ext>
            </a:extLst>
          </p:cNvPr>
          <p:cNvSpPr>
            <a:spLocks noGrp="1"/>
          </p:cNvSpPr>
          <p:nvPr>
            <p:ph type="sldNum" sz="quarter" idx="5"/>
          </p:nvPr>
        </p:nvSpPr>
        <p:spPr/>
        <p:txBody>
          <a:bodyPr/>
          <a:lstStyle/>
          <a:p>
            <a:fld id="{50487F27-F4AC-478C-A07B-A71CA0B86259}" type="slidenum">
              <a:rPr lang="en-US" smtClean="0"/>
              <a:pPr/>
              <a:t>2</a:t>
            </a:fld>
            <a:endParaRPr lang="en-US"/>
          </a:p>
        </p:txBody>
      </p:sp>
    </p:spTree>
    <p:extLst>
      <p:ext uri="{BB962C8B-B14F-4D97-AF65-F5344CB8AC3E}">
        <p14:creationId xmlns:p14="http://schemas.microsoft.com/office/powerpoint/2010/main" val="277798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E0698-0C88-9C95-DC16-ACDECCCBFD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AC6A2E-1F09-C1CA-0733-0B1AD88F3CF9}"/>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FF366FF-D905-DF1F-12AF-C6E0BD70CC10}"/>
              </a:ext>
            </a:extLst>
          </p:cNvPr>
          <p:cNvSpPr>
            <a:spLocks noGrp="1"/>
          </p:cNvSpPr>
          <p:nvPr>
            <p:ph type="body" idx="1"/>
          </p:nvPr>
        </p:nvSpPr>
        <p:spPr/>
        <p:txBody>
          <a:bodyPr/>
          <a:lstStyle/>
          <a:p>
            <a:pPr marL="172800" marR="0" lvl="1" indent="-172800" algn="l" defTabSz="914400" rtl="0" eaLnBrk="1" fontAlgn="auto" latinLnBrk="0" hangingPunct="1">
              <a:lnSpc>
                <a:spcPct val="100000"/>
              </a:lnSpc>
              <a:spcBef>
                <a:spcPts val="600"/>
              </a:spcBef>
              <a:buClr>
                <a:schemeClr val="tx1"/>
              </a:buClr>
              <a:buSzPct val="125000"/>
              <a:tabLst/>
              <a:defRPr/>
            </a:pPr>
            <a:endParaRPr lang="en-GB"/>
          </a:p>
        </p:txBody>
      </p:sp>
      <p:sp>
        <p:nvSpPr>
          <p:cNvPr id="4" name="Slide Number Placeholder 3">
            <a:extLst>
              <a:ext uri="{FF2B5EF4-FFF2-40B4-BE49-F238E27FC236}">
                <a16:creationId xmlns:a16="http://schemas.microsoft.com/office/drawing/2014/main" id="{AD8CCF81-EC4C-7731-C625-A858052DD9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87F27-F4AC-478C-A07B-A71CA0B86259}"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10939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CB9700-3782-4EB6-9B75-4B36ADE6C080}" type="slidenum">
              <a:rPr lang="en-GB" smtClean="0"/>
              <a:t>4</a:t>
            </a:fld>
            <a:endParaRPr lang="en-GB"/>
          </a:p>
        </p:txBody>
      </p:sp>
    </p:spTree>
    <p:extLst>
      <p:ext uri="{BB962C8B-B14F-4D97-AF65-F5344CB8AC3E}">
        <p14:creationId xmlns:p14="http://schemas.microsoft.com/office/powerpoint/2010/main" val="3916140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pic>
        <p:nvPicPr>
          <p:cNvPr id="16" name="Picture 15" descr="Shape, rectangle&#10;&#10;Description automatically generated">
            <a:extLst>
              <a:ext uri="{FF2B5EF4-FFF2-40B4-BE49-F238E27FC236}">
                <a16:creationId xmlns:a16="http://schemas.microsoft.com/office/drawing/2014/main" id="{0A33316F-B1D5-114A-BEC0-14F0E4D0EDB4}"/>
              </a:ext>
            </a:extLst>
          </p:cNvPr>
          <p:cNvPicPr>
            <a:picLocks noChangeAspect="1"/>
          </p:cNvPicPr>
          <p:nvPr userDrawn="1"/>
        </p:nvPicPr>
        <p:blipFill>
          <a:blip r:embed="rId2"/>
          <a:stretch>
            <a:fillRect/>
          </a:stretch>
        </p:blipFill>
        <p:spPr>
          <a:xfrm>
            <a:off x="0" y="0"/>
            <a:ext cx="12204800" cy="6865200"/>
          </a:xfrm>
          <a:prstGeom prst="rect">
            <a:avLst/>
          </a:prstGeom>
        </p:spPr>
      </p:pic>
      <p:pic>
        <p:nvPicPr>
          <p:cNvPr id="14" name="Picture 13">
            <a:extLst>
              <a:ext uri="{FF2B5EF4-FFF2-40B4-BE49-F238E27FC236}">
                <a16:creationId xmlns:a16="http://schemas.microsoft.com/office/drawing/2014/main" id="{B9366448-9A2D-6E4B-9F8A-769DE0B745DC}"/>
              </a:ext>
            </a:extLst>
          </p:cNvPr>
          <p:cNvPicPr>
            <a:picLocks noChangeAspect="1"/>
          </p:cNvPicPr>
          <p:nvPr userDrawn="1"/>
        </p:nvPicPr>
        <p:blipFill rotWithShape="1">
          <a:blip r:embed="rId3"/>
          <a:srcRect l="12892" t="50777" r="34380"/>
          <a:stretch/>
        </p:blipFill>
        <p:spPr>
          <a:xfrm>
            <a:off x="1" y="0"/>
            <a:ext cx="12192000" cy="3992400"/>
          </a:xfrm>
          <a:prstGeom prst="rect">
            <a:avLst/>
          </a:prstGeom>
        </p:spPr>
      </p:pic>
      <p:sp>
        <p:nvSpPr>
          <p:cNvPr id="11" name="Title 1">
            <a:extLst>
              <a:ext uri="{FF2B5EF4-FFF2-40B4-BE49-F238E27FC236}">
                <a16:creationId xmlns:a16="http://schemas.microsoft.com/office/drawing/2014/main" id="{59087D1D-B2D6-D44A-900D-872BD4C324E1}"/>
              </a:ext>
            </a:extLst>
          </p:cNvPr>
          <p:cNvSpPr>
            <a:spLocks noGrp="1"/>
          </p:cNvSpPr>
          <p:nvPr>
            <p:ph type="ctrTitle" hasCustomPrompt="1"/>
          </p:nvPr>
        </p:nvSpPr>
        <p:spPr>
          <a:xfrm>
            <a:off x="648000" y="3186000"/>
            <a:ext cx="6480000" cy="1800000"/>
          </a:xfrm>
          <a:prstGeom prst="rect">
            <a:avLst/>
          </a:prstGeom>
        </p:spPr>
        <p:txBody>
          <a:bodyPr wrap="square" rIns="0" anchor="b" anchorCtr="0">
            <a:noAutofit/>
          </a:bodyPr>
          <a:lstStyle>
            <a:lvl1pPr marL="0" algn="l" defTabSz="914400" rtl="0" eaLnBrk="1" latinLnBrk="0" hangingPunct="1">
              <a:lnSpc>
                <a:spcPct val="100000"/>
              </a:lnSpc>
              <a:defRPr lang="en-GB" sz="3600" b="1" i="0" kern="1200" dirty="0">
                <a:solidFill>
                  <a:schemeClr val="bg1"/>
                </a:solidFill>
                <a:latin typeface="Cambria" panose="02040503050406030204" pitchFamily="18" charset="0"/>
                <a:ea typeface="Cambria" panose="02040503050406030204" pitchFamily="18" charset="0"/>
                <a:cs typeface="Cambria" panose="02040503050406030204" pitchFamily="18" charset="0"/>
              </a:defRPr>
            </a:lvl1pPr>
          </a:lstStyle>
          <a:p>
            <a:br>
              <a:rPr lang="en-GB"/>
            </a:br>
            <a:r>
              <a:rPr lang="en-GB"/>
              <a:t>Click to edit</a:t>
            </a:r>
            <a:br>
              <a:rPr lang="en-GB"/>
            </a:br>
            <a:r>
              <a:rPr lang="en-GB"/>
              <a:t>presentation title</a:t>
            </a:r>
          </a:p>
        </p:txBody>
      </p:sp>
      <p:sp>
        <p:nvSpPr>
          <p:cNvPr id="19" name="Subtitle 2">
            <a:extLst>
              <a:ext uri="{FF2B5EF4-FFF2-40B4-BE49-F238E27FC236}">
                <a16:creationId xmlns:a16="http://schemas.microsoft.com/office/drawing/2014/main" id="{685BB56C-E7A2-1545-B6B6-4C9C64D10206}"/>
              </a:ext>
            </a:extLst>
          </p:cNvPr>
          <p:cNvSpPr>
            <a:spLocks noGrp="1"/>
          </p:cNvSpPr>
          <p:nvPr>
            <p:ph type="subTitle" idx="1" hasCustomPrompt="1"/>
          </p:nvPr>
        </p:nvSpPr>
        <p:spPr>
          <a:xfrm>
            <a:off x="648000" y="5148000"/>
            <a:ext cx="6480000" cy="612000"/>
          </a:xfrm>
          <a:prstGeom prst="rect">
            <a:avLst/>
          </a:prstGeom>
          <a:noFill/>
        </p:spPr>
        <p:txBody>
          <a:bodyPr wrap="square" rIns="0">
            <a:noAutofit/>
          </a:bodyPr>
          <a:lstStyle>
            <a:lvl1pPr marL="0" indent="0" algn="l">
              <a:lnSpc>
                <a:spcPct val="100000"/>
              </a:lnSpc>
              <a:spcBef>
                <a:spcPts val="0"/>
              </a:spcBef>
              <a:buNone/>
              <a:defRPr lang="en-US" sz="2000" b="1" i="0" kern="1200" dirty="0" smtClean="0">
                <a:solidFill>
                  <a:schemeClr val="bg2"/>
                </a:solidFill>
                <a:latin typeface="Calibri" panose="020F0502020204030204" pitchFamily="34" charset="0"/>
                <a:ea typeface="Roboto" panose="02000000000000000000" pitchFamily="2"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p>
        </p:txBody>
      </p:sp>
      <p:pic>
        <p:nvPicPr>
          <p:cNvPr id="9" name="Graphic 8">
            <a:extLst>
              <a:ext uri="{FF2B5EF4-FFF2-40B4-BE49-F238E27FC236}">
                <a16:creationId xmlns:a16="http://schemas.microsoft.com/office/drawing/2014/main" id="{449528B1-EF8B-074A-A297-A83026E04D4B}"/>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269200" y="5405896"/>
            <a:ext cx="3756215" cy="1425600"/>
          </a:xfrm>
          <a:prstGeom prst="rect">
            <a:avLst/>
          </a:prstGeom>
        </p:spPr>
      </p:pic>
      <p:sp>
        <p:nvSpPr>
          <p:cNvPr id="2" name="Footer Placeholder 1">
            <a:extLst>
              <a:ext uri="{FF2B5EF4-FFF2-40B4-BE49-F238E27FC236}">
                <a16:creationId xmlns:a16="http://schemas.microsoft.com/office/drawing/2014/main" id="{8BB34DF1-84BC-413D-8901-57B0C9CA5E3E}"/>
              </a:ext>
            </a:extLst>
          </p:cNvPr>
          <p:cNvSpPr>
            <a:spLocks noGrp="1"/>
          </p:cNvSpPr>
          <p:nvPr>
            <p:ph type="ftr" sz="quarter" idx="10"/>
          </p:nvPr>
        </p:nvSpPr>
        <p:spPr>
          <a:xfrm>
            <a:off x="648000" y="6199200"/>
            <a:ext cx="6480000" cy="288000"/>
          </a:xfrm>
          <a:prstGeom prst="rect">
            <a:avLst/>
          </a:prstGeom>
        </p:spPr>
        <p:txBody>
          <a:bodyPr/>
          <a:lstStyle>
            <a:lvl1pPr>
              <a:defRPr>
                <a:solidFill>
                  <a:schemeClr val="bg1"/>
                </a:solidFill>
              </a:defRPr>
            </a:lvl1pPr>
          </a:lstStyle>
          <a:p>
            <a:endParaRPr lang="en-GB"/>
          </a:p>
        </p:txBody>
      </p:sp>
      <p:sp>
        <p:nvSpPr>
          <p:cNvPr id="4" name="TextBox 3">
            <a:extLst>
              <a:ext uri="{FF2B5EF4-FFF2-40B4-BE49-F238E27FC236}">
                <a16:creationId xmlns:a16="http://schemas.microsoft.com/office/drawing/2014/main" id="{65F70CA3-C0DB-00B2-5E79-36CA62E16F89}"/>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bg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1326332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F9C8A500-4B81-7B48-A31E-8B8957A3E242}"/>
              </a:ext>
            </a:extLst>
          </p:cNvPr>
          <p:cNvSpPr>
            <a:spLocks noGrp="1"/>
          </p:cNvSpPr>
          <p:nvPr>
            <p:ph type="subTitle" idx="1" hasCustomPrompt="1"/>
          </p:nvPr>
        </p:nvSpPr>
        <p:spPr>
          <a:xfrm>
            <a:off x="648000" y="5148000"/>
            <a:ext cx="6480000" cy="612000"/>
          </a:xfrm>
          <a:prstGeom prst="rect">
            <a:avLst/>
          </a:prstGeom>
          <a:noFill/>
        </p:spPr>
        <p:txBody>
          <a:bodyPr wrap="square" rIns="0">
            <a:noAutofit/>
          </a:bodyPr>
          <a:lstStyle>
            <a:lvl1pPr marL="0" indent="0" algn="l">
              <a:lnSpc>
                <a:spcPct val="100000"/>
              </a:lnSpc>
              <a:spcBef>
                <a:spcPts val="0"/>
              </a:spcBef>
              <a:buNone/>
              <a:defRPr lang="en-US" sz="2000" b="1" i="0" kern="1200" dirty="0" smtClean="0">
                <a:solidFill>
                  <a:schemeClr val="bg2"/>
                </a:solidFill>
                <a:latin typeface="Calibri" panose="020F0502020204030204" pitchFamily="34" charset="0"/>
                <a:ea typeface="Roboto" panose="02000000000000000000" pitchFamily="2"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p>
        </p:txBody>
      </p:sp>
      <p:sp>
        <p:nvSpPr>
          <p:cNvPr id="15" name="Title 1">
            <a:extLst>
              <a:ext uri="{FF2B5EF4-FFF2-40B4-BE49-F238E27FC236}">
                <a16:creationId xmlns:a16="http://schemas.microsoft.com/office/drawing/2014/main" id="{0CF7CA3F-1067-F24A-AC49-D34BAF0EEC2C}"/>
              </a:ext>
            </a:extLst>
          </p:cNvPr>
          <p:cNvSpPr>
            <a:spLocks noGrp="1"/>
          </p:cNvSpPr>
          <p:nvPr>
            <p:ph type="ctrTitle" hasCustomPrompt="1"/>
          </p:nvPr>
        </p:nvSpPr>
        <p:spPr>
          <a:xfrm>
            <a:off x="648000" y="3186000"/>
            <a:ext cx="6480000" cy="1800000"/>
          </a:xfrm>
          <a:prstGeom prst="rect">
            <a:avLst/>
          </a:prstGeom>
        </p:spPr>
        <p:txBody>
          <a:bodyPr wrap="square" rIns="0" anchor="b" anchorCtr="0">
            <a:noAutofit/>
          </a:bodyPr>
          <a:lstStyle>
            <a:lvl1pPr marL="0" algn="l" defTabSz="914400" rtl="0" eaLnBrk="1" latinLnBrk="0" hangingPunct="1">
              <a:lnSpc>
                <a:spcPct val="100000"/>
              </a:lnSpc>
              <a:defRPr lang="en-GB" sz="3600" b="1" i="0" kern="1200" dirty="0">
                <a:solidFill>
                  <a:schemeClr val="accent3"/>
                </a:solidFill>
                <a:latin typeface="Cambria" panose="02040503050406030204" pitchFamily="18" charset="0"/>
                <a:ea typeface="Cambria" panose="02040503050406030204" pitchFamily="18" charset="0"/>
                <a:cs typeface="Cambria" panose="02040503050406030204" pitchFamily="18" charset="0"/>
              </a:defRPr>
            </a:lvl1pPr>
          </a:lstStyle>
          <a:p>
            <a:r>
              <a:rPr lang="en-GB"/>
              <a:t>Click to edit</a:t>
            </a:r>
            <a:br>
              <a:rPr lang="en-GB"/>
            </a:br>
            <a:r>
              <a:rPr lang="en-GB"/>
              <a:t>presentation title</a:t>
            </a:r>
          </a:p>
        </p:txBody>
      </p:sp>
      <p:pic>
        <p:nvPicPr>
          <p:cNvPr id="8" name="Graphic 7">
            <a:extLst>
              <a:ext uri="{FF2B5EF4-FFF2-40B4-BE49-F238E27FC236}">
                <a16:creationId xmlns:a16="http://schemas.microsoft.com/office/drawing/2014/main" id="{8BD62869-30B7-9B4F-8192-18507D9EB5AF}"/>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8269200" y="5407200"/>
            <a:ext cx="3756218" cy="1425600"/>
          </a:xfrm>
          <a:prstGeom prst="rect">
            <a:avLst/>
          </a:prstGeom>
        </p:spPr>
      </p:pic>
      <p:pic>
        <p:nvPicPr>
          <p:cNvPr id="3" name="Picture 2">
            <a:extLst>
              <a:ext uri="{FF2B5EF4-FFF2-40B4-BE49-F238E27FC236}">
                <a16:creationId xmlns:a16="http://schemas.microsoft.com/office/drawing/2014/main" id="{FF6CCC59-4C24-6A48-9D5A-52104DDB4F17}"/>
              </a:ext>
            </a:extLst>
          </p:cNvPr>
          <p:cNvPicPr>
            <a:picLocks noChangeAspect="1"/>
          </p:cNvPicPr>
          <p:nvPr userDrawn="1"/>
        </p:nvPicPr>
        <p:blipFill rotWithShape="1">
          <a:blip r:embed="rId3"/>
          <a:srcRect l="13072" t="50777" r="33463"/>
          <a:stretch/>
        </p:blipFill>
        <p:spPr>
          <a:xfrm>
            <a:off x="0" y="0"/>
            <a:ext cx="12192000" cy="3992400"/>
          </a:xfrm>
          <a:prstGeom prst="rect">
            <a:avLst/>
          </a:prstGeom>
          <a:effectLst/>
        </p:spPr>
      </p:pic>
      <p:sp>
        <p:nvSpPr>
          <p:cNvPr id="4" name="Footer Placeholder 3">
            <a:extLst>
              <a:ext uri="{FF2B5EF4-FFF2-40B4-BE49-F238E27FC236}">
                <a16:creationId xmlns:a16="http://schemas.microsoft.com/office/drawing/2014/main" id="{C4E426A2-D813-4668-B846-DD006E76DECE}"/>
              </a:ext>
            </a:extLst>
          </p:cNvPr>
          <p:cNvSpPr>
            <a:spLocks noGrp="1"/>
          </p:cNvSpPr>
          <p:nvPr>
            <p:ph type="ftr" sz="quarter" idx="10"/>
          </p:nvPr>
        </p:nvSpPr>
        <p:spPr>
          <a:xfrm>
            <a:off x="648000" y="6199200"/>
            <a:ext cx="6480000" cy="288000"/>
          </a:xfrm>
          <a:prstGeom prst="rect">
            <a:avLst/>
          </a:prstGeom>
        </p:spPr>
        <p:txBody>
          <a:bodyPr/>
          <a:lstStyle/>
          <a:p>
            <a:endParaRPr lang="en-GB"/>
          </a:p>
        </p:txBody>
      </p:sp>
      <p:sp>
        <p:nvSpPr>
          <p:cNvPr id="2" name="TextBox 1">
            <a:extLst>
              <a:ext uri="{FF2B5EF4-FFF2-40B4-BE49-F238E27FC236}">
                <a16:creationId xmlns:a16="http://schemas.microsoft.com/office/drawing/2014/main" id="{5509E36E-BCD6-F1DE-FBD0-210375D36BE4}"/>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20734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Ref idx="1001">
        <a:schemeClr val="bg2"/>
      </p:bgRef>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95CC4F6-0757-4B3C-87C4-C2F950410E7F}"/>
              </a:ext>
            </a:extLst>
          </p:cNvPr>
          <p:cNvPicPr>
            <a:picLocks noChangeAspect="1"/>
          </p:cNvPicPr>
          <p:nvPr userDrawn="1"/>
        </p:nvPicPr>
        <p:blipFill rotWithShape="1">
          <a:blip r:embed="rId2">
            <a:alphaModFix amt="50000"/>
          </a:blip>
          <a:srcRect l="2960" t="41940" r="57633"/>
          <a:stretch/>
        </p:blipFill>
        <p:spPr>
          <a:xfrm rot="20836538" flipH="1">
            <a:off x="-798425" y="-1039782"/>
            <a:ext cx="11407289" cy="5977918"/>
          </a:xfrm>
          <a:custGeom>
            <a:avLst/>
            <a:gdLst>
              <a:gd name="connsiteX0" fmla="*/ 10057435 w 11407289"/>
              <a:gd name="connsiteY0" fmla="*/ 0 h 5977918"/>
              <a:gd name="connsiteX1" fmla="*/ 0 w 11407289"/>
              <a:gd name="connsiteY1" fmla="*/ 2271036 h 5977918"/>
              <a:gd name="connsiteX2" fmla="*/ 0 w 11407289"/>
              <a:gd name="connsiteY2" fmla="*/ 5977918 h 5977918"/>
              <a:gd name="connsiteX3" fmla="*/ 11407289 w 11407289"/>
              <a:gd name="connsiteY3" fmla="*/ 5977918 h 5977918"/>
            </a:gdLst>
            <a:ahLst/>
            <a:cxnLst>
              <a:cxn ang="0">
                <a:pos x="connsiteX0" y="connsiteY0"/>
              </a:cxn>
              <a:cxn ang="0">
                <a:pos x="connsiteX1" y="connsiteY1"/>
              </a:cxn>
              <a:cxn ang="0">
                <a:pos x="connsiteX2" y="connsiteY2"/>
              </a:cxn>
              <a:cxn ang="0">
                <a:pos x="connsiteX3" y="connsiteY3"/>
              </a:cxn>
            </a:cxnLst>
            <a:rect l="l" t="t" r="r" b="b"/>
            <a:pathLst>
              <a:path w="11407289" h="5977918">
                <a:moveTo>
                  <a:pt x="10057435" y="0"/>
                </a:moveTo>
                <a:lnTo>
                  <a:pt x="0" y="2271036"/>
                </a:lnTo>
                <a:lnTo>
                  <a:pt x="0" y="5977918"/>
                </a:lnTo>
                <a:lnTo>
                  <a:pt x="11407289" y="5977918"/>
                </a:lnTo>
                <a:close/>
              </a:path>
            </a:pathLst>
          </a:custGeom>
        </p:spPr>
      </p:pic>
      <p:sp>
        <p:nvSpPr>
          <p:cNvPr id="14" name="Title 1">
            <a:extLst>
              <a:ext uri="{FF2B5EF4-FFF2-40B4-BE49-F238E27FC236}">
                <a16:creationId xmlns:a16="http://schemas.microsoft.com/office/drawing/2014/main" id="{07F21C2C-15A4-7F45-B0CB-86AEEB9C4838}"/>
              </a:ext>
            </a:extLst>
          </p:cNvPr>
          <p:cNvSpPr>
            <a:spLocks noGrp="1"/>
          </p:cNvSpPr>
          <p:nvPr>
            <p:ph type="ctrTitle" hasCustomPrompt="1"/>
          </p:nvPr>
        </p:nvSpPr>
        <p:spPr>
          <a:xfrm>
            <a:off x="648000" y="4021055"/>
            <a:ext cx="6480000" cy="1198800"/>
          </a:xfrm>
          <a:prstGeom prst="rect">
            <a:avLst/>
          </a:prstGeom>
        </p:spPr>
        <p:txBody>
          <a:bodyPr wrap="square" rIns="0" anchor="b" anchorCtr="0">
            <a:noAutofit/>
          </a:bodyPr>
          <a:lstStyle>
            <a:lvl1pPr marL="0" algn="l" defTabSz="914400" rtl="0" eaLnBrk="1" latinLnBrk="0" hangingPunct="1">
              <a:lnSpc>
                <a:spcPct val="100000"/>
              </a:lnSpc>
              <a:defRPr lang="en-GB" sz="3600" b="1" i="0" kern="1200" dirty="0">
                <a:solidFill>
                  <a:schemeClr val="accent3"/>
                </a:solidFill>
                <a:latin typeface="Cambria" panose="02040503050406030204" pitchFamily="18" charset="0"/>
                <a:ea typeface="Cambria" panose="02040503050406030204" pitchFamily="18" charset="0"/>
                <a:cs typeface="Cambria" panose="02040503050406030204" pitchFamily="18" charset="0"/>
              </a:defRPr>
            </a:lvl1pPr>
          </a:lstStyle>
          <a:p>
            <a:r>
              <a:rPr lang="en-GB"/>
              <a:t>Click to edit</a:t>
            </a:r>
            <a:br>
              <a:rPr lang="en-GB"/>
            </a:br>
            <a:r>
              <a:rPr lang="en-GB"/>
              <a:t>section title</a:t>
            </a:r>
          </a:p>
        </p:txBody>
      </p:sp>
      <p:sp>
        <p:nvSpPr>
          <p:cNvPr id="20" name="Subtitle 2">
            <a:extLst>
              <a:ext uri="{FF2B5EF4-FFF2-40B4-BE49-F238E27FC236}">
                <a16:creationId xmlns:a16="http://schemas.microsoft.com/office/drawing/2014/main" id="{AE22EDCA-5C28-E347-ACF4-79FD5EE059C9}"/>
              </a:ext>
            </a:extLst>
          </p:cNvPr>
          <p:cNvSpPr>
            <a:spLocks noGrp="1"/>
          </p:cNvSpPr>
          <p:nvPr>
            <p:ph type="subTitle" idx="1" hasCustomPrompt="1"/>
          </p:nvPr>
        </p:nvSpPr>
        <p:spPr>
          <a:xfrm>
            <a:off x="648000" y="5349600"/>
            <a:ext cx="6480000" cy="612000"/>
          </a:xfrm>
          <a:prstGeom prst="rect">
            <a:avLst/>
          </a:prstGeom>
          <a:noFill/>
        </p:spPr>
        <p:txBody>
          <a:bodyPr wrap="square" rIns="0">
            <a:noAutofit/>
          </a:bodyPr>
          <a:lstStyle>
            <a:lvl1pPr marL="0" indent="0" algn="l">
              <a:lnSpc>
                <a:spcPct val="100000"/>
              </a:lnSpc>
              <a:spcBef>
                <a:spcPts val="0"/>
              </a:spcBef>
              <a:buNone/>
              <a:defRPr lang="en-US" sz="2000" b="1" i="0" kern="1200" dirty="0" smtClean="0">
                <a:solidFill>
                  <a:schemeClr val="bg1"/>
                </a:solidFill>
                <a:latin typeface="Calibri" panose="020F0502020204030204" pitchFamily="34" charset="0"/>
                <a:ea typeface="Roboto" panose="02000000000000000000" pitchFamily="2"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p>
        </p:txBody>
      </p:sp>
      <p:pic>
        <p:nvPicPr>
          <p:cNvPr id="11" name="Graphic 10">
            <a:extLst>
              <a:ext uri="{FF2B5EF4-FFF2-40B4-BE49-F238E27FC236}">
                <a16:creationId xmlns:a16="http://schemas.microsoft.com/office/drawing/2014/main" id="{805027B8-451C-0745-8CDE-BE69F40B1678}"/>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223200" y="100800"/>
            <a:ext cx="2739898" cy="1039876"/>
          </a:xfrm>
          <a:prstGeom prst="rect">
            <a:avLst/>
          </a:prstGeom>
        </p:spPr>
      </p:pic>
      <p:sp>
        <p:nvSpPr>
          <p:cNvPr id="2" name="Footer Placeholder 1">
            <a:extLst>
              <a:ext uri="{FF2B5EF4-FFF2-40B4-BE49-F238E27FC236}">
                <a16:creationId xmlns:a16="http://schemas.microsoft.com/office/drawing/2014/main" id="{7188705B-688D-4BBE-AFA8-803C008BA5FF}"/>
              </a:ext>
            </a:extLst>
          </p:cNvPr>
          <p:cNvSpPr>
            <a:spLocks noGrp="1"/>
          </p:cNvSpPr>
          <p:nvPr>
            <p:ph type="ftr" sz="quarter" idx="10"/>
          </p:nvPr>
        </p:nvSpPr>
        <p:spPr>
          <a:xfrm>
            <a:off x="648000" y="6199200"/>
            <a:ext cx="6480000" cy="288000"/>
          </a:xfrm>
          <a:prstGeom prst="rect">
            <a:avLst/>
          </a:prstGeom>
        </p:spPr>
        <p:txBody>
          <a:bodyPr/>
          <a:lstStyle>
            <a:lvl1pPr>
              <a:defRPr>
                <a:solidFill>
                  <a:schemeClr val="bg1"/>
                </a:solidFill>
              </a:defRPr>
            </a:lvl1pPr>
          </a:lstStyle>
          <a:p>
            <a:endParaRPr lang="en-GB"/>
          </a:p>
        </p:txBody>
      </p:sp>
      <p:sp>
        <p:nvSpPr>
          <p:cNvPr id="4" name="Oval 3">
            <a:extLst>
              <a:ext uri="{FF2B5EF4-FFF2-40B4-BE49-F238E27FC236}">
                <a16:creationId xmlns:a16="http://schemas.microsoft.com/office/drawing/2014/main" id="{0E216F69-25B0-F5F5-B07A-6317CF5CD3CF}"/>
              </a:ext>
            </a:extLst>
          </p:cNvPr>
          <p:cNvSpPr/>
          <p:nvPr userDrawn="1"/>
        </p:nvSpPr>
        <p:spPr>
          <a:xfrm>
            <a:off x="11246400" y="6209041"/>
            <a:ext cx="468000"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5" name="Oval 4">
            <a:extLst>
              <a:ext uri="{FF2B5EF4-FFF2-40B4-BE49-F238E27FC236}">
                <a16:creationId xmlns:a16="http://schemas.microsoft.com/office/drawing/2014/main" id="{9236EFF2-BE29-AAA1-DDD7-C31E91AAC8BD}"/>
              </a:ext>
            </a:extLst>
          </p:cNvPr>
          <p:cNvSpPr/>
          <p:nvPr userDrawn="1"/>
        </p:nvSpPr>
        <p:spPr>
          <a:xfrm>
            <a:off x="11659209" y="6116400"/>
            <a:ext cx="185282" cy="18528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4">
            <a:extLst>
              <a:ext uri="{FF2B5EF4-FFF2-40B4-BE49-F238E27FC236}">
                <a16:creationId xmlns:a16="http://schemas.microsoft.com/office/drawing/2014/main" id="{B903FF5B-1045-A00E-9F81-8EDC1ECA5EB0}"/>
              </a:ext>
            </a:extLst>
          </p:cNvPr>
          <p:cNvSpPr>
            <a:spLocks noGrp="1"/>
          </p:cNvSpPr>
          <p:nvPr>
            <p:ph type="sldNum" sz="quarter" idx="11"/>
          </p:nvPr>
        </p:nvSpPr>
        <p:spPr>
          <a:xfrm>
            <a:off x="11264400" y="6331998"/>
            <a:ext cx="432000" cy="222086"/>
          </a:xfrm>
          <a:prstGeom prst="rect">
            <a:avLst/>
          </a:prstGeom>
          <a:noFill/>
        </p:spPr>
        <p:txBody>
          <a:bodyPr vert="horz" lIns="0" tIns="0" rIns="0" bIns="0" rtlCol="0" anchor="ctr">
            <a:noAutofit/>
          </a:bodyPr>
          <a:lstStyle>
            <a:defPPr>
              <a:defRPr lang="en-US"/>
            </a:defPPr>
            <a:lvl1pPr marL="0" algn="ctr" defTabSz="914400" rtl="0" eaLnBrk="1" latinLnBrk="0" hangingPunct="1">
              <a:defRPr sz="9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8BAEAC-A895-4A01-AB9B-F6141799970D}" type="slidenum">
              <a:rPr lang="en-GB" smtClean="0"/>
              <a:pPr/>
              <a:t>‹#›</a:t>
            </a:fld>
            <a:endParaRPr lang="en-GB"/>
          </a:p>
        </p:txBody>
      </p:sp>
      <p:sp>
        <p:nvSpPr>
          <p:cNvPr id="7" name="TextBox 6">
            <a:extLst>
              <a:ext uri="{FF2B5EF4-FFF2-40B4-BE49-F238E27FC236}">
                <a16:creationId xmlns:a16="http://schemas.microsoft.com/office/drawing/2014/main" id="{A0CD0ED4-4C17-238E-DC26-B3A8413E6333}"/>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bg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426119850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0CAC459-CD5F-4270-8F31-936D75972770}"/>
              </a:ext>
            </a:extLst>
          </p:cNvPr>
          <p:cNvPicPr>
            <a:picLocks noChangeAspect="1"/>
          </p:cNvPicPr>
          <p:nvPr userDrawn="1"/>
        </p:nvPicPr>
        <p:blipFill rotWithShape="1">
          <a:blip r:embed="rId2">
            <a:alphaModFix amt="50000"/>
          </a:blip>
          <a:srcRect l="-1" t="38029" r="58511"/>
          <a:stretch/>
        </p:blipFill>
        <p:spPr>
          <a:xfrm rot="20820000" flipH="1">
            <a:off x="-850331" y="-1600212"/>
            <a:ext cx="12010007" cy="6380624"/>
          </a:xfrm>
          <a:custGeom>
            <a:avLst/>
            <a:gdLst>
              <a:gd name="connsiteX0" fmla="*/ 0 w 12010007"/>
              <a:gd name="connsiteY0" fmla="*/ 2944750 h 6380624"/>
              <a:gd name="connsiteX1" fmla="*/ 0 w 12010007"/>
              <a:gd name="connsiteY1" fmla="*/ 6380624 h 6380624"/>
              <a:gd name="connsiteX2" fmla="*/ 12010007 w 12010007"/>
              <a:gd name="connsiteY2" fmla="*/ 6380624 h 6380624"/>
              <a:gd name="connsiteX3" fmla="*/ 12010007 w 12010007"/>
              <a:gd name="connsiteY3" fmla="*/ 5755018 h 6380624"/>
              <a:gd name="connsiteX4" fmla="*/ 11893580 w 12010007"/>
              <a:gd name="connsiteY4" fmla="*/ 5781898 h 6380624"/>
              <a:gd name="connsiteX5" fmla="*/ 10669867 w 12010007"/>
              <a:gd name="connsiteY5" fmla="*/ 481418 h 6380624"/>
              <a:gd name="connsiteX6" fmla="*/ 0 w 12010007"/>
              <a:gd name="connsiteY6" fmla="*/ 0 h 6380624"/>
              <a:gd name="connsiteX7" fmla="*/ 0 w 12010007"/>
              <a:gd name="connsiteY7" fmla="*/ 193017 h 6380624"/>
              <a:gd name="connsiteX8" fmla="*/ 836047 w 12010007"/>
              <a:gd name="connsiteY8" fmla="*/ 0 h 638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10007" h="6380624">
                <a:moveTo>
                  <a:pt x="0" y="2944750"/>
                </a:moveTo>
                <a:lnTo>
                  <a:pt x="0" y="6380624"/>
                </a:lnTo>
                <a:lnTo>
                  <a:pt x="12010007" y="6380624"/>
                </a:lnTo>
                <a:lnTo>
                  <a:pt x="12010007" y="5755018"/>
                </a:lnTo>
                <a:lnTo>
                  <a:pt x="11893580" y="5781898"/>
                </a:lnTo>
                <a:lnTo>
                  <a:pt x="10669867" y="481418"/>
                </a:lnTo>
                <a:close/>
                <a:moveTo>
                  <a:pt x="0" y="0"/>
                </a:moveTo>
                <a:lnTo>
                  <a:pt x="0" y="193017"/>
                </a:lnTo>
                <a:lnTo>
                  <a:pt x="836047" y="0"/>
                </a:lnTo>
                <a:close/>
              </a:path>
            </a:pathLst>
          </a:custGeom>
        </p:spPr>
      </p:pic>
      <p:pic>
        <p:nvPicPr>
          <p:cNvPr id="9" name="Graphic 8">
            <a:extLst>
              <a:ext uri="{FF2B5EF4-FFF2-40B4-BE49-F238E27FC236}">
                <a16:creationId xmlns:a16="http://schemas.microsoft.com/office/drawing/2014/main" id="{AEEA461E-D8BF-5C4F-A437-9C7C874F9B3E}"/>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223200" y="100800"/>
            <a:ext cx="2739898" cy="1039876"/>
          </a:xfrm>
          <a:prstGeom prst="rect">
            <a:avLst/>
          </a:prstGeom>
        </p:spPr>
      </p:pic>
      <p:sp>
        <p:nvSpPr>
          <p:cNvPr id="11" name="Title 1">
            <a:extLst>
              <a:ext uri="{FF2B5EF4-FFF2-40B4-BE49-F238E27FC236}">
                <a16:creationId xmlns:a16="http://schemas.microsoft.com/office/drawing/2014/main" id="{7A0B13B9-CAF2-4EC9-A8F3-F68487F92953}"/>
              </a:ext>
            </a:extLst>
          </p:cNvPr>
          <p:cNvSpPr>
            <a:spLocks noGrp="1"/>
          </p:cNvSpPr>
          <p:nvPr>
            <p:ph type="ctrTitle" hasCustomPrompt="1"/>
          </p:nvPr>
        </p:nvSpPr>
        <p:spPr>
          <a:xfrm>
            <a:off x="648000" y="4021200"/>
            <a:ext cx="6480000" cy="1198800"/>
          </a:xfrm>
          <a:prstGeom prst="rect">
            <a:avLst/>
          </a:prstGeom>
        </p:spPr>
        <p:txBody>
          <a:bodyPr wrap="square" rIns="0" anchor="b" anchorCtr="0">
            <a:noAutofit/>
          </a:bodyPr>
          <a:lstStyle>
            <a:lvl1pPr marL="0" algn="l" defTabSz="914400" rtl="0" eaLnBrk="1" latinLnBrk="0" hangingPunct="1">
              <a:lnSpc>
                <a:spcPct val="100000"/>
              </a:lnSpc>
              <a:defRPr lang="en-GB" sz="3600" b="1" i="0" kern="1200" dirty="0">
                <a:solidFill>
                  <a:schemeClr val="accent3"/>
                </a:solidFill>
                <a:latin typeface="Cambria" panose="02040503050406030204" pitchFamily="18" charset="0"/>
                <a:ea typeface="Cambria" panose="02040503050406030204" pitchFamily="18" charset="0"/>
                <a:cs typeface="Cambria" panose="02040503050406030204" pitchFamily="18" charset="0"/>
              </a:defRPr>
            </a:lvl1pPr>
          </a:lstStyle>
          <a:p>
            <a:r>
              <a:rPr lang="en-GB"/>
              <a:t>Click to edit</a:t>
            </a:r>
            <a:br>
              <a:rPr lang="en-GB"/>
            </a:br>
            <a:r>
              <a:rPr lang="en-GB"/>
              <a:t>section title</a:t>
            </a:r>
          </a:p>
        </p:txBody>
      </p:sp>
      <p:sp>
        <p:nvSpPr>
          <p:cNvPr id="12" name="Subtitle 2">
            <a:extLst>
              <a:ext uri="{FF2B5EF4-FFF2-40B4-BE49-F238E27FC236}">
                <a16:creationId xmlns:a16="http://schemas.microsoft.com/office/drawing/2014/main" id="{53A914C4-D3BA-45F7-9461-428FDE0928E4}"/>
              </a:ext>
            </a:extLst>
          </p:cNvPr>
          <p:cNvSpPr>
            <a:spLocks noGrp="1"/>
          </p:cNvSpPr>
          <p:nvPr>
            <p:ph type="subTitle" idx="1" hasCustomPrompt="1"/>
          </p:nvPr>
        </p:nvSpPr>
        <p:spPr>
          <a:xfrm>
            <a:off x="648000" y="5349600"/>
            <a:ext cx="6480000" cy="612000"/>
          </a:xfrm>
          <a:prstGeom prst="rect">
            <a:avLst/>
          </a:prstGeom>
          <a:noFill/>
        </p:spPr>
        <p:txBody>
          <a:bodyPr wrap="square" rIns="0">
            <a:noAutofit/>
          </a:bodyPr>
          <a:lstStyle>
            <a:lvl1pPr marL="0" indent="0" algn="l">
              <a:lnSpc>
                <a:spcPct val="100000"/>
              </a:lnSpc>
              <a:spcBef>
                <a:spcPts val="0"/>
              </a:spcBef>
              <a:buNone/>
              <a:defRPr lang="en-US" sz="2000" b="1" i="0" kern="1200" dirty="0" smtClean="0">
                <a:solidFill>
                  <a:schemeClr val="bg2"/>
                </a:solidFill>
                <a:latin typeface="Calibri" panose="020F0502020204030204" pitchFamily="34" charset="0"/>
                <a:ea typeface="Roboto" panose="02000000000000000000" pitchFamily="2"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p>
        </p:txBody>
      </p:sp>
      <p:sp>
        <p:nvSpPr>
          <p:cNvPr id="2" name="Footer Placeholder 1">
            <a:extLst>
              <a:ext uri="{FF2B5EF4-FFF2-40B4-BE49-F238E27FC236}">
                <a16:creationId xmlns:a16="http://schemas.microsoft.com/office/drawing/2014/main" id="{749F15BE-4C55-4B27-97B4-2BDB6EB08C0C}"/>
              </a:ext>
            </a:extLst>
          </p:cNvPr>
          <p:cNvSpPr>
            <a:spLocks noGrp="1"/>
          </p:cNvSpPr>
          <p:nvPr>
            <p:ph type="ftr" sz="quarter" idx="10"/>
          </p:nvPr>
        </p:nvSpPr>
        <p:spPr>
          <a:xfrm>
            <a:off x="648000" y="6199200"/>
            <a:ext cx="6480000" cy="288000"/>
          </a:xfrm>
          <a:prstGeom prst="rect">
            <a:avLst/>
          </a:prstGeom>
        </p:spPr>
        <p:txBody>
          <a:bodyPr/>
          <a:lstStyle/>
          <a:p>
            <a:endParaRPr lang="en-GB"/>
          </a:p>
        </p:txBody>
      </p:sp>
      <p:sp>
        <p:nvSpPr>
          <p:cNvPr id="4" name="Oval 3">
            <a:extLst>
              <a:ext uri="{FF2B5EF4-FFF2-40B4-BE49-F238E27FC236}">
                <a16:creationId xmlns:a16="http://schemas.microsoft.com/office/drawing/2014/main" id="{688FE10D-D96F-5E9E-6BB4-482513538286}"/>
              </a:ext>
            </a:extLst>
          </p:cNvPr>
          <p:cNvSpPr/>
          <p:nvPr userDrawn="1"/>
        </p:nvSpPr>
        <p:spPr>
          <a:xfrm>
            <a:off x="11246400" y="6209041"/>
            <a:ext cx="468000" cy="46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0E943779-9560-82C0-7446-410EE42FA857}"/>
              </a:ext>
            </a:extLst>
          </p:cNvPr>
          <p:cNvSpPr/>
          <p:nvPr userDrawn="1"/>
        </p:nvSpPr>
        <p:spPr>
          <a:xfrm>
            <a:off x="11659209" y="6116400"/>
            <a:ext cx="185282" cy="18528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4">
            <a:extLst>
              <a:ext uri="{FF2B5EF4-FFF2-40B4-BE49-F238E27FC236}">
                <a16:creationId xmlns:a16="http://schemas.microsoft.com/office/drawing/2014/main" id="{C08B071F-817E-E875-890A-99F93DF3955C}"/>
              </a:ext>
            </a:extLst>
          </p:cNvPr>
          <p:cNvSpPr>
            <a:spLocks noGrp="1"/>
          </p:cNvSpPr>
          <p:nvPr>
            <p:ph type="sldNum" sz="quarter" idx="11"/>
          </p:nvPr>
        </p:nvSpPr>
        <p:spPr>
          <a:xfrm>
            <a:off x="11264400" y="6331998"/>
            <a:ext cx="432000" cy="222086"/>
          </a:xfrm>
          <a:prstGeom prst="rect">
            <a:avLst/>
          </a:prstGeom>
          <a:noFill/>
        </p:spPr>
        <p:txBody>
          <a:bodyPr vert="horz" lIns="0" tIns="0" rIns="0" bIns="0" rtlCol="0" anchor="ctr">
            <a:noAutofit/>
          </a:bodyPr>
          <a:lstStyle>
            <a:defPPr>
              <a:defRPr lang="en-US"/>
            </a:defPPr>
            <a:lvl1pPr marL="0" algn="ctr" defTabSz="914400" rtl="0" eaLnBrk="1" latinLnBrk="0" hangingPunct="1">
              <a:defRPr sz="9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8BAEAC-A895-4A01-AB9B-F6141799970D}" type="slidenum">
              <a:rPr lang="en-GB" smtClean="0"/>
              <a:pPr/>
              <a:t>‹#›</a:t>
            </a:fld>
            <a:endParaRPr lang="en-GB"/>
          </a:p>
        </p:txBody>
      </p:sp>
      <p:sp>
        <p:nvSpPr>
          <p:cNvPr id="7" name="TextBox 6">
            <a:extLst>
              <a:ext uri="{FF2B5EF4-FFF2-40B4-BE49-F238E27FC236}">
                <a16:creationId xmlns:a16="http://schemas.microsoft.com/office/drawing/2014/main" id="{1277C976-1D7F-98A9-9099-D08CA8FF1481}"/>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2137450510"/>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9E0E6-DC75-4B44-AE36-90944DF9C937}"/>
              </a:ext>
            </a:extLst>
          </p:cNvPr>
          <p:cNvSpPr>
            <a:spLocks noGrp="1"/>
          </p:cNvSpPr>
          <p:nvPr>
            <p:ph type="title"/>
          </p:nvPr>
        </p:nvSpPr>
        <p:spPr>
          <a:xfrm>
            <a:off x="548282" y="180000"/>
            <a:ext cx="8640000" cy="720000"/>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8A4AEFFC-91EA-4EA6-9D8A-02E7CDB261BF}"/>
              </a:ext>
            </a:extLst>
          </p:cNvPr>
          <p:cNvSpPr>
            <a:spLocks noGrp="1"/>
          </p:cNvSpPr>
          <p:nvPr>
            <p:ph idx="1"/>
          </p:nvPr>
        </p:nvSpPr>
        <p:spPr/>
        <p:txBody>
          <a:bodyPr/>
          <a:lstStyle>
            <a:lvl1pPr marL="288000" indent="-288000">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Content Placeholder 6">
            <a:extLst>
              <a:ext uri="{FF2B5EF4-FFF2-40B4-BE49-F238E27FC236}">
                <a16:creationId xmlns:a16="http://schemas.microsoft.com/office/drawing/2014/main" id="{DDCCFF21-3FE0-4813-A466-2801008A81A0}"/>
              </a:ext>
            </a:extLst>
          </p:cNvPr>
          <p:cNvSpPr>
            <a:spLocks noGrp="1"/>
          </p:cNvSpPr>
          <p:nvPr>
            <p:ph sz="quarter" idx="13"/>
          </p:nvPr>
        </p:nvSpPr>
        <p:spPr>
          <a:xfrm>
            <a:off x="547688" y="6234113"/>
            <a:ext cx="10648950" cy="443887"/>
          </a:xfrm>
        </p:spPr>
        <p:txBody>
          <a:bodyPr anchor="b"/>
          <a:lstStyle>
            <a:lvl1pPr marL="0" indent="0">
              <a:spcBef>
                <a:spcPts val="0"/>
              </a:spcBef>
              <a:buNone/>
              <a:defRPr sz="1100"/>
            </a:lvl1pPr>
          </a:lstStyle>
          <a:p>
            <a:pPr lvl="0"/>
            <a:r>
              <a:rPr lang="en-GB"/>
              <a:t>Click to edit Master text styles</a:t>
            </a:r>
          </a:p>
        </p:txBody>
      </p:sp>
      <p:sp>
        <p:nvSpPr>
          <p:cNvPr id="4" name="TextBox 3">
            <a:extLst>
              <a:ext uri="{FF2B5EF4-FFF2-40B4-BE49-F238E27FC236}">
                <a16:creationId xmlns:a16="http://schemas.microsoft.com/office/drawing/2014/main" id="{4436770F-902D-D0FA-34DA-C767073E3C17}"/>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8790386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3E7CD-F305-43E9-86B0-12355525B202}"/>
              </a:ext>
            </a:extLst>
          </p:cNvPr>
          <p:cNvSpPr>
            <a:spLocks noGrp="1"/>
          </p:cNvSpPr>
          <p:nvPr>
            <p:ph type="title"/>
          </p:nvPr>
        </p:nvSpPr>
        <p:spPr>
          <a:xfrm>
            <a:off x="548282" y="180000"/>
            <a:ext cx="8640000" cy="720000"/>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9C148EA7-F68C-47EF-BEC4-187C77088E8A}"/>
              </a:ext>
            </a:extLst>
          </p:cNvPr>
          <p:cNvSpPr>
            <a:spLocks noGrp="1"/>
          </p:cNvSpPr>
          <p:nvPr>
            <p:ph sz="half" idx="1"/>
          </p:nvPr>
        </p:nvSpPr>
        <p:spPr>
          <a:xfrm>
            <a:off x="548282" y="1404000"/>
            <a:ext cx="5400000" cy="4608000"/>
          </a:xfrm>
        </p:spPr>
        <p:txBody>
          <a:bodyPr/>
          <a:lstStyle>
            <a:lvl1pPr marL="288000" indent="-288000">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759AFFAC-B44A-4106-AB5E-D7FEA6836822}"/>
              </a:ext>
            </a:extLst>
          </p:cNvPr>
          <p:cNvSpPr>
            <a:spLocks noGrp="1"/>
          </p:cNvSpPr>
          <p:nvPr>
            <p:ph sz="half" idx="2"/>
          </p:nvPr>
        </p:nvSpPr>
        <p:spPr>
          <a:xfrm>
            <a:off x="6243482" y="1404000"/>
            <a:ext cx="5400000" cy="4608000"/>
          </a:xfrm>
        </p:spPr>
        <p:txBody>
          <a:bodyPr/>
          <a:lstStyle>
            <a:lvl1pPr marL="288000" indent="-288000">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6">
            <a:extLst>
              <a:ext uri="{FF2B5EF4-FFF2-40B4-BE49-F238E27FC236}">
                <a16:creationId xmlns:a16="http://schemas.microsoft.com/office/drawing/2014/main" id="{CAC87096-F260-406A-9CB5-46FC0F806F76}"/>
              </a:ext>
            </a:extLst>
          </p:cNvPr>
          <p:cNvSpPr>
            <a:spLocks noGrp="1"/>
          </p:cNvSpPr>
          <p:nvPr>
            <p:ph sz="quarter" idx="13"/>
          </p:nvPr>
        </p:nvSpPr>
        <p:spPr>
          <a:xfrm>
            <a:off x="547688" y="6234113"/>
            <a:ext cx="10648950" cy="443887"/>
          </a:xfrm>
        </p:spPr>
        <p:txBody>
          <a:bodyPr vert="horz" lIns="0" tIns="0" rIns="0" bIns="0" rtlCol="0" anchor="b">
            <a:noAutofit/>
          </a:bodyPr>
          <a:lstStyle>
            <a:lvl1pPr>
              <a:defRPr lang="en-US" sz="1100" dirty="0"/>
            </a:lvl1pPr>
          </a:lstStyle>
          <a:p>
            <a:pPr marL="0" lvl="0" indent="0">
              <a:spcBef>
                <a:spcPts val="0"/>
              </a:spcBef>
              <a:buNone/>
            </a:pPr>
            <a:r>
              <a:rPr lang="en-GB"/>
              <a:t>Click to edit Master text styles</a:t>
            </a:r>
          </a:p>
        </p:txBody>
      </p:sp>
      <p:sp>
        <p:nvSpPr>
          <p:cNvPr id="5" name="TextBox 4">
            <a:extLst>
              <a:ext uri="{FF2B5EF4-FFF2-40B4-BE49-F238E27FC236}">
                <a16:creationId xmlns:a16="http://schemas.microsoft.com/office/drawing/2014/main" id="{1AC74F2A-2BB5-0FC6-352F-24F71E824432}"/>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25540528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106F4-133B-44D2-AA79-8FBAC23B1257}"/>
              </a:ext>
            </a:extLst>
          </p:cNvPr>
          <p:cNvSpPr>
            <a:spLocks noGrp="1"/>
          </p:cNvSpPr>
          <p:nvPr>
            <p:ph type="title"/>
          </p:nvPr>
        </p:nvSpPr>
        <p:spPr/>
        <p:txBody>
          <a:bodyPr/>
          <a:lstStyle/>
          <a:p>
            <a:r>
              <a:rPr lang="en-GB"/>
              <a:t>Click to edit Master title style</a:t>
            </a:r>
          </a:p>
        </p:txBody>
      </p:sp>
      <p:sp>
        <p:nvSpPr>
          <p:cNvPr id="9" name="Content Placeholder 6">
            <a:extLst>
              <a:ext uri="{FF2B5EF4-FFF2-40B4-BE49-F238E27FC236}">
                <a16:creationId xmlns:a16="http://schemas.microsoft.com/office/drawing/2014/main" id="{B07320A4-EB7E-45EC-95A1-3FF279231A2A}"/>
              </a:ext>
            </a:extLst>
          </p:cNvPr>
          <p:cNvSpPr>
            <a:spLocks noGrp="1"/>
          </p:cNvSpPr>
          <p:nvPr>
            <p:ph sz="quarter" idx="13"/>
          </p:nvPr>
        </p:nvSpPr>
        <p:spPr>
          <a:xfrm>
            <a:off x="547688" y="6234113"/>
            <a:ext cx="10648950" cy="443887"/>
          </a:xfrm>
        </p:spPr>
        <p:txBody>
          <a:bodyPr anchor="b"/>
          <a:lstStyle>
            <a:lvl1pPr marL="0" indent="0">
              <a:spcBef>
                <a:spcPts val="0"/>
              </a:spcBef>
              <a:buNone/>
              <a:defRPr sz="1100"/>
            </a:lvl1pPr>
          </a:lstStyle>
          <a:p>
            <a:pPr lvl="0"/>
            <a:r>
              <a:rPr lang="en-GB"/>
              <a:t>Click to edit Master text styles</a:t>
            </a:r>
          </a:p>
        </p:txBody>
      </p:sp>
      <p:sp>
        <p:nvSpPr>
          <p:cNvPr id="3" name="TextBox 2">
            <a:extLst>
              <a:ext uri="{FF2B5EF4-FFF2-40B4-BE49-F238E27FC236}">
                <a16:creationId xmlns:a16="http://schemas.microsoft.com/office/drawing/2014/main" id="{4545844B-A23E-EE6D-EE6E-5058B194A42D}"/>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2484555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F5475F3-7DBF-484D-A716-C31CE98B4A8B}"/>
              </a:ext>
            </a:extLst>
          </p:cNvPr>
          <p:cNvSpPr>
            <a:spLocks noGrp="1"/>
          </p:cNvSpPr>
          <p:nvPr>
            <p:ph sz="quarter" idx="13"/>
          </p:nvPr>
        </p:nvSpPr>
        <p:spPr>
          <a:xfrm>
            <a:off x="547688" y="6234113"/>
            <a:ext cx="10648950" cy="443887"/>
          </a:xfrm>
        </p:spPr>
        <p:txBody>
          <a:bodyPr anchor="b"/>
          <a:lstStyle>
            <a:lvl1pPr marL="0" indent="0">
              <a:spcBef>
                <a:spcPts val="0"/>
              </a:spcBef>
              <a:buNone/>
              <a:defRPr sz="1100"/>
            </a:lvl1pPr>
          </a:lstStyle>
          <a:p>
            <a:pPr lvl="0"/>
            <a:r>
              <a:rPr lang="en-GB"/>
              <a:t>Click to edit Master text styles</a:t>
            </a:r>
          </a:p>
        </p:txBody>
      </p:sp>
      <p:sp>
        <p:nvSpPr>
          <p:cNvPr id="2" name="TextBox 1">
            <a:extLst>
              <a:ext uri="{FF2B5EF4-FFF2-40B4-BE49-F238E27FC236}">
                <a16:creationId xmlns:a16="http://schemas.microsoft.com/office/drawing/2014/main" id="{66817177-59E1-B946-2FE9-32FD1725CED7}"/>
              </a:ext>
            </a:extLst>
          </p:cNvPr>
          <p:cNvSpPr txBox="1"/>
          <p:nvPr userDrawn="1"/>
        </p:nvSpPr>
        <p:spPr>
          <a:xfrm>
            <a:off x="547688" y="6698473"/>
            <a:ext cx="10325323" cy="138499"/>
          </a:xfrm>
          <a:prstGeom prst="rect">
            <a:avLst/>
          </a:prstGeom>
          <a:noFill/>
        </p:spPr>
        <p:txBody>
          <a:bodyPr wrap="square" lIns="0" tIns="0" rIns="0" bIns="0" rtlCol="0" anchor="ctr">
            <a:spAutoFit/>
          </a:bodyPr>
          <a:lstStyle/>
          <a:p>
            <a:pPr marL="0" marR="0" algn="l">
              <a:spcBef>
                <a:spcPts val="0"/>
              </a:spcBef>
              <a:spcAft>
                <a:spcPts val="0"/>
              </a:spcAft>
            </a:pPr>
            <a:r>
              <a:rPr lang="en-GB" sz="900">
                <a:solidFill>
                  <a:schemeClr val="tx1"/>
                </a:solidFill>
              </a:rPr>
              <a:t>US-111513; Last Updated 04/26 © 2026 AstraZeneca. All Rights Reserved. This information is intended for healthcare professionals only. EpiCentral is sponsored by Amgen and AstraZeneca. </a:t>
            </a:r>
          </a:p>
        </p:txBody>
      </p:sp>
    </p:spTree>
    <p:extLst>
      <p:ext uri="{BB962C8B-B14F-4D97-AF65-F5344CB8AC3E}">
        <p14:creationId xmlns:p14="http://schemas.microsoft.com/office/powerpoint/2010/main" val="1698031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18" Type="http://schemas.openxmlformats.org/officeDocument/2006/relationships/image" Target="../media/image7.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1.xml"/><Relationship Id="rId19" Type="http://schemas.openxmlformats.org/officeDocument/2006/relationships/image" Target="../media/image8.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5EBDB3-ECDD-D52F-6280-8290B24FB6FD}"/>
              </a:ext>
            </a:extLst>
          </p:cNvPr>
          <p:cNvGraphicFramePr>
            <a:graphicFrameLocks/>
          </p:cNvGraphicFramePr>
          <p:nvPr userDrawn="1">
            <p:custDataLst>
              <p:tags r:id="rId10"/>
            </p:custDataLst>
            <p:extLst>
              <p:ext uri="{D42A27DB-BD31-4B8C-83A1-F6EECF244321}">
                <p14:modId xmlns:p14="http://schemas.microsoft.com/office/powerpoint/2010/main" val="221781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1" imgH="351" progId="TCLayout.ActiveDocument.1">
                  <p:embed/>
                </p:oleObj>
              </mc:Choice>
              <mc:Fallback>
                <p:oleObj name="think-cell Slide" r:id="rId11" imgW="351" imgH="351" progId="TCLayout.ActiveDocument.1">
                  <p:embed/>
                  <p:pic>
                    <p:nvPicPr>
                      <p:cNvPr id="4" name="think-cell data - do not delete" hidden="1">
                        <a:extLst>
                          <a:ext uri="{FF2B5EF4-FFF2-40B4-BE49-F238E27FC236}">
                            <a16:creationId xmlns:a16="http://schemas.microsoft.com/office/drawing/2014/main" id="{245EBDB3-ECDD-D52F-6280-8290B24FB6F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0" name="Picture 19" descr="Shape, rectangle&#10;&#10;Description automatically generated">
            <a:extLst>
              <a:ext uri="{FF2B5EF4-FFF2-40B4-BE49-F238E27FC236}">
                <a16:creationId xmlns:a16="http://schemas.microsoft.com/office/drawing/2014/main" id="{A3A3EF61-82F0-4FC3-AA94-9B4DC9F89509}"/>
              </a:ext>
            </a:extLst>
          </p:cNvPr>
          <p:cNvPicPr>
            <a:picLocks noChangeAspect="1"/>
          </p:cNvPicPr>
          <p:nvPr userDrawn="1"/>
        </p:nvPicPr>
        <p:blipFill>
          <a:blip r:embed="rId13"/>
          <a:stretch>
            <a:fillRect/>
          </a:stretch>
        </p:blipFill>
        <p:spPr>
          <a:xfrm>
            <a:off x="0" y="0"/>
            <a:ext cx="12191999" cy="1141125"/>
          </a:xfrm>
          <a:prstGeom prst="rect">
            <a:avLst/>
          </a:prstGeom>
        </p:spPr>
      </p:pic>
      <p:pic>
        <p:nvPicPr>
          <p:cNvPr id="21" name="Graphic 20">
            <a:extLst>
              <a:ext uri="{FF2B5EF4-FFF2-40B4-BE49-F238E27FC236}">
                <a16:creationId xmlns:a16="http://schemas.microsoft.com/office/drawing/2014/main" id="{1A2AE35B-3713-4E04-BD23-89F85FEA0452}"/>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9223200" y="100800"/>
            <a:ext cx="2741277" cy="1040400"/>
          </a:xfrm>
          <a:prstGeom prst="rect">
            <a:avLst/>
          </a:prstGeom>
        </p:spPr>
      </p:pic>
      <p:pic>
        <p:nvPicPr>
          <p:cNvPr id="22" name="Picture 21">
            <a:extLst>
              <a:ext uri="{FF2B5EF4-FFF2-40B4-BE49-F238E27FC236}">
                <a16:creationId xmlns:a16="http://schemas.microsoft.com/office/drawing/2014/main" id="{470CB6ED-94F4-43D5-A7E6-1775F1190F7E}"/>
              </a:ext>
            </a:extLst>
          </p:cNvPr>
          <p:cNvPicPr>
            <a:picLocks noChangeAspect="1"/>
          </p:cNvPicPr>
          <p:nvPr userDrawn="1"/>
        </p:nvPicPr>
        <p:blipFill rotWithShape="1">
          <a:blip r:embed="rId15">
            <a:alphaModFix amt="10000"/>
          </a:blip>
          <a:srcRect l="59157" t="44809"/>
          <a:stretch/>
        </p:blipFill>
        <p:spPr>
          <a:xfrm>
            <a:off x="-1" y="0"/>
            <a:ext cx="7097485" cy="3411301"/>
          </a:xfrm>
          <a:prstGeom prst="rect">
            <a:avLst/>
          </a:prstGeom>
          <a:effectLst/>
        </p:spPr>
      </p:pic>
      <p:sp>
        <p:nvSpPr>
          <p:cNvPr id="3" name="Text Placeholder 2">
            <a:extLst>
              <a:ext uri="{FF2B5EF4-FFF2-40B4-BE49-F238E27FC236}">
                <a16:creationId xmlns:a16="http://schemas.microsoft.com/office/drawing/2014/main" id="{BBDFCBA9-E3AE-429C-BF56-B86D80AA05F7}"/>
              </a:ext>
            </a:extLst>
          </p:cNvPr>
          <p:cNvSpPr>
            <a:spLocks noGrp="1"/>
          </p:cNvSpPr>
          <p:nvPr>
            <p:ph type="body" idx="1"/>
          </p:nvPr>
        </p:nvSpPr>
        <p:spPr>
          <a:xfrm>
            <a:off x="548282" y="1404000"/>
            <a:ext cx="11095200" cy="4608000"/>
          </a:xfrm>
          <a:prstGeom prst="rect">
            <a:avLst/>
          </a:prstGeom>
        </p:spPr>
        <p:txBody>
          <a:bodyPr vert="horz" lIns="0" tIns="0" rIns="0" bIns="0" rtlCol="0">
            <a:noAutofit/>
          </a:bodyPr>
          <a:lstStyle/>
          <a:p>
            <a:pPr marL="288000" lvl="0" indent="-288000" algn="l" defTabSz="914400" rtl="0" eaLnBrk="1" latinLnBrk="0" hangingPunct="1">
              <a:lnSpc>
                <a:spcPct val="100000"/>
              </a:lnSpc>
              <a:spcBef>
                <a:spcPts val="1200"/>
              </a:spcBef>
              <a:buClr>
                <a:schemeClr val="tx1"/>
              </a:buClr>
              <a:buFontTx/>
              <a:buBlip>
                <a:blip>
                  <a:extLst>
                    <a:ext uri="{96DAC541-7B7A-43D3-8B79-37D633B846F1}">
                      <asvg:svgBlip xmlns:asvg="http://schemas.microsoft.com/office/drawing/2016/SVG/main" r:embed="rId16"/>
                    </a:ext>
                  </a:extLst>
                </a:blip>
              </a:buBlip>
            </a:pPr>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Placeholder 1">
            <a:extLst>
              <a:ext uri="{FF2B5EF4-FFF2-40B4-BE49-F238E27FC236}">
                <a16:creationId xmlns:a16="http://schemas.microsoft.com/office/drawing/2014/main" id="{4E595B33-58AD-4532-AEF7-AB747A047888}"/>
              </a:ext>
            </a:extLst>
          </p:cNvPr>
          <p:cNvSpPr>
            <a:spLocks noGrp="1"/>
          </p:cNvSpPr>
          <p:nvPr>
            <p:ph type="title"/>
          </p:nvPr>
        </p:nvSpPr>
        <p:spPr>
          <a:xfrm>
            <a:off x="548282" y="180000"/>
            <a:ext cx="11095200" cy="720000"/>
          </a:xfrm>
          <a:prstGeom prst="rect">
            <a:avLst/>
          </a:prstGeom>
        </p:spPr>
        <p:txBody>
          <a:bodyPr vert="horz" lIns="0" tIns="0" rIns="0" bIns="0" rtlCol="0" anchor="b" anchorCtr="0">
            <a:noAutofit/>
          </a:bodyPr>
          <a:lstStyle/>
          <a:p>
            <a:r>
              <a:rPr lang="en-GB"/>
              <a:t>Click to edit Master title style</a:t>
            </a:r>
          </a:p>
        </p:txBody>
      </p:sp>
      <p:grpSp>
        <p:nvGrpSpPr>
          <p:cNvPr id="5" name="Group 4">
            <a:extLst>
              <a:ext uri="{FF2B5EF4-FFF2-40B4-BE49-F238E27FC236}">
                <a16:creationId xmlns:a16="http://schemas.microsoft.com/office/drawing/2014/main" id="{E08F766E-6412-42F0-5BE7-4DAAE48D34A4}"/>
              </a:ext>
            </a:extLst>
          </p:cNvPr>
          <p:cNvGrpSpPr/>
          <p:nvPr userDrawn="1"/>
        </p:nvGrpSpPr>
        <p:grpSpPr>
          <a:xfrm>
            <a:off x="9957766" y="6398405"/>
            <a:ext cx="2127908" cy="381712"/>
            <a:chOff x="9017435" y="6029795"/>
            <a:chExt cx="2717365" cy="487450"/>
          </a:xfrm>
        </p:grpSpPr>
        <p:pic>
          <p:nvPicPr>
            <p:cNvPr id="6" name="Picture 5" descr="Logo&#10;&#10;Description automatically generated">
              <a:extLst>
                <a:ext uri="{FF2B5EF4-FFF2-40B4-BE49-F238E27FC236}">
                  <a16:creationId xmlns:a16="http://schemas.microsoft.com/office/drawing/2014/main" id="{1BFD33E1-977D-53BC-9598-0C52A391B77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035646" y="6029795"/>
              <a:ext cx="1699154" cy="411480"/>
            </a:xfrm>
            <a:prstGeom prst="rect">
              <a:avLst/>
            </a:prstGeom>
          </p:spPr>
        </p:pic>
        <p:pic>
          <p:nvPicPr>
            <p:cNvPr id="7" name="Graphic 6">
              <a:extLst>
                <a:ext uri="{FF2B5EF4-FFF2-40B4-BE49-F238E27FC236}">
                  <a16:creationId xmlns:a16="http://schemas.microsoft.com/office/drawing/2014/main" id="{BDAE83CE-D4BD-0D55-E455-653F60A7DC75}"/>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18"/>
                </a:ext>
              </a:extLst>
            </a:blip>
            <a:srcRect l="38306" t="44872" r="38966" b="45223"/>
            <a:stretch/>
          </p:blipFill>
          <p:spPr>
            <a:xfrm>
              <a:off x="9017435" y="6197206"/>
              <a:ext cx="950276" cy="320039"/>
            </a:xfrm>
            <a:prstGeom prst="rect">
              <a:avLst/>
            </a:prstGeom>
          </p:spPr>
        </p:pic>
      </p:grpSp>
    </p:spTree>
    <p:extLst>
      <p:ext uri="{BB962C8B-B14F-4D97-AF65-F5344CB8AC3E}">
        <p14:creationId xmlns:p14="http://schemas.microsoft.com/office/powerpoint/2010/main" val="2815037715"/>
      </p:ext>
    </p:extLst>
  </p:cSld>
  <p:clrMap bg1="lt1" tx1="dk1" bg2="lt2" tx2="dk2" accent1="accent1" accent2="accent2" accent3="accent3" accent4="accent4" accent5="accent5" accent6="accent6" hlink="hlink" folHlink="folHlink"/>
  <p:sldLayoutIdLst>
    <p:sldLayoutId id="2147483678"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defTabSz="914400" rtl="0" eaLnBrk="1" latinLnBrk="0" hangingPunct="1">
        <a:lnSpc>
          <a:spcPct val="90000"/>
        </a:lnSpc>
        <a:spcBef>
          <a:spcPct val="0"/>
        </a:spcBef>
        <a:buNone/>
        <a:defRPr sz="260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9"/>
        </a:buBlip>
        <a:defRPr lang="en-US" sz="2000" b="0" i="0" kern="1200" dirty="0" smtClean="0">
          <a:solidFill>
            <a:schemeClr val="tx1"/>
          </a:solidFill>
          <a:latin typeface="Calibri" panose="020F0502020204030204" pitchFamily="34" charset="0"/>
          <a:ea typeface="Roboto" panose="02000000000000000000" pitchFamily="2" charset="0"/>
          <a:cs typeface="Calibri" panose="020F0502020204030204" pitchFamily="34" charset="0"/>
        </a:defRPr>
      </a:lvl1pPr>
      <a:lvl2pPr marL="685800" indent="-228600"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1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BC1D334-CA9F-4127-247F-8599CED479C1}"/>
              </a:ext>
            </a:extLst>
          </p:cNvPr>
          <p:cNvSpPr>
            <a:spLocks noGrp="1"/>
          </p:cNvSpPr>
          <p:nvPr>
            <p:ph type="ctrTitle"/>
          </p:nvPr>
        </p:nvSpPr>
        <p:spPr/>
        <p:txBody>
          <a:bodyPr>
            <a:normAutofit/>
          </a:bodyPr>
          <a:lstStyle/>
          <a:p>
            <a:r>
              <a:rPr lang="en-US" noProof="0"/>
              <a:t>Patient data on the role of epithelial cytokines in eosinophilic esophagitis (EoE)</a:t>
            </a:r>
          </a:p>
        </p:txBody>
      </p:sp>
      <p:sp>
        <p:nvSpPr>
          <p:cNvPr id="2" name="Subtitle 1">
            <a:extLst>
              <a:ext uri="{FF2B5EF4-FFF2-40B4-BE49-F238E27FC236}">
                <a16:creationId xmlns:a16="http://schemas.microsoft.com/office/drawing/2014/main" id="{68342B30-2B87-C99A-3E9A-37D252F16FA4}"/>
              </a:ext>
            </a:extLst>
          </p:cNvPr>
          <p:cNvSpPr>
            <a:spLocks noGrp="1"/>
          </p:cNvSpPr>
          <p:nvPr>
            <p:ph type="subTitle" idx="1"/>
          </p:nvPr>
        </p:nvSpPr>
        <p:spPr/>
        <p:txBody>
          <a:bodyPr/>
          <a:lstStyle/>
          <a:p>
            <a:r>
              <a:rPr lang="en-US" noProof="0"/>
              <a:t>Learn more about the role epithelial cytokines play in EoE</a:t>
            </a:r>
          </a:p>
        </p:txBody>
      </p:sp>
    </p:spTree>
    <p:extLst>
      <p:ext uri="{BB962C8B-B14F-4D97-AF65-F5344CB8AC3E}">
        <p14:creationId xmlns:p14="http://schemas.microsoft.com/office/powerpoint/2010/main" val="226254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B9101-C8D4-8721-6B95-9ADD1C24B87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EFD5FB-D2B3-2A3D-0FA6-F37063234CAB}"/>
              </a:ext>
            </a:extLst>
          </p:cNvPr>
          <p:cNvGraphicFramePr>
            <a:graphicFrameLocks/>
          </p:cNvGraphicFramePr>
          <p:nvPr>
            <p:custDataLst>
              <p:tags r:id="rId1"/>
            </p:custDataLst>
            <p:extLst>
              <p:ext uri="{D42A27DB-BD31-4B8C-83A1-F6EECF244321}">
                <p14:modId xmlns:p14="http://schemas.microsoft.com/office/powerpoint/2010/main" val="187640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5AEFD5FB-D2B3-2A3D-0FA6-F37063234C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5A930-61E0-53F8-1A17-54CD68CBD995}"/>
              </a:ext>
            </a:extLst>
          </p:cNvPr>
          <p:cNvSpPr>
            <a:spLocks noGrp="1"/>
          </p:cNvSpPr>
          <p:nvPr>
            <p:ph type="title"/>
          </p:nvPr>
        </p:nvSpPr>
        <p:spPr>
          <a:xfrm>
            <a:off x="548282" y="180000"/>
            <a:ext cx="8884476" cy="720000"/>
          </a:xfrm>
        </p:spPr>
        <p:txBody>
          <a:bodyPr vert="horz" rIns="0"/>
          <a:lstStyle/>
          <a:p>
            <a:r>
              <a:rPr lang="en-GB" dirty="0"/>
              <a:t>E</a:t>
            </a:r>
            <a:r>
              <a:rPr lang="en-US" dirty="0"/>
              <a:t>sophageal epithelial-driven inflammation drives EoE</a:t>
            </a:r>
            <a:endParaRPr lang="en-US" noProof="0" dirty="0"/>
          </a:p>
        </p:txBody>
      </p:sp>
      <p:sp>
        <p:nvSpPr>
          <p:cNvPr id="10" name="Content Placeholder 9">
            <a:extLst>
              <a:ext uri="{FF2B5EF4-FFF2-40B4-BE49-F238E27FC236}">
                <a16:creationId xmlns:a16="http://schemas.microsoft.com/office/drawing/2014/main" id="{14517E4D-37C2-600B-4F8E-97B504DDABEC}"/>
              </a:ext>
            </a:extLst>
          </p:cNvPr>
          <p:cNvSpPr txBox="1">
            <a:spLocks noGrp="1"/>
          </p:cNvSpPr>
          <p:nvPr>
            <p:ph sz="quarter" idx="13"/>
          </p:nvPr>
        </p:nvSpPr>
        <p:spPr>
          <a:xfrm>
            <a:off x="547688" y="6309281"/>
            <a:ext cx="10648950" cy="369332"/>
          </a:xfrm>
          <a:prstGeom prst="rect">
            <a:avLst/>
          </a:prstGeom>
          <a:noFill/>
        </p:spPr>
        <p:txBody>
          <a:bodyPr wrap="square" rtlCol="0">
            <a:spAutoFit/>
          </a:bodyPr>
          <a:lstStyle/>
          <a:p>
            <a:pPr>
              <a:buClr>
                <a:schemeClr val="accent1"/>
              </a:buClr>
            </a:pPr>
            <a:r>
              <a:rPr lang="en-GB" sz="800" dirty="0"/>
              <a:t>CAPN14, calpain 14; EoE, eosinophilic esophagitis; IL, interleukin; ILC2, type 2 innate lymphoid cell; SPINK7, serine peptidase inhibitor, </a:t>
            </a:r>
            <a:r>
              <a:rPr lang="en-GB" sz="800" dirty="0" err="1"/>
              <a:t>kazal</a:t>
            </a:r>
            <a:r>
              <a:rPr lang="en-GB" sz="800" dirty="0"/>
              <a:t> type 7; Th, T helper; TSLP, thymic stromal lymphopoietin</a:t>
            </a:r>
          </a:p>
          <a:p>
            <a:pPr>
              <a:buClr>
                <a:schemeClr val="accent1"/>
              </a:buClr>
            </a:pPr>
            <a:r>
              <a:rPr lang="en-GB" sz="800" dirty="0"/>
              <a:t>1. </a:t>
            </a:r>
            <a:r>
              <a:rPr lang="en-US" sz="800" dirty="0"/>
              <a:t>Berni </a:t>
            </a:r>
            <a:r>
              <a:rPr lang="en-US" sz="800" dirty="0" err="1"/>
              <a:t>Canani</a:t>
            </a:r>
            <a:r>
              <a:rPr lang="en-US" sz="800" dirty="0"/>
              <a:t> R, et al. </a:t>
            </a:r>
            <a:r>
              <a:rPr lang="en-US" sz="800" i="1" dirty="0"/>
              <a:t>Allergy</a:t>
            </a:r>
            <a:r>
              <a:rPr lang="en-US" sz="800" dirty="0"/>
              <a:t>. 2024;79(6):1485–1500; 2. Farah A, et al. </a:t>
            </a:r>
            <a:r>
              <a:rPr lang="en-US" sz="800" i="1" dirty="0"/>
              <a:t>Diagnostics (Basel). </a:t>
            </a:r>
            <a:r>
              <a:rPr lang="en-US" sz="800" dirty="0"/>
              <a:t>2025;15:240; 3. Underwood B, et al. </a:t>
            </a:r>
            <a:r>
              <a:rPr lang="en-US" sz="800" i="1" dirty="0"/>
              <a:t>Ann Allergy Asthma Immunol.</a:t>
            </a:r>
            <a:r>
              <a:rPr lang="en-US" sz="800" dirty="0"/>
              <a:t> 2023;130:28–39; </a:t>
            </a:r>
            <a:br>
              <a:rPr lang="en-US" sz="800" dirty="0"/>
            </a:br>
            <a:r>
              <a:rPr lang="en-US" sz="800" dirty="0"/>
              <a:t>4. Laky K, et al. </a:t>
            </a:r>
            <a:r>
              <a:rPr lang="en-US" sz="800" i="1" dirty="0"/>
              <a:t>J Allergy Clin Immunol</a:t>
            </a:r>
            <a:r>
              <a:rPr lang="en-US" sz="800" dirty="0"/>
              <a:t>. 2024;153:1485–1499; 5. Jensen ET, et al. </a:t>
            </a:r>
            <a:r>
              <a:rPr lang="en-US" sz="800" i="1" dirty="0"/>
              <a:t>J Allergy Clin Immunol.</a:t>
            </a:r>
            <a:r>
              <a:rPr lang="en-US" sz="800" dirty="0"/>
              <a:t> 2018;142:32–40.</a:t>
            </a:r>
            <a:endParaRPr lang="en-GB" sz="800" dirty="0"/>
          </a:p>
        </p:txBody>
      </p:sp>
      <p:pic>
        <p:nvPicPr>
          <p:cNvPr id="12" name="Picture 11">
            <a:extLst>
              <a:ext uri="{FF2B5EF4-FFF2-40B4-BE49-F238E27FC236}">
                <a16:creationId xmlns:a16="http://schemas.microsoft.com/office/drawing/2014/main" id="{69CEC689-E4E8-00BF-569F-B3A6986E03EF}"/>
              </a:ext>
            </a:extLst>
          </p:cNvPr>
          <p:cNvPicPr>
            <a:picLocks noChangeAspect="1"/>
          </p:cNvPicPr>
          <p:nvPr/>
        </p:nvPicPr>
        <p:blipFill>
          <a:blip r:embed="rId6"/>
          <a:stretch>
            <a:fillRect/>
          </a:stretch>
        </p:blipFill>
        <p:spPr>
          <a:xfrm>
            <a:off x="201727" y="1320706"/>
            <a:ext cx="11788545" cy="4794344"/>
          </a:xfrm>
          <a:prstGeom prst="rect">
            <a:avLst/>
          </a:prstGeom>
        </p:spPr>
      </p:pic>
    </p:spTree>
    <p:extLst>
      <p:ext uri="{BB962C8B-B14F-4D97-AF65-F5344CB8AC3E}">
        <p14:creationId xmlns:p14="http://schemas.microsoft.com/office/powerpoint/2010/main" val="1765956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423CE-DCB8-3494-3B86-72E4A1237636}"/>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02CA59F-95DB-3AAC-1067-FEC3F63B7560}"/>
              </a:ext>
            </a:extLst>
          </p:cNvPr>
          <p:cNvSpPr/>
          <p:nvPr/>
        </p:nvSpPr>
        <p:spPr>
          <a:xfrm>
            <a:off x="4385462" y="2271912"/>
            <a:ext cx="3421079" cy="3498651"/>
          </a:xfrm>
          <a:prstGeom prst="rect">
            <a:avLst/>
          </a:prstGeom>
          <a:solidFill>
            <a:schemeClr val="accent4">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40" name="Straight Connector 339">
            <a:extLst>
              <a:ext uri="{FF2B5EF4-FFF2-40B4-BE49-F238E27FC236}">
                <a16:creationId xmlns:a16="http://schemas.microsoft.com/office/drawing/2014/main" id="{0EE991E2-96C4-09F5-E5D4-6746ED462296}"/>
              </a:ext>
            </a:extLst>
          </p:cNvPr>
          <p:cNvCxnSpPr>
            <a:cxnSpLocks/>
          </p:cNvCxnSpPr>
          <p:nvPr/>
        </p:nvCxnSpPr>
        <p:spPr>
          <a:xfrm>
            <a:off x="6617835" y="3897538"/>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FE6E418B-0185-9E98-D17F-8F978C5AD2F7}"/>
              </a:ext>
            </a:extLst>
          </p:cNvPr>
          <p:cNvCxnSpPr>
            <a:cxnSpLocks/>
          </p:cNvCxnSpPr>
          <p:nvPr/>
        </p:nvCxnSpPr>
        <p:spPr>
          <a:xfrm>
            <a:off x="7197842" y="3845460"/>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7C2001E4-E709-399B-A2CB-B9853ACC13DA}"/>
              </a:ext>
            </a:extLst>
          </p:cNvPr>
          <p:cNvSpPr/>
          <p:nvPr/>
        </p:nvSpPr>
        <p:spPr>
          <a:xfrm>
            <a:off x="5303963" y="4786414"/>
            <a:ext cx="386277" cy="284873"/>
          </a:xfrm>
          <a:prstGeom prst="re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235" name="Rectangle 234">
            <a:extLst>
              <a:ext uri="{FF2B5EF4-FFF2-40B4-BE49-F238E27FC236}">
                <a16:creationId xmlns:a16="http://schemas.microsoft.com/office/drawing/2014/main" id="{BC6A4024-60FB-DF99-3A0B-745FE4F9955F}"/>
              </a:ext>
            </a:extLst>
          </p:cNvPr>
          <p:cNvSpPr/>
          <p:nvPr/>
        </p:nvSpPr>
        <p:spPr>
          <a:xfrm>
            <a:off x="5861662" y="4890570"/>
            <a:ext cx="386277" cy="180717"/>
          </a:xfrm>
          <a:prstGeom prst="re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42" name="Rectangle 341">
            <a:extLst>
              <a:ext uri="{FF2B5EF4-FFF2-40B4-BE49-F238E27FC236}">
                <a16:creationId xmlns:a16="http://schemas.microsoft.com/office/drawing/2014/main" id="{06888742-54FF-09FD-375D-6AD3FCD8FFA0}"/>
              </a:ext>
            </a:extLst>
          </p:cNvPr>
          <p:cNvSpPr/>
          <p:nvPr/>
        </p:nvSpPr>
        <p:spPr>
          <a:xfrm>
            <a:off x="6424697" y="4139780"/>
            <a:ext cx="386277" cy="931507"/>
          </a:xfrm>
          <a:prstGeom prst="rect">
            <a:avLst/>
          </a:prstGeom>
          <a:solidFill>
            <a:schemeClr val="accent4"/>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43" name="Rectangle 342">
            <a:extLst>
              <a:ext uri="{FF2B5EF4-FFF2-40B4-BE49-F238E27FC236}">
                <a16:creationId xmlns:a16="http://schemas.microsoft.com/office/drawing/2014/main" id="{A3632402-F617-72BB-1B1A-B80DFD22B3CA}"/>
              </a:ext>
            </a:extLst>
          </p:cNvPr>
          <p:cNvSpPr/>
          <p:nvPr/>
        </p:nvSpPr>
        <p:spPr>
          <a:xfrm>
            <a:off x="7004704" y="4016095"/>
            <a:ext cx="386277" cy="1055192"/>
          </a:xfrm>
          <a:prstGeom prst="rect">
            <a:avLst/>
          </a:prstGeom>
          <a:solidFill>
            <a:schemeClr val="accent4"/>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3" name="Rectangle 32">
            <a:extLst>
              <a:ext uri="{FF2B5EF4-FFF2-40B4-BE49-F238E27FC236}">
                <a16:creationId xmlns:a16="http://schemas.microsoft.com/office/drawing/2014/main" id="{F10E97AC-F93F-83E0-EC4F-D3926226B104}"/>
              </a:ext>
            </a:extLst>
          </p:cNvPr>
          <p:cNvSpPr/>
          <p:nvPr/>
        </p:nvSpPr>
        <p:spPr>
          <a:xfrm>
            <a:off x="8291497" y="2271912"/>
            <a:ext cx="3421079" cy="3498651"/>
          </a:xfrm>
          <a:prstGeom prst="rect">
            <a:avLst/>
          </a:prstGeom>
          <a:solidFill>
            <a:schemeClr val="accent6">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53" name="Straight Connector 352">
            <a:extLst>
              <a:ext uri="{FF2B5EF4-FFF2-40B4-BE49-F238E27FC236}">
                <a16:creationId xmlns:a16="http://schemas.microsoft.com/office/drawing/2014/main" id="{98F958BC-B128-B883-3168-19BD680C69BF}"/>
              </a:ext>
            </a:extLst>
          </p:cNvPr>
          <p:cNvCxnSpPr>
            <a:cxnSpLocks/>
          </p:cNvCxnSpPr>
          <p:nvPr/>
        </p:nvCxnSpPr>
        <p:spPr>
          <a:xfrm>
            <a:off x="10495433" y="3747367"/>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52C4E351-B6FB-1AF2-AB24-3CF42253929A}"/>
              </a:ext>
            </a:extLst>
          </p:cNvPr>
          <p:cNvCxnSpPr>
            <a:cxnSpLocks/>
          </p:cNvCxnSpPr>
          <p:nvPr/>
        </p:nvCxnSpPr>
        <p:spPr>
          <a:xfrm>
            <a:off x="11060197" y="4025627"/>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E38B46D8-F31C-A97E-E657-E443BFDE3AE6}"/>
              </a:ext>
            </a:extLst>
          </p:cNvPr>
          <p:cNvSpPr/>
          <p:nvPr/>
        </p:nvSpPr>
        <p:spPr>
          <a:xfrm>
            <a:off x="9737830" y="5008070"/>
            <a:ext cx="386277" cy="63280"/>
          </a:xfrm>
          <a:prstGeom prst="re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55" name="Rectangle 354">
            <a:extLst>
              <a:ext uri="{FF2B5EF4-FFF2-40B4-BE49-F238E27FC236}">
                <a16:creationId xmlns:a16="http://schemas.microsoft.com/office/drawing/2014/main" id="{339146DE-AA95-A029-70F9-A851B72117C5}"/>
              </a:ext>
            </a:extLst>
          </p:cNvPr>
          <p:cNvSpPr/>
          <p:nvPr/>
        </p:nvSpPr>
        <p:spPr>
          <a:xfrm>
            <a:off x="10305226" y="3872944"/>
            <a:ext cx="386277" cy="1198406"/>
          </a:xfrm>
          <a:prstGeom prst="rect">
            <a:avLst/>
          </a:prstGeom>
          <a:solidFill>
            <a:schemeClr val="accent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56" name="Rectangle 355">
            <a:extLst>
              <a:ext uri="{FF2B5EF4-FFF2-40B4-BE49-F238E27FC236}">
                <a16:creationId xmlns:a16="http://schemas.microsoft.com/office/drawing/2014/main" id="{A0FAF8B8-87FC-5BB4-0A9E-BECEAED68BDE}"/>
              </a:ext>
            </a:extLst>
          </p:cNvPr>
          <p:cNvSpPr/>
          <p:nvPr/>
        </p:nvSpPr>
        <p:spPr>
          <a:xfrm>
            <a:off x="10861417" y="4126823"/>
            <a:ext cx="386277" cy="944527"/>
          </a:xfrm>
          <a:prstGeom prst="rect">
            <a:avLst/>
          </a:prstGeom>
          <a:solidFill>
            <a:schemeClr val="accent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2" name="Title 1">
            <a:extLst>
              <a:ext uri="{FF2B5EF4-FFF2-40B4-BE49-F238E27FC236}">
                <a16:creationId xmlns:a16="http://schemas.microsoft.com/office/drawing/2014/main" id="{9B2E0106-BD72-63DF-1CCB-9AF810B0235F}"/>
              </a:ext>
            </a:extLst>
          </p:cNvPr>
          <p:cNvSpPr>
            <a:spLocks noGrp="1"/>
          </p:cNvSpPr>
          <p:nvPr>
            <p:ph type="title"/>
          </p:nvPr>
        </p:nvSpPr>
        <p:spPr>
          <a:xfrm>
            <a:off x="548282" y="180000"/>
            <a:ext cx="8640000" cy="720000"/>
          </a:xfrm>
        </p:spPr>
        <p:txBody>
          <a:bodyPr>
            <a:normAutofit/>
          </a:bodyPr>
          <a:lstStyle/>
          <a:p>
            <a:r>
              <a:rPr lang="en-US" noProof="0"/>
              <a:t>Epithelial cytokines are overexpressed in patients with EoE </a:t>
            </a:r>
          </a:p>
        </p:txBody>
      </p:sp>
      <p:sp>
        <p:nvSpPr>
          <p:cNvPr id="9" name="Content Placeholder 8">
            <a:extLst>
              <a:ext uri="{FF2B5EF4-FFF2-40B4-BE49-F238E27FC236}">
                <a16:creationId xmlns:a16="http://schemas.microsoft.com/office/drawing/2014/main" id="{03DC9221-BC05-62AB-D649-A90C7547D732}"/>
              </a:ext>
            </a:extLst>
          </p:cNvPr>
          <p:cNvSpPr>
            <a:spLocks noGrp="1"/>
          </p:cNvSpPr>
          <p:nvPr>
            <p:ph sz="quarter" idx="13"/>
          </p:nvPr>
        </p:nvSpPr>
        <p:spPr/>
        <p:txBody>
          <a:bodyPr/>
          <a:lstStyle/>
          <a:p>
            <a:r>
              <a:rPr lang="en-US" sz="900" dirty="0"/>
              <a:t>Figures adapted from Simon D, et al. Allergy 2015;70:443–452</a:t>
            </a:r>
            <a:br>
              <a:rPr lang="en-US" sz="900" dirty="0"/>
            </a:br>
            <a:r>
              <a:rPr lang="en-US" sz="900" dirty="0"/>
              <a:t>*Anonymized tissue samples from 18 patients with active EoE were analyzed. The presence of DNA nets associated with eosinophil granule proteins forming EETs and the expression of ﬁlaggrin, antimicrobial peptides, and cytokines were evaluated by confocal microscopy following immune ﬂuorescence staining techniques. </a:t>
            </a:r>
            <a:r>
              <a:rPr lang="en-GB" sz="900" dirty="0"/>
              <a:t>TSLP expression was calculated using an ordinal scoring system (0 = none, 1 = mild, 2 = medium, 3 = strong, 4 = very strong) to represent how widely the cytokine marker was expressed in tissue sections, while nuclear expression of IL-33 and IL-25 expression was calculated by counting the number of infiltrating cytokine-positive cells in the area</a:t>
            </a:r>
            <a:r>
              <a:rPr lang="en-US" sz="900" baseline="30000" dirty="0"/>
              <a:t>1</a:t>
            </a:r>
            <a:br>
              <a:rPr lang="en-US" sz="900" dirty="0"/>
            </a:br>
            <a:r>
              <a:rPr lang="en-US" sz="900" dirty="0"/>
              <a:t>DNA, deoxyribonucleic acid; EETs, eosinophil extracellular traps; EoE, eosinophilic esophagitis; IL, interleukin; TSLP, thymic stromal lymphopoietin</a:t>
            </a:r>
            <a:br>
              <a:rPr lang="en-US" sz="900" dirty="0"/>
            </a:br>
            <a:r>
              <a:rPr lang="en-GB" sz="900" dirty="0"/>
              <a:t>1. Simon D, et al. </a:t>
            </a:r>
            <a:r>
              <a:rPr lang="en-GB" sz="900" i="1" dirty="0"/>
              <a:t>Allergy.</a:t>
            </a:r>
            <a:r>
              <a:rPr lang="en-GB" sz="900" dirty="0"/>
              <a:t> 2015;70:443–452; 2. Chandramouleeswaran PM, et al. </a:t>
            </a:r>
            <a:r>
              <a:rPr lang="en-GB" sz="900" i="1" dirty="0"/>
              <a:t>PLoS One. </a:t>
            </a:r>
            <a:r>
              <a:rPr lang="en-GB" sz="900" dirty="0"/>
              <a:t>2016;11:e0150968; 3. Travers J, et al. </a:t>
            </a:r>
            <a:r>
              <a:rPr lang="en-GB" sz="900" i="1" dirty="0"/>
              <a:t>Sci Rep. </a:t>
            </a:r>
            <a:r>
              <a:rPr lang="en-GB" sz="900" dirty="0"/>
              <a:t>2017;7:17563.</a:t>
            </a:r>
            <a:endParaRPr lang="en-US" sz="900" dirty="0"/>
          </a:p>
        </p:txBody>
      </p:sp>
      <p:sp>
        <p:nvSpPr>
          <p:cNvPr id="7" name="Rectangle 6">
            <a:extLst>
              <a:ext uri="{FF2B5EF4-FFF2-40B4-BE49-F238E27FC236}">
                <a16:creationId xmlns:a16="http://schemas.microsoft.com/office/drawing/2014/main" id="{860FC995-09F2-82E1-4872-5B34471E8D70}"/>
              </a:ext>
            </a:extLst>
          </p:cNvPr>
          <p:cNvSpPr/>
          <p:nvPr/>
        </p:nvSpPr>
        <p:spPr>
          <a:xfrm>
            <a:off x="479426" y="1412875"/>
            <a:ext cx="11233150" cy="658438"/>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0" indent="0" algn="ctr" defTabSz="914400" rtl="0" eaLnBrk="1" fontAlgn="auto" latinLnBrk="0" hangingPunct="1">
              <a:lnSpc>
                <a:spcPct val="100000"/>
              </a:lnSpc>
              <a:spcBef>
                <a:spcPts val="600"/>
              </a:spcBef>
              <a:spcAft>
                <a:spcPts val="600"/>
              </a:spcAft>
              <a:buClr>
                <a:srgbClr val="7F134C"/>
              </a:buClr>
              <a:buSzTx/>
              <a:buFontTx/>
              <a:buNone/>
              <a:tabLst/>
              <a:defRPr/>
            </a:pPr>
            <a:r>
              <a:rPr kumimoji="0" lang="en-US"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Esophageal biopsies from patients with EoE show significantly higher epithelial cytokine</a:t>
            </a:r>
            <a:br>
              <a:rPr kumimoji="0" lang="en-US"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br>
            <a:r>
              <a:rPr kumimoji="0" lang="en-US"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expression than healthy controls</a:t>
            </a:r>
            <a:r>
              <a:rPr kumimoji="0" lang="en-US" b="1" i="0" u="none" strike="noStrike" kern="1200" cap="none" spc="0" normalizeH="0" baseline="30000" noProof="0">
                <a:ln>
                  <a:noFill/>
                </a:ln>
                <a:solidFill>
                  <a:srgbClr val="FFFFFF"/>
                </a:solidFill>
                <a:effectLst/>
                <a:uLnTx/>
                <a:uFillTx/>
                <a:ea typeface="Calibri" panose="020F0502020204030204" pitchFamily="34" charset="0"/>
                <a:cs typeface="Calibri" panose="020F0502020204030204" pitchFamily="34" charset="0"/>
              </a:rPr>
              <a:t>1–3</a:t>
            </a:r>
            <a:r>
              <a:rPr kumimoji="0" lang="en-US"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 </a:t>
            </a:r>
          </a:p>
        </p:txBody>
      </p:sp>
      <p:sp>
        <p:nvSpPr>
          <p:cNvPr id="5" name="Rectangle 4">
            <a:extLst>
              <a:ext uri="{FF2B5EF4-FFF2-40B4-BE49-F238E27FC236}">
                <a16:creationId xmlns:a16="http://schemas.microsoft.com/office/drawing/2014/main" id="{4CBD2883-A364-E282-6E0B-8E850287A0D5}"/>
              </a:ext>
            </a:extLst>
          </p:cNvPr>
          <p:cNvSpPr/>
          <p:nvPr/>
        </p:nvSpPr>
        <p:spPr>
          <a:xfrm>
            <a:off x="479426" y="2271912"/>
            <a:ext cx="3421079" cy="3498651"/>
          </a:xfrm>
          <a:prstGeom prst="rect">
            <a:avLst/>
          </a:prstGeom>
          <a:solidFill>
            <a:srgbClr val="EEE6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230" name="Rectangle 229">
            <a:extLst>
              <a:ext uri="{FF2B5EF4-FFF2-40B4-BE49-F238E27FC236}">
                <a16:creationId xmlns:a16="http://schemas.microsoft.com/office/drawing/2014/main" id="{37620536-1F6D-E347-B79A-2C2F6FAA1915}"/>
              </a:ext>
            </a:extLst>
          </p:cNvPr>
          <p:cNvSpPr/>
          <p:nvPr/>
        </p:nvSpPr>
        <p:spPr>
          <a:xfrm>
            <a:off x="5182163" y="5281554"/>
            <a:ext cx="1099588" cy="1464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lvl="0" algn="ctr">
              <a:defRPr/>
            </a:pPr>
            <a:r>
              <a:rPr lang="en-US" sz="1000" b="1" noProof="0">
                <a:solidFill>
                  <a:schemeClr val="tx1"/>
                </a:solidFill>
              </a:rPr>
              <a:t>Normal esophagus</a:t>
            </a:r>
            <a:br>
              <a:rPr kumimoji="0" lang="en-US" sz="1000" b="1"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n=3)</a:t>
            </a:r>
          </a:p>
        </p:txBody>
      </p:sp>
      <p:sp>
        <p:nvSpPr>
          <p:cNvPr id="231" name="Rectangle 230">
            <a:extLst>
              <a:ext uri="{FF2B5EF4-FFF2-40B4-BE49-F238E27FC236}">
                <a16:creationId xmlns:a16="http://schemas.microsoft.com/office/drawing/2014/main" id="{CF806807-A3B9-CB44-413C-76E71538CA20}"/>
              </a:ext>
            </a:extLst>
          </p:cNvPr>
          <p:cNvSpPr/>
          <p:nvPr/>
        </p:nvSpPr>
        <p:spPr>
          <a:xfrm>
            <a:off x="6363250" y="5281554"/>
            <a:ext cx="1099588" cy="1280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ea typeface="+mn-ea"/>
                <a:cs typeface="+mn-cs"/>
              </a:rPr>
              <a:t>Active EoE</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n=10)</a:t>
            </a:r>
          </a:p>
        </p:txBody>
      </p:sp>
      <p:sp>
        <p:nvSpPr>
          <p:cNvPr id="32" name="Rectangle 31">
            <a:extLst>
              <a:ext uri="{FF2B5EF4-FFF2-40B4-BE49-F238E27FC236}">
                <a16:creationId xmlns:a16="http://schemas.microsoft.com/office/drawing/2014/main" id="{51B8E336-4823-084D-153E-A6F0F249E90C}"/>
              </a:ext>
            </a:extLst>
          </p:cNvPr>
          <p:cNvSpPr/>
          <p:nvPr/>
        </p:nvSpPr>
        <p:spPr>
          <a:xfrm>
            <a:off x="4385639" y="2271912"/>
            <a:ext cx="3420724" cy="5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600" b="1" i="0" u="none" strike="noStrike" kern="1200" cap="none" spc="0" normalizeH="0" baseline="0" noProof="0">
                <a:ln>
                  <a:noFill/>
                </a:ln>
                <a:solidFill>
                  <a:schemeClr val="bg1"/>
                </a:solidFill>
                <a:effectLst/>
                <a:uLnTx/>
                <a:uFillTx/>
                <a:ea typeface="+mn-ea"/>
                <a:cs typeface="+mn-cs"/>
              </a:rPr>
              <a:t>IL-33</a:t>
            </a:r>
            <a:r>
              <a:rPr lang="en-US" sz="1600" b="1" baseline="30000" noProof="0">
                <a:solidFill>
                  <a:schemeClr val="bg1"/>
                </a:solidFill>
              </a:rPr>
              <a:t>1</a:t>
            </a:r>
            <a:r>
              <a:rPr lang="en-US" sz="1600" b="1" noProof="0">
                <a:solidFill>
                  <a:schemeClr val="bg1"/>
                </a:solidFill>
              </a:rPr>
              <a:t>*</a:t>
            </a:r>
            <a:endParaRPr kumimoji="0" lang="en-US" sz="1600" b="1" i="0" u="none" strike="noStrike" kern="1200" cap="none" spc="0" normalizeH="0" noProof="0">
              <a:ln>
                <a:noFill/>
              </a:ln>
              <a:solidFill>
                <a:schemeClr val="bg1"/>
              </a:solidFill>
              <a:effectLst/>
              <a:uLnTx/>
              <a:uFillTx/>
              <a:ea typeface="+mn-ea"/>
              <a:cs typeface="+mn-cs"/>
            </a:endParaRPr>
          </a:p>
        </p:txBody>
      </p:sp>
      <p:grpSp>
        <p:nvGrpSpPr>
          <p:cNvPr id="35" name="Group 34">
            <a:extLst>
              <a:ext uri="{FF2B5EF4-FFF2-40B4-BE49-F238E27FC236}">
                <a16:creationId xmlns:a16="http://schemas.microsoft.com/office/drawing/2014/main" id="{4FA96EC7-94D1-D9E1-40A2-76A9E4313848}"/>
              </a:ext>
            </a:extLst>
          </p:cNvPr>
          <p:cNvGrpSpPr/>
          <p:nvPr/>
        </p:nvGrpSpPr>
        <p:grpSpPr>
          <a:xfrm>
            <a:off x="9857617" y="4965473"/>
            <a:ext cx="153099" cy="70836"/>
            <a:chOff x="11033140" y="4665326"/>
            <a:chExt cx="136850" cy="70836"/>
          </a:xfrm>
        </p:grpSpPr>
        <p:cxnSp>
          <p:nvCxnSpPr>
            <p:cNvPr id="100" name="Straight Connector 99">
              <a:extLst>
                <a:ext uri="{FF2B5EF4-FFF2-40B4-BE49-F238E27FC236}">
                  <a16:creationId xmlns:a16="http://schemas.microsoft.com/office/drawing/2014/main" id="{F3E7147B-70FE-294C-4018-34994CFD43BD}"/>
                </a:ext>
              </a:extLst>
            </p:cNvPr>
            <p:cNvCxnSpPr>
              <a:cxnSpLocks/>
            </p:cNvCxnSpPr>
            <p:nvPr/>
          </p:nvCxnSpPr>
          <p:spPr>
            <a:xfrm>
              <a:off x="11033140" y="4668610"/>
              <a:ext cx="1368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A03366A-6779-B53E-1578-C2646043193D}"/>
                </a:ext>
              </a:extLst>
            </p:cNvPr>
            <p:cNvCxnSpPr>
              <a:cxnSpLocks/>
            </p:cNvCxnSpPr>
            <p:nvPr/>
          </p:nvCxnSpPr>
          <p:spPr>
            <a:xfrm>
              <a:off x="11101565" y="4665326"/>
              <a:ext cx="0" cy="708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554E9DFA-47FC-85E2-E5A9-496E57A5D43A}"/>
              </a:ext>
            </a:extLst>
          </p:cNvPr>
          <p:cNvSpPr/>
          <p:nvPr/>
        </p:nvSpPr>
        <p:spPr>
          <a:xfrm>
            <a:off x="10305225" y="5281556"/>
            <a:ext cx="1067625" cy="1388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ea typeface="+mn-ea"/>
                <a:cs typeface="+mn-cs"/>
              </a:rPr>
              <a:t>Active EoE</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n=10)</a:t>
            </a:r>
          </a:p>
        </p:txBody>
      </p:sp>
      <p:grpSp>
        <p:nvGrpSpPr>
          <p:cNvPr id="40" name="Group 39">
            <a:extLst>
              <a:ext uri="{FF2B5EF4-FFF2-40B4-BE49-F238E27FC236}">
                <a16:creationId xmlns:a16="http://schemas.microsoft.com/office/drawing/2014/main" id="{9603B80F-470C-7423-072F-F01539C3ACA0}"/>
              </a:ext>
            </a:extLst>
          </p:cNvPr>
          <p:cNvGrpSpPr/>
          <p:nvPr/>
        </p:nvGrpSpPr>
        <p:grpSpPr>
          <a:xfrm>
            <a:off x="8516652" y="3062446"/>
            <a:ext cx="2945054" cy="2365570"/>
            <a:chOff x="331643" y="2647253"/>
            <a:chExt cx="2632490" cy="2595962"/>
          </a:xfrm>
        </p:grpSpPr>
        <p:grpSp>
          <p:nvGrpSpPr>
            <p:cNvPr id="49" name="Group 48">
              <a:extLst>
                <a:ext uri="{FF2B5EF4-FFF2-40B4-BE49-F238E27FC236}">
                  <a16:creationId xmlns:a16="http://schemas.microsoft.com/office/drawing/2014/main" id="{EB1C550F-15C2-078E-766C-BAE0ADC95E93}"/>
                </a:ext>
              </a:extLst>
            </p:cNvPr>
            <p:cNvGrpSpPr/>
            <p:nvPr/>
          </p:nvGrpSpPr>
          <p:grpSpPr>
            <a:xfrm>
              <a:off x="331643" y="2647253"/>
              <a:ext cx="2542939" cy="2292237"/>
              <a:chOff x="328348" y="3291658"/>
              <a:chExt cx="2602517" cy="2904893"/>
            </a:xfrm>
          </p:grpSpPr>
          <p:sp>
            <p:nvSpPr>
              <p:cNvPr id="55" name="Freeform: Shape 85">
                <a:extLst>
                  <a:ext uri="{FF2B5EF4-FFF2-40B4-BE49-F238E27FC236}">
                    <a16:creationId xmlns:a16="http://schemas.microsoft.com/office/drawing/2014/main" id="{CC760139-7A20-FAA3-9397-F5CF331F99EB}"/>
                  </a:ext>
                </a:extLst>
              </p:cNvPr>
              <p:cNvSpPr/>
              <p:nvPr/>
            </p:nvSpPr>
            <p:spPr>
              <a:xfrm>
                <a:off x="849987" y="3391826"/>
                <a:ext cx="2080878" cy="2693096"/>
              </a:xfrm>
              <a:custGeom>
                <a:avLst/>
                <a:gdLst>
                  <a:gd name="connsiteX0" fmla="*/ 0 w 3048000"/>
                  <a:gd name="connsiteY0" fmla="*/ 0 h 2371725"/>
                  <a:gd name="connsiteX1" fmla="*/ 0 w 3048000"/>
                  <a:gd name="connsiteY1" fmla="*/ 2371725 h 2371725"/>
                  <a:gd name="connsiteX2" fmla="*/ 3048000 w 3048000"/>
                  <a:gd name="connsiteY2" fmla="*/ 2371725 h 2371725"/>
                </a:gdLst>
                <a:ahLst/>
                <a:cxnLst>
                  <a:cxn ang="0">
                    <a:pos x="connsiteX0" y="connsiteY0"/>
                  </a:cxn>
                  <a:cxn ang="0">
                    <a:pos x="connsiteX1" y="connsiteY1"/>
                  </a:cxn>
                  <a:cxn ang="0">
                    <a:pos x="connsiteX2" y="connsiteY2"/>
                  </a:cxn>
                </a:cxnLst>
                <a:rect l="l" t="t" r="r" b="b"/>
                <a:pathLst>
                  <a:path w="3048000" h="2371725">
                    <a:moveTo>
                      <a:pt x="0" y="0"/>
                    </a:moveTo>
                    <a:lnTo>
                      <a:pt x="0" y="2371725"/>
                    </a:lnTo>
                    <a:lnTo>
                      <a:pt x="3048000" y="2371725"/>
                    </a:lnTo>
                  </a:path>
                </a:pathLst>
              </a:cu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56" name="Straight Connector 55">
                <a:extLst>
                  <a:ext uri="{FF2B5EF4-FFF2-40B4-BE49-F238E27FC236}">
                    <a16:creationId xmlns:a16="http://schemas.microsoft.com/office/drawing/2014/main" id="{D957C071-52AE-13DE-AB4F-096CB66D557E}"/>
                  </a:ext>
                </a:extLst>
              </p:cNvPr>
              <p:cNvCxnSpPr/>
              <p:nvPr/>
            </p:nvCxnSpPr>
            <p:spPr>
              <a:xfrm>
                <a:off x="795096" y="3393735"/>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875727-3FDD-A5E1-F75B-361281AEF559}"/>
                  </a:ext>
                </a:extLst>
              </p:cNvPr>
              <p:cNvSpPr txBox="1"/>
              <p:nvPr/>
            </p:nvSpPr>
            <p:spPr>
              <a:xfrm>
                <a:off x="461390" y="3291658"/>
                <a:ext cx="315569"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2000</a:t>
                </a:r>
              </a:p>
            </p:txBody>
          </p:sp>
          <p:sp>
            <p:nvSpPr>
              <p:cNvPr id="58" name="TextBox 57">
                <a:extLst>
                  <a:ext uri="{FF2B5EF4-FFF2-40B4-BE49-F238E27FC236}">
                    <a16:creationId xmlns:a16="http://schemas.microsoft.com/office/drawing/2014/main" id="{1B9D6A9A-1B41-0A76-1CC5-13348DB85570}"/>
                  </a:ext>
                </a:extLst>
              </p:cNvPr>
              <p:cNvSpPr txBox="1"/>
              <p:nvPr/>
            </p:nvSpPr>
            <p:spPr>
              <a:xfrm rot="16200000">
                <a:off x="-960022" y="4680194"/>
                <a:ext cx="2686900" cy="110160"/>
              </a:xfrm>
              <a:prstGeom prst="rect">
                <a:avLst/>
              </a:prstGeom>
              <a:noFill/>
            </p:spPr>
            <p:txBody>
              <a:bodyPr wrap="square" lIns="0" tIns="0" rIns="0" bIns="0" rtlCol="0">
                <a:spAutoFit/>
              </a:bodyPr>
              <a:lstStyle/>
              <a:p>
                <a:pPr marL="0" marR="0" lvl="0" indent="0" algn="ctr" defTabSz="914400" rtl="0" eaLnBrk="1" fontAlgn="auto" latinLnBrk="0" hangingPunct="1">
                  <a:lnSpc>
                    <a:spcPts val="900"/>
                  </a:lnSpc>
                  <a:spcBef>
                    <a:spcPts val="0"/>
                  </a:spcBef>
                  <a:spcAft>
                    <a:spcPts val="0"/>
                  </a:spcAft>
                  <a:buClr>
                    <a:srgbClr val="7F134C"/>
                  </a:buClr>
                  <a:buSzTx/>
                  <a:buFontTx/>
                  <a:buNone/>
                  <a:tabLst/>
                  <a:defRPr/>
                </a:pPr>
                <a:r>
                  <a:rPr kumimoji="0" lang="en-US" sz="1000" b="1" i="0" u="none" strike="noStrike" kern="1200" cap="none" spc="0" normalizeH="0" baseline="0" noProof="0">
                    <a:ln>
                      <a:noFill/>
                    </a:ln>
                    <a:effectLst/>
                    <a:uLnTx/>
                    <a:uFillTx/>
                    <a:ea typeface="+mn-ea"/>
                    <a:cs typeface="+mn-cs"/>
                  </a:rPr>
                  <a:t>Cells/mm</a:t>
                </a:r>
                <a:r>
                  <a:rPr kumimoji="0" lang="en-US" sz="1000" b="1" i="0" u="none" strike="noStrike" kern="1200" cap="none" spc="0" normalizeH="0" baseline="30000" noProof="0">
                    <a:ln>
                      <a:noFill/>
                    </a:ln>
                    <a:effectLst/>
                    <a:uLnTx/>
                    <a:uFillTx/>
                    <a:ea typeface="+mn-ea"/>
                    <a:cs typeface="+mn-cs"/>
                  </a:rPr>
                  <a:t>2</a:t>
                </a:r>
              </a:p>
            </p:txBody>
          </p:sp>
          <p:cxnSp>
            <p:nvCxnSpPr>
              <p:cNvPr id="59" name="Straight Connector 58">
                <a:extLst>
                  <a:ext uri="{FF2B5EF4-FFF2-40B4-BE49-F238E27FC236}">
                    <a16:creationId xmlns:a16="http://schemas.microsoft.com/office/drawing/2014/main" id="{8E686FFD-13FB-FAB1-398F-C7933CAB376F}"/>
                  </a:ext>
                </a:extLst>
              </p:cNvPr>
              <p:cNvCxnSpPr/>
              <p:nvPr/>
            </p:nvCxnSpPr>
            <p:spPr>
              <a:xfrm>
                <a:off x="795096" y="4069932"/>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A84A72E3-00ED-F5B4-0E98-D3544F121488}"/>
                  </a:ext>
                </a:extLst>
              </p:cNvPr>
              <p:cNvSpPr txBox="1"/>
              <p:nvPr/>
            </p:nvSpPr>
            <p:spPr>
              <a:xfrm>
                <a:off x="461390" y="3967853"/>
                <a:ext cx="315569"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500</a:t>
                </a:r>
              </a:p>
            </p:txBody>
          </p:sp>
          <p:cxnSp>
            <p:nvCxnSpPr>
              <p:cNvPr id="61" name="Straight Connector 60">
                <a:extLst>
                  <a:ext uri="{FF2B5EF4-FFF2-40B4-BE49-F238E27FC236}">
                    <a16:creationId xmlns:a16="http://schemas.microsoft.com/office/drawing/2014/main" id="{10A2BF2A-6CA8-CEE1-6BDE-86D39B7F463B}"/>
                  </a:ext>
                </a:extLst>
              </p:cNvPr>
              <p:cNvCxnSpPr/>
              <p:nvPr/>
            </p:nvCxnSpPr>
            <p:spPr>
              <a:xfrm>
                <a:off x="795096" y="4752936"/>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1A76BCB-1729-8A9D-E818-9F8B39F49997}"/>
                  </a:ext>
                </a:extLst>
              </p:cNvPr>
              <p:cNvSpPr txBox="1"/>
              <p:nvPr/>
            </p:nvSpPr>
            <p:spPr>
              <a:xfrm>
                <a:off x="461390" y="4650857"/>
                <a:ext cx="315569"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000</a:t>
                </a:r>
              </a:p>
            </p:txBody>
          </p:sp>
          <p:cxnSp>
            <p:nvCxnSpPr>
              <p:cNvPr id="96" name="Straight Connector 95">
                <a:extLst>
                  <a:ext uri="{FF2B5EF4-FFF2-40B4-BE49-F238E27FC236}">
                    <a16:creationId xmlns:a16="http://schemas.microsoft.com/office/drawing/2014/main" id="{5DF38CB2-7DCF-1CD7-C237-E145C704B9E7}"/>
                  </a:ext>
                </a:extLst>
              </p:cNvPr>
              <p:cNvCxnSpPr/>
              <p:nvPr/>
            </p:nvCxnSpPr>
            <p:spPr>
              <a:xfrm>
                <a:off x="795096" y="5410590"/>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93AAB412-A21F-8F62-EDAD-D91C30305D33}"/>
                  </a:ext>
                </a:extLst>
              </p:cNvPr>
              <p:cNvSpPr txBox="1"/>
              <p:nvPr/>
            </p:nvSpPr>
            <p:spPr>
              <a:xfrm>
                <a:off x="461390" y="5308512"/>
                <a:ext cx="315569"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500</a:t>
                </a:r>
              </a:p>
            </p:txBody>
          </p:sp>
          <p:cxnSp>
            <p:nvCxnSpPr>
              <p:cNvPr id="98" name="Straight Connector 97">
                <a:extLst>
                  <a:ext uri="{FF2B5EF4-FFF2-40B4-BE49-F238E27FC236}">
                    <a16:creationId xmlns:a16="http://schemas.microsoft.com/office/drawing/2014/main" id="{AAEBF118-3283-27F5-C7E2-7D27A2F85DD3}"/>
                  </a:ext>
                </a:extLst>
              </p:cNvPr>
              <p:cNvCxnSpPr/>
              <p:nvPr/>
            </p:nvCxnSpPr>
            <p:spPr>
              <a:xfrm>
                <a:off x="795096" y="6084617"/>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407F827E-D4A8-A345-F5BF-DE12E086A10A}"/>
                  </a:ext>
                </a:extLst>
              </p:cNvPr>
              <p:cNvSpPr txBox="1"/>
              <p:nvPr/>
            </p:nvSpPr>
            <p:spPr>
              <a:xfrm>
                <a:off x="461390" y="5982539"/>
                <a:ext cx="315569"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0</a:t>
                </a:r>
              </a:p>
            </p:txBody>
          </p:sp>
        </p:grpSp>
        <p:sp>
          <p:nvSpPr>
            <p:cNvPr id="50" name="Rectangle 49">
              <a:extLst>
                <a:ext uri="{FF2B5EF4-FFF2-40B4-BE49-F238E27FC236}">
                  <a16:creationId xmlns:a16="http://schemas.microsoft.com/office/drawing/2014/main" id="{06204AED-04D6-787C-255D-9BA752DFB6B1}"/>
                </a:ext>
              </a:extLst>
            </p:cNvPr>
            <p:cNvSpPr/>
            <p:nvPr/>
          </p:nvSpPr>
          <p:spPr>
            <a:xfrm>
              <a:off x="769979"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51" name="Rectangle 50">
              <a:extLst>
                <a:ext uri="{FF2B5EF4-FFF2-40B4-BE49-F238E27FC236}">
                  <a16:creationId xmlns:a16="http://schemas.microsoft.com/office/drawing/2014/main" id="{F6BA582B-89B3-D41C-7763-02CBFDBA59E9}"/>
                </a:ext>
              </a:extLst>
            </p:cNvPr>
            <p:cNvSpPr/>
            <p:nvPr/>
          </p:nvSpPr>
          <p:spPr>
            <a:xfrm>
              <a:off x="1259215"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sp>
          <p:nvSpPr>
            <p:cNvPr id="52" name="Rectangle 51">
              <a:extLst>
                <a:ext uri="{FF2B5EF4-FFF2-40B4-BE49-F238E27FC236}">
                  <a16:creationId xmlns:a16="http://schemas.microsoft.com/office/drawing/2014/main" id="{BB6F14E3-5D5D-DCFF-3DE7-12771CA27054}"/>
                </a:ext>
              </a:extLst>
            </p:cNvPr>
            <p:cNvSpPr/>
            <p:nvPr/>
          </p:nvSpPr>
          <p:spPr>
            <a:xfrm>
              <a:off x="1767499"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53" name="Rectangle 52">
              <a:extLst>
                <a:ext uri="{FF2B5EF4-FFF2-40B4-BE49-F238E27FC236}">
                  <a16:creationId xmlns:a16="http://schemas.microsoft.com/office/drawing/2014/main" id="{EDC47AAD-DB7F-1A91-5C87-7585D254FB8A}"/>
                </a:ext>
              </a:extLst>
            </p:cNvPr>
            <p:cNvSpPr/>
            <p:nvPr/>
          </p:nvSpPr>
          <p:spPr>
            <a:xfrm>
              <a:off x="2265630"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sp>
          <p:nvSpPr>
            <p:cNvPr id="54" name="Rectangle 53">
              <a:extLst>
                <a:ext uri="{FF2B5EF4-FFF2-40B4-BE49-F238E27FC236}">
                  <a16:creationId xmlns:a16="http://schemas.microsoft.com/office/drawing/2014/main" id="{40929AC6-57AE-F775-639E-598394F424BC}"/>
                </a:ext>
              </a:extLst>
            </p:cNvPr>
            <p:cNvSpPr/>
            <p:nvPr/>
          </p:nvSpPr>
          <p:spPr>
            <a:xfrm>
              <a:off x="837068" y="5082489"/>
              <a:ext cx="1093324"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lvl="0" algn="ctr">
                <a:defRPr/>
              </a:pPr>
              <a:r>
                <a:rPr lang="en-US" sz="1000" b="1" noProof="0">
                  <a:solidFill>
                    <a:schemeClr val="tx1"/>
                  </a:solidFill>
                </a:rPr>
                <a:t>Normal esophagus</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n=3)</a:t>
              </a:r>
            </a:p>
          </p:txBody>
        </p:sp>
      </p:grpSp>
      <p:sp>
        <p:nvSpPr>
          <p:cNvPr id="45" name="Rectangle 44">
            <a:extLst>
              <a:ext uri="{FF2B5EF4-FFF2-40B4-BE49-F238E27FC236}">
                <a16:creationId xmlns:a16="http://schemas.microsoft.com/office/drawing/2014/main" id="{65B628D0-8A74-5AE3-B2B7-0A43F531C8A3}"/>
              </a:ext>
            </a:extLst>
          </p:cNvPr>
          <p:cNvSpPr/>
          <p:nvPr/>
        </p:nvSpPr>
        <p:spPr>
          <a:xfrm>
            <a:off x="9331396" y="3108106"/>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noProof="0">
                <a:solidFill>
                  <a:schemeClr val="tx1"/>
                </a:solidFill>
              </a:rPr>
              <a:t>P</a:t>
            </a:r>
            <a:r>
              <a:rPr kumimoji="0" lang="en-US" sz="1050" b="0" i="0" u="none" strike="noStrike" kern="1200" cap="none" spc="0" normalizeH="0" baseline="0" noProof="0">
                <a:ln>
                  <a:noFill/>
                </a:ln>
                <a:solidFill>
                  <a:schemeClr val="tx1"/>
                </a:solidFill>
                <a:effectLst/>
                <a:uLnTx/>
                <a:uFillTx/>
                <a:ea typeface="+mn-ea"/>
                <a:cs typeface="+mn-cs"/>
              </a:rPr>
              <a:t>=0.0006</a:t>
            </a:r>
          </a:p>
        </p:txBody>
      </p:sp>
      <p:sp>
        <p:nvSpPr>
          <p:cNvPr id="46" name="Rectangle 45">
            <a:extLst>
              <a:ext uri="{FF2B5EF4-FFF2-40B4-BE49-F238E27FC236}">
                <a16:creationId xmlns:a16="http://schemas.microsoft.com/office/drawing/2014/main" id="{8325C585-74F1-F9C1-5EEB-DDB7AD22DBA7}"/>
              </a:ext>
            </a:extLst>
          </p:cNvPr>
          <p:cNvSpPr/>
          <p:nvPr/>
        </p:nvSpPr>
        <p:spPr>
          <a:xfrm>
            <a:off x="9887426" y="3369384"/>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noProof="0">
                <a:solidFill>
                  <a:schemeClr val="tx1"/>
                </a:solidFill>
              </a:rPr>
              <a:t>P</a:t>
            </a:r>
            <a:r>
              <a:rPr kumimoji="0" lang="en-US" sz="1050" b="0" i="0" u="none" strike="noStrike" kern="1200" cap="none" spc="0" normalizeH="0" baseline="0" noProof="0">
                <a:ln>
                  <a:noFill/>
                </a:ln>
                <a:solidFill>
                  <a:schemeClr val="tx1"/>
                </a:solidFill>
                <a:effectLst/>
                <a:uLnTx/>
                <a:uFillTx/>
                <a:ea typeface="+mn-ea"/>
                <a:cs typeface="+mn-cs"/>
              </a:rPr>
              <a:t>=0.0005</a:t>
            </a:r>
          </a:p>
        </p:txBody>
      </p:sp>
      <p:cxnSp>
        <p:nvCxnSpPr>
          <p:cNvPr id="47" name="Straight Connector 46">
            <a:extLst>
              <a:ext uri="{FF2B5EF4-FFF2-40B4-BE49-F238E27FC236}">
                <a16:creationId xmlns:a16="http://schemas.microsoft.com/office/drawing/2014/main" id="{134FC454-9173-AD78-FE9E-801D960D1F74}"/>
              </a:ext>
            </a:extLst>
          </p:cNvPr>
          <p:cNvCxnSpPr>
            <a:cxnSpLocks/>
          </p:cNvCxnSpPr>
          <p:nvPr/>
        </p:nvCxnSpPr>
        <p:spPr>
          <a:xfrm>
            <a:off x="9354637" y="3345839"/>
            <a:ext cx="1122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F5906AA-1720-E2A6-BFE1-3A20F258C700}"/>
              </a:ext>
            </a:extLst>
          </p:cNvPr>
          <p:cNvCxnSpPr>
            <a:cxnSpLocks/>
          </p:cNvCxnSpPr>
          <p:nvPr/>
        </p:nvCxnSpPr>
        <p:spPr>
          <a:xfrm>
            <a:off x="9908746" y="3605848"/>
            <a:ext cx="111532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E36EF91B-14A5-FF70-F227-70F298E48B85}"/>
              </a:ext>
            </a:extLst>
          </p:cNvPr>
          <p:cNvSpPr/>
          <p:nvPr/>
        </p:nvSpPr>
        <p:spPr>
          <a:xfrm>
            <a:off x="8291852" y="2271912"/>
            <a:ext cx="3420724" cy="5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600" b="1" i="0" u="none" strike="noStrike" kern="1200" cap="none" spc="0" normalizeH="0" baseline="0" noProof="0">
                <a:ln>
                  <a:noFill/>
                </a:ln>
                <a:solidFill>
                  <a:schemeClr val="bg1"/>
                </a:solidFill>
                <a:effectLst/>
                <a:uLnTx/>
                <a:uFillTx/>
                <a:ea typeface="+mn-ea"/>
                <a:cs typeface="+mn-cs"/>
              </a:rPr>
              <a:t>IL-25</a:t>
            </a:r>
            <a:r>
              <a:rPr kumimoji="0" lang="en-US" sz="1600" b="1" i="0" u="none" strike="noStrike" kern="1200" cap="none" spc="0" normalizeH="0" baseline="30000" noProof="0">
                <a:ln>
                  <a:noFill/>
                </a:ln>
                <a:solidFill>
                  <a:schemeClr val="bg1"/>
                </a:solidFill>
                <a:effectLst/>
                <a:uLnTx/>
                <a:uFillTx/>
                <a:ea typeface="+mn-ea"/>
                <a:cs typeface="+mn-cs"/>
              </a:rPr>
              <a:t>1</a:t>
            </a:r>
            <a:r>
              <a:rPr lang="en-US" sz="1600" b="1" noProof="0">
                <a:solidFill>
                  <a:schemeClr val="bg1"/>
                </a:solidFill>
              </a:rPr>
              <a:t>*</a:t>
            </a:r>
            <a:endParaRPr kumimoji="0" lang="en-US" sz="1600" b="1" i="0" u="none" strike="noStrike" kern="1200" cap="none" spc="0" normalizeH="0" noProof="0">
              <a:ln>
                <a:noFill/>
              </a:ln>
              <a:solidFill>
                <a:schemeClr val="bg1"/>
              </a:solidFill>
              <a:effectLst/>
              <a:uLnTx/>
              <a:uFillTx/>
              <a:ea typeface="+mn-ea"/>
              <a:cs typeface="+mn-cs"/>
            </a:endParaRPr>
          </a:p>
        </p:txBody>
      </p:sp>
      <p:cxnSp>
        <p:nvCxnSpPr>
          <p:cNvPr id="107" name="Straight Connector 106">
            <a:extLst>
              <a:ext uri="{FF2B5EF4-FFF2-40B4-BE49-F238E27FC236}">
                <a16:creationId xmlns:a16="http://schemas.microsoft.com/office/drawing/2014/main" id="{41582061-7BCE-A76E-FE83-47ADBD4038FA}"/>
              </a:ext>
            </a:extLst>
          </p:cNvPr>
          <p:cNvCxnSpPr>
            <a:cxnSpLocks/>
          </p:cNvCxnSpPr>
          <p:nvPr/>
        </p:nvCxnSpPr>
        <p:spPr>
          <a:xfrm>
            <a:off x="1485207" y="4687670"/>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7A942FD-26F2-9430-BCBC-45B65FA1C694}"/>
              </a:ext>
            </a:extLst>
          </p:cNvPr>
          <p:cNvCxnSpPr>
            <a:cxnSpLocks/>
          </p:cNvCxnSpPr>
          <p:nvPr/>
        </p:nvCxnSpPr>
        <p:spPr>
          <a:xfrm>
            <a:off x="2032211" y="4687670"/>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DBEAD616-9F00-477D-D9E4-B29FBEB63764}"/>
              </a:ext>
            </a:extLst>
          </p:cNvPr>
          <p:cNvGrpSpPr/>
          <p:nvPr/>
        </p:nvGrpSpPr>
        <p:grpSpPr>
          <a:xfrm>
            <a:off x="775358" y="3062450"/>
            <a:ext cx="2769444" cy="2365567"/>
            <a:chOff x="474531" y="2647256"/>
            <a:chExt cx="2475517" cy="2595959"/>
          </a:xfrm>
        </p:grpSpPr>
        <p:grpSp>
          <p:nvGrpSpPr>
            <p:cNvPr id="129" name="Group 128">
              <a:extLst>
                <a:ext uri="{FF2B5EF4-FFF2-40B4-BE49-F238E27FC236}">
                  <a16:creationId xmlns:a16="http://schemas.microsoft.com/office/drawing/2014/main" id="{4A5473D2-799E-F00F-EDC9-873992F4AACE}"/>
                </a:ext>
              </a:extLst>
            </p:cNvPr>
            <p:cNvGrpSpPr/>
            <p:nvPr/>
          </p:nvGrpSpPr>
          <p:grpSpPr>
            <a:xfrm>
              <a:off x="474531" y="2647256"/>
              <a:ext cx="2400057" cy="2287281"/>
              <a:chOff x="474589" y="3291658"/>
              <a:chExt cx="2456276" cy="2898612"/>
            </a:xfrm>
          </p:grpSpPr>
          <p:sp>
            <p:nvSpPr>
              <p:cNvPr id="178" name="Freeform: Shape 18">
                <a:extLst>
                  <a:ext uri="{FF2B5EF4-FFF2-40B4-BE49-F238E27FC236}">
                    <a16:creationId xmlns:a16="http://schemas.microsoft.com/office/drawing/2014/main" id="{CE79B6B1-61DC-8CE4-4B8B-FDB43EC256BF}"/>
                  </a:ext>
                </a:extLst>
              </p:cNvPr>
              <p:cNvSpPr/>
              <p:nvPr/>
            </p:nvSpPr>
            <p:spPr>
              <a:xfrm>
                <a:off x="849987" y="3391826"/>
                <a:ext cx="2080878" cy="2693096"/>
              </a:xfrm>
              <a:custGeom>
                <a:avLst/>
                <a:gdLst>
                  <a:gd name="connsiteX0" fmla="*/ 0 w 3048000"/>
                  <a:gd name="connsiteY0" fmla="*/ 0 h 2371725"/>
                  <a:gd name="connsiteX1" fmla="*/ 0 w 3048000"/>
                  <a:gd name="connsiteY1" fmla="*/ 2371725 h 2371725"/>
                  <a:gd name="connsiteX2" fmla="*/ 3048000 w 3048000"/>
                  <a:gd name="connsiteY2" fmla="*/ 2371725 h 2371725"/>
                </a:gdLst>
                <a:ahLst/>
                <a:cxnLst>
                  <a:cxn ang="0">
                    <a:pos x="connsiteX0" y="connsiteY0"/>
                  </a:cxn>
                  <a:cxn ang="0">
                    <a:pos x="connsiteX1" y="connsiteY1"/>
                  </a:cxn>
                  <a:cxn ang="0">
                    <a:pos x="connsiteX2" y="connsiteY2"/>
                  </a:cxn>
                </a:cxnLst>
                <a:rect l="l" t="t" r="r" b="b"/>
                <a:pathLst>
                  <a:path w="3048000" h="2371725">
                    <a:moveTo>
                      <a:pt x="0" y="0"/>
                    </a:moveTo>
                    <a:lnTo>
                      <a:pt x="0" y="2371725"/>
                    </a:lnTo>
                    <a:lnTo>
                      <a:pt x="3048000" y="2371725"/>
                    </a:lnTo>
                  </a:path>
                </a:pathLst>
              </a:cu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201" name="Straight Connector 200">
                <a:extLst>
                  <a:ext uri="{FF2B5EF4-FFF2-40B4-BE49-F238E27FC236}">
                    <a16:creationId xmlns:a16="http://schemas.microsoft.com/office/drawing/2014/main" id="{FDC411FB-3A69-0C3A-094B-21D236C6C339}"/>
                  </a:ext>
                </a:extLst>
              </p:cNvPr>
              <p:cNvCxnSpPr/>
              <p:nvPr/>
            </p:nvCxnSpPr>
            <p:spPr>
              <a:xfrm>
                <a:off x="795096" y="3393735"/>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0169864C-3AB5-AB86-CE29-02BCBFF6BFAF}"/>
                  </a:ext>
                </a:extLst>
              </p:cNvPr>
              <p:cNvSpPr txBox="1"/>
              <p:nvPr/>
            </p:nvSpPr>
            <p:spPr>
              <a:xfrm>
                <a:off x="540588" y="3291658"/>
                <a:ext cx="236371"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2.0</a:t>
                </a:r>
              </a:p>
            </p:txBody>
          </p:sp>
          <p:sp>
            <p:nvSpPr>
              <p:cNvPr id="256" name="TextBox 255">
                <a:extLst>
                  <a:ext uri="{FF2B5EF4-FFF2-40B4-BE49-F238E27FC236}">
                    <a16:creationId xmlns:a16="http://schemas.microsoft.com/office/drawing/2014/main" id="{85B7ACAC-557E-49B9-8046-F3C0C2169D66}"/>
                  </a:ext>
                </a:extLst>
              </p:cNvPr>
              <p:cNvSpPr txBox="1"/>
              <p:nvPr/>
            </p:nvSpPr>
            <p:spPr>
              <a:xfrm rot="16200000">
                <a:off x="-813778" y="4680192"/>
                <a:ext cx="2686893" cy="110159"/>
              </a:xfrm>
              <a:prstGeom prst="rect">
                <a:avLst/>
              </a:prstGeom>
              <a:noFill/>
            </p:spPr>
            <p:txBody>
              <a:bodyPr wrap="square" lIns="0" tIns="0" rIns="0" bIns="0" rtlCol="0">
                <a:spAutoFit/>
              </a:bodyPr>
              <a:lstStyle/>
              <a:p>
                <a:pPr marL="0" marR="0" lvl="0" indent="0" algn="ctr" defTabSz="914400" rtl="0" eaLnBrk="1" fontAlgn="auto" latinLnBrk="0" hangingPunct="1">
                  <a:lnSpc>
                    <a:spcPts val="900"/>
                  </a:lnSpc>
                  <a:spcBef>
                    <a:spcPts val="0"/>
                  </a:spcBef>
                  <a:spcAft>
                    <a:spcPts val="0"/>
                  </a:spcAft>
                  <a:buClr>
                    <a:srgbClr val="7F134C"/>
                  </a:buClr>
                  <a:buSzTx/>
                  <a:buFontTx/>
                  <a:buNone/>
                  <a:tabLst/>
                  <a:defRPr/>
                </a:pPr>
                <a:r>
                  <a:rPr kumimoji="0" lang="en-US" sz="1000" b="1" i="0" u="none" strike="noStrike" kern="1200" cap="none" spc="0" normalizeH="0" baseline="0" noProof="0">
                    <a:ln>
                      <a:noFill/>
                    </a:ln>
                    <a:effectLst/>
                    <a:uLnTx/>
                    <a:uFillTx/>
                    <a:ea typeface="+mn-ea"/>
                    <a:cs typeface="+mn-cs"/>
                  </a:rPr>
                  <a:t>Score</a:t>
                </a:r>
              </a:p>
            </p:txBody>
          </p:sp>
          <p:cxnSp>
            <p:nvCxnSpPr>
              <p:cNvPr id="257" name="Straight Connector 256">
                <a:extLst>
                  <a:ext uri="{FF2B5EF4-FFF2-40B4-BE49-F238E27FC236}">
                    <a16:creationId xmlns:a16="http://schemas.microsoft.com/office/drawing/2014/main" id="{0FF4DF12-0F2D-3CA3-C5B0-30AE9252FC05}"/>
                  </a:ext>
                </a:extLst>
              </p:cNvPr>
              <p:cNvCxnSpPr>
                <a:cxnSpLocks/>
              </p:cNvCxnSpPr>
              <p:nvPr/>
            </p:nvCxnSpPr>
            <p:spPr>
              <a:xfrm>
                <a:off x="795096" y="4074859"/>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8" name="TextBox 257">
                <a:extLst>
                  <a:ext uri="{FF2B5EF4-FFF2-40B4-BE49-F238E27FC236}">
                    <a16:creationId xmlns:a16="http://schemas.microsoft.com/office/drawing/2014/main" id="{D2580E0C-C799-857D-004A-74CB6F105242}"/>
                  </a:ext>
                </a:extLst>
              </p:cNvPr>
              <p:cNvSpPr txBox="1"/>
              <p:nvPr/>
            </p:nvSpPr>
            <p:spPr>
              <a:xfrm>
                <a:off x="540588" y="3967853"/>
                <a:ext cx="236371"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5</a:t>
                </a:r>
              </a:p>
            </p:txBody>
          </p:sp>
          <p:cxnSp>
            <p:nvCxnSpPr>
              <p:cNvPr id="259" name="Straight Connector 258">
                <a:extLst>
                  <a:ext uri="{FF2B5EF4-FFF2-40B4-BE49-F238E27FC236}">
                    <a16:creationId xmlns:a16="http://schemas.microsoft.com/office/drawing/2014/main" id="{D85723D3-4653-E56C-7661-0E5F42C02B69}"/>
                  </a:ext>
                </a:extLst>
              </p:cNvPr>
              <p:cNvCxnSpPr>
                <a:cxnSpLocks/>
              </p:cNvCxnSpPr>
              <p:nvPr/>
            </p:nvCxnSpPr>
            <p:spPr>
              <a:xfrm>
                <a:off x="795096" y="4754109"/>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23B5837A-F70D-3947-0B4E-ECC09BD29CDA}"/>
                  </a:ext>
                </a:extLst>
              </p:cNvPr>
              <p:cNvSpPr txBox="1"/>
              <p:nvPr/>
            </p:nvSpPr>
            <p:spPr>
              <a:xfrm>
                <a:off x="540588" y="4647104"/>
                <a:ext cx="236371"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0</a:t>
                </a:r>
              </a:p>
            </p:txBody>
          </p:sp>
          <p:cxnSp>
            <p:nvCxnSpPr>
              <p:cNvPr id="261" name="Straight Connector 260">
                <a:extLst>
                  <a:ext uri="{FF2B5EF4-FFF2-40B4-BE49-F238E27FC236}">
                    <a16:creationId xmlns:a16="http://schemas.microsoft.com/office/drawing/2014/main" id="{4AB9C318-14F9-FD3F-D97E-A518C564764F}"/>
                  </a:ext>
                </a:extLst>
              </p:cNvPr>
              <p:cNvCxnSpPr>
                <a:cxnSpLocks/>
              </p:cNvCxnSpPr>
              <p:nvPr/>
            </p:nvCxnSpPr>
            <p:spPr>
              <a:xfrm>
                <a:off x="795096" y="5417528"/>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44F47493-4DA5-07D0-D006-0D142289B31F}"/>
                  </a:ext>
                </a:extLst>
              </p:cNvPr>
              <p:cNvSpPr txBox="1"/>
              <p:nvPr/>
            </p:nvSpPr>
            <p:spPr>
              <a:xfrm>
                <a:off x="540588" y="5310524"/>
                <a:ext cx="236371"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0.5</a:t>
                </a:r>
              </a:p>
            </p:txBody>
          </p:sp>
          <p:cxnSp>
            <p:nvCxnSpPr>
              <p:cNvPr id="263" name="Straight Connector 262">
                <a:extLst>
                  <a:ext uri="{FF2B5EF4-FFF2-40B4-BE49-F238E27FC236}">
                    <a16:creationId xmlns:a16="http://schemas.microsoft.com/office/drawing/2014/main" id="{34A4F350-0BE9-D012-5293-DC88AE2E209A}"/>
                  </a:ext>
                </a:extLst>
              </p:cNvPr>
              <p:cNvCxnSpPr>
                <a:cxnSpLocks/>
              </p:cNvCxnSpPr>
              <p:nvPr/>
            </p:nvCxnSpPr>
            <p:spPr>
              <a:xfrm>
                <a:off x="795096" y="6084921"/>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4" name="TextBox 263">
                <a:extLst>
                  <a:ext uri="{FF2B5EF4-FFF2-40B4-BE49-F238E27FC236}">
                    <a16:creationId xmlns:a16="http://schemas.microsoft.com/office/drawing/2014/main" id="{6AAA191A-AE01-4FBF-AAE1-981C71DF25A1}"/>
                  </a:ext>
                </a:extLst>
              </p:cNvPr>
              <p:cNvSpPr txBox="1"/>
              <p:nvPr/>
            </p:nvSpPr>
            <p:spPr>
              <a:xfrm>
                <a:off x="540588" y="5976258"/>
                <a:ext cx="236371"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0</a:t>
                </a:r>
              </a:p>
            </p:txBody>
          </p:sp>
        </p:grpSp>
        <p:sp>
          <p:nvSpPr>
            <p:cNvPr id="130" name="Rectangle 129">
              <a:extLst>
                <a:ext uri="{FF2B5EF4-FFF2-40B4-BE49-F238E27FC236}">
                  <a16:creationId xmlns:a16="http://schemas.microsoft.com/office/drawing/2014/main" id="{B523C453-2A2A-4F46-9841-1AEFCD1226CF}"/>
                </a:ext>
              </a:extLst>
            </p:cNvPr>
            <p:cNvSpPr/>
            <p:nvPr/>
          </p:nvSpPr>
          <p:spPr>
            <a:xfrm>
              <a:off x="757279"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131" name="Rectangle 130">
              <a:extLst>
                <a:ext uri="{FF2B5EF4-FFF2-40B4-BE49-F238E27FC236}">
                  <a16:creationId xmlns:a16="http://schemas.microsoft.com/office/drawing/2014/main" id="{2A21E484-A3BF-FD17-429F-38FF3E0FB6E4}"/>
                </a:ext>
              </a:extLst>
            </p:cNvPr>
            <p:cNvSpPr/>
            <p:nvPr/>
          </p:nvSpPr>
          <p:spPr>
            <a:xfrm>
              <a:off x="1244111"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sp>
          <p:nvSpPr>
            <p:cNvPr id="132" name="Rectangle 131">
              <a:extLst>
                <a:ext uri="{FF2B5EF4-FFF2-40B4-BE49-F238E27FC236}">
                  <a16:creationId xmlns:a16="http://schemas.microsoft.com/office/drawing/2014/main" id="{6ED66FE1-9D11-C56B-BAC6-49FB26882B0E}"/>
                </a:ext>
              </a:extLst>
            </p:cNvPr>
            <p:cNvSpPr/>
            <p:nvPr/>
          </p:nvSpPr>
          <p:spPr>
            <a:xfrm>
              <a:off x="1746243"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133" name="Rectangle 132">
              <a:extLst>
                <a:ext uri="{FF2B5EF4-FFF2-40B4-BE49-F238E27FC236}">
                  <a16:creationId xmlns:a16="http://schemas.microsoft.com/office/drawing/2014/main" id="{20E2B0C8-9CB5-EF97-BDF0-6A4642F8FBA3}"/>
                </a:ext>
              </a:extLst>
            </p:cNvPr>
            <p:cNvSpPr/>
            <p:nvPr/>
          </p:nvSpPr>
          <p:spPr>
            <a:xfrm>
              <a:off x="2251545" y="4887431"/>
              <a:ext cx="698503" cy="1607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sp>
          <p:nvSpPr>
            <p:cNvPr id="134" name="Rectangle 133">
              <a:extLst>
                <a:ext uri="{FF2B5EF4-FFF2-40B4-BE49-F238E27FC236}">
                  <a16:creationId xmlns:a16="http://schemas.microsoft.com/office/drawing/2014/main" id="{38F43EB1-AF3D-D294-09D6-F36B03D9C55D}"/>
                </a:ext>
              </a:extLst>
            </p:cNvPr>
            <p:cNvSpPr/>
            <p:nvPr/>
          </p:nvSpPr>
          <p:spPr>
            <a:xfrm>
              <a:off x="858496" y="5082488"/>
              <a:ext cx="983377" cy="1607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lvl="0" algn="ctr">
                <a:defRPr/>
              </a:pPr>
              <a:r>
                <a:rPr lang="en-US" sz="1000" b="1" noProof="0">
                  <a:solidFill>
                    <a:schemeClr val="tx1"/>
                  </a:solidFill>
                </a:rPr>
                <a:t>Normal esophagus</a:t>
              </a:r>
              <a:br>
                <a:rPr kumimoji="0" lang="en-US" sz="1000" b="1"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n=3)</a:t>
              </a:r>
            </a:p>
          </p:txBody>
        </p:sp>
        <p:sp>
          <p:nvSpPr>
            <p:cNvPr id="151" name="Rectangle 150">
              <a:extLst>
                <a:ext uri="{FF2B5EF4-FFF2-40B4-BE49-F238E27FC236}">
                  <a16:creationId xmlns:a16="http://schemas.microsoft.com/office/drawing/2014/main" id="{13FC68F6-DC70-C8DE-0B69-F66A04477F7D}"/>
                </a:ext>
              </a:extLst>
            </p:cNvPr>
            <p:cNvSpPr/>
            <p:nvPr/>
          </p:nvSpPr>
          <p:spPr>
            <a:xfrm>
              <a:off x="1841874" y="5082490"/>
              <a:ext cx="1033043" cy="140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ea typeface="+mn-ea"/>
                  <a:cs typeface="+mn-cs"/>
                </a:rPr>
                <a:t> </a:t>
              </a:r>
              <a:r>
                <a:rPr lang="en-US" sz="1000" b="1" noProof="0">
                  <a:solidFill>
                    <a:schemeClr val="tx1"/>
                  </a:solidFill>
                </a:rPr>
                <a:t>Active EoE</a:t>
              </a:r>
              <a:br>
                <a:rPr lang="en-US" sz="1000" b="1" noProof="0">
                  <a:solidFill>
                    <a:schemeClr val="tx1"/>
                  </a:solidFill>
                </a:rPr>
              </a:br>
              <a:r>
                <a:rPr kumimoji="0" lang="en-US" sz="1000" b="0" i="0" u="none" strike="noStrike" kern="1200" cap="none" spc="0" normalizeH="0" baseline="0" noProof="0">
                  <a:ln>
                    <a:noFill/>
                  </a:ln>
                  <a:solidFill>
                    <a:schemeClr val="tx1"/>
                  </a:solidFill>
                  <a:effectLst/>
                  <a:uLnTx/>
                  <a:uFillTx/>
                  <a:ea typeface="+mn-ea"/>
                  <a:cs typeface="+mn-cs"/>
                </a:rPr>
                <a:t>(n=10)</a:t>
              </a:r>
            </a:p>
          </p:txBody>
        </p:sp>
      </p:grpSp>
      <p:sp>
        <p:nvSpPr>
          <p:cNvPr id="113" name="Rectangle 112">
            <a:extLst>
              <a:ext uri="{FF2B5EF4-FFF2-40B4-BE49-F238E27FC236}">
                <a16:creationId xmlns:a16="http://schemas.microsoft.com/office/drawing/2014/main" id="{33FDAC10-6048-E43D-2A08-873C4EF2C355}"/>
              </a:ext>
            </a:extLst>
          </p:cNvPr>
          <p:cNvSpPr/>
          <p:nvPr/>
        </p:nvSpPr>
        <p:spPr>
          <a:xfrm>
            <a:off x="1292008" y="4744975"/>
            <a:ext cx="386277" cy="323931"/>
          </a:xfrm>
          <a:prstGeom prst="re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114" name="Rectangle 113">
            <a:extLst>
              <a:ext uri="{FF2B5EF4-FFF2-40B4-BE49-F238E27FC236}">
                <a16:creationId xmlns:a16="http://schemas.microsoft.com/office/drawing/2014/main" id="{4B3BDC19-634E-FA55-B13F-7E37EF1D573C}"/>
              </a:ext>
            </a:extLst>
          </p:cNvPr>
          <p:cNvSpPr/>
          <p:nvPr/>
        </p:nvSpPr>
        <p:spPr>
          <a:xfrm>
            <a:off x="1846505" y="4744975"/>
            <a:ext cx="386277" cy="323931"/>
          </a:xfrm>
          <a:prstGeom prst="re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118" name="Straight Connector 117">
            <a:extLst>
              <a:ext uri="{FF2B5EF4-FFF2-40B4-BE49-F238E27FC236}">
                <a16:creationId xmlns:a16="http://schemas.microsoft.com/office/drawing/2014/main" id="{048F874D-9731-8F46-6091-C920AEDAF0A8}"/>
              </a:ext>
            </a:extLst>
          </p:cNvPr>
          <p:cNvCxnSpPr>
            <a:cxnSpLocks/>
          </p:cNvCxnSpPr>
          <p:nvPr/>
        </p:nvCxnSpPr>
        <p:spPr>
          <a:xfrm>
            <a:off x="1408657" y="4690954"/>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13C604B-8B2F-C3F9-CBBD-E465B11FACCE}"/>
              </a:ext>
            </a:extLst>
          </p:cNvPr>
          <p:cNvCxnSpPr>
            <a:cxnSpLocks/>
          </p:cNvCxnSpPr>
          <p:nvPr/>
        </p:nvCxnSpPr>
        <p:spPr>
          <a:xfrm>
            <a:off x="1955662" y="4690954"/>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ED481378-762E-F03E-6399-5251205FD807}"/>
              </a:ext>
            </a:extLst>
          </p:cNvPr>
          <p:cNvSpPr/>
          <p:nvPr/>
        </p:nvSpPr>
        <p:spPr>
          <a:xfrm>
            <a:off x="1453981" y="2982627"/>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mn-ea"/>
                <a:cs typeface="+mn-cs"/>
              </a:rPr>
              <a:t>P=0.0001</a:t>
            </a:r>
          </a:p>
        </p:txBody>
      </p:sp>
      <p:sp>
        <p:nvSpPr>
          <p:cNvPr id="122" name="Rectangle 121">
            <a:extLst>
              <a:ext uri="{FF2B5EF4-FFF2-40B4-BE49-F238E27FC236}">
                <a16:creationId xmlns:a16="http://schemas.microsoft.com/office/drawing/2014/main" id="{366B0887-3E37-C8FB-138C-4E53BDA3698A}"/>
              </a:ext>
            </a:extLst>
          </p:cNvPr>
          <p:cNvSpPr/>
          <p:nvPr/>
        </p:nvSpPr>
        <p:spPr>
          <a:xfrm>
            <a:off x="2010010" y="3243905"/>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noProof="0">
                <a:solidFill>
                  <a:schemeClr val="tx1"/>
                </a:solidFill>
              </a:rPr>
              <a:t>P</a:t>
            </a:r>
            <a:r>
              <a:rPr kumimoji="0" lang="en-US" sz="1050" b="0" i="0" u="none" strike="noStrike" kern="1200" cap="none" spc="0" normalizeH="0" baseline="0" noProof="0">
                <a:ln>
                  <a:noFill/>
                </a:ln>
                <a:solidFill>
                  <a:schemeClr val="tx1"/>
                </a:solidFill>
                <a:effectLst/>
                <a:uLnTx/>
                <a:uFillTx/>
                <a:ea typeface="+mn-ea"/>
                <a:cs typeface="+mn-cs"/>
              </a:rPr>
              <a:t>=0.0001</a:t>
            </a:r>
          </a:p>
        </p:txBody>
      </p:sp>
      <p:cxnSp>
        <p:nvCxnSpPr>
          <p:cNvPr id="127" name="Straight Connector 126">
            <a:extLst>
              <a:ext uri="{FF2B5EF4-FFF2-40B4-BE49-F238E27FC236}">
                <a16:creationId xmlns:a16="http://schemas.microsoft.com/office/drawing/2014/main" id="{B751BED6-3C57-963D-68EC-17D1E8ECF0BE}"/>
              </a:ext>
            </a:extLst>
          </p:cNvPr>
          <p:cNvCxnSpPr>
            <a:cxnSpLocks/>
          </p:cNvCxnSpPr>
          <p:nvPr/>
        </p:nvCxnSpPr>
        <p:spPr>
          <a:xfrm>
            <a:off x="1477221" y="3220360"/>
            <a:ext cx="1122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60EC8DE-F428-D271-9268-3C2DB6AC2997}"/>
              </a:ext>
            </a:extLst>
          </p:cNvPr>
          <p:cNvCxnSpPr>
            <a:cxnSpLocks/>
          </p:cNvCxnSpPr>
          <p:nvPr/>
        </p:nvCxnSpPr>
        <p:spPr>
          <a:xfrm>
            <a:off x="2031330" y="3480369"/>
            <a:ext cx="111532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Rectangle 264">
            <a:extLst>
              <a:ext uri="{FF2B5EF4-FFF2-40B4-BE49-F238E27FC236}">
                <a16:creationId xmlns:a16="http://schemas.microsoft.com/office/drawing/2014/main" id="{CC893648-9F30-904E-0E10-A52411C1F14E}"/>
              </a:ext>
            </a:extLst>
          </p:cNvPr>
          <p:cNvSpPr/>
          <p:nvPr/>
        </p:nvSpPr>
        <p:spPr>
          <a:xfrm>
            <a:off x="479426" y="2271912"/>
            <a:ext cx="3420000"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600" b="1" i="0" u="none" strike="noStrike" kern="1200" cap="none" spc="0" normalizeH="0" baseline="0" noProof="0">
                <a:ln>
                  <a:noFill/>
                </a:ln>
                <a:solidFill>
                  <a:schemeClr val="bg1"/>
                </a:solidFill>
                <a:effectLst/>
                <a:uLnTx/>
                <a:uFillTx/>
                <a:ea typeface="+mn-ea"/>
                <a:cs typeface="+mn-cs"/>
              </a:rPr>
              <a:t>TSLP</a:t>
            </a:r>
            <a:r>
              <a:rPr lang="en-US" sz="1600" b="1" baseline="30000" noProof="0">
                <a:solidFill>
                  <a:schemeClr val="bg1"/>
                </a:solidFill>
              </a:rPr>
              <a:t>1</a:t>
            </a:r>
            <a:r>
              <a:rPr lang="en-US" sz="1600" b="1" noProof="0">
                <a:solidFill>
                  <a:schemeClr val="bg1"/>
                </a:solidFill>
              </a:rPr>
              <a:t>*</a:t>
            </a:r>
            <a:endParaRPr kumimoji="0" lang="en-US" sz="1600" b="1" i="0" u="none" strike="noStrike" kern="1200" cap="none" spc="0" normalizeH="0" noProof="0">
              <a:ln>
                <a:noFill/>
              </a:ln>
              <a:solidFill>
                <a:schemeClr val="bg1"/>
              </a:solidFill>
              <a:effectLst/>
              <a:uLnTx/>
              <a:uFillTx/>
              <a:ea typeface="+mn-ea"/>
              <a:cs typeface="+mn-cs"/>
            </a:endParaRPr>
          </a:p>
        </p:txBody>
      </p:sp>
      <p:cxnSp>
        <p:nvCxnSpPr>
          <p:cNvPr id="334" name="Straight Connector 333">
            <a:extLst>
              <a:ext uri="{FF2B5EF4-FFF2-40B4-BE49-F238E27FC236}">
                <a16:creationId xmlns:a16="http://schemas.microsoft.com/office/drawing/2014/main" id="{63E03D49-688B-272F-6665-A82C4A8BD119}"/>
              </a:ext>
            </a:extLst>
          </p:cNvPr>
          <p:cNvCxnSpPr>
            <a:cxnSpLocks/>
          </p:cNvCxnSpPr>
          <p:nvPr/>
        </p:nvCxnSpPr>
        <p:spPr>
          <a:xfrm>
            <a:off x="2593551" y="3562861"/>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4E32A239-82E9-67D4-CFF9-4C8740DFDDFB}"/>
              </a:ext>
            </a:extLst>
          </p:cNvPr>
          <p:cNvCxnSpPr>
            <a:cxnSpLocks/>
          </p:cNvCxnSpPr>
          <p:nvPr/>
        </p:nvCxnSpPr>
        <p:spPr>
          <a:xfrm>
            <a:off x="3147660" y="3549842"/>
            <a:ext cx="0" cy="2740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6" name="Rectangle 335">
            <a:extLst>
              <a:ext uri="{FF2B5EF4-FFF2-40B4-BE49-F238E27FC236}">
                <a16:creationId xmlns:a16="http://schemas.microsoft.com/office/drawing/2014/main" id="{105AA22D-37E6-72E4-74B1-48BCCB529AC1}"/>
              </a:ext>
            </a:extLst>
          </p:cNvPr>
          <p:cNvSpPr/>
          <p:nvPr/>
        </p:nvSpPr>
        <p:spPr>
          <a:xfrm>
            <a:off x="2405096" y="3827102"/>
            <a:ext cx="386277" cy="1241804"/>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337" name="Rectangle 336">
            <a:extLst>
              <a:ext uri="{FF2B5EF4-FFF2-40B4-BE49-F238E27FC236}">
                <a16:creationId xmlns:a16="http://schemas.microsoft.com/office/drawing/2014/main" id="{DD9C62F3-89DE-A258-218E-5AF916ABDD32}"/>
              </a:ext>
            </a:extLst>
          </p:cNvPr>
          <p:cNvSpPr/>
          <p:nvPr/>
        </p:nvSpPr>
        <p:spPr>
          <a:xfrm>
            <a:off x="2961288" y="3827102"/>
            <a:ext cx="386277" cy="1241804"/>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338" name="Straight Connector 337">
            <a:extLst>
              <a:ext uri="{FF2B5EF4-FFF2-40B4-BE49-F238E27FC236}">
                <a16:creationId xmlns:a16="http://schemas.microsoft.com/office/drawing/2014/main" id="{60874788-5CEE-F515-2532-28FADD8CF253}"/>
              </a:ext>
            </a:extLst>
          </p:cNvPr>
          <p:cNvCxnSpPr>
            <a:cxnSpLocks/>
          </p:cNvCxnSpPr>
          <p:nvPr/>
        </p:nvCxnSpPr>
        <p:spPr>
          <a:xfrm>
            <a:off x="2517002" y="3566145"/>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1451925E-5958-69D7-2249-CFD2B85BF905}"/>
              </a:ext>
            </a:extLst>
          </p:cNvPr>
          <p:cNvCxnSpPr>
            <a:cxnSpLocks/>
          </p:cNvCxnSpPr>
          <p:nvPr/>
        </p:nvCxnSpPr>
        <p:spPr>
          <a:xfrm>
            <a:off x="3071111" y="3553126"/>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D50D503-8B89-E07E-86B9-451128893B94}"/>
              </a:ext>
            </a:extLst>
          </p:cNvPr>
          <p:cNvCxnSpPr>
            <a:cxnSpLocks/>
          </p:cNvCxnSpPr>
          <p:nvPr/>
        </p:nvCxnSpPr>
        <p:spPr>
          <a:xfrm>
            <a:off x="5497101" y="4762894"/>
            <a:ext cx="0" cy="853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5DBAD5-AC93-EE87-AB6E-B3A350E83DCA}"/>
              </a:ext>
            </a:extLst>
          </p:cNvPr>
          <p:cNvCxnSpPr>
            <a:cxnSpLocks/>
          </p:cNvCxnSpPr>
          <p:nvPr/>
        </p:nvCxnSpPr>
        <p:spPr>
          <a:xfrm>
            <a:off x="6054800" y="4826517"/>
            <a:ext cx="0" cy="1142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E83DECB7-1916-FF50-6C4F-5C58E662723B}"/>
              </a:ext>
            </a:extLst>
          </p:cNvPr>
          <p:cNvGrpSpPr/>
          <p:nvPr/>
        </p:nvGrpSpPr>
        <p:grpSpPr>
          <a:xfrm>
            <a:off x="4618244" y="3062447"/>
            <a:ext cx="2839560" cy="2089191"/>
            <a:chOff x="333220" y="3291658"/>
            <a:chExt cx="2597645" cy="2905435"/>
          </a:xfrm>
        </p:grpSpPr>
        <p:cxnSp>
          <p:nvCxnSpPr>
            <p:cNvPr id="245" name="Straight Connector 244">
              <a:extLst>
                <a:ext uri="{FF2B5EF4-FFF2-40B4-BE49-F238E27FC236}">
                  <a16:creationId xmlns:a16="http://schemas.microsoft.com/office/drawing/2014/main" id="{4F706364-E581-1FFB-3C99-7C252F1B75D2}"/>
                </a:ext>
              </a:extLst>
            </p:cNvPr>
            <p:cNvCxnSpPr/>
            <p:nvPr/>
          </p:nvCxnSpPr>
          <p:spPr>
            <a:xfrm>
              <a:off x="795096" y="3393735"/>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B5598E10-F143-26D6-BDE9-541637D46A48}"/>
                </a:ext>
              </a:extLst>
            </p:cNvPr>
            <p:cNvSpPr txBox="1"/>
            <p:nvPr/>
          </p:nvSpPr>
          <p:spPr>
            <a:xfrm>
              <a:off x="412613" y="3291658"/>
              <a:ext cx="364346"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2000</a:t>
              </a:r>
            </a:p>
          </p:txBody>
        </p:sp>
        <p:sp>
          <p:nvSpPr>
            <p:cNvPr id="247" name="TextBox 246">
              <a:extLst>
                <a:ext uri="{FF2B5EF4-FFF2-40B4-BE49-F238E27FC236}">
                  <a16:creationId xmlns:a16="http://schemas.microsoft.com/office/drawing/2014/main" id="{D813F9E5-2D37-EB7A-950B-3007F71624C9}"/>
                </a:ext>
              </a:extLst>
            </p:cNvPr>
            <p:cNvSpPr txBox="1"/>
            <p:nvPr/>
          </p:nvSpPr>
          <p:spPr>
            <a:xfrm rot="16200000">
              <a:off x="-955148" y="4680195"/>
              <a:ext cx="2686896" cy="110159"/>
            </a:xfrm>
            <a:prstGeom prst="rect">
              <a:avLst/>
            </a:prstGeom>
            <a:noFill/>
          </p:spPr>
          <p:txBody>
            <a:bodyPr wrap="square" lIns="0" tIns="0" rIns="0" bIns="0" rtlCol="0">
              <a:spAutoFit/>
            </a:bodyPr>
            <a:lstStyle/>
            <a:p>
              <a:pPr marL="0" marR="0" lvl="0" indent="0" algn="ctr" defTabSz="914400" rtl="0" eaLnBrk="1" fontAlgn="auto" latinLnBrk="0" hangingPunct="1">
                <a:lnSpc>
                  <a:spcPts val="900"/>
                </a:lnSpc>
                <a:spcBef>
                  <a:spcPts val="0"/>
                </a:spcBef>
                <a:spcAft>
                  <a:spcPts val="0"/>
                </a:spcAft>
                <a:buClr>
                  <a:srgbClr val="7F134C"/>
                </a:buClr>
                <a:buSzTx/>
                <a:buFontTx/>
                <a:buNone/>
                <a:tabLst/>
                <a:defRPr/>
              </a:pPr>
              <a:r>
                <a:rPr kumimoji="0" lang="en-US" sz="1000" b="1" i="0" u="none" strike="noStrike" kern="1200" cap="none" spc="0" normalizeH="0" baseline="0" noProof="0">
                  <a:ln>
                    <a:noFill/>
                  </a:ln>
                  <a:effectLst/>
                  <a:uLnTx/>
                  <a:uFillTx/>
                  <a:ea typeface="+mn-ea"/>
                  <a:cs typeface="+mn-cs"/>
                </a:rPr>
                <a:t>Cells/mm</a:t>
              </a:r>
              <a:r>
                <a:rPr kumimoji="0" lang="en-US" sz="1000" b="1" i="0" u="none" strike="noStrike" kern="1200" cap="none" spc="0" normalizeH="0" baseline="30000" noProof="0">
                  <a:ln>
                    <a:noFill/>
                  </a:ln>
                  <a:effectLst/>
                  <a:uLnTx/>
                  <a:uFillTx/>
                  <a:ea typeface="+mn-ea"/>
                  <a:cs typeface="+mn-cs"/>
                </a:rPr>
                <a:t>2</a:t>
              </a:r>
            </a:p>
          </p:txBody>
        </p:sp>
        <p:cxnSp>
          <p:nvCxnSpPr>
            <p:cNvPr id="248" name="Straight Connector 247">
              <a:extLst>
                <a:ext uri="{FF2B5EF4-FFF2-40B4-BE49-F238E27FC236}">
                  <a16:creationId xmlns:a16="http://schemas.microsoft.com/office/drawing/2014/main" id="{23F647F9-5167-4B9C-93EF-79DD2EE4C740}"/>
                </a:ext>
              </a:extLst>
            </p:cNvPr>
            <p:cNvCxnSpPr/>
            <p:nvPr/>
          </p:nvCxnSpPr>
          <p:spPr>
            <a:xfrm>
              <a:off x="795096" y="4083198"/>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3EAD3D2D-B2D9-BDBD-1604-5ED5DD80BCCE}"/>
                </a:ext>
              </a:extLst>
            </p:cNvPr>
            <p:cNvSpPr txBox="1"/>
            <p:nvPr/>
          </p:nvSpPr>
          <p:spPr>
            <a:xfrm>
              <a:off x="412613" y="3981120"/>
              <a:ext cx="364346"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500</a:t>
              </a:r>
            </a:p>
          </p:txBody>
        </p:sp>
        <p:cxnSp>
          <p:nvCxnSpPr>
            <p:cNvPr id="250" name="Straight Connector 249">
              <a:extLst>
                <a:ext uri="{FF2B5EF4-FFF2-40B4-BE49-F238E27FC236}">
                  <a16:creationId xmlns:a16="http://schemas.microsoft.com/office/drawing/2014/main" id="{74917BC0-337C-92FE-F446-B805451C9C19}"/>
                </a:ext>
              </a:extLst>
            </p:cNvPr>
            <p:cNvCxnSpPr/>
            <p:nvPr/>
          </p:nvCxnSpPr>
          <p:spPr>
            <a:xfrm>
              <a:off x="795096" y="4758760"/>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1" name="TextBox 250">
              <a:extLst>
                <a:ext uri="{FF2B5EF4-FFF2-40B4-BE49-F238E27FC236}">
                  <a16:creationId xmlns:a16="http://schemas.microsoft.com/office/drawing/2014/main" id="{1C7AA2AA-4195-1DCD-5366-7D0C4BAEF60A}"/>
                </a:ext>
              </a:extLst>
            </p:cNvPr>
            <p:cNvSpPr txBox="1"/>
            <p:nvPr/>
          </p:nvSpPr>
          <p:spPr>
            <a:xfrm>
              <a:off x="412613" y="4656682"/>
              <a:ext cx="364346"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1000</a:t>
              </a:r>
            </a:p>
          </p:txBody>
        </p:sp>
        <p:cxnSp>
          <p:nvCxnSpPr>
            <p:cNvPr id="252" name="Straight Connector 251">
              <a:extLst>
                <a:ext uri="{FF2B5EF4-FFF2-40B4-BE49-F238E27FC236}">
                  <a16:creationId xmlns:a16="http://schemas.microsoft.com/office/drawing/2014/main" id="{F81C3481-C02D-8906-FEB0-8305547A7BB4}"/>
                </a:ext>
              </a:extLst>
            </p:cNvPr>
            <p:cNvCxnSpPr/>
            <p:nvPr/>
          </p:nvCxnSpPr>
          <p:spPr>
            <a:xfrm>
              <a:off x="795096" y="5422921"/>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8E11DD6A-DBA1-798B-AC50-E217EB2E531A}"/>
                </a:ext>
              </a:extLst>
            </p:cNvPr>
            <p:cNvSpPr txBox="1"/>
            <p:nvPr/>
          </p:nvSpPr>
          <p:spPr>
            <a:xfrm>
              <a:off x="412613" y="5320843"/>
              <a:ext cx="364346"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500</a:t>
              </a:r>
            </a:p>
          </p:txBody>
        </p:sp>
        <p:cxnSp>
          <p:nvCxnSpPr>
            <p:cNvPr id="254" name="Straight Connector 253">
              <a:extLst>
                <a:ext uri="{FF2B5EF4-FFF2-40B4-BE49-F238E27FC236}">
                  <a16:creationId xmlns:a16="http://schemas.microsoft.com/office/drawing/2014/main" id="{E7063D6F-0956-F136-C8F1-9FDEC5FA1422}"/>
                </a:ext>
              </a:extLst>
            </p:cNvPr>
            <p:cNvCxnSpPr/>
            <p:nvPr/>
          </p:nvCxnSpPr>
          <p:spPr>
            <a:xfrm>
              <a:off x="795096" y="6085159"/>
              <a:ext cx="5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835B9E49-FA47-DF78-5A1E-35C7ED639907}"/>
                </a:ext>
              </a:extLst>
            </p:cNvPr>
            <p:cNvSpPr txBox="1"/>
            <p:nvPr/>
          </p:nvSpPr>
          <p:spPr>
            <a:xfrm>
              <a:off x="412613" y="5983081"/>
              <a:ext cx="364346" cy="214012"/>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7F134C"/>
                </a:buClr>
                <a:buSzTx/>
                <a:buFontTx/>
                <a:buNone/>
                <a:tabLst/>
                <a:defRPr/>
              </a:pPr>
              <a:r>
                <a:rPr kumimoji="0" lang="en-US" sz="1000" b="0" i="0" u="none" strike="noStrike" kern="1200" cap="none" spc="0" normalizeH="0" baseline="0" noProof="0">
                  <a:ln>
                    <a:noFill/>
                  </a:ln>
                  <a:effectLst/>
                  <a:uLnTx/>
                  <a:uFillTx/>
                  <a:ea typeface="+mn-ea"/>
                  <a:cs typeface="+mn-cs"/>
                </a:rPr>
                <a:t>0</a:t>
              </a:r>
            </a:p>
          </p:txBody>
        </p:sp>
        <p:sp>
          <p:nvSpPr>
            <p:cNvPr id="244" name="Freeform: Shape 71">
              <a:extLst>
                <a:ext uri="{FF2B5EF4-FFF2-40B4-BE49-F238E27FC236}">
                  <a16:creationId xmlns:a16="http://schemas.microsoft.com/office/drawing/2014/main" id="{AF687280-4E1B-C153-6D4F-AFA7814BBE0D}"/>
                </a:ext>
              </a:extLst>
            </p:cNvPr>
            <p:cNvSpPr/>
            <p:nvPr/>
          </p:nvSpPr>
          <p:spPr>
            <a:xfrm>
              <a:off x="849987" y="3391826"/>
              <a:ext cx="2080878" cy="2693096"/>
            </a:xfrm>
            <a:custGeom>
              <a:avLst/>
              <a:gdLst>
                <a:gd name="connsiteX0" fmla="*/ 0 w 3048000"/>
                <a:gd name="connsiteY0" fmla="*/ 0 h 2371725"/>
                <a:gd name="connsiteX1" fmla="*/ 0 w 3048000"/>
                <a:gd name="connsiteY1" fmla="*/ 2371725 h 2371725"/>
                <a:gd name="connsiteX2" fmla="*/ 3048000 w 3048000"/>
                <a:gd name="connsiteY2" fmla="*/ 2371725 h 2371725"/>
              </a:gdLst>
              <a:ahLst/>
              <a:cxnLst>
                <a:cxn ang="0">
                  <a:pos x="connsiteX0" y="connsiteY0"/>
                </a:cxn>
                <a:cxn ang="0">
                  <a:pos x="connsiteX1" y="connsiteY1"/>
                </a:cxn>
                <a:cxn ang="0">
                  <a:pos x="connsiteX2" y="connsiteY2"/>
                </a:cxn>
              </a:cxnLst>
              <a:rect l="l" t="t" r="r" b="b"/>
              <a:pathLst>
                <a:path w="3048000" h="2371725">
                  <a:moveTo>
                    <a:pt x="0" y="0"/>
                  </a:moveTo>
                  <a:lnTo>
                    <a:pt x="0" y="2371725"/>
                  </a:lnTo>
                  <a:lnTo>
                    <a:pt x="3048000" y="2371725"/>
                  </a:lnTo>
                </a:path>
              </a:pathLst>
            </a:cu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sp>
        <p:nvSpPr>
          <p:cNvPr id="30" name="Rectangle 29">
            <a:extLst>
              <a:ext uri="{FF2B5EF4-FFF2-40B4-BE49-F238E27FC236}">
                <a16:creationId xmlns:a16="http://schemas.microsoft.com/office/drawing/2014/main" id="{D55057C1-A35D-479C-454F-AC420E05D0CF}"/>
              </a:ext>
            </a:extLst>
          </p:cNvPr>
          <p:cNvSpPr/>
          <p:nvPr/>
        </p:nvSpPr>
        <p:spPr>
          <a:xfrm>
            <a:off x="5103312" y="5103808"/>
            <a:ext cx="781439" cy="1464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31" name="Rectangle 30">
            <a:extLst>
              <a:ext uri="{FF2B5EF4-FFF2-40B4-BE49-F238E27FC236}">
                <a16:creationId xmlns:a16="http://schemas.microsoft.com/office/drawing/2014/main" id="{48E0A47A-2E33-EBEC-7C5A-A9DB8CFC75BC}"/>
              </a:ext>
            </a:extLst>
          </p:cNvPr>
          <p:cNvSpPr/>
          <p:nvPr/>
        </p:nvSpPr>
        <p:spPr>
          <a:xfrm>
            <a:off x="5671106" y="5103808"/>
            <a:ext cx="781439" cy="1464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sp>
        <p:nvSpPr>
          <p:cNvPr id="228" name="Rectangle 227">
            <a:extLst>
              <a:ext uri="{FF2B5EF4-FFF2-40B4-BE49-F238E27FC236}">
                <a16:creationId xmlns:a16="http://schemas.microsoft.com/office/drawing/2014/main" id="{8FEA6EBE-1B04-8EE3-0016-28EA1A2D2DBB}"/>
              </a:ext>
            </a:extLst>
          </p:cNvPr>
          <p:cNvSpPr/>
          <p:nvPr/>
        </p:nvSpPr>
        <p:spPr>
          <a:xfrm>
            <a:off x="6225609" y="5103808"/>
            <a:ext cx="781439" cy="1464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Proximal</a:t>
            </a:r>
          </a:p>
        </p:txBody>
      </p:sp>
      <p:sp>
        <p:nvSpPr>
          <p:cNvPr id="229" name="Rectangle 228">
            <a:extLst>
              <a:ext uri="{FF2B5EF4-FFF2-40B4-BE49-F238E27FC236}">
                <a16:creationId xmlns:a16="http://schemas.microsoft.com/office/drawing/2014/main" id="{4B0605AE-81F7-EF90-5F8F-77ECC692A2E4}"/>
              </a:ext>
            </a:extLst>
          </p:cNvPr>
          <p:cNvSpPr/>
          <p:nvPr/>
        </p:nvSpPr>
        <p:spPr>
          <a:xfrm>
            <a:off x="6797811" y="5103808"/>
            <a:ext cx="781439" cy="1464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Distal</a:t>
            </a:r>
          </a:p>
        </p:txBody>
      </p:sp>
      <p:cxnSp>
        <p:nvCxnSpPr>
          <p:cNvPr id="238" name="Straight Connector 237">
            <a:extLst>
              <a:ext uri="{FF2B5EF4-FFF2-40B4-BE49-F238E27FC236}">
                <a16:creationId xmlns:a16="http://schemas.microsoft.com/office/drawing/2014/main" id="{9E14D407-B485-0DDF-A4BB-9BF6D9F5380F}"/>
              </a:ext>
            </a:extLst>
          </p:cNvPr>
          <p:cNvCxnSpPr>
            <a:cxnSpLocks/>
          </p:cNvCxnSpPr>
          <p:nvPr/>
        </p:nvCxnSpPr>
        <p:spPr>
          <a:xfrm>
            <a:off x="5420552" y="4766178"/>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A00C8722-CFB7-9D56-B7B9-18BA4733015C}"/>
              </a:ext>
            </a:extLst>
          </p:cNvPr>
          <p:cNvCxnSpPr>
            <a:cxnSpLocks/>
          </p:cNvCxnSpPr>
          <p:nvPr/>
        </p:nvCxnSpPr>
        <p:spPr>
          <a:xfrm>
            <a:off x="5978251" y="4829801"/>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3DC70796-BAD8-7EAE-9E40-FB32AE65379C}"/>
              </a:ext>
            </a:extLst>
          </p:cNvPr>
          <p:cNvSpPr/>
          <p:nvPr/>
        </p:nvSpPr>
        <p:spPr>
          <a:xfrm>
            <a:off x="5454296" y="3108106"/>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noProof="0">
                <a:solidFill>
                  <a:schemeClr val="tx1"/>
                </a:solidFill>
              </a:rPr>
              <a:t>P</a:t>
            </a:r>
            <a:r>
              <a:rPr kumimoji="0" lang="en-US" sz="1050" b="0" i="0" u="none" strike="noStrike" kern="1200" cap="none" spc="0" normalizeH="0" baseline="0" noProof="0">
                <a:ln>
                  <a:noFill/>
                </a:ln>
                <a:solidFill>
                  <a:schemeClr val="tx1"/>
                </a:solidFill>
                <a:effectLst/>
                <a:uLnTx/>
                <a:uFillTx/>
                <a:ea typeface="+mn-ea"/>
                <a:cs typeface="+mn-cs"/>
              </a:rPr>
              <a:t>=0.023</a:t>
            </a:r>
          </a:p>
        </p:txBody>
      </p:sp>
      <p:sp>
        <p:nvSpPr>
          <p:cNvPr id="241" name="Rectangle 240">
            <a:extLst>
              <a:ext uri="{FF2B5EF4-FFF2-40B4-BE49-F238E27FC236}">
                <a16:creationId xmlns:a16="http://schemas.microsoft.com/office/drawing/2014/main" id="{2F5657FA-A238-3CA6-3E7F-520D83DF178E}"/>
              </a:ext>
            </a:extLst>
          </p:cNvPr>
          <p:cNvSpPr/>
          <p:nvPr/>
        </p:nvSpPr>
        <p:spPr>
          <a:xfrm>
            <a:off x="6010326" y="3369384"/>
            <a:ext cx="1115986" cy="2343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noProof="0">
                <a:solidFill>
                  <a:schemeClr val="tx1"/>
                </a:solidFill>
              </a:rPr>
              <a:t>P</a:t>
            </a:r>
            <a:r>
              <a:rPr kumimoji="0" lang="en-US" sz="1050" b="0" i="0" u="none" strike="noStrike" kern="1200" cap="none" spc="0" normalizeH="0" baseline="0" noProof="0">
                <a:ln>
                  <a:noFill/>
                </a:ln>
                <a:solidFill>
                  <a:schemeClr val="tx1"/>
                </a:solidFill>
                <a:effectLst/>
                <a:uLnTx/>
                <a:uFillTx/>
                <a:ea typeface="+mn-ea"/>
                <a:cs typeface="+mn-cs"/>
              </a:rPr>
              <a:t>=0.019</a:t>
            </a:r>
          </a:p>
        </p:txBody>
      </p:sp>
      <p:cxnSp>
        <p:nvCxnSpPr>
          <p:cNvPr id="242" name="Straight Connector 241">
            <a:extLst>
              <a:ext uri="{FF2B5EF4-FFF2-40B4-BE49-F238E27FC236}">
                <a16:creationId xmlns:a16="http://schemas.microsoft.com/office/drawing/2014/main" id="{371A9BCF-88FD-B258-7F35-18CD0E706063}"/>
              </a:ext>
            </a:extLst>
          </p:cNvPr>
          <p:cNvCxnSpPr>
            <a:cxnSpLocks/>
          </p:cNvCxnSpPr>
          <p:nvPr/>
        </p:nvCxnSpPr>
        <p:spPr>
          <a:xfrm>
            <a:off x="5477537" y="3345839"/>
            <a:ext cx="1122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22103CD-9F00-B28B-A67D-94D471074498}"/>
              </a:ext>
            </a:extLst>
          </p:cNvPr>
          <p:cNvCxnSpPr>
            <a:cxnSpLocks/>
          </p:cNvCxnSpPr>
          <p:nvPr/>
        </p:nvCxnSpPr>
        <p:spPr>
          <a:xfrm>
            <a:off x="6031645" y="3605848"/>
            <a:ext cx="11153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3268E76D-B1A3-5BE4-E5F3-9FC7C1AC09C9}"/>
              </a:ext>
            </a:extLst>
          </p:cNvPr>
          <p:cNvCxnSpPr>
            <a:cxnSpLocks/>
          </p:cNvCxnSpPr>
          <p:nvPr/>
        </p:nvCxnSpPr>
        <p:spPr>
          <a:xfrm>
            <a:off x="6541286" y="3900822"/>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C1FC975A-7771-DE9C-007E-6BD86A630F5F}"/>
              </a:ext>
            </a:extLst>
          </p:cNvPr>
          <p:cNvCxnSpPr>
            <a:cxnSpLocks/>
          </p:cNvCxnSpPr>
          <p:nvPr/>
        </p:nvCxnSpPr>
        <p:spPr>
          <a:xfrm>
            <a:off x="7121293" y="3848744"/>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FC0C92D5-E22C-5EA9-FC72-DFEE3553E183}"/>
              </a:ext>
            </a:extLst>
          </p:cNvPr>
          <p:cNvCxnSpPr>
            <a:cxnSpLocks/>
          </p:cNvCxnSpPr>
          <p:nvPr/>
        </p:nvCxnSpPr>
        <p:spPr>
          <a:xfrm>
            <a:off x="10418883" y="3750651"/>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7D579732-3789-9C30-48E5-304A27F39C56}"/>
              </a:ext>
            </a:extLst>
          </p:cNvPr>
          <p:cNvCxnSpPr>
            <a:cxnSpLocks/>
          </p:cNvCxnSpPr>
          <p:nvPr/>
        </p:nvCxnSpPr>
        <p:spPr>
          <a:xfrm>
            <a:off x="10983648" y="4028911"/>
            <a:ext cx="1530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731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DB06C64-A498-82AD-4F20-FDA6702D5CD6}"/>
              </a:ext>
            </a:extLst>
          </p:cNvPr>
          <p:cNvSpPr/>
          <p:nvPr/>
        </p:nvSpPr>
        <p:spPr>
          <a:xfrm>
            <a:off x="6216652" y="2271909"/>
            <a:ext cx="5495924" cy="3498653"/>
          </a:xfrm>
          <a:prstGeom prst="rect">
            <a:avLst/>
          </a:prstGeom>
          <a:solidFill>
            <a:schemeClr val="accent4">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72CBBBD-0BB1-A80C-CD0D-7520D1CAEE7A}"/>
              </a:ext>
            </a:extLst>
          </p:cNvPr>
          <p:cNvSpPr>
            <a:spLocks noGrp="1"/>
          </p:cNvSpPr>
          <p:nvPr>
            <p:ph type="title"/>
          </p:nvPr>
        </p:nvSpPr>
        <p:spPr>
          <a:xfrm>
            <a:off x="548282" y="180000"/>
            <a:ext cx="11095200" cy="720000"/>
          </a:xfrm>
        </p:spPr>
        <p:txBody>
          <a:bodyPr/>
          <a:lstStyle/>
          <a:p>
            <a:r>
              <a:rPr lang="en-US" noProof="0" dirty="0"/>
              <a:t>Epithelial cytokines are overexpressed in patients with EoE</a:t>
            </a:r>
            <a:r>
              <a:rPr lang="en-US" dirty="0"/>
              <a:t> </a:t>
            </a:r>
            <a:br>
              <a:rPr lang="en-US" dirty="0"/>
            </a:br>
            <a:r>
              <a:rPr lang="en-US" dirty="0"/>
              <a:t>(continued)</a:t>
            </a:r>
            <a:endParaRPr lang="en-US" noProof="0" dirty="0"/>
          </a:p>
        </p:txBody>
      </p:sp>
      <p:sp>
        <p:nvSpPr>
          <p:cNvPr id="41" name="Content Placeholder 40">
            <a:extLst>
              <a:ext uri="{FF2B5EF4-FFF2-40B4-BE49-F238E27FC236}">
                <a16:creationId xmlns:a16="http://schemas.microsoft.com/office/drawing/2014/main" id="{7FBF0174-D94B-03DF-8497-9388426085FB}"/>
              </a:ext>
            </a:extLst>
          </p:cNvPr>
          <p:cNvSpPr>
            <a:spLocks noGrp="1"/>
          </p:cNvSpPr>
          <p:nvPr>
            <p:ph sz="quarter" idx="13"/>
          </p:nvPr>
        </p:nvSpPr>
        <p:spPr/>
        <p:txBody>
          <a:bodyPr/>
          <a:lstStyle/>
          <a:p>
            <a:r>
              <a:rPr lang="en-US" sz="1000" dirty="0"/>
              <a:t>Images from Chandramouleeswaran PM, et al. </a:t>
            </a:r>
            <a:r>
              <a:rPr lang="en-US" sz="1000" dirty="0" err="1"/>
              <a:t>PLoS</a:t>
            </a:r>
            <a:r>
              <a:rPr lang="en-US" sz="1000" dirty="0"/>
              <a:t> ONE 2016;11:e0150968 and Travers J, et al. Sci Rep 2017;7:17563</a:t>
            </a:r>
            <a:endParaRPr lang="en-US" sz="1000" baseline="30000" dirty="0"/>
          </a:p>
          <a:p>
            <a:r>
              <a:rPr lang="en-US" sz="1000" dirty="0"/>
              <a:t>*TSLP expression was characterized in human esophageal epithelium in EoE in vivo and to determine the role of food antigens upon epithelial TSLP expression in vitro. Using immunohistochemistry, TSLP was localized in esophageal biopsies of active EoE (≥15 </a:t>
            </a:r>
            <a:r>
              <a:rPr lang="en-US" sz="1000" dirty="0" err="1"/>
              <a:t>eos</a:t>
            </a:r>
            <a:r>
              <a:rPr lang="en-US" sz="1000" dirty="0"/>
              <a:t>/</a:t>
            </a:r>
            <a:r>
              <a:rPr lang="en-US" sz="1000" dirty="0" err="1"/>
              <a:t>hpf</a:t>
            </a:r>
            <a:r>
              <a:rPr lang="en-US" sz="1000" dirty="0"/>
              <a:t>), inactive EoE (&lt;15 </a:t>
            </a:r>
            <a:r>
              <a:rPr lang="en-US" sz="1000" dirty="0" err="1"/>
              <a:t>eos</a:t>
            </a:r>
            <a:r>
              <a:rPr lang="en-US" sz="1000" dirty="0"/>
              <a:t>/</a:t>
            </a:r>
            <a:r>
              <a:rPr lang="en-US" sz="1000" dirty="0" err="1"/>
              <a:t>hpf</a:t>
            </a:r>
            <a:r>
              <a:rPr lang="en-US" sz="1000" dirty="0"/>
              <a:t>) and non-EoE control subjects</a:t>
            </a:r>
            <a:r>
              <a:rPr lang="en-US" sz="1000" baseline="30000" dirty="0"/>
              <a:t>2</a:t>
            </a:r>
            <a:br>
              <a:rPr lang="en-US" sz="1000" dirty="0"/>
            </a:br>
            <a:r>
              <a:rPr lang="en-US" sz="1000" dirty="0"/>
              <a:t>BM, basement membrane; EoE, eosinophilic esophagitis; </a:t>
            </a:r>
            <a:r>
              <a:rPr lang="en-US" sz="1000" dirty="0" err="1"/>
              <a:t>eos</a:t>
            </a:r>
            <a:r>
              <a:rPr lang="en-US" sz="1000" dirty="0"/>
              <a:t>/</a:t>
            </a:r>
            <a:r>
              <a:rPr lang="en-US" sz="1000" dirty="0" err="1"/>
              <a:t>hpf</a:t>
            </a:r>
            <a:r>
              <a:rPr lang="en-US" sz="1000" dirty="0"/>
              <a:t>, eosinophils per high-powered field; IL, interleukin; SSE, stratified squamous epithelium; TSLP, thymic stromal lymphopoietin</a:t>
            </a:r>
            <a:br>
              <a:rPr lang="en-US" sz="1000" dirty="0"/>
            </a:br>
            <a:r>
              <a:rPr lang="en-GB" sz="1000" dirty="0"/>
              <a:t>1. Simon D, et al. </a:t>
            </a:r>
            <a:r>
              <a:rPr lang="en-GB" sz="1000" i="1" dirty="0"/>
              <a:t>Allergy.</a:t>
            </a:r>
            <a:r>
              <a:rPr lang="en-GB" sz="1000" dirty="0"/>
              <a:t> 2015;70:443–452; 2. Chandramouleeswaran PM, et al. </a:t>
            </a:r>
            <a:r>
              <a:rPr lang="en-GB" sz="1000" i="1" dirty="0"/>
              <a:t>PLoS ONE. </a:t>
            </a:r>
            <a:r>
              <a:rPr lang="en-GB" sz="1000" dirty="0"/>
              <a:t>2016;11:e0150968; 3. Travers J, et al. </a:t>
            </a:r>
            <a:r>
              <a:rPr lang="en-GB" sz="1000" i="1" dirty="0"/>
              <a:t>Sci Rep. </a:t>
            </a:r>
            <a:r>
              <a:rPr lang="en-GB" sz="1000" dirty="0"/>
              <a:t>2017;7:17563</a:t>
            </a:r>
            <a:endParaRPr lang="en-US" sz="1000" dirty="0"/>
          </a:p>
        </p:txBody>
      </p:sp>
      <p:sp>
        <p:nvSpPr>
          <p:cNvPr id="6" name="Rectangle 5">
            <a:extLst>
              <a:ext uri="{FF2B5EF4-FFF2-40B4-BE49-F238E27FC236}">
                <a16:creationId xmlns:a16="http://schemas.microsoft.com/office/drawing/2014/main" id="{1E11B23F-0822-4ED3-0404-553306D73229}"/>
              </a:ext>
            </a:extLst>
          </p:cNvPr>
          <p:cNvSpPr/>
          <p:nvPr/>
        </p:nvSpPr>
        <p:spPr>
          <a:xfrm>
            <a:off x="6215376" y="2271910"/>
            <a:ext cx="5497200" cy="5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IL-33 localization in esophageal basal epithelial cells</a:t>
            </a:r>
            <a:r>
              <a:rPr kumimoji="0" lang="en-US" sz="1400" b="1" i="0" u="none" strike="noStrike" kern="1200" cap="none" spc="0" normalizeH="0" baseline="30000" noProof="0">
                <a:ln>
                  <a:noFill/>
                </a:ln>
                <a:solidFill>
                  <a:srgbClr val="FFFFFF"/>
                </a:solidFill>
                <a:effectLst/>
                <a:uLnTx/>
                <a:uFillTx/>
                <a:ea typeface="+mn-ea"/>
                <a:cs typeface="+mn-cs"/>
              </a:rPr>
              <a:t>3</a:t>
            </a:r>
          </a:p>
        </p:txBody>
      </p:sp>
      <p:sp>
        <p:nvSpPr>
          <p:cNvPr id="8" name="Rectangle 7">
            <a:extLst>
              <a:ext uri="{FF2B5EF4-FFF2-40B4-BE49-F238E27FC236}">
                <a16:creationId xmlns:a16="http://schemas.microsoft.com/office/drawing/2014/main" id="{F21623E8-C687-A949-DABF-F942C9A8681E}"/>
              </a:ext>
            </a:extLst>
          </p:cNvPr>
          <p:cNvSpPr/>
          <p:nvPr/>
        </p:nvSpPr>
        <p:spPr>
          <a:xfrm>
            <a:off x="479426" y="2271909"/>
            <a:ext cx="5495924" cy="3498653"/>
          </a:xfrm>
          <a:prstGeom prst="rect">
            <a:avLst/>
          </a:prstGeom>
          <a:solidFill>
            <a:schemeClr val="tx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7" name="Rectangle 6">
            <a:extLst>
              <a:ext uri="{FF2B5EF4-FFF2-40B4-BE49-F238E27FC236}">
                <a16:creationId xmlns:a16="http://schemas.microsoft.com/office/drawing/2014/main" id="{96315F34-0215-FD4F-4684-A2E32AFD1BE4}"/>
              </a:ext>
            </a:extLst>
          </p:cNvPr>
          <p:cNvSpPr/>
          <p:nvPr/>
        </p:nvSpPr>
        <p:spPr>
          <a:xfrm>
            <a:off x="479426" y="2271910"/>
            <a:ext cx="5495924"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b="1" noProof="0">
                <a:solidFill>
                  <a:srgbClr val="FFFFFF"/>
                </a:solidFill>
              </a:rPr>
              <a:t>TSLP expression in </a:t>
            </a:r>
            <a:r>
              <a:rPr lang="en-US" sz="1400" b="1" noProof="0">
                <a:solidFill>
                  <a:schemeClr val="bg1"/>
                </a:solidFill>
              </a:rPr>
              <a:t>the </a:t>
            </a:r>
            <a:r>
              <a:rPr lang="en-US" sz="1400" b="1" noProof="0" err="1">
                <a:solidFill>
                  <a:schemeClr val="bg1"/>
                </a:solidFill>
              </a:rPr>
              <a:t>suprabasal</a:t>
            </a:r>
            <a:r>
              <a:rPr lang="en-US" sz="1400" b="1" noProof="0">
                <a:solidFill>
                  <a:schemeClr val="bg1"/>
                </a:solidFill>
              </a:rPr>
              <a:t> differentiated compartment</a:t>
            </a:r>
            <a:br>
              <a:rPr lang="en-US" sz="1400" b="1" noProof="0">
                <a:solidFill>
                  <a:schemeClr val="bg1"/>
                </a:solidFill>
              </a:rPr>
            </a:br>
            <a:r>
              <a:rPr lang="en-US" sz="1400" b="1" noProof="0">
                <a:solidFill>
                  <a:schemeClr val="bg1"/>
                </a:solidFill>
              </a:rPr>
              <a:t>of the </a:t>
            </a:r>
            <a:r>
              <a:rPr lang="en-US" sz="1400" b="1" noProof="0">
                <a:solidFill>
                  <a:srgbClr val="FFFFFF"/>
                </a:solidFill>
              </a:rPr>
              <a:t>esophageal epithelium of pediatric patients</a:t>
            </a:r>
            <a:r>
              <a:rPr lang="en-US" sz="1400" b="1" baseline="30000" noProof="0">
                <a:solidFill>
                  <a:srgbClr val="FFFFFF"/>
                </a:solidFill>
              </a:rPr>
              <a:t>2</a:t>
            </a:r>
            <a:r>
              <a:rPr lang="en-US" sz="1400" b="1" noProof="0">
                <a:solidFill>
                  <a:srgbClr val="FFFFFF"/>
                </a:solidFill>
              </a:rPr>
              <a:t>*</a:t>
            </a:r>
          </a:p>
        </p:txBody>
      </p:sp>
      <p:pic>
        <p:nvPicPr>
          <p:cNvPr id="10" name="Picture 9" descr="A collage of images of cells&#10;&#10;AI-generated content may be incorrect.">
            <a:extLst>
              <a:ext uri="{FF2B5EF4-FFF2-40B4-BE49-F238E27FC236}">
                <a16:creationId xmlns:a16="http://schemas.microsoft.com/office/drawing/2014/main" id="{E859FF91-5655-949B-8280-94434B190EAC}"/>
              </a:ext>
            </a:extLst>
          </p:cNvPr>
          <p:cNvPicPr>
            <a:picLocks noChangeAspect="1"/>
          </p:cNvPicPr>
          <p:nvPr/>
        </p:nvPicPr>
        <p:blipFill>
          <a:blip r:embed="rId3" cstate="print">
            <a:extLst>
              <a:ext uri="{28A0092B-C50C-407E-A947-70E740481C1C}">
                <a14:useLocalDpi xmlns:a14="http://schemas.microsoft.com/office/drawing/2010/main" val="0"/>
              </a:ext>
            </a:extLst>
          </a:blip>
          <a:srcRect l="349" t="3595" r="51186" b="66778"/>
          <a:stretch>
            <a:fillRect/>
          </a:stretch>
        </p:blipFill>
        <p:spPr>
          <a:xfrm>
            <a:off x="592588" y="2930204"/>
            <a:ext cx="2684136" cy="1692803"/>
          </a:xfrm>
          <a:prstGeom prst="rect">
            <a:avLst/>
          </a:prstGeom>
          <a:ln w="12700">
            <a:solidFill>
              <a:schemeClr val="tx2"/>
            </a:solidFill>
          </a:ln>
        </p:spPr>
      </p:pic>
      <p:pic>
        <p:nvPicPr>
          <p:cNvPr id="11" name="Picture 10" descr="A collage of images of cells&#10;&#10;AI-generated content may be incorrect.">
            <a:extLst>
              <a:ext uri="{FF2B5EF4-FFF2-40B4-BE49-F238E27FC236}">
                <a16:creationId xmlns:a16="http://schemas.microsoft.com/office/drawing/2014/main" id="{541A6A45-4AF5-FEE3-2832-4492E0C82F73}"/>
              </a:ext>
            </a:extLst>
          </p:cNvPr>
          <p:cNvPicPr>
            <a:picLocks noChangeAspect="1"/>
          </p:cNvPicPr>
          <p:nvPr/>
        </p:nvPicPr>
        <p:blipFill>
          <a:blip r:embed="rId4" cstate="print">
            <a:extLst>
              <a:ext uri="{28A0092B-C50C-407E-A947-70E740481C1C}">
                <a14:useLocalDpi xmlns:a14="http://schemas.microsoft.com/office/drawing/2010/main" val="0"/>
              </a:ext>
            </a:extLst>
          </a:blip>
          <a:srcRect l="345" t="67137" r="51047" b="583"/>
          <a:stretch/>
        </p:blipFill>
        <p:spPr>
          <a:xfrm>
            <a:off x="3362448" y="2931007"/>
            <a:ext cx="2499741" cy="1692000"/>
          </a:xfrm>
          <a:prstGeom prst="rect">
            <a:avLst/>
          </a:prstGeom>
          <a:ln w="12700">
            <a:solidFill>
              <a:schemeClr val="tx2"/>
            </a:solidFill>
          </a:ln>
        </p:spPr>
      </p:pic>
      <p:sp>
        <p:nvSpPr>
          <p:cNvPr id="15" name="Rectangle 14">
            <a:extLst>
              <a:ext uri="{FF2B5EF4-FFF2-40B4-BE49-F238E27FC236}">
                <a16:creationId xmlns:a16="http://schemas.microsoft.com/office/drawing/2014/main" id="{E5172AF9-40DB-AD8C-0190-99AC85C72445}"/>
              </a:ext>
            </a:extLst>
          </p:cNvPr>
          <p:cNvSpPr/>
          <p:nvPr/>
        </p:nvSpPr>
        <p:spPr>
          <a:xfrm>
            <a:off x="1553854" y="2927920"/>
            <a:ext cx="761604" cy="18040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ea typeface="+mn-ea"/>
                <a:cs typeface="+mn-cs"/>
              </a:rPr>
              <a:t>Control</a:t>
            </a:r>
          </a:p>
        </p:txBody>
      </p:sp>
      <p:sp>
        <p:nvSpPr>
          <p:cNvPr id="16" name="Rectangle 15">
            <a:extLst>
              <a:ext uri="{FF2B5EF4-FFF2-40B4-BE49-F238E27FC236}">
                <a16:creationId xmlns:a16="http://schemas.microsoft.com/office/drawing/2014/main" id="{DC99CF7F-1D42-B095-235A-3A0E365F035E}"/>
              </a:ext>
            </a:extLst>
          </p:cNvPr>
          <p:cNvSpPr/>
          <p:nvPr/>
        </p:nvSpPr>
        <p:spPr>
          <a:xfrm>
            <a:off x="4231516" y="2927920"/>
            <a:ext cx="761604" cy="18040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kumimoji="0" lang="en-US" sz="1050" b="0" i="0" u="none" strike="noStrike" kern="1200" cap="none" spc="0" normalizeH="0" baseline="0" noProof="0">
                <a:ln>
                  <a:noFill/>
                </a:ln>
                <a:solidFill>
                  <a:schemeClr val="bg1"/>
                </a:solidFill>
                <a:effectLst/>
                <a:uLnTx/>
                <a:uFillTx/>
                <a:ea typeface="+mn-ea"/>
                <a:cs typeface="+mn-cs"/>
              </a:rPr>
              <a:t>Active</a:t>
            </a:r>
            <a:r>
              <a:rPr kumimoji="0" lang="en-US" sz="1050" b="0" i="0" u="none" strike="noStrike" kern="1200" cap="none" spc="0" normalizeH="0" baseline="0" noProof="0">
                <a:ln>
                  <a:noFill/>
                </a:ln>
                <a:solidFill>
                  <a:srgbClr val="FFFFFF"/>
                </a:solidFill>
                <a:effectLst/>
                <a:uLnTx/>
                <a:uFillTx/>
                <a:ea typeface="+mn-ea"/>
                <a:cs typeface="+mn-cs"/>
              </a:rPr>
              <a:t> EoE</a:t>
            </a:r>
            <a:endParaRPr kumimoji="0" lang="en-US" sz="1050" b="0" i="0" u="none" strike="noStrike" kern="1200" cap="none" spc="0" normalizeH="0" baseline="3000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id="{FF605EFB-648A-0D5A-B9C5-CC879DB837BB}"/>
              </a:ext>
            </a:extLst>
          </p:cNvPr>
          <p:cNvSpPr/>
          <p:nvPr/>
        </p:nvSpPr>
        <p:spPr>
          <a:xfrm>
            <a:off x="592587" y="4894112"/>
            <a:ext cx="5269602" cy="4428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400" noProof="0">
                <a:solidFill>
                  <a:schemeClr val="tx1"/>
                </a:solidFill>
              </a:rPr>
              <a:t>Immunohistochemistry: cells expressing TSLP stain brown</a:t>
            </a:r>
          </a:p>
        </p:txBody>
      </p:sp>
      <p:sp>
        <p:nvSpPr>
          <p:cNvPr id="23" name="Rectangle 22">
            <a:extLst>
              <a:ext uri="{FF2B5EF4-FFF2-40B4-BE49-F238E27FC236}">
                <a16:creationId xmlns:a16="http://schemas.microsoft.com/office/drawing/2014/main" id="{201CFC27-5F7F-F573-9F1E-D9927646B855}"/>
              </a:ext>
            </a:extLst>
          </p:cNvPr>
          <p:cNvSpPr/>
          <p:nvPr/>
        </p:nvSpPr>
        <p:spPr>
          <a:xfrm>
            <a:off x="6329414" y="4894112"/>
            <a:ext cx="5270400" cy="4372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400" noProof="0">
                <a:solidFill>
                  <a:schemeClr val="tx1"/>
                </a:solidFill>
              </a:rPr>
              <a:t>Immunohistochemistry: cells expressing IL-33 stain brown,</a:t>
            </a:r>
            <a:br>
              <a:rPr lang="en-US" sz="1400" noProof="0">
                <a:solidFill>
                  <a:schemeClr val="tx1"/>
                </a:solidFill>
              </a:rPr>
            </a:br>
            <a:r>
              <a:rPr lang="en-US" sz="1400" noProof="0">
                <a:solidFill>
                  <a:schemeClr val="tx1"/>
                </a:solidFill>
              </a:rPr>
              <a:t>dashed line indicates basement membrane</a:t>
            </a:r>
          </a:p>
        </p:txBody>
      </p:sp>
      <p:grpSp>
        <p:nvGrpSpPr>
          <p:cNvPr id="31" name="Group 30">
            <a:extLst>
              <a:ext uri="{FF2B5EF4-FFF2-40B4-BE49-F238E27FC236}">
                <a16:creationId xmlns:a16="http://schemas.microsoft.com/office/drawing/2014/main" id="{46D7A425-8E63-DFB5-DE7E-1CA8171BB274}"/>
              </a:ext>
            </a:extLst>
          </p:cNvPr>
          <p:cNvGrpSpPr/>
          <p:nvPr/>
        </p:nvGrpSpPr>
        <p:grpSpPr>
          <a:xfrm>
            <a:off x="6329814" y="2931007"/>
            <a:ext cx="2580824" cy="1692000"/>
            <a:chOff x="6412003" y="3124837"/>
            <a:chExt cx="2580824" cy="1692000"/>
          </a:xfrm>
        </p:grpSpPr>
        <p:pic>
          <p:nvPicPr>
            <p:cNvPr id="28" name="Picture 27">
              <a:extLst>
                <a:ext uri="{FF2B5EF4-FFF2-40B4-BE49-F238E27FC236}">
                  <a16:creationId xmlns:a16="http://schemas.microsoft.com/office/drawing/2014/main" id="{FDA63538-3407-5C11-8030-05CCC354EDE2}"/>
                </a:ext>
              </a:extLst>
            </p:cNvPr>
            <p:cNvPicPr>
              <a:picLocks/>
            </p:cNvPicPr>
            <p:nvPr/>
          </p:nvPicPr>
          <p:blipFill>
            <a:blip r:embed="rId5"/>
            <a:srcRect l="4648" t="5918" r="53161" b="5568"/>
            <a:stretch/>
          </p:blipFill>
          <p:spPr>
            <a:xfrm rot="16200000">
              <a:off x="6856415" y="2680425"/>
              <a:ext cx="1692000" cy="2580824"/>
            </a:xfrm>
            <a:prstGeom prst="rect">
              <a:avLst/>
            </a:prstGeom>
            <a:ln w="12700">
              <a:solidFill>
                <a:schemeClr val="bg2"/>
              </a:solidFill>
            </a:ln>
          </p:spPr>
        </p:pic>
        <p:cxnSp>
          <p:nvCxnSpPr>
            <p:cNvPr id="24" name="Straight Arrow Connector 23">
              <a:extLst>
                <a:ext uri="{FF2B5EF4-FFF2-40B4-BE49-F238E27FC236}">
                  <a16:creationId xmlns:a16="http://schemas.microsoft.com/office/drawing/2014/main" id="{58A91093-5010-3EC1-A151-F62361DA2359}"/>
                </a:ext>
              </a:extLst>
            </p:cNvPr>
            <p:cNvCxnSpPr>
              <a:cxnSpLocks/>
            </p:cNvCxnSpPr>
            <p:nvPr/>
          </p:nvCxnSpPr>
          <p:spPr>
            <a:xfrm flipH="1">
              <a:off x="8470961" y="3342958"/>
              <a:ext cx="318499" cy="0"/>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C90F3A7-CC84-1C24-E79A-81F2CE41E87F}"/>
                </a:ext>
              </a:extLst>
            </p:cNvPr>
            <p:cNvSpPr/>
            <p:nvPr/>
          </p:nvSpPr>
          <p:spPr>
            <a:xfrm rot="10800000" flipV="1">
              <a:off x="8533705" y="3162301"/>
              <a:ext cx="253106" cy="164556"/>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noProof="0">
                  <a:solidFill>
                    <a:srgbClr val="000000"/>
                  </a:solidFill>
                </a:rPr>
                <a:t>BM</a:t>
              </a:r>
            </a:p>
          </p:txBody>
        </p:sp>
        <p:sp>
          <p:nvSpPr>
            <p:cNvPr id="26" name="Left Brace 25">
              <a:extLst>
                <a:ext uri="{FF2B5EF4-FFF2-40B4-BE49-F238E27FC236}">
                  <a16:creationId xmlns:a16="http://schemas.microsoft.com/office/drawing/2014/main" id="{D7955DA3-EEA5-8D2A-F476-D54A7FC1DD04}"/>
                </a:ext>
              </a:extLst>
            </p:cNvPr>
            <p:cNvSpPr/>
            <p:nvPr/>
          </p:nvSpPr>
          <p:spPr>
            <a:xfrm rot="16200000">
              <a:off x="7264813" y="3239871"/>
              <a:ext cx="159167" cy="1610060"/>
            </a:xfrm>
            <a:prstGeom prst="lef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a:solidFill>
                  <a:srgbClr val="002060"/>
                </a:solidFill>
              </a:endParaRPr>
            </a:p>
          </p:txBody>
        </p:sp>
        <p:sp>
          <p:nvSpPr>
            <p:cNvPr id="27" name="Rectangle 26">
              <a:extLst>
                <a:ext uri="{FF2B5EF4-FFF2-40B4-BE49-F238E27FC236}">
                  <a16:creationId xmlns:a16="http://schemas.microsoft.com/office/drawing/2014/main" id="{9AF830FE-DFF0-8E81-A9C4-13060F92530A}"/>
                </a:ext>
              </a:extLst>
            </p:cNvPr>
            <p:cNvSpPr/>
            <p:nvPr/>
          </p:nvSpPr>
          <p:spPr>
            <a:xfrm rot="10800000" flipV="1">
              <a:off x="6918506" y="4151842"/>
              <a:ext cx="864000" cy="1080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rgbClr val="000000"/>
                  </a:solidFill>
                </a:rPr>
                <a:t>Epithelium</a:t>
              </a:r>
            </a:p>
          </p:txBody>
        </p:sp>
      </p:grpSp>
      <p:pic>
        <p:nvPicPr>
          <p:cNvPr id="36" name="Picture 35">
            <a:extLst>
              <a:ext uri="{FF2B5EF4-FFF2-40B4-BE49-F238E27FC236}">
                <a16:creationId xmlns:a16="http://schemas.microsoft.com/office/drawing/2014/main" id="{1A1C6A4F-65B2-775B-D486-8DE0F745D43E}"/>
              </a:ext>
            </a:extLst>
          </p:cNvPr>
          <p:cNvPicPr>
            <a:picLocks/>
          </p:cNvPicPr>
          <p:nvPr/>
        </p:nvPicPr>
        <p:blipFill>
          <a:blip r:embed="rId5"/>
          <a:srcRect l="54824" t="3724" r="2591" b="6315"/>
          <a:stretch/>
        </p:blipFill>
        <p:spPr>
          <a:xfrm rot="16200000">
            <a:off x="9462815" y="2486406"/>
            <a:ext cx="1692000" cy="2581200"/>
          </a:xfrm>
          <a:prstGeom prst="rect">
            <a:avLst/>
          </a:prstGeom>
          <a:ln w="12700">
            <a:solidFill>
              <a:schemeClr val="bg2"/>
            </a:solidFill>
          </a:ln>
        </p:spPr>
      </p:pic>
      <p:cxnSp>
        <p:nvCxnSpPr>
          <p:cNvPr id="32" name="Straight Arrow Connector 31">
            <a:extLst>
              <a:ext uri="{FF2B5EF4-FFF2-40B4-BE49-F238E27FC236}">
                <a16:creationId xmlns:a16="http://schemas.microsoft.com/office/drawing/2014/main" id="{EAF66A0F-382E-AB88-2D8E-1C3255CFD6FB}"/>
              </a:ext>
            </a:extLst>
          </p:cNvPr>
          <p:cNvCxnSpPr>
            <a:cxnSpLocks/>
          </p:cNvCxnSpPr>
          <p:nvPr/>
        </p:nvCxnSpPr>
        <p:spPr>
          <a:xfrm flipH="1">
            <a:off x="11263965" y="3454365"/>
            <a:ext cx="318499" cy="0"/>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E4A97F5E-AA0E-26E6-1766-2EC7ACC5F1D9}"/>
              </a:ext>
            </a:extLst>
          </p:cNvPr>
          <p:cNvSpPr/>
          <p:nvPr/>
        </p:nvSpPr>
        <p:spPr>
          <a:xfrm rot="10800000" flipV="1">
            <a:off x="11310618" y="3278034"/>
            <a:ext cx="285288" cy="15590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noProof="0">
                <a:solidFill>
                  <a:srgbClr val="000000"/>
                </a:solidFill>
              </a:rPr>
              <a:t>BM</a:t>
            </a:r>
          </a:p>
        </p:txBody>
      </p:sp>
      <p:cxnSp>
        <p:nvCxnSpPr>
          <p:cNvPr id="34" name="Straight Arrow Connector 33">
            <a:extLst>
              <a:ext uri="{FF2B5EF4-FFF2-40B4-BE49-F238E27FC236}">
                <a16:creationId xmlns:a16="http://schemas.microsoft.com/office/drawing/2014/main" id="{693C9951-742E-F1B4-D10C-8809CB3E2B11}"/>
              </a:ext>
            </a:extLst>
          </p:cNvPr>
          <p:cNvCxnSpPr>
            <a:cxnSpLocks/>
          </p:cNvCxnSpPr>
          <p:nvPr/>
        </p:nvCxnSpPr>
        <p:spPr>
          <a:xfrm>
            <a:off x="10324589" y="3669006"/>
            <a:ext cx="468000" cy="0"/>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D711FB8-E4EC-E698-B74D-73A08807F299}"/>
              </a:ext>
            </a:extLst>
          </p:cNvPr>
          <p:cNvSpPr/>
          <p:nvPr/>
        </p:nvSpPr>
        <p:spPr>
          <a:xfrm rot="10800000" flipH="1" flipV="1">
            <a:off x="9279563" y="3363598"/>
            <a:ext cx="1347442" cy="38145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rgbClr val="000000"/>
                </a:solidFill>
              </a:rPr>
              <a:t>Interpapillary</a:t>
            </a:r>
            <a:br>
              <a:rPr lang="en-US" sz="1100" noProof="0">
                <a:solidFill>
                  <a:srgbClr val="000000"/>
                </a:solidFill>
              </a:rPr>
            </a:br>
            <a:r>
              <a:rPr lang="en-US" sz="1100" noProof="0">
                <a:solidFill>
                  <a:srgbClr val="000000"/>
                </a:solidFill>
              </a:rPr>
              <a:t>basal layer</a:t>
            </a:r>
          </a:p>
        </p:txBody>
      </p:sp>
      <p:sp>
        <p:nvSpPr>
          <p:cNvPr id="9" name="Rectangle 8">
            <a:extLst>
              <a:ext uri="{FF2B5EF4-FFF2-40B4-BE49-F238E27FC236}">
                <a16:creationId xmlns:a16="http://schemas.microsoft.com/office/drawing/2014/main" id="{F69EAB0C-5FAB-24C6-CFEF-57F443239B34}"/>
              </a:ext>
            </a:extLst>
          </p:cNvPr>
          <p:cNvSpPr/>
          <p:nvPr/>
        </p:nvSpPr>
        <p:spPr>
          <a:xfrm>
            <a:off x="479426" y="1412875"/>
            <a:ext cx="11233150" cy="658438"/>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0" indent="0" algn="ctr" defTabSz="914400" rtl="0" eaLnBrk="1" fontAlgn="auto" latinLnBrk="0" hangingPunct="1">
              <a:lnSpc>
                <a:spcPct val="100000"/>
              </a:lnSpc>
              <a:spcBef>
                <a:spcPts val="600"/>
              </a:spcBef>
              <a:spcAft>
                <a:spcPts val="600"/>
              </a:spcAft>
              <a:buClr>
                <a:srgbClr val="7F134C"/>
              </a:buClr>
              <a:buSzTx/>
              <a:buFontTx/>
              <a:buNone/>
              <a:tabLst/>
              <a:defRPr/>
            </a:pPr>
            <a:r>
              <a:rPr kumimoji="0" lang="en-GB" b="1" i="0" u="none" strike="noStrike" kern="1200" cap="none" spc="0" normalizeH="0" baseline="0" noProof="0" err="1">
                <a:ln>
                  <a:noFill/>
                </a:ln>
                <a:solidFill>
                  <a:srgbClr val="FFFFFF"/>
                </a:solidFill>
                <a:effectLst/>
                <a:uLnTx/>
                <a:uFillTx/>
                <a:ea typeface="Calibri" panose="020F0502020204030204" pitchFamily="34" charset="0"/>
                <a:cs typeface="Calibri" panose="020F0502020204030204" pitchFamily="34" charset="0"/>
              </a:rPr>
              <a:t>Esophageal</a:t>
            </a:r>
            <a:r>
              <a:rPr kumimoji="0" lang="en-GB"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 biopsies from patients with EoE show significantly higher epithelial cytokine</a:t>
            </a:r>
            <a:br>
              <a:rPr kumimoji="0" lang="en-GB"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br>
            <a:r>
              <a:rPr kumimoji="0" lang="en-GB"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expression than healthy controls</a:t>
            </a:r>
            <a:r>
              <a:rPr kumimoji="0" lang="en-GB" b="1" i="0" u="none" strike="noStrike" kern="1200" cap="none" spc="0" normalizeH="0" baseline="30000" noProof="0">
                <a:ln>
                  <a:noFill/>
                </a:ln>
                <a:solidFill>
                  <a:srgbClr val="FFFFFF"/>
                </a:solidFill>
                <a:effectLst/>
                <a:uLnTx/>
                <a:uFillTx/>
                <a:ea typeface="Calibri" panose="020F0502020204030204" pitchFamily="34" charset="0"/>
                <a:cs typeface="Calibri" panose="020F0502020204030204" pitchFamily="34" charset="0"/>
              </a:rPr>
              <a:t>1–3</a:t>
            </a:r>
          </a:p>
        </p:txBody>
      </p:sp>
      <p:sp>
        <p:nvSpPr>
          <p:cNvPr id="38" name="Rectangle 37">
            <a:extLst>
              <a:ext uri="{FF2B5EF4-FFF2-40B4-BE49-F238E27FC236}">
                <a16:creationId xmlns:a16="http://schemas.microsoft.com/office/drawing/2014/main" id="{9FED3872-AD50-6792-1A2B-204F6EB61078}"/>
              </a:ext>
            </a:extLst>
          </p:cNvPr>
          <p:cNvSpPr/>
          <p:nvPr/>
        </p:nvSpPr>
        <p:spPr>
          <a:xfrm>
            <a:off x="7239424" y="2927920"/>
            <a:ext cx="761604" cy="18040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ea typeface="+mn-ea"/>
                <a:cs typeface="+mn-cs"/>
              </a:rPr>
              <a:t>Control</a:t>
            </a:r>
          </a:p>
        </p:txBody>
      </p:sp>
      <p:sp>
        <p:nvSpPr>
          <p:cNvPr id="39" name="Rectangle 38">
            <a:extLst>
              <a:ext uri="{FF2B5EF4-FFF2-40B4-BE49-F238E27FC236}">
                <a16:creationId xmlns:a16="http://schemas.microsoft.com/office/drawing/2014/main" id="{31A4988C-30A4-910B-6691-2731D66133C9}"/>
              </a:ext>
            </a:extLst>
          </p:cNvPr>
          <p:cNvSpPr/>
          <p:nvPr/>
        </p:nvSpPr>
        <p:spPr>
          <a:xfrm>
            <a:off x="9928013" y="2927920"/>
            <a:ext cx="761604" cy="18040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kumimoji="0" lang="en-US" sz="1050" b="0" i="0" u="none" strike="noStrike" kern="1200" cap="none" spc="0" normalizeH="0" baseline="0" noProof="0">
                <a:ln>
                  <a:noFill/>
                </a:ln>
                <a:solidFill>
                  <a:schemeClr val="bg1"/>
                </a:solidFill>
                <a:effectLst/>
                <a:uLnTx/>
                <a:uFillTx/>
                <a:ea typeface="+mn-ea"/>
                <a:cs typeface="+mn-cs"/>
              </a:rPr>
              <a:t>Active</a:t>
            </a:r>
            <a:r>
              <a:rPr kumimoji="0" lang="en-US" sz="1050" b="0" i="0" u="none" strike="noStrike" kern="1200" cap="none" spc="0" normalizeH="0" baseline="0" noProof="0">
                <a:ln>
                  <a:noFill/>
                </a:ln>
                <a:solidFill>
                  <a:srgbClr val="FFFFFF"/>
                </a:solidFill>
                <a:effectLst/>
                <a:uLnTx/>
                <a:uFillTx/>
                <a:ea typeface="+mn-ea"/>
                <a:cs typeface="+mn-cs"/>
              </a:rPr>
              <a:t> EoE</a:t>
            </a:r>
            <a:endParaRPr kumimoji="0" lang="en-US" sz="1050" b="0" i="0" u="none" strike="noStrike" kern="1200" cap="none" spc="0" normalizeH="0" baseline="3000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220059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E6BDC9-4D63-C26D-CA9B-D7DC30A8556B}"/>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EA7683-442F-E175-53C5-1DF8A6ED953C}"/>
              </a:ext>
            </a:extLst>
          </p:cNvPr>
          <p:cNvGraphicFramePr>
            <a:graphicFrameLocks/>
          </p:cNvGraphicFramePr>
          <p:nvPr>
            <p:custDataLst>
              <p:tags r:id="rId1"/>
            </p:custDataLst>
            <p:extLst>
              <p:ext uri="{D42A27DB-BD31-4B8C-83A1-F6EECF244321}">
                <p14:modId xmlns:p14="http://schemas.microsoft.com/office/powerpoint/2010/main" val="799027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15" name="think-cell data - do not delete" hidden="1">
                        <a:extLst>
                          <a:ext uri="{FF2B5EF4-FFF2-40B4-BE49-F238E27FC236}">
                            <a16:creationId xmlns:a16="http://schemas.microsoft.com/office/drawing/2014/main" id="{38EA7683-442F-E175-53C5-1DF8A6ED95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629B511-AB5F-9FF1-72DC-62301BCA2B38}"/>
              </a:ext>
            </a:extLst>
          </p:cNvPr>
          <p:cNvSpPr/>
          <p:nvPr/>
        </p:nvSpPr>
        <p:spPr>
          <a:xfrm>
            <a:off x="6185097" y="1412875"/>
            <a:ext cx="5509326" cy="4357688"/>
          </a:xfrm>
          <a:prstGeom prst="rect">
            <a:avLst/>
          </a:prstGeom>
          <a:solidFill>
            <a:schemeClr val="accent6">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4" name="Picture 113">
            <a:extLst>
              <a:ext uri="{FF2B5EF4-FFF2-40B4-BE49-F238E27FC236}">
                <a16:creationId xmlns:a16="http://schemas.microsoft.com/office/drawing/2014/main" id="{3460DB5F-484A-6D7E-DFDA-0106A97A2712}"/>
              </a:ext>
            </a:extLst>
          </p:cNvPr>
          <p:cNvPicPr>
            <a:picLocks noChangeAspect="1"/>
          </p:cNvPicPr>
          <p:nvPr/>
        </p:nvPicPr>
        <p:blipFill>
          <a:blip r:embed="rId5"/>
          <a:srcRect l="-379" t="-3471" r="379" b="56805"/>
          <a:stretch>
            <a:fillRect/>
          </a:stretch>
        </p:blipFill>
        <p:spPr>
          <a:xfrm>
            <a:off x="7611929" y="4379134"/>
            <a:ext cx="4023709" cy="1229186"/>
          </a:xfrm>
          <a:prstGeom prst="rect">
            <a:avLst/>
          </a:prstGeom>
        </p:spPr>
      </p:pic>
      <p:cxnSp>
        <p:nvCxnSpPr>
          <p:cNvPr id="12" name="Straight Connector 11">
            <a:extLst>
              <a:ext uri="{FF2B5EF4-FFF2-40B4-BE49-F238E27FC236}">
                <a16:creationId xmlns:a16="http://schemas.microsoft.com/office/drawing/2014/main" id="{F24FEDCF-E44F-8FFA-F9B4-371D0FC9B3D3}"/>
              </a:ext>
            </a:extLst>
          </p:cNvPr>
          <p:cNvCxnSpPr>
            <a:cxnSpLocks/>
          </p:cNvCxnSpPr>
          <p:nvPr/>
        </p:nvCxnSpPr>
        <p:spPr>
          <a:xfrm flipH="1">
            <a:off x="9281132" y="3827065"/>
            <a:ext cx="18507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D621CB-D1F9-CD3A-830D-8A5E2D8917EF}"/>
              </a:ext>
            </a:extLst>
          </p:cNvPr>
          <p:cNvCxnSpPr>
            <a:cxnSpLocks/>
          </p:cNvCxnSpPr>
          <p:nvPr/>
        </p:nvCxnSpPr>
        <p:spPr>
          <a:xfrm flipH="1">
            <a:off x="9770082" y="3827065"/>
            <a:ext cx="18507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247540E-ABF8-A494-AC45-A66E09C07CB5}"/>
              </a:ext>
            </a:extLst>
          </p:cNvPr>
          <p:cNvSpPr/>
          <p:nvPr/>
        </p:nvSpPr>
        <p:spPr>
          <a:xfrm rot="16200000">
            <a:off x="8874798" y="3683065"/>
            <a:ext cx="524667" cy="288000"/>
          </a:xfrm>
          <a:prstGeom prst="roundRect">
            <a:avLst>
              <a:gd name="adj" fmla="val 14113"/>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t>STAT5</a:t>
            </a:r>
          </a:p>
        </p:txBody>
      </p:sp>
      <p:sp>
        <p:nvSpPr>
          <p:cNvPr id="8" name="Rectangle: Rounded Corners 7">
            <a:extLst>
              <a:ext uri="{FF2B5EF4-FFF2-40B4-BE49-F238E27FC236}">
                <a16:creationId xmlns:a16="http://schemas.microsoft.com/office/drawing/2014/main" id="{1F6647B7-B6BF-1278-A9B2-1125359DB09A}"/>
              </a:ext>
            </a:extLst>
          </p:cNvPr>
          <p:cNvSpPr/>
          <p:nvPr/>
        </p:nvSpPr>
        <p:spPr>
          <a:xfrm rot="16200000">
            <a:off x="9815522" y="3683065"/>
            <a:ext cx="524667" cy="288000"/>
          </a:xfrm>
          <a:prstGeom prst="roundRect">
            <a:avLst>
              <a:gd name="adj" fmla="val 11952"/>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t>STAT5</a:t>
            </a:r>
          </a:p>
        </p:txBody>
      </p:sp>
      <p:sp>
        <p:nvSpPr>
          <p:cNvPr id="117" name="Rectangle 116">
            <a:extLst>
              <a:ext uri="{FF2B5EF4-FFF2-40B4-BE49-F238E27FC236}">
                <a16:creationId xmlns:a16="http://schemas.microsoft.com/office/drawing/2014/main" id="{409802E6-1764-C5FD-6B8A-0CF9EA3AE8D5}"/>
              </a:ext>
            </a:extLst>
          </p:cNvPr>
          <p:cNvSpPr/>
          <p:nvPr/>
        </p:nvSpPr>
        <p:spPr>
          <a:xfrm>
            <a:off x="479426" y="1845780"/>
            <a:ext cx="5509324" cy="1801598"/>
          </a:xfrm>
          <a:prstGeom prst="rect">
            <a:avLst/>
          </a:prstGeom>
          <a:solidFill>
            <a:schemeClr val="tx2">
              <a:alpha val="10000"/>
            </a:schemeClr>
          </a:solidFill>
        </p:spPr>
        <p:txBody>
          <a:bodyPr wrap="square">
            <a:noAutofit/>
          </a:bodyPr>
          <a:lstStyle/>
          <a:p>
            <a:pPr marL="288000" indent="-288000">
              <a:spcBef>
                <a:spcPts val="300"/>
              </a:spcBef>
              <a:spcAft>
                <a:spcPts val="300"/>
              </a:spcAft>
              <a:buBlip>
                <a:blip r:embed="rId6"/>
              </a:buBlip>
            </a:pPr>
            <a:r>
              <a:rPr lang="en-GB" sz="1400" noProof="0">
                <a:ea typeface="Roboto" panose="02000000000000000000" pitchFamily="2" charset="0"/>
                <a:cs typeface="Calibri" panose="020F0502020204030204" pitchFamily="34" charset="0"/>
              </a:rPr>
              <a:t>In patients with EoE, genomic analyses have identified polymorphisms associated with:</a:t>
            </a:r>
          </a:p>
        </p:txBody>
      </p:sp>
      <p:sp>
        <p:nvSpPr>
          <p:cNvPr id="7" name="Title 1">
            <a:extLst>
              <a:ext uri="{FF2B5EF4-FFF2-40B4-BE49-F238E27FC236}">
                <a16:creationId xmlns:a16="http://schemas.microsoft.com/office/drawing/2014/main" id="{C605D5B4-55D2-A5D3-5924-DD51B50EEA55}"/>
              </a:ext>
            </a:extLst>
          </p:cNvPr>
          <p:cNvSpPr>
            <a:spLocks noGrp="1"/>
          </p:cNvSpPr>
          <p:nvPr>
            <p:ph type="title"/>
          </p:nvPr>
        </p:nvSpPr>
        <p:spPr>
          <a:xfrm>
            <a:off x="547688" y="179388"/>
            <a:ext cx="8640762" cy="720725"/>
          </a:xfrm>
        </p:spPr>
        <p:txBody>
          <a:bodyPr vert="horz" rIns="0"/>
          <a:lstStyle/>
          <a:p>
            <a:r>
              <a:rPr lang="en-US" noProof="0"/>
              <a:t>Genetic TSLP polymorphisms are observed</a:t>
            </a:r>
            <a:br>
              <a:rPr lang="en-US" noProof="0"/>
            </a:br>
            <a:r>
              <a:rPr lang="en-US" noProof="0"/>
              <a:t>in patients with EoE</a:t>
            </a:r>
          </a:p>
        </p:txBody>
      </p:sp>
      <p:sp>
        <p:nvSpPr>
          <p:cNvPr id="180" name="Content Placeholder 179">
            <a:extLst>
              <a:ext uri="{FF2B5EF4-FFF2-40B4-BE49-F238E27FC236}">
                <a16:creationId xmlns:a16="http://schemas.microsoft.com/office/drawing/2014/main" id="{0C0C7E67-33FD-6AD5-4ED6-C107C5BA7C0D}"/>
              </a:ext>
            </a:extLst>
          </p:cNvPr>
          <p:cNvSpPr>
            <a:spLocks noGrp="1"/>
          </p:cNvSpPr>
          <p:nvPr>
            <p:ph sz="quarter" idx="13"/>
          </p:nvPr>
        </p:nvSpPr>
        <p:spPr/>
        <p:txBody>
          <a:bodyPr/>
          <a:lstStyle/>
          <a:p>
            <a:r>
              <a:rPr lang="en-GB" sz="1000" b="1" dirty="0"/>
              <a:t>*There are currently no literature findings which identify well-established polymorphisms in the </a:t>
            </a:r>
            <a:r>
              <a:rPr lang="en-GB" sz="1000" b="1" i="1" dirty="0"/>
              <a:t>IL-33 </a:t>
            </a:r>
            <a:r>
              <a:rPr lang="en-GB" sz="1000" b="1" dirty="0"/>
              <a:t>or</a:t>
            </a:r>
            <a:r>
              <a:rPr lang="en-GB" sz="1000" b="1" i="1" dirty="0"/>
              <a:t> IL-25</a:t>
            </a:r>
            <a:r>
              <a:rPr lang="en-GB" sz="1000" b="1" dirty="0"/>
              <a:t> genes associated with EoE susceptibility</a:t>
            </a:r>
          </a:p>
          <a:p>
            <a:r>
              <a:rPr lang="en-GB" sz="1000" dirty="0">
                <a:latin typeface="Calibri"/>
                <a:ea typeface="Roboto"/>
                <a:cs typeface="Calibri"/>
              </a:rPr>
              <a:t>EoE, eosinophilic esophagitis; IL, interleukin; TSLP, thymic stromal lymphopoietin; TSLPR, thymic stromal lymphopoietin receptor</a:t>
            </a:r>
            <a:br>
              <a:rPr lang="en-GB" sz="1000" dirty="0"/>
            </a:br>
            <a:r>
              <a:rPr lang="en-GB" sz="1000" dirty="0">
                <a:latin typeface="Calibri"/>
                <a:ea typeface="Roboto"/>
                <a:cs typeface="Calibri"/>
              </a:rPr>
              <a:t>1. Rothenberg ME, et al. </a:t>
            </a:r>
            <a:r>
              <a:rPr lang="en-GB" sz="1000" i="1" dirty="0">
                <a:latin typeface="Calibri"/>
                <a:ea typeface="Roboto"/>
                <a:cs typeface="Calibri"/>
              </a:rPr>
              <a:t>Nat Genet. </a:t>
            </a:r>
            <a:r>
              <a:rPr lang="en-GB" sz="1000" dirty="0">
                <a:latin typeface="Calibri"/>
                <a:ea typeface="Roboto"/>
                <a:cs typeface="Calibri"/>
              </a:rPr>
              <a:t>2010;42:289–291; 2. Sherrill JD, et al. </a:t>
            </a:r>
            <a:r>
              <a:rPr lang="en-GB" sz="1000" i="1" dirty="0">
                <a:latin typeface="Calibri"/>
                <a:ea typeface="Roboto"/>
                <a:cs typeface="Calibri"/>
              </a:rPr>
              <a:t>J</a:t>
            </a:r>
            <a:r>
              <a:rPr lang="en-GB" sz="1000" dirty="0">
                <a:latin typeface="Calibri"/>
                <a:ea typeface="Roboto"/>
                <a:cs typeface="Calibri"/>
              </a:rPr>
              <a:t> </a:t>
            </a:r>
            <a:r>
              <a:rPr lang="en-GB" sz="1000" i="1" dirty="0">
                <a:latin typeface="Calibri"/>
                <a:ea typeface="Roboto"/>
                <a:cs typeface="Calibri"/>
              </a:rPr>
              <a:t>Allergy Clin Immunol. </a:t>
            </a:r>
            <a:r>
              <a:rPr lang="en-GB" sz="1000" dirty="0">
                <a:latin typeface="Calibri"/>
                <a:ea typeface="Roboto"/>
                <a:cs typeface="Calibri"/>
              </a:rPr>
              <a:t>2010;126:160–165; 3. </a:t>
            </a:r>
            <a:r>
              <a:rPr lang="en-GB" sz="1000" dirty="0" err="1">
                <a:latin typeface="Calibri"/>
                <a:ea typeface="Roboto"/>
                <a:cs typeface="Calibri"/>
              </a:rPr>
              <a:t>Kottyan</a:t>
            </a:r>
            <a:r>
              <a:rPr lang="en-GB" sz="1000" dirty="0">
                <a:latin typeface="Calibri"/>
                <a:ea typeface="Roboto"/>
                <a:cs typeface="Calibri"/>
              </a:rPr>
              <a:t> LC, et al. </a:t>
            </a:r>
            <a:r>
              <a:rPr lang="en-GB" sz="1000" i="1" dirty="0">
                <a:latin typeface="Calibri"/>
                <a:ea typeface="Roboto"/>
                <a:cs typeface="Calibri"/>
              </a:rPr>
              <a:t>Nat Genet. </a:t>
            </a:r>
            <a:r>
              <a:rPr lang="en-GB" sz="1000" dirty="0">
                <a:latin typeface="Calibri"/>
                <a:ea typeface="Roboto"/>
                <a:cs typeface="Calibri"/>
              </a:rPr>
              <a:t>2014;46:895–900;</a:t>
            </a:r>
            <a:br>
              <a:rPr lang="en-GB" sz="1000" dirty="0"/>
            </a:br>
            <a:r>
              <a:rPr lang="en-GB" sz="1000" dirty="0">
                <a:latin typeface="Calibri"/>
                <a:ea typeface="Roboto"/>
                <a:cs typeface="Calibri"/>
              </a:rPr>
              <a:t>4. Ryu S, et al. </a:t>
            </a:r>
            <a:r>
              <a:rPr lang="en-GB" sz="1000" i="1" dirty="0">
                <a:latin typeface="Calibri"/>
                <a:ea typeface="Roboto"/>
                <a:cs typeface="Calibri"/>
              </a:rPr>
              <a:t>Int J Mol Sci. </a:t>
            </a:r>
            <a:r>
              <a:rPr lang="en-GB" sz="1000" dirty="0">
                <a:latin typeface="Calibri"/>
                <a:ea typeface="Roboto"/>
                <a:cs typeface="Calibri"/>
              </a:rPr>
              <a:t>2020;21:7253; 5. Laky K, et al. </a:t>
            </a:r>
            <a:r>
              <a:rPr lang="en-GB" sz="1000" i="1" dirty="0">
                <a:latin typeface="Calibri"/>
                <a:ea typeface="Roboto"/>
                <a:cs typeface="Calibri"/>
              </a:rPr>
              <a:t>J Allergy Clin Immunol. </a:t>
            </a:r>
            <a:r>
              <a:rPr lang="en-GB" sz="1000" dirty="0">
                <a:latin typeface="Calibri"/>
                <a:ea typeface="Roboto"/>
                <a:cs typeface="Calibri"/>
              </a:rPr>
              <a:t>2024;153:1485–1499; 6. </a:t>
            </a:r>
            <a:r>
              <a:rPr lang="en-GB" sz="1000" dirty="0">
                <a:latin typeface="Calibri"/>
                <a:ea typeface="Calibri"/>
                <a:cs typeface="Calibri"/>
              </a:rPr>
              <a:t>Ebina-Shibuya R, et al. </a:t>
            </a:r>
            <a:r>
              <a:rPr lang="en-GB" sz="1000" i="1" dirty="0">
                <a:latin typeface="Calibri"/>
                <a:ea typeface="Calibri"/>
                <a:cs typeface="Calibri"/>
              </a:rPr>
              <a:t>Nat Rev Immunol. </a:t>
            </a:r>
            <a:r>
              <a:rPr lang="en-GB" sz="1000" dirty="0">
                <a:latin typeface="Calibri"/>
                <a:ea typeface="Calibri"/>
                <a:cs typeface="Calibri"/>
              </a:rPr>
              <a:t>2023;23(1):24-37</a:t>
            </a:r>
            <a:endParaRPr lang="en-GB" sz="1000" dirty="0">
              <a:ea typeface="Calibri"/>
            </a:endParaRPr>
          </a:p>
        </p:txBody>
      </p:sp>
      <p:sp>
        <p:nvSpPr>
          <p:cNvPr id="9" name="Rectangle 8">
            <a:extLst>
              <a:ext uri="{FF2B5EF4-FFF2-40B4-BE49-F238E27FC236}">
                <a16:creationId xmlns:a16="http://schemas.microsoft.com/office/drawing/2014/main" id="{F88830F3-A5F3-7EC2-83D7-ABD330E11216}"/>
              </a:ext>
            </a:extLst>
          </p:cNvPr>
          <p:cNvSpPr/>
          <p:nvPr/>
        </p:nvSpPr>
        <p:spPr>
          <a:xfrm>
            <a:off x="479426" y="3770412"/>
            <a:ext cx="5509326" cy="43200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4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Elevation of </a:t>
            </a:r>
            <a:r>
              <a:rPr kumimoji="0" lang="en-US" sz="1600" b="1" u="none" strike="noStrike" kern="1200" cap="none" spc="0" normalizeH="0" baseline="0" noProof="0">
                <a:ln>
                  <a:noFill/>
                </a:ln>
                <a:solidFill>
                  <a:srgbClr val="FFFFFF"/>
                </a:solidFill>
                <a:effectLst/>
                <a:uLnTx/>
                <a:uFillTx/>
                <a:ea typeface="+mn-ea"/>
                <a:cs typeface="+mn-cs"/>
              </a:rPr>
              <a:t>TSLP</a:t>
            </a:r>
            <a:r>
              <a:rPr kumimoji="0" lang="en-US" sz="1600" b="1" i="0" u="none" strike="noStrike" kern="1200" cap="none" spc="0" normalizeH="0" baseline="0" noProof="0">
                <a:ln>
                  <a:noFill/>
                </a:ln>
                <a:solidFill>
                  <a:srgbClr val="FFFFFF"/>
                </a:solidFill>
                <a:effectLst/>
                <a:uLnTx/>
                <a:uFillTx/>
                <a:ea typeface="+mn-ea"/>
                <a:cs typeface="+mn-cs"/>
              </a:rPr>
              <a:t> expression in EoE</a:t>
            </a:r>
          </a:p>
        </p:txBody>
      </p:sp>
      <p:sp>
        <p:nvSpPr>
          <p:cNvPr id="11" name="Rectangle 10">
            <a:extLst>
              <a:ext uri="{FF2B5EF4-FFF2-40B4-BE49-F238E27FC236}">
                <a16:creationId xmlns:a16="http://schemas.microsoft.com/office/drawing/2014/main" id="{D84AEDB9-E0BC-989C-20D7-FF27921FB0BE}"/>
              </a:ext>
            </a:extLst>
          </p:cNvPr>
          <p:cNvSpPr/>
          <p:nvPr/>
        </p:nvSpPr>
        <p:spPr>
          <a:xfrm>
            <a:off x="479426" y="1412875"/>
            <a:ext cx="5509324" cy="432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4000" tIns="0" rIns="0" bIns="0" rtlCol="0" anchor="ctr" anchorCtr="0">
            <a:noAutofit/>
          </a:bodyPr>
          <a:lstStyle/>
          <a:p>
            <a:pPr>
              <a:spcBef>
                <a:spcPts val="600"/>
              </a:spcBef>
              <a:spcAft>
                <a:spcPts val="600"/>
              </a:spcAft>
              <a:buClr>
                <a:schemeClr val="accent1"/>
              </a:buClr>
            </a:pPr>
            <a:r>
              <a:rPr lang="en-US" sz="1600" b="1" noProof="0">
                <a:solidFill>
                  <a:schemeClr val="bg1"/>
                </a:solidFill>
                <a:cs typeface="Calibri" panose="020F0502020204030204" pitchFamily="34" charset="0"/>
              </a:rPr>
              <a:t>TSLP polymorphisms associated with EoE</a:t>
            </a:r>
          </a:p>
        </p:txBody>
      </p:sp>
      <p:sp>
        <p:nvSpPr>
          <p:cNvPr id="32" name="Rectangle 31">
            <a:extLst>
              <a:ext uri="{FF2B5EF4-FFF2-40B4-BE49-F238E27FC236}">
                <a16:creationId xmlns:a16="http://schemas.microsoft.com/office/drawing/2014/main" id="{F8CF3639-B3CA-96AD-E509-20B8E73FA05A}"/>
              </a:ext>
            </a:extLst>
          </p:cNvPr>
          <p:cNvSpPr/>
          <p:nvPr/>
        </p:nvSpPr>
        <p:spPr>
          <a:xfrm>
            <a:off x="7572575" y="1412875"/>
            <a:ext cx="4121848" cy="432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ts val="600"/>
              </a:spcBef>
              <a:spcAft>
                <a:spcPts val="600"/>
              </a:spcAft>
              <a:buClr>
                <a:schemeClr val="accent1"/>
              </a:buClr>
            </a:pPr>
            <a:r>
              <a:rPr lang="en-US" sz="1600" b="1" noProof="0">
                <a:solidFill>
                  <a:schemeClr val="bg1"/>
                </a:solidFill>
                <a:cs typeface="Calibri" panose="020F0502020204030204" pitchFamily="34" charset="0"/>
              </a:rPr>
              <a:t>Mechanism of TSLP-induced signaling</a:t>
            </a:r>
            <a:r>
              <a:rPr lang="en-US" sz="1600" b="1" baseline="30000" noProof="0">
                <a:solidFill>
                  <a:schemeClr val="bg1"/>
                </a:solidFill>
                <a:cs typeface="Calibri" panose="020F0502020204030204" pitchFamily="34" charset="0"/>
              </a:rPr>
              <a:t>6</a:t>
            </a:r>
          </a:p>
        </p:txBody>
      </p:sp>
      <p:grpSp>
        <p:nvGrpSpPr>
          <p:cNvPr id="33" name="Group 32">
            <a:extLst>
              <a:ext uri="{FF2B5EF4-FFF2-40B4-BE49-F238E27FC236}">
                <a16:creationId xmlns:a16="http://schemas.microsoft.com/office/drawing/2014/main" id="{ED8E999F-82AC-DBA6-37D2-83D1726D0F7F}"/>
              </a:ext>
            </a:extLst>
          </p:cNvPr>
          <p:cNvGrpSpPr/>
          <p:nvPr/>
        </p:nvGrpSpPr>
        <p:grpSpPr>
          <a:xfrm>
            <a:off x="7854673" y="1839430"/>
            <a:ext cx="3568701" cy="3453931"/>
            <a:chOff x="7085413" y="1896865"/>
            <a:chExt cx="3517329" cy="3782356"/>
          </a:xfrm>
        </p:grpSpPr>
        <p:grpSp>
          <p:nvGrpSpPr>
            <p:cNvPr id="34" name="Group 33">
              <a:extLst>
                <a:ext uri="{FF2B5EF4-FFF2-40B4-BE49-F238E27FC236}">
                  <a16:creationId xmlns:a16="http://schemas.microsoft.com/office/drawing/2014/main" id="{6F4B6A36-584C-B770-DA9F-0D0AD68D4D1D}"/>
                </a:ext>
              </a:extLst>
            </p:cNvPr>
            <p:cNvGrpSpPr/>
            <p:nvPr/>
          </p:nvGrpSpPr>
          <p:grpSpPr>
            <a:xfrm>
              <a:off x="7085413" y="2963296"/>
              <a:ext cx="3517329" cy="516504"/>
              <a:chOff x="8206154" y="2912496"/>
              <a:chExt cx="3095830" cy="454608"/>
            </a:xfrm>
          </p:grpSpPr>
          <p:sp>
            <p:nvSpPr>
              <p:cNvPr id="48" name="Free-form: Shape 53">
                <a:extLst>
                  <a:ext uri="{FF2B5EF4-FFF2-40B4-BE49-F238E27FC236}">
                    <a16:creationId xmlns:a16="http://schemas.microsoft.com/office/drawing/2014/main" id="{D2D22FDD-9564-55C9-EDD4-3F79411A6666}"/>
                  </a:ext>
                </a:extLst>
              </p:cNvPr>
              <p:cNvSpPr/>
              <p:nvPr/>
            </p:nvSpPr>
            <p:spPr>
              <a:xfrm>
                <a:off x="8206154"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7"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0" y="225076"/>
                      <a:pt x="86677" y="216122"/>
                    </a:cubicBezTo>
                    <a:cubicBezTo>
                      <a:pt x="82010" y="207550"/>
                      <a:pt x="77629" y="199358"/>
                      <a:pt x="77629" y="182785"/>
                    </a:cubicBezTo>
                    <a:cubicBezTo>
                      <a:pt x="77629"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49" name="Free-form: Shape 54">
                <a:extLst>
                  <a:ext uri="{FF2B5EF4-FFF2-40B4-BE49-F238E27FC236}">
                    <a16:creationId xmlns:a16="http://schemas.microsoft.com/office/drawing/2014/main" id="{AEEB82B9-A046-DA67-C221-4A691C0A4BAF}"/>
                  </a:ext>
                </a:extLst>
              </p:cNvPr>
              <p:cNvSpPr/>
              <p:nvPr/>
            </p:nvSpPr>
            <p:spPr>
              <a:xfrm>
                <a:off x="8300220"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1"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0" name="Free-form: Shape 55">
                <a:extLst>
                  <a:ext uri="{FF2B5EF4-FFF2-40B4-BE49-F238E27FC236}">
                    <a16:creationId xmlns:a16="http://schemas.microsoft.com/office/drawing/2014/main" id="{2AE30682-50CE-8FF5-2F27-48C340575C15}"/>
                  </a:ext>
                </a:extLst>
              </p:cNvPr>
              <p:cNvSpPr/>
              <p:nvPr/>
            </p:nvSpPr>
            <p:spPr>
              <a:xfrm>
                <a:off x="8394351"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1" name="Free-form: Shape 56">
                <a:extLst>
                  <a:ext uri="{FF2B5EF4-FFF2-40B4-BE49-F238E27FC236}">
                    <a16:creationId xmlns:a16="http://schemas.microsoft.com/office/drawing/2014/main" id="{6EB05211-19DA-5091-FDD8-E8540F22A859}"/>
                  </a:ext>
                </a:extLst>
              </p:cNvPr>
              <p:cNvSpPr/>
              <p:nvPr/>
            </p:nvSpPr>
            <p:spPr>
              <a:xfrm>
                <a:off x="8488482"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3" y="228124"/>
                      <a:pt x="89535" y="236315"/>
                      <a:pt x="89535" y="252889"/>
                    </a:cubicBezTo>
                    <a:cubicBezTo>
                      <a:pt x="89535" y="269462"/>
                      <a:pt x="85153" y="277654"/>
                      <a:pt x="80486" y="286226"/>
                    </a:cubicBezTo>
                    <a:cubicBezTo>
                      <a:pt x="75629"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1" y="225076"/>
                      <a:pt x="86677" y="216122"/>
                    </a:cubicBezTo>
                    <a:cubicBezTo>
                      <a:pt x="82010" y="207550"/>
                      <a:pt x="77629" y="199358"/>
                      <a:pt x="77629" y="182785"/>
                    </a:cubicBezTo>
                    <a:cubicBezTo>
                      <a:pt x="77629"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2" name="Free-form: Shape 57">
                <a:extLst>
                  <a:ext uri="{FF2B5EF4-FFF2-40B4-BE49-F238E27FC236}">
                    <a16:creationId xmlns:a16="http://schemas.microsoft.com/office/drawing/2014/main" id="{83F698D3-83D7-A2E7-6D38-CD45236DAC5B}"/>
                  </a:ext>
                </a:extLst>
              </p:cNvPr>
              <p:cNvSpPr/>
              <p:nvPr/>
            </p:nvSpPr>
            <p:spPr>
              <a:xfrm>
                <a:off x="8582612"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1"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3" name="Free-form: Shape 58">
                <a:extLst>
                  <a:ext uri="{FF2B5EF4-FFF2-40B4-BE49-F238E27FC236}">
                    <a16:creationId xmlns:a16="http://schemas.microsoft.com/office/drawing/2014/main" id="{1036202C-C50B-80EE-68BD-66C8799489BD}"/>
                  </a:ext>
                </a:extLst>
              </p:cNvPr>
              <p:cNvSpPr/>
              <p:nvPr/>
            </p:nvSpPr>
            <p:spPr>
              <a:xfrm>
                <a:off x="8676678"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7"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4" y="298323"/>
                      <a:pt x="35052" y="289751"/>
                    </a:cubicBezTo>
                    <a:cubicBezTo>
                      <a:pt x="39909" y="280702"/>
                      <a:pt x="45053" y="271367"/>
                      <a:pt x="45053" y="252984"/>
                    </a:cubicBezTo>
                    <a:cubicBezTo>
                      <a:pt x="45053" y="234601"/>
                      <a:pt x="40005" y="225171"/>
                      <a:pt x="35052" y="216218"/>
                    </a:cubicBezTo>
                    <a:cubicBezTo>
                      <a:pt x="30384" y="207645"/>
                      <a:pt x="26003" y="199454"/>
                      <a:pt x="26003" y="182880"/>
                    </a:cubicBezTo>
                    <a:cubicBezTo>
                      <a:pt x="26003" y="166306"/>
                      <a:pt x="30384"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8" y="155067"/>
                      <a:pt x="70485" y="164306"/>
                      <a:pt x="70485" y="182785"/>
                    </a:cubicBezTo>
                    <a:cubicBezTo>
                      <a:pt x="70485" y="201263"/>
                      <a:pt x="75533" y="210598"/>
                      <a:pt x="80486" y="219551"/>
                    </a:cubicBezTo>
                    <a:cubicBezTo>
                      <a:pt x="85153" y="228124"/>
                      <a:pt x="89535" y="236315"/>
                      <a:pt x="89535" y="252889"/>
                    </a:cubicBezTo>
                    <a:cubicBezTo>
                      <a:pt x="89535" y="269462"/>
                      <a:pt x="85153" y="277654"/>
                      <a:pt x="80486" y="286226"/>
                    </a:cubicBezTo>
                    <a:cubicBezTo>
                      <a:pt x="75628"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0" y="225076"/>
                      <a:pt x="86677" y="216122"/>
                    </a:cubicBezTo>
                    <a:cubicBezTo>
                      <a:pt x="82010" y="207550"/>
                      <a:pt x="77629" y="199358"/>
                      <a:pt x="77629" y="182785"/>
                    </a:cubicBezTo>
                    <a:cubicBezTo>
                      <a:pt x="77629"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4" name="Free-form: Shape 59">
                <a:extLst>
                  <a:ext uri="{FF2B5EF4-FFF2-40B4-BE49-F238E27FC236}">
                    <a16:creationId xmlns:a16="http://schemas.microsoft.com/office/drawing/2014/main" id="{40A70AD7-A509-2472-37B6-3D53F9C11E3E}"/>
                  </a:ext>
                </a:extLst>
              </p:cNvPr>
              <p:cNvSpPr/>
              <p:nvPr/>
            </p:nvSpPr>
            <p:spPr>
              <a:xfrm>
                <a:off x="8770809"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5" name="Free-form: Shape 60">
                <a:extLst>
                  <a:ext uri="{FF2B5EF4-FFF2-40B4-BE49-F238E27FC236}">
                    <a16:creationId xmlns:a16="http://schemas.microsoft.com/office/drawing/2014/main" id="{AB84C0EF-3703-BDE8-0E97-A105B0AC668A}"/>
                  </a:ext>
                </a:extLst>
              </p:cNvPr>
              <p:cNvSpPr/>
              <p:nvPr/>
            </p:nvSpPr>
            <p:spPr>
              <a:xfrm>
                <a:off x="8864940"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56" name="Free-form: Shape 61">
                <a:extLst>
                  <a:ext uri="{FF2B5EF4-FFF2-40B4-BE49-F238E27FC236}">
                    <a16:creationId xmlns:a16="http://schemas.microsoft.com/office/drawing/2014/main" id="{DAEC40E8-B266-0467-8FF6-9EEA820AA4BC}"/>
                  </a:ext>
                </a:extLst>
              </p:cNvPr>
              <p:cNvSpPr/>
              <p:nvPr/>
            </p:nvSpPr>
            <p:spPr>
              <a:xfrm>
                <a:off x="8959070"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7" name="Free-form: Shape 62">
                <a:extLst>
                  <a:ext uri="{FF2B5EF4-FFF2-40B4-BE49-F238E27FC236}">
                    <a16:creationId xmlns:a16="http://schemas.microsoft.com/office/drawing/2014/main" id="{F8358D54-F0A9-8E77-4D85-750B44A54B36}"/>
                  </a:ext>
                </a:extLst>
              </p:cNvPr>
              <p:cNvSpPr/>
              <p:nvPr/>
            </p:nvSpPr>
            <p:spPr>
              <a:xfrm>
                <a:off x="9053136"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1"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58" name="Free-form: Shape 1023">
                <a:extLst>
                  <a:ext uri="{FF2B5EF4-FFF2-40B4-BE49-F238E27FC236}">
                    <a16:creationId xmlns:a16="http://schemas.microsoft.com/office/drawing/2014/main" id="{CA7ABEA0-C60A-7535-4BA7-CCEDE4579A81}"/>
                  </a:ext>
                </a:extLst>
              </p:cNvPr>
              <p:cNvSpPr/>
              <p:nvPr/>
            </p:nvSpPr>
            <p:spPr>
              <a:xfrm>
                <a:off x="9147267"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59" name="Free-form: Shape 1024">
                <a:extLst>
                  <a:ext uri="{FF2B5EF4-FFF2-40B4-BE49-F238E27FC236}">
                    <a16:creationId xmlns:a16="http://schemas.microsoft.com/office/drawing/2014/main" id="{564E8178-251A-FFF9-1C6B-B26A23B5389C}"/>
                  </a:ext>
                </a:extLst>
              </p:cNvPr>
              <p:cNvSpPr/>
              <p:nvPr/>
            </p:nvSpPr>
            <p:spPr>
              <a:xfrm>
                <a:off x="9241397"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60" name="Free-form: Shape 1026">
                <a:extLst>
                  <a:ext uri="{FF2B5EF4-FFF2-40B4-BE49-F238E27FC236}">
                    <a16:creationId xmlns:a16="http://schemas.microsoft.com/office/drawing/2014/main" id="{7581E48C-ED64-99A8-074D-12E41A1B0520}"/>
                  </a:ext>
                </a:extLst>
              </p:cNvPr>
              <p:cNvSpPr/>
              <p:nvPr/>
            </p:nvSpPr>
            <p:spPr>
              <a:xfrm>
                <a:off x="9335463"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61" name="Free-form: Shape 1027">
                <a:extLst>
                  <a:ext uri="{FF2B5EF4-FFF2-40B4-BE49-F238E27FC236}">
                    <a16:creationId xmlns:a16="http://schemas.microsoft.com/office/drawing/2014/main" id="{7D105680-6F51-F458-E734-BB5A8931337F}"/>
                  </a:ext>
                </a:extLst>
              </p:cNvPr>
              <p:cNvSpPr/>
              <p:nvPr/>
            </p:nvSpPr>
            <p:spPr>
              <a:xfrm>
                <a:off x="9429594"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1"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62" name="Free-form: Shape 1028">
                <a:extLst>
                  <a:ext uri="{FF2B5EF4-FFF2-40B4-BE49-F238E27FC236}">
                    <a16:creationId xmlns:a16="http://schemas.microsoft.com/office/drawing/2014/main" id="{2077B1FB-E6C9-CCCB-7B75-1BD5D7E6EE7C}"/>
                  </a:ext>
                </a:extLst>
              </p:cNvPr>
              <p:cNvSpPr/>
              <p:nvPr/>
            </p:nvSpPr>
            <p:spPr>
              <a:xfrm>
                <a:off x="9523725"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63" name="Free-form: Shape 1029">
                <a:extLst>
                  <a:ext uri="{FF2B5EF4-FFF2-40B4-BE49-F238E27FC236}">
                    <a16:creationId xmlns:a16="http://schemas.microsoft.com/office/drawing/2014/main" id="{29BAA274-064B-E18F-C110-3599CBEA5E58}"/>
                  </a:ext>
                </a:extLst>
              </p:cNvPr>
              <p:cNvSpPr/>
              <p:nvPr/>
            </p:nvSpPr>
            <p:spPr>
              <a:xfrm>
                <a:off x="9617855"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6"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64" name="Free-form: Shape 1030">
                <a:extLst>
                  <a:ext uri="{FF2B5EF4-FFF2-40B4-BE49-F238E27FC236}">
                    <a16:creationId xmlns:a16="http://schemas.microsoft.com/office/drawing/2014/main" id="{DF1DBC0E-C4DE-0BB0-ACD9-A6A841543A3B}"/>
                  </a:ext>
                </a:extLst>
              </p:cNvPr>
              <p:cNvSpPr/>
              <p:nvPr/>
            </p:nvSpPr>
            <p:spPr>
              <a:xfrm>
                <a:off x="9711921"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65" name="Free-form: Shape 1031">
                <a:extLst>
                  <a:ext uri="{FF2B5EF4-FFF2-40B4-BE49-F238E27FC236}">
                    <a16:creationId xmlns:a16="http://schemas.microsoft.com/office/drawing/2014/main" id="{6BBFA112-F256-A2AA-96B4-9A70AC27859D}"/>
                  </a:ext>
                </a:extLst>
              </p:cNvPr>
              <p:cNvSpPr/>
              <p:nvPr/>
            </p:nvSpPr>
            <p:spPr>
              <a:xfrm>
                <a:off x="9806051"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66" name="Free-form: Shape 1032">
                <a:extLst>
                  <a:ext uri="{FF2B5EF4-FFF2-40B4-BE49-F238E27FC236}">
                    <a16:creationId xmlns:a16="http://schemas.microsoft.com/office/drawing/2014/main" id="{C0749CA5-1DAD-0B4E-2A30-86D9EF438F4D}"/>
                  </a:ext>
                </a:extLst>
              </p:cNvPr>
              <p:cNvSpPr/>
              <p:nvPr/>
            </p:nvSpPr>
            <p:spPr>
              <a:xfrm>
                <a:off x="9900182"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0" y="225076"/>
                      <a:pt x="86677" y="216122"/>
                    </a:cubicBezTo>
                    <a:cubicBezTo>
                      <a:pt x="82010" y="207550"/>
                      <a:pt x="77629" y="199358"/>
                      <a:pt x="77629" y="182785"/>
                    </a:cubicBezTo>
                    <a:cubicBezTo>
                      <a:pt x="77629"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67" name="Free-form: Shape 1033">
                <a:extLst>
                  <a:ext uri="{FF2B5EF4-FFF2-40B4-BE49-F238E27FC236}">
                    <a16:creationId xmlns:a16="http://schemas.microsoft.com/office/drawing/2014/main" id="{783ED312-B7CF-F62F-D0C3-A03DC699FEB9}"/>
                  </a:ext>
                </a:extLst>
              </p:cNvPr>
              <p:cNvSpPr/>
              <p:nvPr/>
            </p:nvSpPr>
            <p:spPr>
              <a:xfrm>
                <a:off x="9994248"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1"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68" name="Free-form: Shape 1034">
                <a:extLst>
                  <a:ext uri="{FF2B5EF4-FFF2-40B4-BE49-F238E27FC236}">
                    <a16:creationId xmlns:a16="http://schemas.microsoft.com/office/drawing/2014/main" id="{A4DAA191-A547-D598-8313-4245C5C415A2}"/>
                  </a:ext>
                </a:extLst>
              </p:cNvPr>
              <p:cNvSpPr/>
              <p:nvPr/>
            </p:nvSpPr>
            <p:spPr>
              <a:xfrm>
                <a:off x="10088379"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6" y="131636"/>
                      <a:pt x="32956"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1"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69" name="Free-form: Shape 1035">
                <a:extLst>
                  <a:ext uri="{FF2B5EF4-FFF2-40B4-BE49-F238E27FC236}">
                    <a16:creationId xmlns:a16="http://schemas.microsoft.com/office/drawing/2014/main" id="{C2CE110E-681D-128C-836F-1C411E6B7633}"/>
                  </a:ext>
                </a:extLst>
              </p:cNvPr>
              <p:cNvSpPr/>
              <p:nvPr/>
            </p:nvSpPr>
            <p:spPr>
              <a:xfrm>
                <a:off x="10182509"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8" y="0"/>
                      <a:pt x="0" y="27718"/>
                      <a:pt x="0" y="62008"/>
                    </a:cubicBezTo>
                    <a:cubicBezTo>
                      <a:pt x="0" y="87630"/>
                      <a:pt x="15526" y="109633"/>
                      <a:pt x="37719" y="119063"/>
                    </a:cubicBezTo>
                    <a:cubicBezTo>
                      <a:pt x="36767" y="131636"/>
                      <a:pt x="32956"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1"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1" y="225076"/>
                      <a:pt x="86678" y="216122"/>
                    </a:cubicBezTo>
                    <a:cubicBezTo>
                      <a:pt x="82010" y="207550"/>
                      <a:pt x="77629" y="199358"/>
                      <a:pt x="77629" y="182785"/>
                    </a:cubicBezTo>
                    <a:cubicBezTo>
                      <a:pt x="77629" y="166211"/>
                      <a:pt x="82010" y="158020"/>
                      <a:pt x="86678" y="149447"/>
                    </a:cubicBezTo>
                    <a:cubicBezTo>
                      <a:pt x="91535" y="140494"/>
                      <a:pt x="96489"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70" name="Free-form: Shape 1036">
                <a:extLst>
                  <a:ext uri="{FF2B5EF4-FFF2-40B4-BE49-F238E27FC236}">
                    <a16:creationId xmlns:a16="http://schemas.microsoft.com/office/drawing/2014/main" id="{361B7A86-C0DB-CE48-9354-47D36814AF7C}"/>
                  </a:ext>
                </a:extLst>
              </p:cNvPr>
              <p:cNvSpPr/>
              <p:nvPr/>
            </p:nvSpPr>
            <p:spPr>
              <a:xfrm>
                <a:off x="10276640" y="2912496"/>
                <a:ext cx="84232" cy="219444"/>
              </a:xfrm>
              <a:custGeom>
                <a:avLst/>
                <a:gdLst>
                  <a:gd name="connsiteX0" fmla="*/ 96869 w 124015"/>
                  <a:gd name="connsiteY0" fmla="*/ 113252 h 323088"/>
                  <a:gd name="connsiteX1" fmla="*/ 124015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0 w 124015"/>
                  <a:gd name="connsiteY5" fmla="*/ 146114 h 323088"/>
                  <a:gd name="connsiteX6" fmla="*/ 18859 w 124015"/>
                  <a:gd name="connsiteY6" fmla="*/ 182880 h 323088"/>
                  <a:gd name="connsiteX7" fmla="*/ 28860 w 124015"/>
                  <a:gd name="connsiteY7" fmla="*/ 219647 h 323088"/>
                  <a:gd name="connsiteX8" fmla="*/ 37909 w 124015"/>
                  <a:gd name="connsiteY8" fmla="*/ 252984 h 323088"/>
                  <a:gd name="connsiteX9" fmla="*/ 28860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8 w 124015"/>
                  <a:gd name="connsiteY26" fmla="*/ 322993 h 323088"/>
                  <a:gd name="connsiteX27" fmla="*/ 86677 w 124015"/>
                  <a:gd name="connsiteY27" fmla="*/ 289655 h 323088"/>
                  <a:gd name="connsiteX28" fmla="*/ 96678 w 124015"/>
                  <a:gd name="connsiteY28" fmla="*/ 252889 h 323088"/>
                  <a:gd name="connsiteX29" fmla="*/ 86677 w 124015"/>
                  <a:gd name="connsiteY29" fmla="*/ 216122 h 323088"/>
                  <a:gd name="connsiteX30" fmla="*/ 77628 w 124015"/>
                  <a:gd name="connsiteY30" fmla="*/ 182785 h 323088"/>
                  <a:gd name="connsiteX31" fmla="*/ 86677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8" y="0"/>
                    </a:cubicBezTo>
                    <a:cubicBezTo>
                      <a:pt x="27717" y="0"/>
                      <a:pt x="0" y="27718"/>
                      <a:pt x="0" y="62008"/>
                    </a:cubicBezTo>
                    <a:cubicBezTo>
                      <a:pt x="0" y="87630"/>
                      <a:pt x="15526" y="109633"/>
                      <a:pt x="37719" y="119063"/>
                    </a:cubicBezTo>
                    <a:cubicBezTo>
                      <a:pt x="36766" y="131636"/>
                      <a:pt x="32956" y="138684"/>
                      <a:pt x="28860" y="146114"/>
                    </a:cubicBezTo>
                    <a:cubicBezTo>
                      <a:pt x="24003" y="155162"/>
                      <a:pt x="18859" y="164402"/>
                      <a:pt x="18859" y="182880"/>
                    </a:cubicBezTo>
                    <a:cubicBezTo>
                      <a:pt x="18859" y="201359"/>
                      <a:pt x="23908" y="210693"/>
                      <a:pt x="28860" y="219647"/>
                    </a:cubicBezTo>
                    <a:cubicBezTo>
                      <a:pt x="33528" y="228219"/>
                      <a:pt x="37909" y="236411"/>
                      <a:pt x="37909" y="252984"/>
                    </a:cubicBezTo>
                    <a:cubicBezTo>
                      <a:pt x="37909" y="269557"/>
                      <a:pt x="33528" y="277749"/>
                      <a:pt x="28860"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2"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8" y="322993"/>
                    </a:lnTo>
                    <a:cubicBezTo>
                      <a:pt x="77628" y="306324"/>
                      <a:pt x="82010" y="298228"/>
                      <a:pt x="86677" y="289655"/>
                    </a:cubicBezTo>
                    <a:cubicBezTo>
                      <a:pt x="91535" y="280607"/>
                      <a:pt x="96678" y="271272"/>
                      <a:pt x="96678" y="252889"/>
                    </a:cubicBezTo>
                    <a:cubicBezTo>
                      <a:pt x="96678" y="234506"/>
                      <a:pt x="91630" y="225076"/>
                      <a:pt x="86677" y="216122"/>
                    </a:cubicBezTo>
                    <a:cubicBezTo>
                      <a:pt x="82010" y="207550"/>
                      <a:pt x="77628" y="199358"/>
                      <a:pt x="77628" y="182785"/>
                    </a:cubicBezTo>
                    <a:cubicBezTo>
                      <a:pt x="77628" y="166211"/>
                      <a:pt x="82010" y="158020"/>
                      <a:pt x="86677"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1" name="Free-form: Shape 1037">
                <a:extLst>
                  <a:ext uri="{FF2B5EF4-FFF2-40B4-BE49-F238E27FC236}">
                    <a16:creationId xmlns:a16="http://schemas.microsoft.com/office/drawing/2014/main" id="{B830ED51-847B-5986-7258-B40DC9860B9B}"/>
                  </a:ext>
                </a:extLst>
              </p:cNvPr>
              <p:cNvSpPr/>
              <p:nvPr/>
            </p:nvSpPr>
            <p:spPr>
              <a:xfrm>
                <a:off x="10370705"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6" y="131636"/>
                      <a:pt x="32957"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2" name="Free-form: Shape 1038">
                <a:extLst>
                  <a:ext uri="{FF2B5EF4-FFF2-40B4-BE49-F238E27FC236}">
                    <a16:creationId xmlns:a16="http://schemas.microsoft.com/office/drawing/2014/main" id="{0818148F-986D-CD3D-73C1-C5F6761B12B5}"/>
                  </a:ext>
                </a:extLst>
              </p:cNvPr>
              <p:cNvSpPr/>
              <p:nvPr/>
            </p:nvSpPr>
            <p:spPr>
              <a:xfrm>
                <a:off x="10464836" y="2912496"/>
                <a:ext cx="84232" cy="219444"/>
              </a:xfrm>
              <a:custGeom>
                <a:avLst/>
                <a:gdLst>
                  <a:gd name="connsiteX0" fmla="*/ 96870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4 w 124015"/>
                  <a:gd name="connsiteY11" fmla="*/ 323088 h 323088"/>
                  <a:gd name="connsiteX12" fmla="*/ 35052 w 124015"/>
                  <a:gd name="connsiteY12" fmla="*/ 289751 h 323088"/>
                  <a:gd name="connsiteX13" fmla="*/ 45054 w 124015"/>
                  <a:gd name="connsiteY13" fmla="*/ 252984 h 323088"/>
                  <a:gd name="connsiteX14" fmla="*/ 35052 w 124015"/>
                  <a:gd name="connsiteY14" fmla="*/ 216218 h 323088"/>
                  <a:gd name="connsiteX15" fmla="*/ 26004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70"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4" y="323088"/>
                    </a:lnTo>
                    <a:cubicBezTo>
                      <a:pt x="26004" y="306419"/>
                      <a:pt x="30385" y="298323"/>
                      <a:pt x="35052" y="289751"/>
                    </a:cubicBezTo>
                    <a:cubicBezTo>
                      <a:pt x="39910" y="280702"/>
                      <a:pt x="45054" y="271367"/>
                      <a:pt x="45054" y="252984"/>
                    </a:cubicBezTo>
                    <a:cubicBezTo>
                      <a:pt x="45054" y="234601"/>
                      <a:pt x="40005" y="225171"/>
                      <a:pt x="35052" y="216218"/>
                    </a:cubicBezTo>
                    <a:cubicBezTo>
                      <a:pt x="30385" y="207645"/>
                      <a:pt x="26004" y="199454"/>
                      <a:pt x="26004" y="182880"/>
                    </a:cubicBezTo>
                    <a:cubicBezTo>
                      <a:pt x="26004"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1" y="298228"/>
                      <a:pt x="86678" y="289655"/>
                    </a:cubicBezTo>
                    <a:cubicBezTo>
                      <a:pt x="91536" y="280607"/>
                      <a:pt x="96679" y="271272"/>
                      <a:pt x="96679" y="252889"/>
                    </a:cubicBezTo>
                    <a:cubicBezTo>
                      <a:pt x="96679" y="234506"/>
                      <a:pt x="91630" y="225076"/>
                      <a:pt x="86678" y="216122"/>
                    </a:cubicBezTo>
                    <a:cubicBezTo>
                      <a:pt x="82011" y="207550"/>
                      <a:pt x="77629" y="199358"/>
                      <a:pt x="77629" y="182785"/>
                    </a:cubicBezTo>
                    <a:cubicBezTo>
                      <a:pt x="77629" y="166211"/>
                      <a:pt x="82011" y="158020"/>
                      <a:pt x="86678" y="149447"/>
                    </a:cubicBezTo>
                    <a:cubicBezTo>
                      <a:pt x="91536"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3" name="Free-form: Shape 1039">
                <a:extLst>
                  <a:ext uri="{FF2B5EF4-FFF2-40B4-BE49-F238E27FC236}">
                    <a16:creationId xmlns:a16="http://schemas.microsoft.com/office/drawing/2014/main" id="{94E9145C-CFC9-B9E8-4365-78D69626EAAD}"/>
                  </a:ext>
                </a:extLst>
              </p:cNvPr>
              <p:cNvSpPr/>
              <p:nvPr/>
            </p:nvSpPr>
            <p:spPr>
              <a:xfrm>
                <a:off x="10558967" y="2912496"/>
                <a:ext cx="84232" cy="219444"/>
              </a:xfrm>
              <a:custGeom>
                <a:avLst/>
                <a:gdLst>
                  <a:gd name="connsiteX0" fmla="*/ 96869 w 124015"/>
                  <a:gd name="connsiteY0" fmla="*/ 113252 h 323088"/>
                  <a:gd name="connsiteX1" fmla="*/ 124015 w 124015"/>
                  <a:gd name="connsiteY1" fmla="*/ 62008 h 323088"/>
                  <a:gd name="connsiteX2" fmla="*/ 62007 w 124015"/>
                  <a:gd name="connsiteY2" fmla="*/ 0 h 323088"/>
                  <a:gd name="connsiteX3" fmla="*/ 0 w 124015"/>
                  <a:gd name="connsiteY3" fmla="*/ 62008 h 323088"/>
                  <a:gd name="connsiteX4" fmla="*/ 37719 w 124015"/>
                  <a:gd name="connsiteY4" fmla="*/ 119063 h 323088"/>
                  <a:gd name="connsiteX5" fmla="*/ 28860 w 124015"/>
                  <a:gd name="connsiteY5" fmla="*/ 146114 h 323088"/>
                  <a:gd name="connsiteX6" fmla="*/ 18859 w 124015"/>
                  <a:gd name="connsiteY6" fmla="*/ 182880 h 323088"/>
                  <a:gd name="connsiteX7" fmla="*/ 28860 w 124015"/>
                  <a:gd name="connsiteY7" fmla="*/ 219647 h 323088"/>
                  <a:gd name="connsiteX8" fmla="*/ 37909 w 124015"/>
                  <a:gd name="connsiteY8" fmla="*/ 252984 h 323088"/>
                  <a:gd name="connsiteX9" fmla="*/ 28860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39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8 w 124015"/>
                  <a:gd name="connsiteY26" fmla="*/ 322993 h 323088"/>
                  <a:gd name="connsiteX27" fmla="*/ 86677 w 124015"/>
                  <a:gd name="connsiteY27" fmla="*/ 289655 h 323088"/>
                  <a:gd name="connsiteX28" fmla="*/ 96678 w 124015"/>
                  <a:gd name="connsiteY28" fmla="*/ 252889 h 323088"/>
                  <a:gd name="connsiteX29" fmla="*/ 86677 w 124015"/>
                  <a:gd name="connsiteY29" fmla="*/ 216122 h 323088"/>
                  <a:gd name="connsiteX30" fmla="*/ 77628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7" y="0"/>
                    </a:cubicBezTo>
                    <a:cubicBezTo>
                      <a:pt x="27717" y="0"/>
                      <a:pt x="0" y="27718"/>
                      <a:pt x="0" y="62008"/>
                    </a:cubicBezTo>
                    <a:cubicBezTo>
                      <a:pt x="0" y="87630"/>
                      <a:pt x="15525" y="109633"/>
                      <a:pt x="37719" y="119063"/>
                    </a:cubicBezTo>
                    <a:cubicBezTo>
                      <a:pt x="36766" y="131636"/>
                      <a:pt x="32956" y="138684"/>
                      <a:pt x="28860" y="146114"/>
                    </a:cubicBezTo>
                    <a:cubicBezTo>
                      <a:pt x="24003" y="155162"/>
                      <a:pt x="18859" y="164402"/>
                      <a:pt x="18859" y="182880"/>
                    </a:cubicBezTo>
                    <a:cubicBezTo>
                      <a:pt x="18859" y="201359"/>
                      <a:pt x="23907" y="210693"/>
                      <a:pt x="28860" y="219647"/>
                    </a:cubicBezTo>
                    <a:cubicBezTo>
                      <a:pt x="33528" y="228219"/>
                      <a:pt x="37909" y="236411"/>
                      <a:pt x="37909" y="252984"/>
                    </a:cubicBezTo>
                    <a:cubicBezTo>
                      <a:pt x="37909" y="269557"/>
                      <a:pt x="33528" y="277749"/>
                      <a:pt x="28860"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1" y="123063"/>
                      <a:pt x="55912" y="123920"/>
                      <a:pt x="61913" y="123920"/>
                    </a:cubicBezTo>
                    <a:cubicBezTo>
                      <a:pt x="71818" y="123920"/>
                      <a:pt x="81153" y="121539"/>
                      <a:pt x="89439"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8" y="322993"/>
                    </a:lnTo>
                    <a:cubicBezTo>
                      <a:pt x="77628" y="306324"/>
                      <a:pt x="82010" y="298228"/>
                      <a:pt x="86677" y="289655"/>
                    </a:cubicBezTo>
                    <a:cubicBezTo>
                      <a:pt x="91535" y="280607"/>
                      <a:pt x="96678" y="271272"/>
                      <a:pt x="96678" y="252889"/>
                    </a:cubicBezTo>
                    <a:cubicBezTo>
                      <a:pt x="96678" y="234506"/>
                      <a:pt x="91630" y="225076"/>
                      <a:pt x="86677" y="216122"/>
                    </a:cubicBezTo>
                    <a:cubicBezTo>
                      <a:pt x="82010" y="207550"/>
                      <a:pt x="77628" y="199358"/>
                      <a:pt x="77628" y="182785"/>
                    </a:cubicBezTo>
                    <a:cubicBezTo>
                      <a:pt x="77628"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74" name="Free-form: Shape 1040">
                <a:extLst>
                  <a:ext uri="{FF2B5EF4-FFF2-40B4-BE49-F238E27FC236}">
                    <a16:creationId xmlns:a16="http://schemas.microsoft.com/office/drawing/2014/main" id="{F20D05EA-33A4-64C5-48A5-D0C02200C1A7}"/>
                  </a:ext>
                </a:extLst>
              </p:cNvPr>
              <p:cNvSpPr/>
              <p:nvPr/>
            </p:nvSpPr>
            <p:spPr>
              <a:xfrm>
                <a:off x="10653033"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0 w 124015"/>
                  <a:gd name="connsiteY5" fmla="*/ 146114 h 323088"/>
                  <a:gd name="connsiteX6" fmla="*/ 18859 w 124015"/>
                  <a:gd name="connsiteY6" fmla="*/ 182880 h 323088"/>
                  <a:gd name="connsiteX7" fmla="*/ 28860 w 124015"/>
                  <a:gd name="connsiteY7" fmla="*/ 219647 h 323088"/>
                  <a:gd name="connsiteX8" fmla="*/ 37909 w 124015"/>
                  <a:gd name="connsiteY8" fmla="*/ 252984 h 323088"/>
                  <a:gd name="connsiteX9" fmla="*/ 28860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7" y="0"/>
                      <a:pt x="0" y="27718"/>
                      <a:pt x="0" y="62008"/>
                    </a:cubicBezTo>
                    <a:cubicBezTo>
                      <a:pt x="0" y="87630"/>
                      <a:pt x="15526" y="109633"/>
                      <a:pt x="37719" y="119063"/>
                    </a:cubicBezTo>
                    <a:cubicBezTo>
                      <a:pt x="36766" y="131636"/>
                      <a:pt x="32957" y="138684"/>
                      <a:pt x="28860" y="146114"/>
                    </a:cubicBezTo>
                    <a:cubicBezTo>
                      <a:pt x="24003" y="155162"/>
                      <a:pt x="18859" y="164402"/>
                      <a:pt x="18859" y="182880"/>
                    </a:cubicBezTo>
                    <a:cubicBezTo>
                      <a:pt x="18859" y="201359"/>
                      <a:pt x="23908" y="210693"/>
                      <a:pt x="28860" y="219647"/>
                    </a:cubicBezTo>
                    <a:cubicBezTo>
                      <a:pt x="33528" y="228219"/>
                      <a:pt x="37909" y="236411"/>
                      <a:pt x="37909" y="252984"/>
                    </a:cubicBezTo>
                    <a:cubicBezTo>
                      <a:pt x="37909" y="269557"/>
                      <a:pt x="33528" y="277749"/>
                      <a:pt x="28860"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2"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0" y="225076"/>
                      <a:pt x="86677" y="216122"/>
                    </a:cubicBezTo>
                    <a:cubicBezTo>
                      <a:pt x="82010" y="207550"/>
                      <a:pt x="77629" y="199358"/>
                      <a:pt x="77629" y="182785"/>
                    </a:cubicBezTo>
                    <a:cubicBezTo>
                      <a:pt x="77629" y="166211"/>
                      <a:pt x="82010" y="158020"/>
                      <a:pt x="86677"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5" name="Free-form: Shape 1041">
                <a:extLst>
                  <a:ext uri="{FF2B5EF4-FFF2-40B4-BE49-F238E27FC236}">
                    <a16:creationId xmlns:a16="http://schemas.microsoft.com/office/drawing/2014/main" id="{22C2C42A-134A-FDD4-DF8E-CED5F0A13474}"/>
                  </a:ext>
                </a:extLst>
              </p:cNvPr>
              <p:cNvSpPr/>
              <p:nvPr/>
            </p:nvSpPr>
            <p:spPr>
              <a:xfrm>
                <a:off x="10747163"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6" y="131636"/>
                      <a:pt x="32957"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2"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8" y="289655"/>
                    </a:cubicBezTo>
                    <a:cubicBezTo>
                      <a:pt x="91535" y="280607"/>
                      <a:pt x="96679" y="271272"/>
                      <a:pt x="96679" y="252889"/>
                    </a:cubicBezTo>
                    <a:cubicBezTo>
                      <a:pt x="96679" y="234506"/>
                      <a:pt x="91630" y="225076"/>
                      <a:pt x="86678" y="216122"/>
                    </a:cubicBezTo>
                    <a:cubicBezTo>
                      <a:pt x="82010" y="207550"/>
                      <a:pt x="77629" y="199358"/>
                      <a:pt x="77629" y="182785"/>
                    </a:cubicBezTo>
                    <a:cubicBezTo>
                      <a:pt x="77629" y="166211"/>
                      <a:pt x="82010" y="158020"/>
                      <a:pt x="86678"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6" name="Free-form: Shape 1042">
                <a:extLst>
                  <a:ext uri="{FF2B5EF4-FFF2-40B4-BE49-F238E27FC236}">
                    <a16:creationId xmlns:a16="http://schemas.microsoft.com/office/drawing/2014/main" id="{8982BF8D-80A7-7140-8A72-91356D5FA699}"/>
                  </a:ext>
                </a:extLst>
              </p:cNvPr>
              <p:cNvSpPr/>
              <p:nvPr/>
            </p:nvSpPr>
            <p:spPr>
              <a:xfrm>
                <a:off x="10841294" y="2912496"/>
                <a:ext cx="84232" cy="219444"/>
              </a:xfrm>
              <a:custGeom>
                <a:avLst/>
                <a:gdLst>
                  <a:gd name="connsiteX0" fmla="*/ 96870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4 w 124015"/>
                  <a:gd name="connsiteY11" fmla="*/ 323088 h 323088"/>
                  <a:gd name="connsiteX12" fmla="*/ 35052 w 124015"/>
                  <a:gd name="connsiteY12" fmla="*/ 289751 h 323088"/>
                  <a:gd name="connsiteX13" fmla="*/ 45054 w 124015"/>
                  <a:gd name="connsiteY13" fmla="*/ 252984 h 323088"/>
                  <a:gd name="connsiteX14" fmla="*/ 35052 w 124015"/>
                  <a:gd name="connsiteY14" fmla="*/ 216218 h 323088"/>
                  <a:gd name="connsiteX15" fmla="*/ 26004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70"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4" y="323088"/>
                    </a:lnTo>
                    <a:cubicBezTo>
                      <a:pt x="26004" y="306419"/>
                      <a:pt x="30385" y="298323"/>
                      <a:pt x="35052" y="289751"/>
                    </a:cubicBezTo>
                    <a:cubicBezTo>
                      <a:pt x="39910" y="280702"/>
                      <a:pt x="45054" y="271367"/>
                      <a:pt x="45054" y="252984"/>
                    </a:cubicBezTo>
                    <a:cubicBezTo>
                      <a:pt x="45054" y="234601"/>
                      <a:pt x="40005" y="225171"/>
                      <a:pt x="35052" y="216218"/>
                    </a:cubicBezTo>
                    <a:cubicBezTo>
                      <a:pt x="30385" y="207645"/>
                      <a:pt x="26004" y="199454"/>
                      <a:pt x="26004" y="182880"/>
                    </a:cubicBezTo>
                    <a:cubicBezTo>
                      <a:pt x="26004"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1" y="298228"/>
                      <a:pt x="86678" y="289655"/>
                    </a:cubicBezTo>
                    <a:cubicBezTo>
                      <a:pt x="91536" y="280607"/>
                      <a:pt x="96679" y="271272"/>
                      <a:pt x="96679" y="252889"/>
                    </a:cubicBezTo>
                    <a:cubicBezTo>
                      <a:pt x="96679" y="234506"/>
                      <a:pt x="91630" y="225076"/>
                      <a:pt x="86678" y="216122"/>
                    </a:cubicBezTo>
                    <a:cubicBezTo>
                      <a:pt x="82011" y="207550"/>
                      <a:pt x="77629" y="199358"/>
                      <a:pt x="77629" y="182785"/>
                    </a:cubicBezTo>
                    <a:cubicBezTo>
                      <a:pt x="77629" y="166211"/>
                      <a:pt x="82011" y="158020"/>
                      <a:pt x="86678" y="149447"/>
                    </a:cubicBezTo>
                    <a:cubicBezTo>
                      <a:pt x="91536"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7" name="Free-form: Shape 1043">
                <a:extLst>
                  <a:ext uri="{FF2B5EF4-FFF2-40B4-BE49-F238E27FC236}">
                    <a16:creationId xmlns:a16="http://schemas.microsoft.com/office/drawing/2014/main" id="{C24DF82E-E80D-9C16-126F-F5111539E509}"/>
                  </a:ext>
                </a:extLst>
              </p:cNvPr>
              <p:cNvSpPr/>
              <p:nvPr/>
            </p:nvSpPr>
            <p:spPr>
              <a:xfrm>
                <a:off x="10935425" y="2912496"/>
                <a:ext cx="84232" cy="219444"/>
              </a:xfrm>
              <a:custGeom>
                <a:avLst/>
                <a:gdLst>
                  <a:gd name="connsiteX0" fmla="*/ 96869 w 124015"/>
                  <a:gd name="connsiteY0" fmla="*/ 113252 h 323088"/>
                  <a:gd name="connsiteX1" fmla="*/ 124015 w 124015"/>
                  <a:gd name="connsiteY1" fmla="*/ 62008 h 323088"/>
                  <a:gd name="connsiteX2" fmla="*/ 62007 w 124015"/>
                  <a:gd name="connsiteY2" fmla="*/ 0 h 323088"/>
                  <a:gd name="connsiteX3" fmla="*/ 0 w 124015"/>
                  <a:gd name="connsiteY3" fmla="*/ 62008 h 323088"/>
                  <a:gd name="connsiteX4" fmla="*/ 37719 w 124015"/>
                  <a:gd name="connsiteY4" fmla="*/ 119063 h 323088"/>
                  <a:gd name="connsiteX5" fmla="*/ 28860 w 124015"/>
                  <a:gd name="connsiteY5" fmla="*/ 146114 h 323088"/>
                  <a:gd name="connsiteX6" fmla="*/ 18859 w 124015"/>
                  <a:gd name="connsiteY6" fmla="*/ 182880 h 323088"/>
                  <a:gd name="connsiteX7" fmla="*/ 28860 w 124015"/>
                  <a:gd name="connsiteY7" fmla="*/ 219647 h 323088"/>
                  <a:gd name="connsiteX8" fmla="*/ 37909 w 124015"/>
                  <a:gd name="connsiteY8" fmla="*/ 252984 h 323088"/>
                  <a:gd name="connsiteX9" fmla="*/ 28860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39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8 w 124015"/>
                  <a:gd name="connsiteY26" fmla="*/ 322993 h 323088"/>
                  <a:gd name="connsiteX27" fmla="*/ 86677 w 124015"/>
                  <a:gd name="connsiteY27" fmla="*/ 289655 h 323088"/>
                  <a:gd name="connsiteX28" fmla="*/ 96678 w 124015"/>
                  <a:gd name="connsiteY28" fmla="*/ 252889 h 323088"/>
                  <a:gd name="connsiteX29" fmla="*/ 86677 w 124015"/>
                  <a:gd name="connsiteY29" fmla="*/ 216122 h 323088"/>
                  <a:gd name="connsiteX30" fmla="*/ 77628 w 124015"/>
                  <a:gd name="connsiteY30" fmla="*/ 182785 h 323088"/>
                  <a:gd name="connsiteX31" fmla="*/ 86677 w 124015"/>
                  <a:gd name="connsiteY31" fmla="*/ 149447 h 323088"/>
                  <a:gd name="connsiteX32" fmla="*/ 96583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5" y="83344"/>
                      <a:pt x="124015" y="62008"/>
                    </a:cubicBezTo>
                    <a:cubicBezTo>
                      <a:pt x="124015" y="27813"/>
                      <a:pt x="96298" y="0"/>
                      <a:pt x="62007" y="0"/>
                    </a:cubicBezTo>
                    <a:cubicBezTo>
                      <a:pt x="27717" y="0"/>
                      <a:pt x="0" y="27718"/>
                      <a:pt x="0" y="62008"/>
                    </a:cubicBezTo>
                    <a:cubicBezTo>
                      <a:pt x="0" y="87630"/>
                      <a:pt x="15525" y="109633"/>
                      <a:pt x="37719" y="119063"/>
                    </a:cubicBezTo>
                    <a:cubicBezTo>
                      <a:pt x="36766" y="131636"/>
                      <a:pt x="32956" y="138684"/>
                      <a:pt x="28860" y="146114"/>
                    </a:cubicBezTo>
                    <a:cubicBezTo>
                      <a:pt x="24003" y="155162"/>
                      <a:pt x="18859" y="164402"/>
                      <a:pt x="18859" y="182880"/>
                    </a:cubicBezTo>
                    <a:cubicBezTo>
                      <a:pt x="18859" y="201359"/>
                      <a:pt x="23907" y="210693"/>
                      <a:pt x="28860" y="219647"/>
                    </a:cubicBezTo>
                    <a:cubicBezTo>
                      <a:pt x="33528" y="228219"/>
                      <a:pt x="37909" y="236411"/>
                      <a:pt x="37909" y="252984"/>
                    </a:cubicBezTo>
                    <a:cubicBezTo>
                      <a:pt x="37909" y="269557"/>
                      <a:pt x="33528" y="277749"/>
                      <a:pt x="28860" y="286322"/>
                    </a:cubicBezTo>
                    <a:cubicBezTo>
                      <a:pt x="24003" y="295370"/>
                      <a:pt x="18859" y="304705"/>
                      <a:pt x="18859" y="323088"/>
                    </a:cubicBezTo>
                    <a:lnTo>
                      <a:pt x="26003" y="323088"/>
                    </a:lnTo>
                    <a:cubicBezTo>
                      <a:pt x="26003" y="306419"/>
                      <a:pt x="30384" y="298323"/>
                      <a:pt x="35052" y="289751"/>
                    </a:cubicBezTo>
                    <a:cubicBezTo>
                      <a:pt x="39909" y="280702"/>
                      <a:pt x="45053" y="271367"/>
                      <a:pt x="45053" y="252984"/>
                    </a:cubicBezTo>
                    <a:cubicBezTo>
                      <a:pt x="45053" y="234601"/>
                      <a:pt x="40005" y="225171"/>
                      <a:pt x="35052" y="216218"/>
                    </a:cubicBezTo>
                    <a:cubicBezTo>
                      <a:pt x="30384" y="207645"/>
                      <a:pt x="26003" y="199454"/>
                      <a:pt x="26003" y="182880"/>
                    </a:cubicBezTo>
                    <a:cubicBezTo>
                      <a:pt x="26003" y="166306"/>
                      <a:pt x="30384" y="158115"/>
                      <a:pt x="35052" y="149543"/>
                    </a:cubicBezTo>
                    <a:cubicBezTo>
                      <a:pt x="39148" y="142113"/>
                      <a:pt x="43243" y="134302"/>
                      <a:pt x="44577" y="121444"/>
                    </a:cubicBezTo>
                    <a:cubicBezTo>
                      <a:pt x="50101" y="123063"/>
                      <a:pt x="55912" y="123920"/>
                      <a:pt x="61913" y="123920"/>
                    </a:cubicBezTo>
                    <a:cubicBezTo>
                      <a:pt x="71818" y="123920"/>
                      <a:pt x="81153" y="121539"/>
                      <a:pt x="89439" y="117348"/>
                    </a:cubicBezTo>
                    <a:cubicBezTo>
                      <a:pt x="88678" y="130874"/>
                      <a:pt x="84677" y="138303"/>
                      <a:pt x="80486" y="146018"/>
                    </a:cubicBezTo>
                    <a:cubicBezTo>
                      <a:pt x="75628" y="155067"/>
                      <a:pt x="70485" y="164306"/>
                      <a:pt x="70485" y="182785"/>
                    </a:cubicBezTo>
                    <a:cubicBezTo>
                      <a:pt x="70485" y="201263"/>
                      <a:pt x="75533" y="210598"/>
                      <a:pt x="80486" y="219551"/>
                    </a:cubicBezTo>
                    <a:cubicBezTo>
                      <a:pt x="85153" y="228124"/>
                      <a:pt x="89535" y="236315"/>
                      <a:pt x="89535" y="252889"/>
                    </a:cubicBezTo>
                    <a:cubicBezTo>
                      <a:pt x="89535" y="269462"/>
                      <a:pt x="85153" y="277654"/>
                      <a:pt x="80486" y="286226"/>
                    </a:cubicBezTo>
                    <a:cubicBezTo>
                      <a:pt x="75628" y="295275"/>
                      <a:pt x="70485" y="304610"/>
                      <a:pt x="70485" y="322993"/>
                    </a:cubicBezTo>
                    <a:lnTo>
                      <a:pt x="77628" y="322993"/>
                    </a:lnTo>
                    <a:cubicBezTo>
                      <a:pt x="77628" y="306324"/>
                      <a:pt x="82010" y="298228"/>
                      <a:pt x="86677" y="289655"/>
                    </a:cubicBezTo>
                    <a:cubicBezTo>
                      <a:pt x="91535" y="280607"/>
                      <a:pt x="96678" y="271272"/>
                      <a:pt x="96678" y="252889"/>
                    </a:cubicBezTo>
                    <a:cubicBezTo>
                      <a:pt x="96678" y="234506"/>
                      <a:pt x="91630" y="225076"/>
                      <a:pt x="86677" y="216122"/>
                    </a:cubicBezTo>
                    <a:cubicBezTo>
                      <a:pt x="82010" y="207550"/>
                      <a:pt x="77628" y="199358"/>
                      <a:pt x="77628" y="182785"/>
                    </a:cubicBezTo>
                    <a:cubicBezTo>
                      <a:pt x="77628" y="166211"/>
                      <a:pt x="82010" y="158020"/>
                      <a:pt x="86677" y="149447"/>
                    </a:cubicBezTo>
                    <a:cubicBezTo>
                      <a:pt x="91535" y="140494"/>
                      <a:pt x="96488" y="131254"/>
                      <a:pt x="96583" y="113157"/>
                    </a:cubicBezTo>
                    <a:close/>
                  </a:path>
                </a:pathLst>
              </a:custGeom>
              <a:solidFill>
                <a:schemeClr val="bg2"/>
              </a:solidFill>
              <a:ln w="9525" cap="flat">
                <a:noFill/>
                <a:prstDash val="solid"/>
                <a:miter/>
              </a:ln>
            </p:spPr>
            <p:txBody>
              <a:bodyPr rtlCol="0" anchor="ctr"/>
              <a:lstStyle/>
              <a:p>
                <a:endParaRPr lang="en-US" noProof="0"/>
              </a:p>
            </p:txBody>
          </p:sp>
          <p:sp>
            <p:nvSpPr>
              <p:cNvPr id="78" name="Free-form: Shape 1044">
                <a:extLst>
                  <a:ext uri="{FF2B5EF4-FFF2-40B4-BE49-F238E27FC236}">
                    <a16:creationId xmlns:a16="http://schemas.microsoft.com/office/drawing/2014/main" id="{1E7EFDAC-FA0B-08F9-96EF-6FAD068D24CE}"/>
                  </a:ext>
                </a:extLst>
              </p:cNvPr>
              <p:cNvSpPr/>
              <p:nvPr/>
            </p:nvSpPr>
            <p:spPr>
              <a:xfrm>
                <a:off x="11029490"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0 w 124015"/>
                  <a:gd name="connsiteY5" fmla="*/ 146114 h 323088"/>
                  <a:gd name="connsiteX6" fmla="*/ 18859 w 124015"/>
                  <a:gd name="connsiteY6" fmla="*/ 182880 h 323088"/>
                  <a:gd name="connsiteX7" fmla="*/ 28860 w 124015"/>
                  <a:gd name="connsiteY7" fmla="*/ 219647 h 323088"/>
                  <a:gd name="connsiteX8" fmla="*/ 37909 w 124015"/>
                  <a:gd name="connsiteY8" fmla="*/ 252984 h 323088"/>
                  <a:gd name="connsiteX9" fmla="*/ 28860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8 w 124015"/>
                  <a:gd name="connsiteY26" fmla="*/ 322993 h 323088"/>
                  <a:gd name="connsiteX27" fmla="*/ 86677 w 124015"/>
                  <a:gd name="connsiteY27" fmla="*/ 289655 h 323088"/>
                  <a:gd name="connsiteX28" fmla="*/ 96678 w 124015"/>
                  <a:gd name="connsiteY28" fmla="*/ 252889 h 323088"/>
                  <a:gd name="connsiteX29" fmla="*/ 86677 w 124015"/>
                  <a:gd name="connsiteY29" fmla="*/ 216122 h 323088"/>
                  <a:gd name="connsiteX30" fmla="*/ 77628 w 124015"/>
                  <a:gd name="connsiteY30" fmla="*/ 182785 h 323088"/>
                  <a:gd name="connsiteX31" fmla="*/ 86677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7" y="0"/>
                      <a:pt x="0" y="27718"/>
                      <a:pt x="0" y="62008"/>
                    </a:cubicBezTo>
                    <a:cubicBezTo>
                      <a:pt x="0" y="87630"/>
                      <a:pt x="15526" y="109633"/>
                      <a:pt x="37719" y="119063"/>
                    </a:cubicBezTo>
                    <a:cubicBezTo>
                      <a:pt x="36766" y="131636"/>
                      <a:pt x="32957" y="138684"/>
                      <a:pt x="28860" y="146114"/>
                    </a:cubicBezTo>
                    <a:cubicBezTo>
                      <a:pt x="24003" y="155162"/>
                      <a:pt x="18859" y="164402"/>
                      <a:pt x="18859" y="182880"/>
                    </a:cubicBezTo>
                    <a:cubicBezTo>
                      <a:pt x="18859" y="201359"/>
                      <a:pt x="23908" y="210693"/>
                      <a:pt x="28860" y="219647"/>
                    </a:cubicBezTo>
                    <a:cubicBezTo>
                      <a:pt x="33528" y="228219"/>
                      <a:pt x="37909" y="236411"/>
                      <a:pt x="37909" y="252984"/>
                    </a:cubicBezTo>
                    <a:cubicBezTo>
                      <a:pt x="37909" y="269557"/>
                      <a:pt x="33528" y="277749"/>
                      <a:pt x="28860"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2"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8" y="322993"/>
                    </a:lnTo>
                    <a:cubicBezTo>
                      <a:pt x="77628" y="306324"/>
                      <a:pt x="82010" y="298228"/>
                      <a:pt x="86677" y="289655"/>
                    </a:cubicBezTo>
                    <a:cubicBezTo>
                      <a:pt x="91535" y="280607"/>
                      <a:pt x="96678" y="271272"/>
                      <a:pt x="96678" y="252889"/>
                    </a:cubicBezTo>
                    <a:cubicBezTo>
                      <a:pt x="96678" y="234506"/>
                      <a:pt x="91630" y="225076"/>
                      <a:pt x="86677" y="216122"/>
                    </a:cubicBezTo>
                    <a:cubicBezTo>
                      <a:pt x="82010" y="207550"/>
                      <a:pt x="77628" y="199358"/>
                      <a:pt x="77628" y="182785"/>
                    </a:cubicBezTo>
                    <a:cubicBezTo>
                      <a:pt x="77628" y="166211"/>
                      <a:pt x="82010" y="158020"/>
                      <a:pt x="86677"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79" name="Free-form: Shape 1045">
                <a:extLst>
                  <a:ext uri="{FF2B5EF4-FFF2-40B4-BE49-F238E27FC236}">
                    <a16:creationId xmlns:a16="http://schemas.microsoft.com/office/drawing/2014/main" id="{D0C78A46-D573-C7CA-7621-5FEF5D823481}"/>
                  </a:ext>
                </a:extLst>
              </p:cNvPr>
              <p:cNvSpPr/>
              <p:nvPr/>
            </p:nvSpPr>
            <p:spPr>
              <a:xfrm>
                <a:off x="11123621" y="2912496"/>
                <a:ext cx="84232" cy="219444"/>
              </a:xfrm>
              <a:custGeom>
                <a:avLst/>
                <a:gdLst>
                  <a:gd name="connsiteX0" fmla="*/ 96869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59 w 124015"/>
                  <a:gd name="connsiteY6" fmla="*/ 182880 h 323088"/>
                  <a:gd name="connsiteX7" fmla="*/ 28861 w 124015"/>
                  <a:gd name="connsiteY7" fmla="*/ 219647 h 323088"/>
                  <a:gd name="connsiteX8" fmla="*/ 37909 w 124015"/>
                  <a:gd name="connsiteY8" fmla="*/ 252984 h 323088"/>
                  <a:gd name="connsiteX9" fmla="*/ 28861 w 124015"/>
                  <a:gd name="connsiteY9" fmla="*/ 286322 h 323088"/>
                  <a:gd name="connsiteX10" fmla="*/ 18859 w 124015"/>
                  <a:gd name="connsiteY10" fmla="*/ 323088 h 323088"/>
                  <a:gd name="connsiteX11" fmla="*/ 26003 w 124015"/>
                  <a:gd name="connsiteY11" fmla="*/ 323088 h 323088"/>
                  <a:gd name="connsiteX12" fmla="*/ 35052 w 124015"/>
                  <a:gd name="connsiteY12" fmla="*/ 289751 h 323088"/>
                  <a:gd name="connsiteX13" fmla="*/ 45053 w 124015"/>
                  <a:gd name="connsiteY13" fmla="*/ 252984 h 323088"/>
                  <a:gd name="connsiteX14" fmla="*/ 35052 w 124015"/>
                  <a:gd name="connsiteY14" fmla="*/ 216218 h 323088"/>
                  <a:gd name="connsiteX15" fmla="*/ 26003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7 w 124015"/>
                  <a:gd name="connsiteY27" fmla="*/ 289655 h 323088"/>
                  <a:gd name="connsiteX28" fmla="*/ 96679 w 124015"/>
                  <a:gd name="connsiteY28" fmla="*/ 252889 h 323088"/>
                  <a:gd name="connsiteX29" fmla="*/ 86677 w 124015"/>
                  <a:gd name="connsiteY29" fmla="*/ 216122 h 323088"/>
                  <a:gd name="connsiteX30" fmla="*/ 77629 w 124015"/>
                  <a:gd name="connsiteY30" fmla="*/ 182785 h 323088"/>
                  <a:gd name="connsiteX31" fmla="*/ 86677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69"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6" y="131636"/>
                      <a:pt x="32957" y="138684"/>
                      <a:pt x="28861" y="146114"/>
                    </a:cubicBezTo>
                    <a:cubicBezTo>
                      <a:pt x="24003" y="155162"/>
                      <a:pt x="18859" y="164402"/>
                      <a:pt x="18859" y="182880"/>
                    </a:cubicBezTo>
                    <a:cubicBezTo>
                      <a:pt x="18859" y="201359"/>
                      <a:pt x="23908" y="210693"/>
                      <a:pt x="28861" y="219647"/>
                    </a:cubicBezTo>
                    <a:cubicBezTo>
                      <a:pt x="33528" y="228219"/>
                      <a:pt x="37909" y="236411"/>
                      <a:pt x="37909" y="252984"/>
                    </a:cubicBezTo>
                    <a:cubicBezTo>
                      <a:pt x="37909" y="269557"/>
                      <a:pt x="33528" y="277749"/>
                      <a:pt x="28861" y="286322"/>
                    </a:cubicBezTo>
                    <a:cubicBezTo>
                      <a:pt x="24003" y="295370"/>
                      <a:pt x="18859" y="304705"/>
                      <a:pt x="18859" y="323088"/>
                    </a:cubicBezTo>
                    <a:lnTo>
                      <a:pt x="26003" y="323088"/>
                    </a:lnTo>
                    <a:cubicBezTo>
                      <a:pt x="26003" y="306419"/>
                      <a:pt x="30385" y="298323"/>
                      <a:pt x="35052" y="289751"/>
                    </a:cubicBezTo>
                    <a:cubicBezTo>
                      <a:pt x="39910" y="280702"/>
                      <a:pt x="45053" y="271367"/>
                      <a:pt x="45053" y="252984"/>
                    </a:cubicBezTo>
                    <a:cubicBezTo>
                      <a:pt x="45053" y="234601"/>
                      <a:pt x="40005" y="225171"/>
                      <a:pt x="35052" y="216218"/>
                    </a:cubicBezTo>
                    <a:cubicBezTo>
                      <a:pt x="30385" y="207645"/>
                      <a:pt x="26003" y="199454"/>
                      <a:pt x="26003" y="182880"/>
                    </a:cubicBezTo>
                    <a:cubicBezTo>
                      <a:pt x="26003" y="166306"/>
                      <a:pt x="30385" y="158115"/>
                      <a:pt x="35052" y="149543"/>
                    </a:cubicBezTo>
                    <a:cubicBezTo>
                      <a:pt x="39148" y="142113"/>
                      <a:pt x="43243" y="134302"/>
                      <a:pt x="44577" y="121444"/>
                    </a:cubicBezTo>
                    <a:cubicBezTo>
                      <a:pt x="50102" y="123063"/>
                      <a:pt x="55912" y="123920"/>
                      <a:pt x="61913" y="123920"/>
                    </a:cubicBezTo>
                    <a:cubicBezTo>
                      <a:pt x="71818"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0" y="298228"/>
                      <a:pt x="86677" y="289655"/>
                    </a:cubicBezTo>
                    <a:cubicBezTo>
                      <a:pt x="91535" y="280607"/>
                      <a:pt x="96679" y="271272"/>
                      <a:pt x="96679" y="252889"/>
                    </a:cubicBezTo>
                    <a:cubicBezTo>
                      <a:pt x="96679" y="234506"/>
                      <a:pt x="91630" y="225076"/>
                      <a:pt x="86677" y="216122"/>
                    </a:cubicBezTo>
                    <a:cubicBezTo>
                      <a:pt x="82010" y="207550"/>
                      <a:pt x="77629" y="199358"/>
                      <a:pt x="77629" y="182785"/>
                    </a:cubicBezTo>
                    <a:cubicBezTo>
                      <a:pt x="77629" y="166211"/>
                      <a:pt x="82010" y="158020"/>
                      <a:pt x="86677" y="149447"/>
                    </a:cubicBezTo>
                    <a:cubicBezTo>
                      <a:pt x="91535"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80" name="Free-form: Shape 1046">
                <a:extLst>
                  <a:ext uri="{FF2B5EF4-FFF2-40B4-BE49-F238E27FC236}">
                    <a16:creationId xmlns:a16="http://schemas.microsoft.com/office/drawing/2014/main" id="{09C26E45-1661-8EF6-C6ED-FA537A5E6817}"/>
                  </a:ext>
                </a:extLst>
              </p:cNvPr>
              <p:cNvSpPr/>
              <p:nvPr/>
            </p:nvSpPr>
            <p:spPr>
              <a:xfrm>
                <a:off x="11217752" y="2912496"/>
                <a:ext cx="84232" cy="219444"/>
              </a:xfrm>
              <a:custGeom>
                <a:avLst/>
                <a:gdLst>
                  <a:gd name="connsiteX0" fmla="*/ 96870 w 124015"/>
                  <a:gd name="connsiteY0" fmla="*/ 113252 h 323088"/>
                  <a:gd name="connsiteX1" fmla="*/ 124016 w 124015"/>
                  <a:gd name="connsiteY1" fmla="*/ 62008 h 323088"/>
                  <a:gd name="connsiteX2" fmla="*/ 62008 w 124015"/>
                  <a:gd name="connsiteY2" fmla="*/ 0 h 323088"/>
                  <a:gd name="connsiteX3" fmla="*/ 0 w 124015"/>
                  <a:gd name="connsiteY3" fmla="*/ 62008 h 323088"/>
                  <a:gd name="connsiteX4" fmla="*/ 37719 w 124015"/>
                  <a:gd name="connsiteY4" fmla="*/ 119063 h 323088"/>
                  <a:gd name="connsiteX5" fmla="*/ 28861 w 124015"/>
                  <a:gd name="connsiteY5" fmla="*/ 146114 h 323088"/>
                  <a:gd name="connsiteX6" fmla="*/ 18860 w 124015"/>
                  <a:gd name="connsiteY6" fmla="*/ 182880 h 323088"/>
                  <a:gd name="connsiteX7" fmla="*/ 28861 w 124015"/>
                  <a:gd name="connsiteY7" fmla="*/ 219647 h 323088"/>
                  <a:gd name="connsiteX8" fmla="*/ 37910 w 124015"/>
                  <a:gd name="connsiteY8" fmla="*/ 252984 h 323088"/>
                  <a:gd name="connsiteX9" fmla="*/ 28861 w 124015"/>
                  <a:gd name="connsiteY9" fmla="*/ 286322 h 323088"/>
                  <a:gd name="connsiteX10" fmla="*/ 18860 w 124015"/>
                  <a:gd name="connsiteY10" fmla="*/ 323088 h 323088"/>
                  <a:gd name="connsiteX11" fmla="*/ 26004 w 124015"/>
                  <a:gd name="connsiteY11" fmla="*/ 323088 h 323088"/>
                  <a:gd name="connsiteX12" fmla="*/ 35052 w 124015"/>
                  <a:gd name="connsiteY12" fmla="*/ 289751 h 323088"/>
                  <a:gd name="connsiteX13" fmla="*/ 45054 w 124015"/>
                  <a:gd name="connsiteY13" fmla="*/ 252984 h 323088"/>
                  <a:gd name="connsiteX14" fmla="*/ 35052 w 124015"/>
                  <a:gd name="connsiteY14" fmla="*/ 216218 h 323088"/>
                  <a:gd name="connsiteX15" fmla="*/ 26004 w 124015"/>
                  <a:gd name="connsiteY15" fmla="*/ 182880 h 323088"/>
                  <a:gd name="connsiteX16" fmla="*/ 35052 w 124015"/>
                  <a:gd name="connsiteY16" fmla="*/ 149543 h 323088"/>
                  <a:gd name="connsiteX17" fmla="*/ 44577 w 124015"/>
                  <a:gd name="connsiteY17" fmla="*/ 121444 h 323088"/>
                  <a:gd name="connsiteX18" fmla="*/ 61913 w 124015"/>
                  <a:gd name="connsiteY18" fmla="*/ 123920 h 323088"/>
                  <a:gd name="connsiteX19" fmla="*/ 89440 w 124015"/>
                  <a:gd name="connsiteY19" fmla="*/ 117348 h 323088"/>
                  <a:gd name="connsiteX20" fmla="*/ 80486 w 124015"/>
                  <a:gd name="connsiteY20" fmla="*/ 146018 h 323088"/>
                  <a:gd name="connsiteX21" fmla="*/ 70485 w 124015"/>
                  <a:gd name="connsiteY21" fmla="*/ 182785 h 323088"/>
                  <a:gd name="connsiteX22" fmla="*/ 80486 w 124015"/>
                  <a:gd name="connsiteY22" fmla="*/ 219551 h 323088"/>
                  <a:gd name="connsiteX23" fmla="*/ 89535 w 124015"/>
                  <a:gd name="connsiteY23" fmla="*/ 252889 h 323088"/>
                  <a:gd name="connsiteX24" fmla="*/ 80486 w 124015"/>
                  <a:gd name="connsiteY24" fmla="*/ 286226 h 323088"/>
                  <a:gd name="connsiteX25" fmla="*/ 70485 w 124015"/>
                  <a:gd name="connsiteY25" fmla="*/ 322993 h 323088"/>
                  <a:gd name="connsiteX26" fmla="*/ 77629 w 124015"/>
                  <a:gd name="connsiteY26" fmla="*/ 322993 h 323088"/>
                  <a:gd name="connsiteX27" fmla="*/ 86678 w 124015"/>
                  <a:gd name="connsiteY27" fmla="*/ 289655 h 323088"/>
                  <a:gd name="connsiteX28" fmla="*/ 96679 w 124015"/>
                  <a:gd name="connsiteY28" fmla="*/ 252889 h 323088"/>
                  <a:gd name="connsiteX29" fmla="*/ 86678 w 124015"/>
                  <a:gd name="connsiteY29" fmla="*/ 216122 h 323088"/>
                  <a:gd name="connsiteX30" fmla="*/ 77629 w 124015"/>
                  <a:gd name="connsiteY30" fmla="*/ 182785 h 323088"/>
                  <a:gd name="connsiteX31" fmla="*/ 86678 w 124015"/>
                  <a:gd name="connsiteY31" fmla="*/ 149447 h 323088"/>
                  <a:gd name="connsiteX32" fmla="*/ 96584 w 124015"/>
                  <a:gd name="connsiteY32" fmla="*/ 113157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8">
                    <a:moveTo>
                      <a:pt x="96870" y="113252"/>
                    </a:moveTo>
                    <a:cubicBezTo>
                      <a:pt x="113252" y="102108"/>
                      <a:pt x="124016" y="83344"/>
                      <a:pt x="124016" y="62008"/>
                    </a:cubicBezTo>
                    <a:cubicBezTo>
                      <a:pt x="124016" y="27813"/>
                      <a:pt x="96298" y="0"/>
                      <a:pt x="62008" y="0"/>
                    </a:cubicBezTo>
                    <a:cubicBezTo>
                      <a:pt x="27718" y="0"/>
                      <a:pt x="0" y="27718"/>
                      <a:pt x="0" y="62008"/>
                    </a:cubicBezTo>
                    <a:cubicBezTo>
                      <a:pt x="0" y="87630"/>
                      <a:pt x="15526" y="109633"/>
                      <a:pt x="37719" y="119063"/>
                    </a:cubicBezTo>
                    <a:cubicBezTo>
                      <a:pt x="36767" y="131636"/>
                      <a:pt x="32957" y="138684"/>
                      <a:pt x="28861" y="146114"/>
                    </a:cubicBezTo>
                    <a:cubicBezTo>
                      <a:pt x="24003" y="155162"/>
                      <a:pt x="18860" y="164402"/>
                      <a:pt x="18860" y="182880"/>
                    </a:cubicBezTo>
                    <a:cubicBezTo>
                      <a:pt x="18860" y="201359"/>
                      <a:pt x="23908" y="210693"/>
                      <a:pt x="28861" y="219647"/>
                    </a:cubicBezTo>
                    <a:cubicBezTo>
                      <a:pt x="33528" y="228219"/>
                      <a:pt x="37910" y="236411"/>
                      <a:pt x="37910" y="252984"/>
                    </a:cubicBezTo>
                    <a:cubicBezTo>
                      <a:pt x="37910" y="269557"/>
                      <a:pt x="33528" y="277749"/>
                      <a:pt x="28861" y="286322"/>
                    </a:cubicBezTo>
                    <a:cubicBezTo>
                      <a:pt x="24003" y="295370"/>
                      <a:pt x="18860" y="304705"/>
                      <a:pt x="18860" y="323088"/>
                    </a:cubicBezTo>
                    <a:lnTo>
                      <a:pt x="26004" y="323088"/>
                    </a:lnTo>
                    <a:cubicBezTo>
                      <a:pt x="26004" y="306419"/>
                      <a:pt x="30385" y="298323"/>
                      <a:pt x="35052" y="289751"/>
                    </a:cubicBezTo>
                    <a:cubicBezTo>
                      <a:pt x="39910" y="280702"/>
                      <a:pt x="45054" y="271367"/>
                      <a:pt x="45054" y="252984"/>
                    </a:cubicBezTo>
                    <a:cubicBezTo>
                      <a:pt x="45054" y="234601"/>
                      <a:pt x="40005" y="225171"/>
                      <a:pt x="35052" y="216218"/>
                    </a:cubicBezTo>
                    <a:cubicBezTo>
                      <a:pt x="30385" y="207645"/>
                      <a:pt x="26004" y="199454"/>
                      <a:pt x="26004" y="182880"/>
                    </a:cubicBezTo>
                    <a:cubicBezTo>
                      <a:pt x="26004" y="166306"/>
                      <a:pt x="30385" y="158115"/>
                      <a:pt x="35052" y="149543"/>
                    </a:cubicBezTo>
                    <a:cubicBezTo>
                      <a:pt x="39148" y="142113"/>
                      <a:pt x="43244" y="134302"/>
                      <a:pt x="44577" y="121444"/>
                    </a:cubicBezTo>
                    <a:cubicBezTo>
                      <a:pt x="50102" y="123063"/>
                      <a:pt x="55912" y="123920"/>
                      <a:pt x="61913" y="123920"/>
                    </a:cubicBezTo>
                    <a:cubicBezTo>
                      <a:pt x="71819" y="123920"/>
                      <a:pt x="81153" y="121539"/>
                      <a:pt x="89440" y="117348"/>
                    </a:cubicBezTo>
                    <a:cubicBezTo>
                      <a:pt x="88678" y="130874"/>
                      <a:pt x="84677" y="138303"/>
                      <a:pt x="80486" y="146018"/>
                    </a:cubicBezTo>
                    <a:cubicBezTo>
                      <a:pt x="75629" y="155067"/>
                      <a:pt x="70485" y="164306"/>
                      <a:pt x="70485" y="182785"/>
                    </a:cubicBezTo>
                    <a:cubicBezTo>
                      <a:pt x="70485" y="201263"/>
                      <a:pt x="75533" y="210598"/>
                      <a:pt x="80486" y="219551"/>
                    </a:cubicBezTo>
                    <a:cubicBezTo>
                      <a:pt x="85154" y="228124"/>
                      <a:pt x="89535" y="236315"/>
                      <a:pt x="89535" y="252889"/>
                    </a:cubicBezTo>
                    <a:cubicBezTo>
                      <a:pt x="89535" y="269462"/>
                      <a:pt x="85154" y="277654"/>
                      <a:pt x="80486" y="286226"/>
                    </a:cubicBezTo>
                    <a:cubicBezTo>
                      <a:pt x="75629" y="295275"/>
                      <a:pt x="70485" y="304610"/>
                      <a:pt x="70485" y="322993"/>
                    </a:cubicBezTo>
                    <a:lnTo>
                      <a:pt x="77629" y="322993"/>
                    </a:lnTo>
                    <a:cubicBezTo>
                      <a:pt x="77629" y="306324"/>
                      <a:pt x="82011" y="298228"/>
                      <a:pt x="86678" y="289655"/>
                    </a:cubicBezTo>
                    <a:cubicBezTo>
                      <a:pt x="91536" y="280607"/>
                      <a:pt x="96679" y="271272"/>
                      <a:pt x="96679" y="252889"/>
                    </a:cubicBezTo>
                    <a:cubicBezTo>
                      <a:pt x="96679" y="234506"/>
                      <a:pt x="91630" y="225076"/>
                      <a:pt x="86678" y="216122"/>
                    </a:cubicBezTo>
                    <a:cubicBezTo>
                      <a:pt x="82011" y="207550"/>
                      <a:pt x="77629" y="199358"/>
                      <a:pt x="77629" y="182785"/>
                    </a:cubicBezTo>
                    <a:cubicBezTo>
                      <a:pt x="77629" y="166211"/>
                      <a:pt x="82011" y="158020"/>
                      <a:pt x="86678" y="149447"/>
                    </a:cubicBezTo>
                    <a:cubicBezTo>
                      <a:pt x="91536" y="140494"/>
                      <a:pt x="96488" y="131254"/>
                      <a:pt x="96584" y="113157"/>
                    </a:cubicBezTo>
                    <a:close/>
                  </a:path>
                </a:pathLst>
              </a:custGeom>
              <a:solidFill>
                <a:schemeClr val="bg2"/>
              </a:solidFill>
              <a:ln w="9525" cap="flat">
                <a:noFill/>
                <a:prstDash val="solid"/>
                <a:miter/>
              </a:ln>
            </p:spPr>
            <p:txBody>
              <a:bodyPr rtlCol="0" anchor="ctr"/>
              <a:lstStyle/>
              <a:p>
                <a:endParaRPr lang="en-US" noProof="0"/>
              </a:p>
            </p:txBody>
          </p:sp>
          <p:sp>
            <p:nvSpPr>
              <p:cNvPr id="81" name="Free-form: Shape 1047">
                <a:extLst>
                  <a:ext uri="{FF2B5EF4-FFF2-40B4-BE49-F238E27FC236}">
                    <a16:creationId xmlns:a16="http://schemas.microsoft.com/office/drawing/2014/main" id="{94074F62-DBD5-BD04-DA7A-159161177BA2}"/>
                  </a:ext>
                </a:extLst>
              </p:cNvPr>
              <p:cNvSpPr/>
              <p:nvPr/>
            </p:nvSpPr>
            <p:spPr>
              <a:xfrm>
                <a:off x="11217752" y="3147661"/>
                <a:ext cx="84232" cy="219443"/>
              </a:xfrm>
              <a:custGeom>
                <a:avLst/>
                <a:gdLst>
                  <a:gd name="connsiteX0" fmla="*/ 27147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3 w 124015"/>
                  <a:gd name="connsiteY11" fmla="*/ 0 h 323087"/>
                  <a:gd name="connsiteX12" fmla="*/ 88964 w 124015"/>
                  <a:gd name="connsiteY12" fmla="*/ 33338 h 323087"/>
                  <a:gd name="connsiteX13" fmla="*/ 78963 w 124015"/>
                  <a:gd name="connsiteY13" fmla="*/ 70104 h 323087"/>
                  <a:gd name="connsiteX14" fmla="*/ 88964 w 124015"/>
                  <a:gd name="connsiteY14" fmla="*/ 106871 h 323087"/>
                  <a:gd name="connsiteX15" fmla="*/ 98013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7"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3" y="0"/>
                    </a:lnTo>
                    <a:cubicBezTo>
                      <a:pt x="98013" y="16669"/>
                      <a:pt x="93631" y="24765"/>
                      <a:pt x="88964" y="33338"/>
                    </a:cubicBezTo>
                    <a:cubicBezTo>
                      <a:pt x="84106" y="42386"/>
                      <a:pt x="78963" y="51721"/>
                      <a:pt x="78963" y="70104"/>
                    </a:cubicBezTo>
                    <a:cubicBezTo>
                      <a:pt x="78963" y="88487"/>
                      <a:pt x="84011" y="97917"/>
                      <a:pt x="88964" y="106871"/>
                    </a:cubicBezTo>
                    <a:cubicBezTo>
                      <a:pt x="93631" y="115443"/>
                      <a:pt x="98013" y="123635"/>
                      <a:pt x="98013" y="140208"/>
                    </a:cubicBezTo>
                    <a:cubicBezTo>
                      <a:pt x="98013"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2" name="Free-form: Shape 1048">
                <a:extLst>
                  <a:ext uri="{FF2B5EF4-FFF2-40B4-BE49-F238E27FC236}">
                    <a16:creationId xmlns:a16="http://schemas.microsoft.com/office/drawing/2014/main" id="{E420F2CF-C73A-AFFD-BC00-A6BD6900DA95}"/>
                  </a:ext>
                </a:extLst>
              </p:cNvPr>
              <p:cNvSpPr/>
              <p:nvPr/>
            </p:nvSpPr>
            <p:spPr>
              <a:xfrm>
                <a:off x="11123621"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4 w 124015"/>
                  <a:gd name="connsiteY12" fmla="*/ 33338 h 323087"/>
                  <a:gd name="connsiteX13" fmla="*/ 78962 w 124015"/>
                  <a:gd name="connsiteY13" fmla="*/ 70104 h 323087"/>
                  <a:gd name="connsiteX14" fmla="*/ 88964 w 124015"/>
                  <a:gd name="connsiteY14" fmla="*/ 106871 h 323087"/>
                  <a:gd name="connsiteX15" fmla="*/ 98012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4" y="33338"/>
                    </a:cubicBezTo>
                    <a:cubicBezTo>
                      <a:pt x="84106" y="42386"/>
                      <a:pt x="78962" y="51721"/>
                      <a:pt x="78962" y="70104"/>
                    </a:cubicBezTo>
                    <a:cubicBezTo>
                      <a:pt x="78962" y="88487"/>
                      <a:pt x="84011" y="97917"/>
                      <a:pt x="88964" y="106871"/>
                    </a:cubicBezTo>
                    <a:cubicBezTo>
                      <a:pt x="93631" y="115443"/>
                      <a:pt x="98012" y="123635"/>
                      <a:pt x="98012" y="140208"/>
                    </a:cubicBezTo>
                    <a:cubicBezTo>
                      <a:pt x="98012"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3" name="Free-form: Shape 1049">
                <a:extLst>
                  <a:ext uri="{FF2B5EF4-FFF2-40B4-BE49-F238E27FC236}">
                    <a16:creationId xmlns:a16="http://schemas.microsoft.com/office/drawing/2014/main" id="{1B493419-F2F1-7273-424B-FF0A27583748}"/>
                  </a:ext>
                </a:extLst>
              </p:cNvPr>
              <p:cNvSpPr/>
              <p:nvPr/>
            </p:nvSpPr>
            <p:spPr>
              <a:xfrm>
                <a:off x="11029556"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7" y="323088"/>
                      <a:pt x="62008" y="323088"/>
                    </a:cubicBezTo>
                    <a:cubicBezTo>
                      <a:pt x="96298" y="323088"/>
                      <a:pt x="124015" y="295370"/>
                      <a:pt x="124015" y="261080"/>
                    </a:cubicBezTo>
                    <a:cubicBezTo>
                      <a:pt x="124015" y="235458"/>
                      <a:pt x="108489"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0" y="24765"/>
                      <a:pt x="88963" y="33338"/>
                    </a:cubicBezTo>
                    <a:cubicBezTo>
                      <a:pt x="84105" y="42386"/>
                      <a:pt x="78962" y="51721"/>
                      <a:pt x="78962" y="70104"/>
                    </a:cubicBezTo>
                    <a:cubicBezTo>
                      <a:pt x="78962" y="88487"/>
                      <a:pt x="84011" y="97917"/>
                      <a:pt x="88963" y="106871"/>
                    </a:cubicBezTo>
                    <a:cubicBezTo>
                      <a:pt x="93630" y="115443"/>
                      <a:pt x="98012" y="123635"/>
                      <a:pt x="98012" y="140208"/>
                    </a:cubicBezTo>
                    <a:cubicBezTo>
                      <a:pt x="98012" y="156782"/>
                      <a:pt x="93630" y="164973"/>
                      <a:pt x="88963" y="173546"/>
                    </a:cubicBezTo>
                    <a:cubicBezTo>
                      <a:pt x="84867" y="180975"/>
                      <a:pt x="80772" y="188786"/>
                      <a:pt x="79438" y="201644"/>
                    </a:cubicBezTo>
                    <a:cubicBezTo>
                      <a:pt x="73914" y="200025"/>
                      <a:pt x="68103" y="199168"/>
                      <a:pt x="62103" y="199168"/>
                    </a:cubicBezTo>
                    <a:cubicBezTo>
                      <a:pt x="52197" y="199168"/>
                      <a:pt x="42863" y="201549"/>
                      <a:pt x="34576" y="205740"/>
                    </a:cubicBezTo>
                    <a:cubicBezTo>
                      <a:pt x="35337"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4" name="Free-form: Shape 1050">
                <a:extLst>
                  <a:ext uri="{FF2B5EF4-FFF2-40B4-BE49-F238E27FC236}">
                    <a16:creationId xmlns:a16="http://schemas.microsoft.com/office/drawing/2014/main" id="{84F710A3-2EDB-70B8-ACCE-BE8301D78128}"/>
                  </a:ext>
                </a:extLst>
              </p:cNvPr>
              <p:cNvSpPr/>
              <p:nvPr/>
            </p:nvSpPr>
            <p:spPr>
              <a:xfrm>
                <a:off x="10935425" y="3147661"/>
                <a:ext cx="84232" cy="219443"/>
              </a:xfrm>
              <a:custGeom>
                <a:avLst/>
                <a:gdLst>
                  <a:gd name="connsiteX0" fmla="*/ 27146 w 124015"/>
                  <a:gd name="connsiteY0" fmla="*/ 209836 h 323087"/>
                  <a:gd name="connsiteX1" fmla="*/ 0 w 124015"/>
                  <a:gd name="connsiteY1" fmla="*/ 261080 h 323087"/>
                  <a:gd name="connsiteX2" fmla="*/ 62007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5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1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7" y="323088"/>
                      <a:pt x="62007" y="323088"/>
                    </a:cubicBezTo>
                    <a:cubicBezTo>
                      <a:pt x="96298" y="323088"/>
                      <a:pt x="124015" y="295370"/>
                      <a:pt x="124015" y="261080"/>
                    </a:cubicBezTo>
                    <a:cubicBezTo>
                      <a:pt x="124015" y="235458"/>
                      <a:pt x="108489" y="213455"/>
                      <a:pt x="86296" y="204025"/>
                    </a:cubicBezTo>
                    <a:cubicBezTo>
                      <a:pt x="87249" y="191453"/>
                      <a:pt x="91059" y="184404"/>
                      <a:pt x="95155" y="176975"/>
                    </a:cubicBezTo>
                    <a:cubicBezTo>
                      <a:pt x="100013" y="167926"/>
                      <a:pt x="105156" y="158687"/>
                      <a:pt x="105156" y="140208"/>
                    </a:cubicBezTo>
                    <a:cubicBezTo>
                      <a:pt x="105156" y="121729"/>
                      <a:pt x="100107"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0" y="24765"/>
                      <a:pt x="88963" y="33338"/>
                    </a:cubicBezTo>
                    <a:cubicBezTo>
                      <a:pt x="84105" y="42386"/>
                      <a:pt x="78962" y="51721"/>
                      <a:pt x="78962" y="70104"/>
                    </a:cubicBezTo>
                    <a:cubicBezTo>
                      <a:pt x="78962" y="88487"/>
                      <a:pt x="84010" y="97917"/>
                      <a:pt x="88963" y="106871"/>
                    </a:cubicBezTo>
                    <a:cubicBezTo>
                      <a:pt x="93630" y="115443"/>
                      <a:pt x="98012" y="123635"/>
                      <a:pt x="98012" y="140208"/>
                    </a:cubicBezTo>
                    <a:cubicBezTo>
                      <a:pt x="98012" y="156782"/>
                      <a:pt x="93630" y="164973"/>
                      <a:pt x="88963" y="173546"/>
                    </a:cubicBezTo>
                    <a:cubicBezTo>
                      <a:pt x="84867" y="180975"/>
                      <a:pt x="80772" y="188786"/>
                      <a:pt x="79438" y="201644"/>
                    </a:cubicBezTo>
                    <a:cubicBezTo>
                      <a:pt x="73914" y="200025"/>
                      <a:pt x="68103" y="199168"/>
                      <a:pt x="62103" y="199168"/>
                    </a:cubicBezTo>
                    <a:cubicBezTo>
                      <a:pt x="52197" y="199168"/>
                      <a:pt x="42863" y="201549"/>
                      <a:pt x="34575" y="205740"/>
                    </a:cubicBezTo>
                    <a:cubicBezTo>
                      <a:pt x="35337"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1" y="209931"/>
                    </a:cubicBezTo>
                    <a:close/>
                  </a:path>
                </a:pathLst>
              </a:custGeom>
              <a:solidFill>
                <a:schemeClr val="bg2"/>
              </a:solidFill>
              <a:ln w="9525" cap="flat">
                <a:noFill/>
                <a:prstDash val="solid"/>
                <a:miter/>
              </a:ln>
            </p:spPr>
            <p:txBody>
              <a:bodyPr rtlCol="0" anchor="ctr"/>
              <a:lstStyle/>
              <a:p>
                <a:endParaRPr lang="en-US" noProof="0"/>
              </a:p>
            </p:txBody>
          </p:sp>
          <p:sp>
            <p:nvSpPr>
              <p:cNvPr id="85" name="Free-form: Shape 1051">
                <a:extLst>
                  <a:ext uri="{FF2B5EF4-FFF2-40B4-BE49-F238E27FC236}">
                    <a16:creationId xmlns:a16="http://schemas.microsoft.com/office/drawing/2014/main" id="{5E0D3793-7F54-BE7C-90C7-BF282CEF4821}"/>
                  </a:ext>
                </a:extLst>
              </p:cNvPr>
              <p:cNvSpPr/>
              <p:nvPr/>
            </p:nvSpPr>
            <p:spPr>
              <a:xfrm>
                <a:off x="10841294" y="3147661"/>
                <a:ext cx="84232" cy="219443"/>
              </a:xfrm>
              <a:custGeom>
                <a:avLst/>
                <a:gdLst>
                  <a:gd name="connsiteX0" fmla="*/ 27147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3 w 124015"/>
                  <a:gd name="connsiteY11" fmla="*/ 0 h 323087"/>
                  <a:gd name="connsiteX12" fmla="*/ 88964 w 124015"/>
                  <a:gd name="connsiteY12" fmla="*/ 33338 h 323087"/>
                  <a:gd name="connsiteX13" fmla="*/ 78963 w 124015"/>
                  <a:gd name="connsiteY13" fmla="*/ 70104 h 323087"/>
                  <a:gd name="connsiteX14" fmla="*/ 88964 w 124015"/>
                  <a:gd name="connsiteY14" fmla="*/ 106871 h 323087"/>
                  <a:gd name="connsiteX15" fmla="*/ 98013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7"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3" y="0"/>
                    </a:lnTo>
                    <a:cubicBezTo>
                      <a:pt x="98013" y="16669"/>
                      <a:pt x="93631" y="24765"/>
                      <a:pt x="88964" y="33338"/>
                    </a:cubicBezTo>
                    <a:cubicBezTo>
                      <a:pt x="84106" y="42386"/>
                      <a:pt x="78963" y="51721"/>
                      <a:pt x="78963" y="70104"/>
                    </a:cubicBezTo>
                    <a:cubicBezTo>
                      <a:pt x="78963" y="88487"/>
                      <a:pt x="84011" y="97917"/>
                      <a:pt x="88964" y="106871"/>
                    </a:cubicBezTo>
                    <a:cubicBezTo>
                      <a:pt x="93631" y="115443"/>
                      <a:pt x="98013" y="123635"/>
                      <a:pt x="98013" y="140208"/>
                    </a:cubicBezTo>
                    <a:cubicBezTo>
                      <a:pt x="98013"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6" name="Free-form: Shape 1052">
                <a:extLst>
                  <a:ext uri="{FF2B5EF4-FFF2-40B4-BE49-F238E27FC236}">
                    <a16:creationId xmlns:a16="http://schemas.microsoft.com/office/drawing/2014/main" id="{726AF47C-E0EF-7648-DD12-8DE9CB2A5EAF}"/>
                  </a:ext>
                </a:extLst>
              </p:cNvPr>
              <p:cNvSpPr/>
              <p:nvPr/>
            </p:nvSpPr>
            <p:spPr>
              <a:xfrm>
                <a:off x="10747163" y="3147661"/>
                <a:ext cx="84232" cy="219443"/>
              </a:xfrm>
              <a:custGeom>
                <a:avLst/>
                <a:gdLst>
                  <a:gd name="connsiteX0" fmla="*/ 27147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4 w 124015"/>
                  <a:gd name="connsiteY12" fmla="*/ 33338 h 323087"/>
                  <a:gd name="connsiteX13" fmla="*/ 78962 w 124015"/>
                  <a:gd name="connsiteY13" fmla="*/ 70104 h 323087"/>
                  <a:gd name="connsiteX14" fmla="*/ 88964 w 124015"/>
                  <a:gd name="connsiteY14" fmla="*/ 106871 h 323087"/>
                  <a:gd name="connsiteX15" fmla="*/ 98012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7"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4" y="33338"/>
                    </a:cubicBezTo>
                    <a:cubicBezTo>
                      <a:pt x="84106" y="42386"/>
                      <a:pt x="78962" y="51721"/>
                      <a:pt x="78962" y="70104"/>
                    </a:cubicBezTo>
                    <a:cubicBezTo>
                      <a:pt x="78962" y="88487"/>
                      <a:pt x="84011" y="97917"/>
                      <a:pt x="88964" y="106871"/>
                    </a:cubicBezTo>
                    <a:cubicBezTo>
                      <a:pt x="93631" y="115443"/>
                      <a:pt x="98012" y="123635"/>
                      <a:pt x="98012" y="140208"/>
                    </a:cubicBezTo>
                    <a:cubicBezTo>
                      <a:pt x="98012"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7" name="Free-form: Shape 1053">
                <a:extLst>
                  <a:ext uri="{FF2B5EF4-FFF2-40B4-BE49-F238E27FC236}">
                    <a16:creationId xmlns:a16="http://schemas.microsoft.com/office/drawing/2014/main" id="{238806C1-2D14-8502-6154-88ED3A09D946}"/>
                  </a:ext>
                </a:extLst>
              </p:cNvPr>
              <p:cNvSpPr/>
              <p:nvPr/>
            </p:nvSpPr>
            <p:spPr>
              <a:xfrm>
                <a:off x="10653098"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7"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0" y="24765"/>
                      <a:pt x="88963" y="33338"/>
                    </a:cubicBezTo>
                    <a:cubicBezTo>
                      <a:pt x="84105" y="42386"/>
                      <a:pt x="78962" y="51721"/>
                      <a:pt x="78962" y="70104"/>
                    </a:cubicBezTo>
                    <a:cubicBezTo>
                      <a:pt x="78962" y="88487"/>
                      <a:pt x="84011" y="97917"/>
                      <a:pt x="88963" y="106871"/>
                    </a:cubicBezTo>
                    <a:cubicBezTo>
                      <a:pt x="93630" y="115443"/>
                      <a:pt x="98012" y="123635"/>
                      <a:pt x="98012" y="140208"/>
                    </a:cubicBezTo>
                    <a:cubicBezTo>
                      <a:pt x="98012" y="156782"/>
                      <a:pt x="93630" y="164973"/>
                      <a:pt x="88963" y="173546"/>
                    </a:cubicBezTo>
                    <a:cubicBezTo>
                      <a:pt x="84867" y="180975"/>
                      <a:pt x="80772" y="188786"/>
                      <a:pt x="79438" y="201644"/>
                    </a:cubicBezTo>
                    <a:cubicBezTo>
                      <a:pt x="73914" y="200025"/>
                      <a:pt x="68103" y="199168"/>
                      <a:pt x="62103" y="199168"/>
                    </a:cubicBezTo>
                    <a:cubicBezTo>
                      <a:pt x="52197" y="199168"/>
                      <a:pt x="42863" y="201549"/>
                      <a:pt x="34576" y="205740"/>
                    </a:cubicBezTo>
                    <a:cubicBezTo>
                      <a:pt x="35337"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88" name="Free-form: Shape 1054">
                <a:extLst>
                  <a:ext uri="{FF2B5EF4-FFF2-40B4-BE49-F238E27FC236}">
                    <a16:creationId xmlns:a16="http://schemas.microsoft.com/office/drawing/2014/main" id="{025E65DB-B085-A049-FB02-37C6310E75E4}"/>
                  </a:ext>
                </a:extLst>
              </p:cNvPr>
              <p:cNvSpPr/>
              <p:nvPr/>
            </p:nvSpPr>
            <p:spPr>
              <a:xfrm>
                <a:off x="10558967" y="3147661"/>
                <a:ext cx="84232" cy="219443"/>
              </a:xfrm>
              <a:custGeom>
                <a:avLst/>
                <a:gdLst>
                  <a:gd name="connsiteX0" fmla="*/ 27146 w 124015"/>
                  <a:gd name="connsiteY0" fmla="*/ 209836 h 323087"/>
                  <a:gd name="connsiteX1" fmla="*/ 0 w 124015"/>
                  <a:gd name="connsiteY1" fmla="*/ 261080 h 323087"/>
                  <a:gd name="connsiteX2" fmla="*/ 62007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5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1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7" y="323088"/>
                      <a:pt x="62007" y="323088"/>
                    </a:cubicBezTo>
                    <a:cubicBezTo>
                      <a:pt x="96298" y="323088"/>
                      <a:pt x="124015" y="295370"/>
                      <a:pt x="124015" y="261080"/>
                    </a:cubicBezTo>
                    <a:cubicBezTo>
                      <a:pt x="124015" y="235458"/>
                      <a:pt x="108489" y="213455"/>
                      <a:pt x="86296" y="204025"/>
                    </a:cubicBezTo>
                    <a:cubicBezTo>
                      <a:pt x="87249" y="191453"/>
                      <a:pt x="91059" y="184404"/>
                      <a:pt x="95155" y="176975"/>
                    </a:cubicBezTo>
                    <a:cubicBezTo>
                      <a:pt x="100013" y="167926"/>
                      <a:pt x="105156" y="158687"/>
                      <a:pt x="105156" y="140208"/>
                    </a:cubicBezTo>
                    <a:cubicBezTo>
                      <a:pt x="105156" y="121729"/>
                      <a:pt x="100107"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0" y="24765"/>
                      <a:pt x="88963" y="33338"/>
                    </a:cubicBezTo>
                    <a:cubicBezTo>
                      <a:pt x="84105" y="42386"/>
                      <a:pt x="78962" y="51721"/>
                      <a:pt x="78962" y="70104"/>
                    </a:cubicBezTo>
                    <a:cubicBezTo>
                      <a:pt x="78962" y="88487"/>
                      <a:pt x="84010" y="97917"/>
                      <a:pt x="88963" y="106871"/>
                    </a:cubicBezTo>
                    <a:cubicBezTo>
                      <a:pt x="93630" y="115443"/>
                      <a:pt x="98012" y="123635"/>
                      <a:pt x="98012" y="140208"/>
                    </a:cubicBezTo>
                    <a:cubicBezTo>
                      <a:pt x="98012" y="156782"/>
                      <a:pt x="93630" y="164973"/>
                      <a:pt x="88963" y="173546"/>
                    </a:cubicBezTo>
                    <a:cubicBezTo>
                      <a:pt x="84867" y="180975"/>
                      <a:pt x="80772" y="188786"/>
                      <a:pt x="79438" y="201644"/>
                    </a:cubicBezTo>
                    <a:cubicBezTo>
                      <a:pt x="73914" y="200025"/>
                      <a:pt x="68103" y="199168"/>
                      <a:pt x="62103" y="199168"/>
                    </a:cubicBezTo>
                    <a:cubicBezTo>
                      <a:pt x="52197" y="199168"/>
                      <a:pt x="42863" y="201549"/>
                      <a:pt x="34575" y="205740"/>
                    </a:cubicBezTo>
                    <a:cubicBezTo>
                      <a:pt x="35337"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1" y="209931"/>
                    </a:cubicBezTo>
                    <a:close/>
                  </a:path>
                </a:pathLst>
              </a:custGeom>
              <a:solidFill>
                <a:schemeClr val="bg2"/>
              </a:solidFill>
              <a:ln w="9525" cap="flat">
                <a:noFill/>
                <a:prstDash val="solid"/>
                <a:miter/>
              </a:ln>
            </p:spPr>
            <p:txBody>
              <a:bodyPr rtlCol="0" anchor="ctr"/>
              <a:lstStyle/>
              <a:p>
                <a:endParaRPr lang="en-US" noProof="0"/>
              </a:p>
            </p:txBody>
          </p:sp>
          <p:sp>
            <p:nvSpPr>
              <p:cNvPr id="89" name="Free-form: Shape 1055">
                <a:extLst>
                  <a:ext uri="{FF2B5EF4-FFF2-40B4-BE49-F238E27FC236}">
                    <a16:creationId xmlns:a16="http://schemas.microsoft.com/office/drawing/2014/main" id="{653614FB-C463-065C-212C-09FF87622FC1}"/>
                  </a:ext>
                </a:extLst>
              </p:cNvPr>
              <p:cNvSpPr/>
              <p:nvPr/>
            </p:nvSpPr>
            <p:spPr>
              <a:xfrm>
                <a:off x="10464836" y="3147661"/>
                <a:ext cx="84232" cy="219443"/>
              </a:xfrm>
              <a:custGeom>
                <a:avLst/>
                <a:gdLst>
                  <a:gd name="connsiteX0" fmla="*/ 27147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3 w 124015"/>
                  <a:gd name="connsiteY11" fmla="*/ 0 h 323087"/>
                  <a:gd name="connsiteX12" fmla="*/ 88964 w 124015"/>
                  <a:gd name="connsiteY12" fmla="*/ 33338 h 323087"/>
                  <a:gd name="connsiteX13" fmla="*/ 78963 w 124015"/>
                  <a:gd name="connsiteY13" fmla="*/ 70104 h 323087"/>
                  <a:gd name="connsiteX14" fmla="*/ 88964 w 124015"/>
                  <a:gd name="connsiteY14" fmla="*/ 106871 h 323087"/>
                  <a:gd name="connsiteX15" fmla="*/ 98013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7"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3" y="0"/>
                    </a:lnTo>
                    <a:cubicBezTo>
                      <a:pt x="98013" y="16669"/>
                      <a:pt x="93631" y="24765"/>
                      <a:pt x="88964" y="33338"/>
                    </a:cubicBezTo>
                    <a:cubicBezTo>
                      <a:pt x="84106" y="42386"/>
                      <a:pt x="78963" y="51721"/>
                      <a:pt x="78963" y="70104"/>
                    </a:cubicBezTo>
                    <a:cubicBezTo>
                      <a:pt x="78963" y="88487"/>
                      <a:pt x="84011" y="97917"/>
                      <a:pt x="88964" y="106871"/>
                    </a:cubicBezTo>
                    <a:cubicBezTo>
                      <a:pt x="93631" y="115443"/>
                      <a:pt x="98013" y="123635"/>
                      <a:pt x="98013" y="140208"/>
                    </a:cubicBezTo>
                    <a:cubicBezTo>
                      <a:pt x="98013"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0" name="Free-form: Shape 1056">
                <a:extLst>
                  <a:ext uri="{FF2B5EF4-FFF2-40B4-BE49-F238E27FC236}">
                    <a16:creationId xmlns:a16="http://schemas.microsoft.com/office/drawing/2014/main" id="{7F20C20C-2BD2-194E-B1CB-7BF4C8DBDB7A}"/>
                  </a:ext>
                </a:extLst>
              </p:cNvPr>
              <p:cNvSpPr/>
              <p:nvPr/>
            </p:nvSpPr>
            <p:spPr>
              <a:xfrm>
                <a:off x="10370705" y="3147661"/>
                <a:ext cx="84232" cy="219443"/>
              </a:xfrm>
              <a:custGeom>
                <a:avLst/>
                <a:gdLst>
                  <a:gd name="connsiteX0" fmla="*/ 27147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3 w 124015"/>
                  <a:gd name="connsiteY11" fmla="*/ 0 h 323087"/>
                  <a:gd name="connsiteX12" fmla="*/ 88964 w 124015"/>
                  <a:gd name="connsiteY12" fmla="*/ 33338 h 323087"/>
                  <a:gd name="connsiteX13" fmla="*/ 78963 w 124015"/>
                  <a:gd name="connsiteY13" fmla="*/ 70104 h 323087"/>
                  <a:gd name="connsiteX14" fmla="*/ 88964 w 124015"/>
                  <a:gd name="connsiteY14" fmla="*/ 106871 h 323087"/>
                  <a:gd name="connsiteX15" fmla="*/ 98013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7"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3" y="0"/>
                    </a:lnTo>
                    <a:cubicBezTo>
                      <a:pt x="98013" y="16669"/>
                      <a:pt x="93631" y="24765"/>
                      <a:pt x="88964" y="33338"/>
                    </a:cubicBezTo>
                    <a:cubicBezTo>
                      <a:pt x="84106" y="42386"/>
                      <a:pt x="78963" y="51721"/>
                      <a:pt x="78963" y="70104"/>
                    </a:cubicBezTo>
                    <a:cubicBezTo>
                      <a:pt x="78963" y="88487"/>
                      <a:pt x="84011" y="97917"/>
                      <a:pt x="88964" y="106871"/>
                    </a:cubicBezTo>
                    <a:cubicBezTo>
                      <a:pt x="93631" y="115443"/>
                      <a:pt x="98013" y="123635"/>
                      <a:pt x="98013" y="140208"/>
                    </a:cubicBezTo>
                    <a:cubicBezTo>
                      <a:pt x="98013"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3"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6" y="24860"/>
                      <a:pt x="37338" y="33433"/>
                    </a:cubicBezTo>
                    <a:cubicBezTo>
                      <a:pt x="32481" y="42482"/>
                      <a:pt x="27337" y="51816"/>
                      <a:pt x="27337" y="70199"/>
                    </a:cubicBezTo>
                    <a:cubicBezTo>
                      <a:pt x="27337" y="88583"/>
                      <a:pt x="32385" y="98012"/>
                      <a:pt x="37338" y="106966"/>
                    </a:cubicBezTo>
                    <a:cubicBezTo>
                      <a:pt x="42006" y="115538"/>
                      <a:pt x="46387" y="123730"/>
                      <a:pt x="46387" y="140303"/>
                    </a:cubicBezTo>
                    <a:cubicBezTo>
                      <a:pt x="46387" y="156877"/>
                      <a:pt x="42006" y="165068"/>
                      <a:pt x="37338" y="173641"/>
                    </a:cubicBezTo>
                    <a:cubicBezTo>
                      <a:pt x="32481"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1" name="Free-form: Shape 1057">
                <a:extLst>
                  <a:ext uri="{FF2B5EF4-FFF2-40B4-BE49-F238E27FC236}">
                    <a16:creationId xmlns:a16="http://schemas.microsoft.com/office/drawing/2014/main" id="{CAA8F4E4-D808-3042-8068-1824A3F7C43B}"/>
                  </a:ext>
                </a:extLst>
              </p:cNvPr>
              <p:cNvSpPr/>
              <p:nvPr/>
            </p:nvSpPr>
            <p:spPr>
              <a:xfrm>
                <a:off x="10276640"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7"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7" y="180975"/>
                      <a:pt x="80772" y="188786"/>
                      <a:pt x="79438" y="201644"/>
                    </a:cubicBezTo>
                    <a:cubicBezTo>
                      <a:pt x="73914" y="200025"/>
                      <a:pt x="68103" y="199168"/>
                      <a:pt x="62103" y="199168"/>
                    </a:cubicBezTo>
                    <a:cubicBezTo>
                      <a:pt x="52197" y="199168"/>
                      <a:pt x="42863" y="201549"/>
                      <a:pt x="34576" y="205740"/>
                    </a:cubicBezTo>
                    <a:cubicBezTo>
                      <a:pt x="35337"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2" name="Free-form: Shape 1058">
                <a:extLst>
                  <a:ext uri="{FF2B5EF4-FFF2-40B4-BE49-F238E27FC236}">
                    <a16:creationId xmlns:a16="http://schemas.microsoft.com/office/drawing/2014/main" id="{78A2CD5F-32B6-8784-2D81-3E6EBE7B0E32}"/>
                  </a:ext>
                </a:extLst>
              </p:cNvPr>
              <p:cNvSpPr/>
              <p:nvPr/>
            </p:nvSpPr>
            <p:spPr>
              <a:xfrm>
                <a:off x="10182509"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7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1 w 124015"/>
                  <a:gd name="connsiteY21" fmla="*/ 140303 h 323087"/>
                  <a:gd name="connsiteX22" fmla="*/ 43529 w 124015"/>
                  <a:gd name="connsiteY22" fmla="*/ 103537 h 323087"/>
                  <a:gd name="connsiteX23" fmla="*/ 34481 w 124015"/>
                  <a:gd name="connsiteY23" fmla="*/ 70199 h 323087"/>
                  <a:gd name="connsiteX24" fmla="*/ 43529 w 124015"/>
                  <a:gd name="connsiteY24" fmla="*/ 36862 h 323087"/>
                  <a:gd name="connsiteX25" fmla="*/ 53531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7"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9" y="184785"/>
                      <a:pt x="43529" y="177070"/>
                    </a:cubicBezTo>
                    <a:cubicBezTo>
                      <a:pt x="48387" y="168021"/>
                      <a:pt x="53531" y="158782"/>
                      <a:pt x="53531" y="140303"/>
                    </a:cubicBezTo>
                    <a:cubicBezTo>
                      <a:pt x="53531" y="121825"/>
                      <a:pt x="48482" y="112490"/>
                      <a:pt x="43529" y="103537"/>
                    </a:cubicBezTo>
                    <a:cubicBezTo>
                      <a:pt x="38862" y="94964"/>
                      <a:pt x="34481" y="86773"/>
                      <a:pt x="34481" y="70199"/>
                    </a:cubicBezTo>
                    <a:cubicBezTo>
                      <a:pt x="34481" y="53626"/>
                      <a:pt x="38862" y="45434"/>
                      <a:pt x="43529" y="36862"/>
                    </a:cubicBezTo>
                    <a:cubicBezTo>
                      <a:pt x="48387" y="27813"/>
                      <a:pt x="53531" y="18479"/>
                      <a:pt x="53531"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3" name="Free-form: Shape 1059">
                <a:extLst>
                  <a:ext uri="{FF2B5EF4-FFF2-40B4-BE49-F238E27FC236}">
                    <a16:creationId xmlns:a16="http://schemas.microsoft.com/office/drawing/2014/main" id="{58C7BAF2-2549-4C96-0E53-C866E57B6943}"/>
                  </a:ext>
                </a:extLst>
              </p:cNvPr>
              <p:cNvSpPr/>
              <p:nvPr/>
            </p:nvSpPr>
            <p:spPr>
              <a:xfrm>
                <a:off x="10088379"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4" name="Free-form: Shape 1060">
                <a:extLst>
                  <a:ext uri="{FF2B5EF4-FFF2-40B4-BE49-F238E27FC236}">
                    <a16:creationId xmlns:a16="http://schemas.microsoft.com/office/drawing/2014/main" id="{9320A653-E7CB-AF31-73D3-F4140F1835C8}"/>
                  </a:ext>
                </a:extLst>
              </p:cNvPr>
              <p:cNvSpPr/>
              <p:nvPr/>
            </p:nvSpPr>
            <p:spPr>
              <a:xfrm>
                <a:off x="9994313"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5" name="Free-form: Shape 1061">
                <a:extLst>
                  <a:ext uri="{FF2B5EF4-FFF2-40B4-BE49-F238E27FC236}">
                    <a16:creationId xmlns:a16="http://schemas.microsoft.com/office/drawing/2014/main" id="{BF24F28D-9917-ACC6-DE40-6B1909306E7F}"/>
                  </a:ext>
                </a:extLst>
              </p:cNvPr>
              <p:cNvSpPr/>
              <p:nvPr/>
            </p:nvSpPr>
            <p:spPr>
              <a:xfrm>
                <a:off x="9900182"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6" name="Free-form: Shape 1062">
                <a:extLst>
                  <a:ext uri="{FF2B5EF4-FFF2-40B4-BE49-F238E27FC236}">
                    <a16:creationId xmlns:a16="http://schemas.microsoft.com/office/drawing/2014/main" id="{C0823A78-A291-AAA0-9260-318E9BA437EE}"/>
                  </a:ext>
                </a:extLst>
              </p:cNvPr>
              <p:cNvSpPr/>
              <p:nvPr/>
            </p:nvSpPr>
            <p:spPr>
              <a:xfrm>
                <a:off x="9806051"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7" name="Free-form: Shape 1063">
                <a:extLst>
                  <a:ext uri="{FF2B5EF4-FFF2-40B4-BE49-F238E27FC236}">
                    <a16:creationId xmlns:a16="http://schemas.microsoft.com/office/drawing/2014/main" id="{0E8E0F0C-D711-4C1F-DD3F-C5138C560C83}"/>
                  </a:ext>
                </a:extLst>
              </p:cNvPr>
              <p:cNvSpPr/>
              <p:nvPr/>
            </p:nvSpPr>
            <p:spPr>
              <a:xfrm>
                <a:off x="9711921"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8" name="Free-form: Shape 1064">
                <a:extLst>
                  <a:ext uri="{FF2B5EF4-FFF2-40B4-BE49-F238E27FC236}">
                    <a16:creationId xmlns:a16="http://schemas.microsoft.com/office/drawing/2014/main" id="{5F180F65-93FB-3F91-CB07-A204950F73B3}"/>
                  </a:ext>
                </a:extLst>
              </p:cNvPr>
              <p:cNvSpPr/>
              <p:nvPr/>
            </p:nvSpPr>
            <p:spPr>
              <a:xfrm>
                <a:off x="9617855"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99" name="Free-form: Shape 1065">
                <a:extLst>
                  <a:ext uri="{FF2B5EF4-FFF2-40B4-BE49-F238E27FC236}">
                    <a16:creationId xmlns:a16="http://schemas.microsoft.com/office/drawing/2014/main" id="{442569F0-D237-EBC3-1276-9909D67C736C}"/>
                  </a:ext>
                </a:extLst>
              </p:cNvPr>
              <p:cNvSpPr/>
              <p:nvPr/>
            </p:nvSpPr>
            <p:spPr>
              <a:xfrm>
                <a:off x="9523725"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0" name="Free-form: Shape 1066">
                <a:extLst>
                  <a:ext uri="{FF2B5EF4-FFF2-40B4-BE49-F238E27FC236}">
                    <a16:creationId xmlns:a16="http://schemas.microsoft.com/office/drawing/2014/main" id="{F42665C0-B296-BED7-EE48-40A880E40E4D}"/>
                  </a:ext>
                </a:extLst>
              </p:cNvPr>
              <p:cNvSpPr/>
              <p:nvPr/>
            </p:nvSpPr>
            <p:spPr>
              <a:xfrm>
                <a:off x="9429594"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1 w 124015"/>
                  <a:gd name="connsiteY21" fmla="*/ 140303 h 323087"/>
                  <a:gd name="connsiteX22" fmla="*/ 43529 w 124015"/>
                  <a:gd name="connsiteY22" fmla="*/ 103537 h 323087"/>
                  <a:gd name="connsiteX23" fmla="*/ 34481 w 124015"/>
                  <a:gd name="connsiteY23" fmla="*/ 70199 h 323087"/>
                  <a:gd name="connsiteX24" fmla="*/ 43529 w 124015"/>
                  <a:gd name="connsiteY24" fmla="*/ 36862 h 323087"/>
                  <a:gd name="connsiteX25" fmla="*/ 53531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1" y="158782"/>
                      <a:pt x="53531" y="140303"/>
                    </a:cubicBezTo>
                    <a:cubicBezTo>
                      <a:pt x="53531" y="121825"/>
                      <a:pt x="48482" y="112490"/>
                      <a:pt x="43529" y="103537"/>
                    </a:cubicBezTo>
                    <a:cubicBezTo>
                      <a:pt x="38862" y="94964"/>
                      <a:pt x="34481" y="86773"/>
                      <a:pt x="34481" y="70199"/>
                    </a:cubicBezTo>
                    <a:cubicBezTo>
                      <a:pt x="34481" y="53626"/>
                      <a:pt x="38862" y="45434"/>
                      <a:pt x="43529" y="36862"/>
                    </a:cubicBezTo>
                    <a:cubicBezTo>
                      <a:pt x="48387" y="27813"/>
                      <a:pt x="53531" y="18479"/>
                      <a:pt x="53531"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1" name="Free-form: Shape 1067">
                <a:extLst>
                  <a:ext uri="{FF2B5EF4-FFF2-40B4-BE49-F238E27FC236}">
                    <a16:creationId xmlns:a16="http://schemas.microsoft.com/office/drawing/2014/main" id="{372D0CBF-D42A-7A27-735A-91E3E8A7FE54}"/>
                  </a:ext>
                </a:extLst>
              </p:cNvPr>
              <p:cNvSpPr/>
              <p:nvPr/>
            </p:nvSpPr>
            <p:spPr>
              <a:xfrm>
                <a:off x="9335528"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2" name="Free-form: Shape 1068">
                <a:extLst>
                  <a:ext uri="{FF2B5EF4-FFF2-40B4-BE49-F238E27FC236}">
                    <a16:creationId xmlns:a16="http://schemas.microsoft.com/office/drawing/2014/main" id="{4520ED40-151B-5E47-442F-00807308588F}"/>
                  </a:ext>
                </a:extLst>
              </p:cNvPr>
              <p:cNvSpPr/>
              <p:nvPr/>
            </p:nvSpPr>
            <p:spPr>
              <a:xfrm>
                <a:off x="9241397"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3" name="Free-form: Shape 1069">
                <a:extLst>
                  <a:ext uri="{FF2B5EF4-FFF2-40B4-BE49-F238E27FC236}">
                    <a16:creationId xmlns:a16="http://schemas.microsoft.com/office/drawing/2014/main" id="{D0C6C28F-0EC3-9CC6-BD82-00D2CE299F0C}"/>
                  </a:ext>
                </a:extLst>
              </p:cNvPr>
              <p:cNvSpPr/>
              <p:nvPr/>
            </p:nvSpPr>
            <p:spPr>
              <a:xfrm>
                <a:off x="9147267"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4" name="Free-form: Shape 1070">
                <a:extLst>
                  <a:ext uri="{FF2B5EF4-FFF2-40B4-BE49-F238E27FC236}">
                    <a16:creationId xmlns:a16="http://schemas.microsoft.com/office/drawing/2014/main" id="{8F00F514-CA08-71D3-6E00-6AD518AD001E}"/>
                  </a:ext>
                </a:extLst>
              </p:cNvPr>
              <p:cNvSpPr/>
              <p:nvPr/>
            </p:nvSpPr>
            <p:spPr>
              <a:xfrm>
                <a:off x="9053136"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7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4 w 124015"/>
                  <a:gd name="connsiteY12" fmla="*/ 33338 h 323087"/>
                  <a:gd name="connsiteX13" fmla="*/ 78962 w 124015"/>
                  <a:gd name="connsiteY13" fmla="*/ 70104 h 323087"/>
                  <a:gd name="connsiteX14" fmla="*/ 88964 w 124015"/>
                  <a:gd name="connsiteY14" fmla="*/ 106871 h 323087"/>
                  <a:gd name="connsiteX15" fmla="*/ 98012 w 124015"/>
                  <a:gd name="connsiteY15" fmla="*/ 140208 h 323087"/>
                  <a:gd name="connsiteX16" fmla="*/ 88964 w 124015"/>
                  <a:gd name="connsiteY16" fmla="*/ 173546 h 323087"/>
                  <a:gd name="connsiteX17" fmla="*/ 79439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1 w 124015"/>
                  <a:gd name="connsiteY21" fmla="*/ 140303 h 323087"/>
                  <a:gd name="connsiteX22" fmla="*/ 43529 w 124015"/>
                  <a:gd name="connsiteY22" fmla="*/ 103537 h 323087"/>
                  <a:gd name="connsiteX23" fmla="*/ 34481 w 124015"/>
                  <a:gd name="connsiteY23" fmla="*/ 70199 h 323087"/>
                  <a:gd name="connsiteX24" fmla="*/ 43529 w 124015"/>
                  <a:gd name="connsiteY24" fmla="*/ 36862 h 323087"/>
                  <a:gd name="connsiteX25" fmla="*/ 53531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7"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4" y="33338"/>
                    </a:cubicBezTo>
                    <a:cubicBezTo>
                      <a:pt x="84106" y="42386"/>
                      <a:pt x="78962" y="51721"/>
                      <a:pt x="78962" y="70104"/>
                    </a:cubicBezTo>
                    <a:cubicBezTo>
                      <a:pt x="78962" y="88487"/>
                      <a:pt x="84011" y="97917"/>
                      <a:pt x="88964" y="106871"/>
                    </a:cubicBezTo>
                    <a:cubicBezTo>
                      <a:pt x="93631" y="115443"/>
                      <a:pt x="98012" y="123635"/>
                      <a:pt x="98012" y="140208"/>
                    </a:cubicBezTo>
                    <a:cubicBezTo>
                      <a:pt x="98012" y="156782"/>
                      <a:pt x="93631" y="164973"/>
                      <a:pt x="88964" y="173546"/>
                    </a:cubicBezTo>
                    <a:cubicBezTo>
                      <a:pt x="84868" y="180975"/>
                      <a:pt x="80772" y="188786"/>
                      <a:pt x="79439"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1" y="158782"/>
                      <a:pt x="53531" y="140303"/>
                    </a:cubicBezTo>
                    <a:cubicBezTo>
                      <a:pt x="53531" y="121825"/>
                      <a:pt x="48483" y="112490"/>
                      <a:pt x="43529" y="103537"/>
                    </a:cubicBezTo>
                    <a:cubicBezTo>
                      <a:pt x="38862" y="94964"/>
                      <a:pt x="34481" y="86773"/>
                      <a:pt x="34481" y="70199"/>
                    </a:cubicBezTo>
                    <a:cubicBezTo>
                      <a:pt x="34481" y="53626"/>
                      <a:pt x="38862" y="45434"/>
                      <a:pt x="43529" y="36862"/>
                    </a:cubicBezTo>
                    <a:cubicBezTo>
                      <a:pt x="48387" y="27813"/>
                      <a:pt x="53531" y="18479"/>
                      <a:pt x="53531"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5" name="Free-form: Shape 1071">
                <a:extLst>
                  <a:ext uri="{FF2B5EF4-FFF2-40B4-BE49-F238E27FC236}">
                    <a16:creationId xmlns:a16="http://schemas.microsoft.com/office/drawing/2014/main" id="{6AA95328-7F2C-E51C-F44A-D093F3DF988A}"/>
                  </a:ext>
                </a:extLst>
              </p:cNvPr>
              <p:cNvSpPr/>
              <p:nvPr/>
            </p:nvSpPr>
            <p:spPr>
              <a:xfrm>
                <a:off x="8959070"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6" name="Free-form: Shape 1072">
                <a:extLst>
                  <a:ext uri="{FF2B5EF4-FFF2-40B4-BE49-F238E27FC236}">
                    <a16:creationId xmlns:a16="http://schemas.microsoft.com/office/drawing/2014/main" id="{A32C4ED9-2C31-69FE-4EFC-CC9B707E2B30}"/>
                  </a:ext>
                </a:extLst>
              </p:cNvPr>
              <p:cNvSpPr/>
              <p:nvPr/>
            </p:nvSpPr>
            <p:spPr>
              <a:xfrm>
                <a:off x="8864940"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7" name="Free-form: Shape 1073">
                <a:extLst>
                  <a:ext uri="{FF2B5EF4-FFF2-40B4-BE49-F238E27FC236}">
                    <a16:creationId xmlns:a16="http://schemas.microsoft.com/office/drawing/2014/main" id="{56432698-456F-4757-8BE2-FB0930389C54}"/>
                  </a:ext>
                </a:extLst>
              </p:cNvPr>
              <p:cNvSpPr/>
              <p:nvPr/>
            </p:nvSpPr>
            <p:spPr>
              <a:xfrm>
                <a:off x="8770809"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8" name="Free-form: Shape 1074">
                <a:extLst>
                  <a:ext uri="{FF2B5EF4-FFF2-40B4-BE49-F238E27FC236}">
                    <a16:creationId xmlns:a16="http://schemas.microsoft.com/office/drawing/2014/main" id="{74C23F1E-FE8B-8142-C47D-B2E0232FD2F1}"/>
                  </a:ext>
                </a:extLst>
              </p:cNvPr>
              <p:cNvSpPr/>
              <p:nvPr/>
            </p:nvSpPr>
            <p:spPr>
              <a:xfrm>
                <a:off x="8676742"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09" name="Free-form: Shape 1075">
                <a:extLst>
                  <a:ext uri="{FF2B5EF4-FFF2-40B4-BE49-F238E27FC236}">
                    <a16:creationId xmlns:a16="http://schemas.microsoft.com/office/drawing/2014/main" id="{259CD19D-62C2-1DDA-8025-136163A39AFB}"/>
                  </a:ext>
                </a:extLst>
              </p:cNvPr>
              <p:cNvSpPr/>
              <p:nvPr/>
            </p:nvSpPr>
            <p:spPr>
              <a:xfrm>
                <a:off x="8582612"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10" name="Free-form: Shape 1076">
                <a:extLst>
                  <a:ext uri="{FF2B5EF4-FFF2-40B4-BE49-F238E27FC236}">
                    <a16:creationId xmlns:a16="http://schemas.microsoft.com/office/drawing/2014/main" id="{182F94F2-71E2-9A7D-C578-C90AFEACCAA0}"/>
                  </a:ext>
                </a:extLst>
              </p:cNvPr>
              <p:cNvSpPr/>
              <p:nvPr/>
            </p:nvSpPr>
            <p:spPr>
              <a:xfrm>
                <a:off x="8488482"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4 w 124015"/>
                  <a:gd name="connsiteY12" fmla="*/ 33338 h 323087"/>
                  <a:gd name="connsiteX13" fmla="*/ 78962 w 124015"/>
                  <a:gd name="connsiteY13" fmla="*/ 70104 h 323087"/>
                  <a:gd name="connsiteX14" fmla="*/ 88964 w 124015"/>
                  <a:gd name="connsiteY14" fmla="*/ 106871 h 323087"/>
                  <a:gd name="connsiteX15" fmla="*/ 98012 w 124015"/>
                  <a:gd name="connsiteY15" fmla="*/ 140208 h 323087"/>
                  <a:gd name="connsiteX16" fmla="*/ 88964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2" y="167926"/>
                      <a:pt x="105156" y="158687"/>
                      <a:pt x="105156" y="140208"/>
                    </a:cubicBezTo>
                    <a:cubicBezTo>
                      <a:pt x="105156" y="121729"/>
                      <a:pt x="100108" y="112395"/>
                      <a:pt x="95155" y="103442"/>
                    </a:cubicBezTo>
                    <a:cubicBezTo>
                      <a:pt x="90487" y="94869"/>
                      <a:pt x="86106" y="86678"/>
                      <a:pt x="86106" y="70104"/>
                    </a:cubicBezTo>
                    <a:cubicBezTo>
                      <a:pt x="86106" y="53531"/>
                      <a:pt x="90487" y="45339"/>
                      <a:pt x="95155" y="36767"/>
                    </a:cubicBezTo>
                    <a:cubicBezTo>
                      <a:pt x="100012" y="27718"/>
                      <a:pt x="105156" y="18383"/>
                      <a:pt x="105156" y="0"/>
                    </a:cubicBezTo>
                    <a:lnTo>
                      <a:pt x="98012" y="0"/>
                    </a:lnTo>
                    <a:cubicBezTo>
                      <a:pt x="98012" y="16669"/>
                      <a:pt x="93631" y="24765"/>
                      <a:pt x="88964" y="33338"/>
                    </a:cubicBezTo>
                    <a:cubicBezTo>
                      <a:pt x="84106" y="42386"/>
                      <a:pt x="78962" y="51721"/>
                      <a:pt x="78962" y="70104"/>
                    </a:cubicBezTo>
                    <a:cubicBezTo>
                      <a:pt x="78962" y="88487"/>
                      <a:pt x="84010" y="97917"/>
                      <a:pt x="88964" y="106871"/>
                    </a:cubicBezTo>
                    <a:cubicBezTo>
                      <a:pt x="93631" y="115443"/>
                      <a:pt x="98012" y="123635"/>
                      <a:pt x="98012" y="140208"/>
                    </a:cubicBezTo>
                    <a:cubicBezTo>
                      <a:pt x="98012" y="156782"/>
                      <a:pt x="93631" y="164973"/>
                      <a:pt x="88964"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11" name="Free-form: Shape 1077">
                <a:extLst>
                  <a:ext uri="{FF2B5EF4-FFF2-40B4-BE49-F238E27FC236}">
                    <a16:creationId xmlns:a16="http://schemas.microsoft.com/office/drawing/2014/main" id="{CCFD48EC-DEE0-26DF-3CCD-FF44206EBF9F}"/>
                  </a:ext>
                </a:extLst>
              </p:cNvPr>
              <p:cNvSpPr/>
              <p:nvPr/>
            </p:nvSpPr>
            <p:spPr>
              <a:xfrm>
                <a:off x="8394351"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6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6" y="295370"/>
                      <a:pt x="124016" y="261080"/>
                    </a:cubicBezTo>
                    <a:cubicBezTo>
                      <a:pt x="124016"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1"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12" name="Free-form: Shape 1078">
                <a:extLst>
                  <a:ext uri="{FF2B5EF4-FFF2-40B4-BE49-F238E27FC236}">
                    <a16:creationId xmlns:a16="http://schemas.microsoft.com/office/drawing/2014/main" id="{D52F0E14-C3A8-E99D-D134-33457BAAD1DE}"/>
                  </a:ext>
                </a:extLst>
              </p:cNvPr>
              <p:cNvSpPr/>
              <p:nvPr/>
            </p:nvSpPr>
            <p:spPr>
              <a:xfrm>
                <a:off x="8300285"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sp>
            <p:nvSpPr>
              <p:cNvPr id="113" name="Free-form: Shape 1079">
                <a:extLst>
                  <a:ext uri="{FF2B5EF4-FFF2-40B4-BE49-F238E27FC236}">
                    <a16:creationId xmlns:a16="http://schemas.microsoft.com/office/drawing/2014/main" id="{CA1C1281-396D-B258-DD2F-EAB9F322C3C1}"/>
                  </a:ext>
                </a:extLst>
              </p:cNvPr>
              <p:cNvSpPr/>
              <p:nvPr/>
            </p:nvSpPr>
            <p:spPr>
              <a:xfrm>
                <a:off x="8206154" y="3147661"/>
                <a:ext cx="84232" cy="219443"/>
              </a:xfrm>
              <a:custGeom>
                <a:avLst/>
                <a:gdLst>
                  <a:gd name="connsiteX0" fmla="*/ 27146 w 124015"/>
                  <a:gd name="connsiteY0" fmla="*/ 209836 h 323087"/>
                  <a:gd name="connsiteX1" fmla="*/ 0 w 124015"/>
                  <a:gd name="connsiteY1" fmla="*/ 261080 h 323087"/>
                  <a:gd name="connsiteX2" fmla="*/ 62008 w 124015"/>
                  <a:gd name="connsiteY2" fmla="*/ 323088 h 323087"/>
                  <a:gd name="connsiteX3" fmla="*/ 124015 w 124015"/>
                  <a:gd name="connsiteY3" fmla="*/ 261080 h 323087"/>
                  <a:gd name="connsiteX4" fmla="*/ 86296 w 124015"/>
                  <a:gd name="connsiteY4" fmla="*/ 204025 h 323087"/>
                  <a:gd name="connsiteX5" fmla="*/ 95155 w 124015"/>
                  <a:gd name="connsiteY5" fmla="*/ 176975 h 323087"/>
                  <a:gd name="connsiteX6" fmla="*/ 105156 w 124015"/>
                  <a:gd name="connsiteY6" fmla="*/ 140208 h 323087"/>
                  <a:gd name="connsiteX7" fmla="*/ 95155 w 124015"/>
                  <a:gd name="connsiteY7" fmla="*/ 103442 h 323087"/>
                  <a:gd name="connsiteX8" fmla="*/ 86106 w 124015"/>
                  <a:gd name="connsiteY8" fmla="*/ 70104 h 323087"/>
                  <a:gd name="connsiteX9" fmla="*/ 95155 w 124015"/>
                  <a:gd name="connsiteY9" fmla="*/ 36767 h 323087"/>
                  <a:gd name="connsiteX10" fmla="*/ 105156 w 124015"/>
                  <a:gd name="connsiteY10" fmla="*/ 0 h 323087"/>
                  <a:gd name="connsiteX11" fmla="*/ 98012 w 124015"/>
                  <a:gd name="connsiteY11" fmla="*/ 0 h 323087"/>
                  <a:gd name="connsiteX12" fmla="*/ 88963 w 124015"/>
                  <a:gd name="connsiteY12" fmla="*/ 33338 h 323087"/>
                  <a:gd name="connsiteX13" fmla="*/ 78962 w 124015"/>
                  <a:gd name="connsiteY13" fmla="*/ 70104 h 323087"/>
                  <a:gd name="connsiteX14" fmla="*/ 88963 w 124015"/>
                  <a:gd name="connsiteY14" fmla="*/ 106871 h 323087"/>
                  <a:gd name="connsiteX15" fmla="*/ 98012 w 124015"/>
                  <a:gd name="connsiteY15" fmla="*/ 140208 h 323087"/>
                  <a:gd name="connsiteX16" fmla="*/ 88963 w 124015"/>
                  <a:gd name="connsiteY16" fmla="*/ 173546 h 323087"/>
                  <a:gd name="connsiteX17" fmla="*/ 79438 w 124015"/>
                  <a:gd name="connsiteY17" fmla="*/ 201644 h 323087"/>
                  <a:gd name="connsiteX18" fmla="*/ 62103 w 124015"/>
                  <a:gd name="connsiteY18" fmla="*/ 199168 h 323087"/>
                  <a:gd name="connsiteX19" fmla="*/ 34576 w 124015"/>
                  <a:gd name="connsiteY19" fmla="*/ 205740 h 323087"/>
                  <a:gd name="connsiteX20" fmla="*/ 43529 w 124015"/>
                  <a:gd name="connsiteY20" fmla="*/ 177070 h 323087"/>
                  <a:gd name="connsiteX21" fmla="*/ 53530 w 124015"/>
                  <a:gd name="connsiteY21" fmla="*/ 140303 h 323087"/>
                  <a:gd name="connsiteX22" fmla="*/ 43529 w 124015"/>
                  <a:gd name="connsiteY22" fmla="*/ 103537 h 323087"/>
                  <a:gd name="connsiteX23" fmla="*/ 34480 w 124015"/>
                  <a:gd name="connsiteY23" fmla="*/ 70199 h 323087"/>
                  <a:gd name="connsiteX24" fmla="*/ 43529 w 124015"/>
                  <a:gd name="connsiteY24" fmla="*/ 36862 h 323087"/>
                  <a:gd name="connsiteX25" fmla="*/ 53530 w 124015"/>
                  <a:gd name="connsiteY25" fmla="*/ 95 h 323087"/>
                  <a:gd name="connsiteX26" fmla="*/ 46387 w 124015"/>
                  <a:gd name="connsiteY26" fmla="*/ 95 h 323087"/>
                  <a:gd name="connsiteX27" fmla="*/ 37338 w 124015"/>
                  <a:gd name="connsiteY27" fmla="*/ 33433 h 323087"/>
                  <a:gd name="connsiteX28" fmla="*/ 27337 w 124015"/>
                  <a:gd name="connsiteY28" fmla="*/ 70199 h 323087"/>
                  <a:gd name="connsiteX29" fmla="*/ 37338 w 124015"/>
                  <a:gd name="connsiteY29" fmla="*/ 106966 h 323087"/>
                  <a:gd name="connsiteX30" fmla="*/ 46387 w 124015"/>
                  <a:gd name="connsiteY30" fmla="*/ 140303 h 323087"/>
                  <a:gd name="connsiteX31" fmla="*/ 37338 w 124015"/>
                  <a:gd name="connsiteY31" fmla="*/ 173641 h 323087"/>
                  <a:gd name="connsiteX32" fmla="*/ 27432 w 124015"/>
                  <a:gd name="connsiteY32" fmla="*/ 209931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4015" h="323087">
                    <a:moveTo>
                      <a:pt x="27146" y="209836"/>
                    </a:moveTo>
                    <a:cubicBezTo>
                      <a:pt x="10763" y="220980"/>
                      <a:pt x="0" y="239744"/>
                      <a:pt x="0" y="261080"/>
                    </a:cubicBezTo>
                    <a:cubicBezTo>
                      <a:pt x="0" y="295275"/>
                      <a:pt x="27718" y="323088"/>
                      <a:pt x="62008" y="323088"/>
                    </a:cubicBezTo>
                    <a:cubicBezTo>
                      <a:pt x="96298" y="323088"/>
                      <a:pt x="124015" y="295370"/>
                      <a:pt x="124015" y="261080"/>
                    </a:cubicBezTo>
                    <a:cubicBezTo>
                      <a:pt x="124015" y="235458"/>
                      <a:pt x="108490" y="213455"/>
                      <a:pt x="86296" y="204025"/>
                    </a:cubicBezTo>
                    <a:cubicBezTo>
                      <a:pt x="87249" y="191453"/>
                      <a:pt x="91059" y="184404"/>
                      <a:pt x="95155" y="176975"/>
                    </a:cubicBezTo>
                    <a:cubicBezTo>
                      <a:pt x="100013" y="167926"/>
                      <a:pt x="105156" y="158687"/>
                      <a:pt x="105156" y="140208"/>
                    </a:cubicBezTo>
                    <a:cubicBezTo>
                      <a:pt x="105156" y="121729"/>
                      <a:pt x="100108" y="112395"/>
                      <a:pt x="95155" y="103442"/>
                    </a:cubicBezTo>
                    <a:cubicBezTo>
                      <a:pt x="90488" y="94869"/>
                      <a:pt x="86106" y="86678"/>
                      <a:pt x="86106" y="70104"/>
                    </a:cubicBezTo>
                    <a:cubicBezTo>
                      <a:pt x="86106" y="53531"/>
                      <a:pt x="90488" y="45339"/>
                      <a:pt x="95155" y="36767"/>
                    </a:cubicBezTo>
                    <a:cubicBezTo>
                      <a:pt x="100013" y="27718"/>
                      <a:pt x="105156" y="18383"/>
                      <a:pt x="105156" y="0"/>
                    </a:cubicBezTo>
                    <a:lnTo>
                      <a:pt x="98012" y="0"/>
                    </a:lnTo>
                    <a:cubicBezTo>
                      <a:pt x="98012" y="16669"/>
                      <a:pt x="93631" y="24765"/>
                      <a:pt x="88963" y="33338"/>
                    </a:cubicBezTo>
                    <a:cubicBezTo>
                      <a:pt x="84106" y="42386"/>
                      <a:pt x="78962" y="51721"/>
                      <a:pt x="78962" y="70104"/>
                    </a:cubicBezTo>
                    <a:cubicBezTo>
                      <a:pt x="78962" y="88487"/>
                      <a:pt x="84010" y="97917"/>
                      <a:pt x="88963" y="106871"/>
                    </a:cubicBezTo>
                    <a:cubicBezTo>
                      <a:pt x="93631" y="115443"/>
                      <a:pt x="98012" y="123635"/>
                      <a:pt x="98012" y="140208"/>
                    </a:cubicBezTo>
                    <a:cubicBezTo>
                      <a:pt x="98012" y="156782"/>
                      <a:pt x="93631" y="164973"/>
                      <a:pt x="88963" y="173546"/>
                    </a:cubicBezTo>
                    <a:cubicBezTo>
                      <a:pt x="84868" y="180975"/>
                      <a:pt x="80772" y="188786"/>
                      <a:pt x="79438" y="201644"/>
                    </a:cubicBezTo>
                    <a:cubicBezTo>
                      <a:pt x="73914" y="200025"/>
                      <a:pt x="68104" y="199168"/>
                      <a:pt x="62103" y="199168"/>
                    </a:cubicBezTo>
                    <a:cubicBezTo>
                      <a:pt x="52197" y="199168"/>
                      <a:pt x="42863" y="201549"/>
                      <a:pt x="34576" y="205740"/>
                    </a:cubicBezTo>
                    <a:cubicBezTo>
                      <a:pt x="35338" y="192215"/>
                      <a:pt x="39338" y="184785"/>
                      <a:pt x="43529" y="177070"/>
                    </a:cubicBezTo>
                    <a:cubicBezTo>
                      <a:pt x="48387" y="168021"/>
                      <a:pt x="53530" y="158782"/>
                      <a:pt x="53530" y="140303"/>
                    </a:cubicBezTo>
                    <a:cubicBezTo>
                      <a:pt x="53530" y="121825"/>
                      <a:pt x="48482" y="112490"/>
                      <a:pt x="43529" y="103537"/>
                    </a:cubicBezTo>
                    <a:cubicBezTo>
                      <a:pt x="38862" y="94964"/>
                      <a:pt x="34480" y="86773"/>
                      <a:pt x="34480" y="70199"/>
                    </a:cubicBezTo>
                    <a:cubicBezTo>
                      <a:pt x="34480" y="53626"/>
                      <a:pt x="38862" y="45434"/>
                      <a:pt x="43529" y="36862"/>
                    </a:cubicBezTo>
                    <a:cubicBezTo>
                      <a:pt x="48387" y="27813"/>
                      <a:pt x="53530" y="18479"/>
                      <a:pt x="53530" y="95"/>
                    </a:cubicBezTo>
                    <a:lnTo>
                      <a:pt x="46387" y="95"/>
                    </a:lnTo>
                    <a:cubicBezTo>
                      <a:pt x="46387" y="16764"/>
                      <a:pt x="42005" y="24860"/>
                      <a:pt x="37338" y="33433"/>
                    </a:cubicBezTo>
                    <a:cubicBezTo>
                      <a:pt x="32480" y="42482"/>
                      <a:pt x="27337" y="51816"/>
                      <a:pt x="27337" y="70199"/>
                    </a:cubicBezTo>
                    <a:cubicBezTo>
                      <a:pt x="27337" y="88583"/>
                      <a:pt x="32385" y="98012"/>
                      <a:pt x="37338" y="106966"/>
                    </a:cubicBezTo>
                    <a:cubicBezTo>
                      <a:pt x="42005" y="115538"/>
                      <a:pt x="46387" y="123730"/>
                      <a:pt x="46387" y="140303"/>
                    </a:cubicBezTo>
                    <a:cubicBezTo>
                      <a:pt x="46387" y="156877"/>
                      <a:pt x="42005" y="165068"/>
                      <a:pt x="37338" y="173641"/>
                    </a:cubicBezTo>
                    <a:cubicBezTo>
                      <a:pt x="32480" y="182594"/>
                      <a:pt x="27527" y="191834"/>
                      <a:pt x="27432" y="209931"/>
                    </a:cubicBezTo>
                    <a:close/>
                  </a:path>
                </a:pathLst>
              </a:custGeom>
              <a:solidFill>
                <a:schemeClr val="bg2"/>
              </a:solidFill>
              <a:ln w="9525" cap="flat">
                <a:noFill/>
                <a:prstDash val="solid"/>
                <a:miter/>
              </a:ln>
            </p:spPr>
            <p:txBody>
              <a:bodyPr rtlCol="0" anchor="ctr"/>
              <a:lstStyle/>
              <a:p>
                <a:endParaRPr lang="en-US" noProof="0"/>
              </a:p>
            </p:txBody>
          </p:sp>
        </p:grpSp>
        <p:grpSp>
          <p:nvGrpSpPr>
            <p:cNvPr id="35" name="Group 34">
              <a:extLst>
                <a:ext uri="{FF2B5EF4-FFF2-40B4-BE49-F238E27FC236}">
                  <a16:creationId xmlns:a16="http://schemas.microsoft.com/office/drawing/2014/main" id="{724BB455-9BE6-AD32-599D-070ACC3E0998}"/>
                </a:ext>
              </a:extLst>
            </p:cNvPr>
            <p:cNvGrpSpPr/>
            <p:nvPr/>
          </p:nvGrpSpPr>
          <p:grpSpPr>
            <a:xfrm>
              <a:off x="7969761" y="2220819"/>
              <a:ext cx="1688521" cy="2325781"/>
              <a:chOff x="7406459" y="2231650"/>
              <a:chExt cx="1405729" cy="1936262"/>
            </a:xfrm>
          </p:grpSpPr>
          <p:sp>
            <p:nvSpPr>
              <p:cNvPr id="45" name="Free-form: Shape 50">
                <a:extLst>
                  <a:ext uri="{FF2B5EF4-FFF2-40B4-BE49-F238E27FC236}">
                    <a16:creationId xmlns:a16="http://schemas.microsoft.com/office/drawing/2014/main" id="{76BAFB60-F4E2-22D0-CFE1-A985C4DE4521}"/>
                  </a:ext>
                </a:extLst>
              </p:cNvPr>
              <p:cNvSpPr/>
              <p:nvPr/>
            </p:nvSpPr>
            <p:spPr>
              <a:xfrm>
                <a:off x="7406459" y="2293120"/>
                <a:ext cx="687200" cy="1874792"/>
              </a:xfrm>
              <a:custGeom>
                <a:avLst/>
                <a:gdLst>
                  <a:gd name="connsiteX0" fmla="*/ 810636 w 1011766"/>
                  <a:gd name="connsiteY0" fmla="*/ 2648127 h 2760261"/>
                  <a:gd name="connsiteX1" fmla="*/ 775679 w 1011766"/>
                  <a:gd name="connsiteY1" fmla="*/ 895051 h 2760261"/>
                  <a:gd name="connsiteX2" fmla="*/ 280760 w 1011766"/>
                  <a:gd name="connsiteY2" fmla="*/ 699884 h 2760261"/>
                  <a:gd name="connsiteX3" fmla="*/ 118264 w 1011766"/>
                  <a:gd name="connsiteY3" fmla="*/ 146005 h 2760261"/>
                  <a:gd name="connsiteX4" fmla="*/ 629852 w 1011766"/>
                  <a:gd name="connsiteY4" fmla="*/ 58565 h 2760261"/>
                  <a:gd name="connsiteX5" fmla="*/ 637662 w 1011766"/>
                  <a:gd name="connsiteY5" fmla="*/ 248970 h 2760261"/>
                  <a:gd name="connsiteX6" fmla="*/ 867977 w 1011766"/>
                  <a:gd name="connsiteY6" fmla="*/ 625398 h 2760261"/>
                  <a:gd name="connsiteX7" fmla="*/ 995707 w 1011766"/>
                  <a:gd name="connsiteY7" fmla="*/ 746842 h 2760261"/>
                  <a:gd name="connsiteX8" fmla="*/ 1009137 w 1011766"/>
                  <a:gd name="connsiteY8" fmla="*/ 2496108 h 2760261"/>
                  <a:gd name="connsiteX9" fmla="*/ 987706 w 1011766"/>
                  <a:gd name="connsiteY9" fmla="*/ 2742139 h 2760261"/>
                  <a:gd name="connsiteX10" fmla="*/ 811208 w 1011766"/>
                  <a:gd name="connsiteY10" fmla="*/ 2649175 h 2760261"/>
                  <a:gd name="connsiteX11" fmla="*/ 810731 w 1011766"/>
                  <a:gd name="connsiteY11" fmla="*/ 2648127 h 276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766" h="2760261">
                    <a:moveTo>
                      <a:pt x="810636" y="2648127"/>
                    </a:moveTo>
                    <a:cubicBezTo>
                      <a:pt x="757677" y="2341422"/>
                      <a:pt x="845974" y="1380540"/>
                      <a:pt x="775679" y="895051"/>
                    </a:cubicBezTo>
                    <a:cubicBezTo>
                      <a:pt x="668809" y="606443"/>
                      <a:pt x="535935" y="673594"/>
                      <a:pt x="280760" y="699884"/>
                    </a:cubicBezTo>
                    <a:cubicBezTo>
                      <a:pt x="-8228" y="705980"/>
                      <a:pt x="-94429" y="310501"/>
                      <a:pt x="118264" y="146005"/>
                    </a:cubicBezTo>
                    <a:cubicBezTo>
                      <a:pt x="246756" y="12464"/>
                      <a:pt x="472689" y="-57068"/>
                      <a:pt x="629852" y="58565"/>
                    </a:cubicBezTo>
                    <a:cubicBezTo>
                      <a:pt x="671381" y="110286"/>
                      <a:pt x="635281" y="186200"/>
                      <a:pt x="637662" y="248970"/>
                    </a:cubicBezTo>
                    <a:cubicBezTo>
                      <a:pt x="635567" y="403084"/>
                      <a:pt x="724816" y="561961"/>
                      <a:pt x="867977" y="625398"/>
                    </a:cubicBezTo>
                    <a:cubicBezTo>
                      <a:pt x="934366" y="647591"/>
                      <a:pt x="995707" y="652163"/>
                      <a:pt x="995707" y="746842"/>
                    </a:cubicBezTo>
                    <a:cubicBezTo>
                      <a:pt x="995707" y="1042307"/>
                      <a:pt x="1004851" y="2011095"/>
                      <a:pt x="1009137" y="2496108"/>
                    </a:cubicBezTo>
                    <a:cubicBezTo>
                      <a:pt x="1001136" y="2575070"/>
                      <a:pt x="1030854" y="2673273"/>
                      <a:pt x="987706" y="2742139"/>
                    </a:cubicBezTo>
                    <a:cubicBezTo>
                      <a:pt x="928556" y="2800241"/>
                      <a:pt x="842164" y="2704896"/>
                      <a:pt x="811208" y="2649175"/>
                    </a:cubicBezTo>
                    <a:lnTo>
                      <a:pt x="810731" y="2648127"/>
                    </a:lnTo>
                    <a:close/>
                  </a:path>
                </a:pathLst>
              </a:custGeom>
              <a:solidFill>
                <a:schemeClr val="accent4"/>
              </a:solidFill>
              <a:ln w="9525" cap="flat">
                <a:noFill/>
                <a:prstDash val="solid"/>
                <a:miter/>
              </a:ln>
            </p:spPr>
            <p:txBody>
              <a:bodyPr rtlCol="0" anchor="ctr"/>
              <a:lstStyle/>
              <a:p>
                <a:endParaRPr lang="en-US" noProof="0"/>
              </a:p>
            </p:txBody>
          </p:sp>
          <p:sp>
            <p:nvSpPr>
              <p:cNvPr id="46" name="Free-form: Shape 51">
                <a:extLst>
                  <a:ext uri="{FF2B5EF4-FFF2-40B4-BE49-F238E27FC236}">
                    <a16:creationId xmlns:a16="http://schemas.microsoft.com/office/drawing/2014/main" id="{5465EC79-27E4-F37E-3683-622793B39118}"/>
                  </a:ext>
                </a:extLst>
              </p:cNvPr>
              <p:cNvSpPr/>
              <p:nvPr/>
            </p:nvSpPr>
            <p:spPr>
              <a:xfrm>
                <a:off x="8124988" y="2293120"/>
                <a:ext cx="687200" cy="1874792"/>
              </a:xfrm>
              <a:custGeom>
                <a:avLst/>
                <a:gdLst>
                  <a:gd name="connsiteX0" fmla="*/ 201131 w 1011766"/>
                  <a:gd name="connsiteY0" fmla="*/ 2648127 h 2760261"/>
                  <a:gd name="connsiteX1" fmla="*/ 236087 w 1011766"/>
                  <a:gd name="connsiteY1" fmla="*/ 895051 h 2760261"/>
                  <a:gd name="connsiteX2" fmla="*/ 731006 w 1011766"/>
                  <a:gd name="connsiteY2" fmla="*/ 699884 h 2760261"/>
                  <a:gd name="connsiteX3" fmla="*/ 893503 w 1011766"/>
                  <a:gd name="connsiteY3" fmla="*/ 146005 h 2760261"/>
                  <a:gd name="connsiteX4" fmla="*/ 381915 w 1011766"/>
                  <a:gd name="connsiteY4" fmla="*/ 58565 h 2760261"/>
                  <a:gd name="connsiteX5" fmla="*/ 374105 w 1011766"/>
                  <a:gd name="connsiteY5" fmla="*/ 248970 h 2760261"/>
                  <a:gd name="connsiteX6" fmla="*/ 143790 w 1011766"/>
                  <a:gd name="connsiteY6" fmla="*/ 625398 h 2760261"/>
                  <a:gd name="connsiteX7" fmla="*/ 16060 w 1011766"/>
                  <a:gd name="connsiteY7" fmla="*/ 746842 h 2760261"/>
                  <a:gd name="connsiteX8" fmla="*/ 2630 w 1011766"/>
                  <a:gd name="connsiteY8" fmla="*/ 2496108 h 2760261"/>
                  <a:gd name="connsiteX9" fmla="*/ 24061 w 1011766"/>
                  <a:gd name="connsiteY9" fmla="*/ 2742139 h 2760261"/>
                  <a:gd name="connsiteX10" fmla="*/ 200559 w 1011766"/>
                  <a:gd name="connsiteY10" fmla="*/ 2649175 h 2760261"/>
                  <a:gd name="connsiteX11" fmla="*/ 201036 w 1011766"/>
                  <a:gd name="connsiteY11" fmla="*/ 2648127 h 276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766" h="2760261">
                    <a:moveTo>
                      <a:pt x="201131" y="2648127"/>
                    </a:moveTo>
                    <a:cubicBezTo>
                      <a:pt x="254090" y="2341422"/>
                      <a:pt x="165793" y="1380540"/>
                      <a:pt x="236087" y="895051"/>
                    </a:cubicBezTo>
                    <a:cubicBezTo>
                      <a:pt x="342958" y="606443"/>
                      <a:pt x="475832" y="673594"/>
                      <a:pt x="731006" y="699884"/>
                    </a:cubicBezTo>
                    <a:cubicBezTo>
                      <a:pt x="1019995" y="705980"/>
                      <a:pt x="1106196" y="310501"/>
                      <a:pt x="893503" y="146005"/>
                    </a:cubicBezTo>
                    <a:cubicBezTo>
                      <a:pt x="765011" y="12464"/>
                      <a:pt x="539078" y="-57068"/>
                      <a:pt x="381915" y="58565"/>
                    </a:cubicBezTo>
                    <a:cubicBezTo>
                      <a:pt x="340386" y="110286"/>
                      <a:pt x="376486" y="186200"/>
                      <a:pt x="374105" y="248970"/>
                    </a:cubicBezTo>
                    <a:cubicBezTo>
                      <a:pt x="376200" y="403084"/>
                      <a:pt x="286951" y="561961"/>
                      <a:pt x="143790" y="625398"/>
                    </a:cubicBezTo>
                    <a:cubicBezTo>
                      <a:pt x="77401" y="647591"/>
                      <a:pt x="16060" y="652163"/>
                      <a:pt x="16060" y="746842"/>
                    </a:cubicBezTo>
                    <a:cubicBezTo>
                      <a:pt x="16060" y="1042307"/>
                      <a:pt x="6916" y="2011095"/>
                      <a:pt x="2630" y="2496108"/>
                    </a:cubicBezTo>
                    <a:cubicBezTo>
                      <a:pt x="10631" y="2575070"/>
                      <a:pt x="-19087" y="2673273"/>
                      <a:pt x="24061" y="2742139"/>
                    </a:cubicBezTo>
                    <a:cubicBezTo>
                      <a:pt x="83211" y="2800241"/>
                      <a:pt x="169603" y="2704896"/>
                      <a:pt x="200559" y="2649175"/>
                    </a:cubicBezTo>
                    <a:lnTo>
                      <a:pt x="201036" y="2648127"/>
                    </a:lnTo>
                    <a:close/>
                  </a:path>
                </a:pathLst>
              </a:custGeom>
              <a:solidFill>
                <a:schemeClr val="accent2"/>
              </a:solidFill>
              <a:ln w="9525" cap="flat">
                <a:noFill/>
                <a:prstDash val="solid"/>
                <a:miter/>
              </a:ln>
            </p:spPr>
            <p:txBody>
              <a:bodyPr rtlCol="0" anchor="ctr"/>
              <a:lstStyle/>
              <a:p>
                <a:endParaRPr lang="en-US" noProof="0"/>
              </a:p>
            </p:txBody>
          </p:sp>
          <p:sp>
            <p:nvSpPr>
              <p:cNvPr id="47" name="Free-form: Shape 52">
                <a:extLst>
                  <a:ext uri="{FF2B5EF4-FFF2-40B4-BE49-F238E27FC236}">
                    <a16:creationId xmlns:a16="http://schemas.microsoft.com/office/drawing/2014/main" id="{12DACE4B-2A22-D819-C57E-5E4D8DDFC7C6}"/>
                  </a:ext>
                </a:extLst>
              </p:cNvPr>
              <p:cNvSpPr/>
              <p:nvPr/>
            </p:nvSpPr>
            <p:spPr>
              <a:xfrm>
                <a:off x="7871506" y="2231650"/>
                <a:ext cx="475634" cy="475635"/>
              </a:xfrm>
              <a:custGeom>
                <a:avLst/>
                <a:gdLst>
                  <a:gd name="connsiteX0" fmla="*/ 700278 w 700277"/>
                  <a:gd name="connsiteY0" fmla="*/ 350139 h 700278"/>
                  <a:gd name="connsiteX1" fmla="*/ 350139 w 700277"/>
                  <a:gd name="connsiteY1" fmla="*/ 700278 h 700278"/>
                  <a:gd name="connsiteX2" fmla="*/ 0 w 700277"/>
                  <a:gd name="connsiteY2" fmla="*/ 350139 h 700278"/>
                  <a:gd name="connsiteX3" fmla="*/ 350139 w 700277"/>
                  <a:gd name="connsiteY3" fmla="*/ 0 h 700278"/>
                  <a:gd name="connsiteX4" fmla="*/ 700278 w 700277"/>
                  <a:gd name="connsiteY4" fmla="*/ 350139 h 700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77" h="700278">
                    <a:moveTo>
                      <a:pt x="700278" y="350139"/>
                    </a:moveTo>
                    <a:cubicBezTo>
                      <a:pt x="700278" y="543515"/>
                      <a:pt x="543515" y="700278"/>
                      <a:pt x="350139" y="700278"/>
                    </a:cubicBezTo>
                    <a:cubicBezTo>
                      <a:pt x="156763" y="700278"/>
                      <a:pt x="0" y="543515"/>
                      <a:pt x="0" y="350139"/>
                    </a:cubicBezTo>
                    <a:cubicBezTo>
                      <a:pt x="0" y="156763"/>
                      <a:pt x="156763" y="0"/>
                      <a:pt x="350139" y="0"/>
                    </a:cubicBezTo>
                    <a:cubicBezTo>
                      <a:pt x="543515" y="0"/>
                      <a:pt x="700278" y="156763"/>
                      <a:pt x="700278" y="350139"/>
                    </a:cubicBezTo>
                    <a:close/>
                  </a:path>
                </a:pathLst>
              </a:custGeom>
              <a:solidFill>
                <a:schemeClr val="tx2"/>
              </a:solidFill>
              <a:ln w="9525" cap="flat">
                <a:noFill/>
                <a:prstDash val="solid"/>
                <a:miter/>
              </a:ln>
            </p:spPr>
            <p:txBody>
              <a:bodyPr rtlCol="0" anchor="ctr"/>
              <a:lstStyle/>
              <a:p>
                <a:endParaRPr lang="en-US" noProof="0"/>
              </a:p>
            </p:txBody>
          </p:sp>
        </p:grpSp>
        <p:sp>
          <p:nvSpPr>
            <p:cNvPr id="36" name="TextBox 35">
              <a:extLst>
                <a:ext uri="{FF2B5EF4-FFF2-40B4-BE49-F238E27FC236}">
                  <a16:creationId xmlns:a16="http://schemas.microsoft.com/office/drawing/2014/main" id="{FC0AB00A-647C-864C-0CEA-4EF330FD4DF8}"/>
                </a:ext>
              </a:extLst>
            </p:cNvPr>
            <p:cNvSpPr txBox="1"/>
            <p:nvPr/>
          </p:nvSpPr>
          <p:spPr>
            <a:xfrm>
              <a:off x="8445937" y="1896865"/>
              <a:ext cx="736168" cy="327601"/>
            </a:xfrm>
            <a:prstGeom prst="rect">
              <a:avLst/>
            </a:prstGeom>
            <a:noFill/>
          </p:spPr>
          <p:txBody>
            <a:bodyPr wrap="square">
              <a:spAutoFit/>
            </a:bodyPr>
            <a:lstStyle/>
            <a:p>
              <a:pPr algn="ctr"/>
              <a:r>
                <a:rPr lang="en-US" sz="1600" b="1" noProof="0">
                  <a:solidFill>
                    <a:schemeClr val="tx1"/>
                  </a:solidFill>
                  <a:effectLst/>
                  <a:ea typeface="Calibri" panose="020F0502020204030204" pitchFamily="34" charset="0"/>
                </a:rPr>
                <a:t>TSLP</a:t>
              </a:r>
              <a:endParaRPr lang="en-US" sz="1600" b="1" noProof="0"/>
            </a:p>
          </p:txBody>
        </p:sp>
        <p:sp>
          <p:nvSpPr>
            <p:cNvPr id="37" name="TextBox 36">
              <a:extLst>
                <a:ext uri="{FF2B5EF4-FFF2-40B4-BE49-F238E27FC236}">
                  <a16:creationId xmlns:a16="http://schemas.microsoft.com/office/drawing/2014/main" id="{84866414-98CE-382A-F4CD-E3A7F3DDE701}"/>
                </a:ext>
              </a:extLst>
            </p:cNvPr>
            <p:cNvSpPr txBox="1"/>
            <p:nvPr/>
          </p:nvSpPr>
          <p:spPr>
            <a:xfrm>
              <a:off x="7122258" y="2376090"/>
              <a:ext cx="855324" cy="327601"/>
            </a:xfrm>
            <a:prstGeom prst="rect">
              <a:avLst/>
            </a:prstGeom>
            <a:noFill/>
          </p:spPr>
          <p:txBody>
            <a:bodyPr wrap="square">
              <a:spAutoFit/>
            </a:bodyPr>
            <a:lstStyle/>
            <a:p>
              <a:pPr algn="ctr"/>
              <a:r>
                <a:rPr lang="en-US" sz="1600" b="1" noProof="0" dirty="0">
                  <a:solidFill>
                    <a:schemeClr val="tx1"/>
                  </a:solidFill>
                  <a:effectLst/>
                  <a:ea typeface="Calibri" panose="020F0502020204030204" pitchFamily="34" charset="0"/>
                </a:rPr>
                <a:t>TSLPR</a:t>
              </a:r>
              <a:endParaRPr lang="en-US" sz="1600" b="1" noProof="0" dirty="0"/>
            </a:p>
          </p:txBody>
        </p:sp>
        <p:sp>
          <p:nvSpPr>
            <p:cNvPr id="38" name="TextBox 37">
              <a:extLst>
                <a:ext uri="{FF2B5EF4-FFF2-40B4-BE49-F238E27FC236}">
                  <a16:creationId xmlns:a16="http://schemas.microsoft.com/office/drawing/2014/main" id="{54918129-8ADC-D998-6E03-FC93D4F6B6D5}"/>
                </a:ext>
              </a:extLst>
            </p:cNvPr>
            <p:cNvSpPr txBox="1"/>
            <p:nvPr/>
          </p:nvSpPr>
          <p:spPr>
            <a:xfrm>
              <a:off x="9710614" y="2376090"/>
              <a:ext cx="855324" cy="327601"/>
            </a:xfrm>
            <a:prstGeom prst="rect">
              <a:avLst/>
            </a:prstGeom>
            <a:noFill/>
          </p:spPr>
          <p:txBody>
            <a:bodyPr wrap="square">
              <a:spAutoFit/>
            </a:bodyPr>
            <a:lstStyle/>
            <a:p>
              <a:pPr algn="ctr"/>
              <a:r>
                <a:rPr lang="en-US" sz="1600" b="1" noProof="0">
                  <a:solidFill>
                    <a:schemeClr val="tx1"/>
                  </a:solidFill>
                  <a:effectLst/>
                  <a:ea typeface="Calibri" panose="020F0502020204030204" pitchFamily="34" charset="0"/>
                </a:rPr>
                <a:t>IL-7Rα</a:t>
              </a:r>
              <a:endParaRPr lang="en-US" sz="1600" b="1" noProof="0"/>
            </a:p>
          </p:txBody>
        </p:sp>
        <p:cxnSp>
          <p:nvCxnSpPr>
            <p:cNvPr id="39" name="Straight Arrow Connector 38">
              <a:extLst>
                <a:ext uri="{FF2B5EF4-FFF2-40B4-BE49-F238E27FC236}">
                  <a16:creationId xmlns:a16="http://schemas.microsoft.com/office/drawing/2014/main" id="{38AA124A-6042-357C-50F0-07A6D55C5789}"/>
                </a:ext>
              </a:extLst>
            </p:cNvPr>
            <p:cNvCxnSpPr>
              <a:cxnSpLocks/>
            </p:cNvCxnSpPr>
            <p:nvPr/>
          </p:nvCxnSpPr>
          <p:spPr>
            <a:xfrm>
              <a:off x="8814021" y="4583032"/>
              <a:ext cx="0" cy="584127"/>
            </a:xfrm>
            <a:prstGeom prst="straightConnector1">
              <a:avLst/>
            </a:prstGeom>
            <a:noFill/>
            <a:ln w="19050" cap="flat" cmpd="sng" algn="ctr">
              <a:solidFill>
                <a:schemeClr val="tx2"/>
              </a:solidFill>
              <a:prstDash val="solid"/>
              <a:miter lim="800000"/>
              <a:tailEnd type="triangle"/>
            </a:ln>
            <a:effectLst/>
          </p:spPr>
        </p:cxnSp>
        <p:grpSp>
          <p:nvGrpSpPr>
            <p:cNvPr id="40" name="Group 39">
              <a:extLst>
                <a:ext uri="{FF2B5EF4-FFF2-40B4-BE49-F238E27FC236}">
                  <a16:creationId xmlns:a16="http://schemas.microsoft.com/office/drawing/2014/main" id="{1DC82BF8-E808-B34E-D314-E708ED70A88F}"/>
                </a:ext>
              </a:extLst>
            </p:cNvPr>
            <p:cNvGrpSpPr/>
            <p:nvPr/>
          </p:nvGrpSpPr>
          <p:grpSpPr>
            <a:xfrm>
              <a:off x="7520168" y="5256430"/>
              <a:ext cx="2602727" cy="422791"/>
              <a:chOff x="7585103" y="5256429"/>
              <a:chExt cx="2602727" cy="422790"/>
            </a:xfrm>
          </p:grpSpPr>
          <p:sp>
            <p:nvSpPr>
              <p:cNvPr id="41" name="Rectangle 40">
                <a:extLst>
                  <a:ext uri="{FF2B5EF4-FFF2-40B4-BE49-F238E27FC236}">
                    <a16:creationId xmlns:a16="http://schemas.microsoft.com/office/drawing/2014/main" id="{6F0177E1-2650-6A4D-FED7-C933D38B8C5B}"/>
                  </a:ext>
                </a:extLst>
              </p:cNvPr>
              <p:cNvSpPr/>
              <p:nvPr/>
            </p:nvSpPr>
            <p:spPr>
              <a:xfrm>
                <a:off x="7585103" y="5256429"/>
                <a:ext cx="596348" cy="422790"/>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dirty="0"/>
                  <a:t>IL-4</a:t>
                </a:r>
              </a:p>
            </p:txBody>
          </p:sp>
          <p:sp>
            <p:nvSpPr>
              <p:cNvPr id="42" name="Rectangle 41">
                <a:extLst>
                  <a:ext uri="{FF2B5EF4-FFF2-40B4-BE49-F238E27FC236}">
                    <a16:creationId xmlns:a16="http://schemas.microsoft.com/office/drawing/2014/main" id="{1194A291-68D2-6F7A-F391-0D76EC7720E7}"/>
                  </a:ext>
                </a:extLst>
              </p:cNvPr>
              <p:cNvSpPr/>
              <p:nvPr/>
            </p:nvSpPr>
            <p:spPr>
              <a:xfrm>
                <a:off x="8253896" y="5256429"/>
                <a:ext cx="596348" cy="422790"/>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a:t>IL-5</a:t>
                </a:r>
              </a:p>
            </p:txBody>
          </p:sp>
          <p:sp>
            <p:nvSpPr>
              <p:cNvPr id="43" name="Rectangle 42">
                <a:extLst>
                  <a:ext uri="{FF2B5EF4-FFF2-40B4-BE49-F238E27FC236}">
                    <a16:creationId xmlns:a16="http://schemas.microsoft.com/office/drawing/2014/main" id="{30DEFAC0-5495-2165-BDD1-4F0965CF8D2A}"/>
                  </a:ext>
                </a:extLst>
              </p:cNvPr>
              <p:cNvSpPr/>
              <p:nvPr/>
            </p:nvSpPr>
            <p:spPr>
              <a:xfrm>
                <a:off x="8922689" y="5256429"/>
                <a:ext cx="596348" cy="422790"/>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a:t>IL-9</a:t>
                </a:r>
              </a:p>
            </p:txBody>
          </p:sp>
          <p:sp>
            <p:nvSpPr>
              <p:cNvPr id="44" name="Rectangle 43">
                <a:extLst>
                  <a:ext uri="{FF2B5EF4-FFF2-40B4-BE49-F238E27FC236}">
                    <a16:creationId xmlns:a16="http://schemas.microsoft.com/office/drawing/2014/main" id="{F7381233-4D27-E32F-A492-884AB56C12BE}"/>
                  </a:ext>
                </a:extLst>
              </p:cNvPr>
              <p:cNvSpPr/>
              <p:nvPr/>
            </p:nvSpPr>
            <p:spPr>
              <a:xfrm>
                <a:off x="9591482" y="5256429"/>
                <a:ext cx="596348" cy="422790"/>
              </a:xfrm>
              <a:prstGeom prst="rect">
                <a:avLst/>
              </a:prstGeom>
              <a:solidFill>
                <a:schemeClr val="tx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dirty="0"/>
                  <a:t>IL-13</a:t>
                </a:r>
              </a:p>
            </p:txBody>
          </p:sp>
        </p:grpSp>
      </p:grpSp>
      <p:sp>
        <p:nvSpPr>
          <p:cNvPr id="115" name="TextBox 114">
            <a:extLst>
              <a:ext uri="{FF2B5EF4-FFF2-40B4-BE49-F238E27FC236}">
                <a16:creationId xmlns:a16="http://schemas.microsoft.com/office/drawing/2014/main" id="{F1386F9B-2B9A-9487-21A6-B977EBD0B052}"/>
              </a:ext>
            </a:extLst>
          </p:cNvPr>
          <p:cNvSpPr txBox="1"/>
          <p:nvPr/>
        </p:nvSpPr>
        <p:spPr>
          <a:xfrm>
            <a:off x="7710770" y="5307755"/>
            <a:ext cx="737702" cy="276999"/>
          </a:xfrm>
          <a:prstGeom prst="rect">
            <a:avLst/>
          </a:prstGeom>
          <a:noFill/>
        </p:spPr>
        <p:txBody>
          <a:bodyPr wrap="none" rtlCol="0">
            <a:spAutoFit/>
          </a:bodyPr>
          <a:lstStyle/>
          <a:p>
            <a:pPr>
              <a:buClr>
                <a:schemeClr val="accent1"/>
              </a:buClr>
            </a:pPr>
            <a:r>
              <a:rPr lang="en-US" sz="1200" noProof="0"/>
              <a:t>Nucleus</a:t>
            </a:r>
          </a:p>
        </p:txBody>
      </p:sp>
      <p:sp>
        <p:nvSpPr>
          <p:cNvPr id="116" name="Rectangle 115">
            <a:extLst>
              <a:ext uri="{FF2B5EF4-FFF2-40B4-BE49-F238E27FC236}">
                <a16:creationId xmlns:a16="http://schemas.microsoft.com/office/drawing/2014/main" id="{ACCAC8EE-2507-F38B-138B-316E5F0FD950}"/>
              </a:ext>
            </a:extLst>
          </p:cNvPr>
          <p:cNvSpPr/>
          <p:nvPr/>
        </p:nvSpPr>
        <p:spPr>
          <a:xfrm>
            <a:off x="479425" y="4202413"/>
            <a:ext cx="5509325" cy="1568152"/>
          </a:xfrm>
          <a:prstGeom prst="rect">
            <a:avLst/>
          </a:prstGeom>
          <a:solidFill>
            <a:schemeClr val="bg2">
              <a:alpha val="10000"/>
            </a:schemeClr>
          </a:solidFill>
        </p:spPr>
        <p:txBody>
          <a:bodyPr wrap="square">
            <a:noAutofit/>
          </a:bodyPr>
          <a:lstStyle/>
          <a:p>
            <a:pPr marL="288000" indent="-288000">
              <a:spcBef>
                <a:spcPts val="300"/>
              </a:spcBef>
              <a:spcAft>
                <a:spcPts val="300"/>
              </a:spcAft>
              <a:buBlip>
                <a:blip r:embed="rId6"/>
              </a:buBlip>
            </a:pPr>
            <a:r>
              <a:rPr lang="en-GB" sz="1400" noProof="0">
                <a:ea typeface="Roboto" panose="02000000000000000000" pitchFamily="2" charset="0"/>
                <a:cs typeface="Calibri" panose="020F0502020204030204" pitchFamily="34" charset="0"/>
              </a:rPr>
              <a:t>Overexpression of several critical genes, including </a:t>
            </a:r>
            <a:r>
              <a:rPr lang="en-GB" sz="1400" b="1" i="1" noProof="0">
                <a:ea typeface="Roboto" panose="02000000000000000000" pitchFamily="2" charset="0"/>
                <a:cs typeface="Calibri" panose="020F0502020204030204" pitchFamily="34" charset="0"/>
              </a:rPr>
              <a:t>TSLP</a:t>
            </a:r>
            <a:r>
              <a:rPr lang="en-GB" sz="1400" noProof="0">
                <a:ea typeface="Roboto" panose="02000000000000000000" pitchFamily="2" charset="0"/>
                <a:cs typeface="Calibri" panose="020F0502020204030204" pitchFamily="34" charset="0"/>
              </a:rPr>
              <a:t>, </a:t>
            </a:r>
            <a:br>
              <a:rPr lang="en-GB" sz="1400" noProof="0">
                <a:ea typeface="Roboto" panose="02000000000000000000" pitchFamily="2" charset="0"/>
                <a:cs typeface="Calibri" panose="020F0502020204030204" pitchFamily="34" charset="0"/>
              </a:rPr>
            </a:br>
            <a:r>
              <a:rPr lang="en-GB" sz="1400" noProof="0">
                <a:ea typeface="Roboto" panose="02000000000000000000" pitchFamily="2" charset="0"/>
                <a:cs typeface="Calibri" panose="020F0502020204030204" pitchFamily="34" charset="0"/>
              </a:rPr>
              <a:t>was found to disrupt the </a:t>
            </a:r>
            <a:r>
              <a:rPr lang="en-GB" sz="1400" noProof="0" err="1">
                <a:ea typeface="Roboto" panose="02000000000000000000" pitchFamily="2" charset="0"/>
                <a:cs typeface="Calibri" panose="020F0502020204030204" pitchFamily="34" charset="0"/>
              </a:rPr>
              <a:t>esophageal</a:t>
            </a:r>
            <a:r>
              <a:rPr lang="en-GB" sz="1400" noProof="0">
                <a:ea typeface="Roboto" panose="02000000000000000000" pitchFamily="2" charset="0"/>
                <a:cs typeface="Calibri" panose="020F0502020204030204" pitchFamily="34" charset="0"/>
              </a:rPr>
              <a:t> barrier and enhance </a:t>
            </a:r>
            <a:br>
              <a:rPr lang="en-GB" sz="1400" noProof="0">
                <a:ea typeface="Roboto" panose="02000000000000000000" pitchFamily="2" charset="0"/>
                <a:cs typeface="Calibri" panose="020F0502020204030204" pitchFamily="34" charset="0"/>
              </a:rPr>
            </a:br>
            <a:r>
              <a:rPr lang="en-GB" sz="1400" noProof="0">
                <a:ea typeface="Roboto" panose="02000000000000000000" pitchFamily="2" charset="0"/>
                <a:cs typeface="Calibri" panose="020F0502020204030204" pitchFamily="34" charset="0"/>
              </a:rPr>
              <a:t>immune-mediated inflammation</a:t>
            </a:r>
            <a:r>
              <a:rPr lang="en-GB" sz="1400" baseline="30000" noProof="0">
                <a:ea typeface="Roboto" panose="02000000000000000000" pitchFamily="2" charset="0"/>
                <a:cs typeface="Calibri" panose="020F0502020204030204" pitchFamily="34" charset="0"/>
              </a:rPr>
              <a:t>4</a:t>
            </a:r>
            <a:r>
              <a:rPr lang="en-GB" sz="1400" noProof="0">
                <a:ea typeface="Roboto" panose="02000000000000000000" pitchFamily="2" charset="0"/>
                <a:cs typeface="Calibri" panose="020F0502020204030204" pitchFamily="34" charset="0"/>
              </a:rPr>
              <a:t> </a:t>
            </a:r>
          </a:p>
          <a:p>
            <a:pPr marL="288000" indent="-288000">
              <a:spcBef>
                <a:spcPts val="300"/>
              </a:spcBef>
              <a:spcAft>
                <a:spcPts val="300"/>
              </a:spcAft>
              <a:buBlip>
                <a:blip r:embed="rId6"/>
              </a:buBlip>
            </a:pPr>
            <a:r>
              <a:rPr lang="en-GB" sz="1400" noProof="0">
                <a:ea typeface="Roboto" panose="02000000000000000000" pitchFamily="2" charset="0"/>
                <a:cs typeface="Calibri" panose="020F0502020204030204" pitchFamily="34" charset="0"/>
              </a:rPr>
              <a:t>Variants in the genes encoding the alarmin TSLP are associated</a:t>
            </a:r>
            <a:br>
              <a:rPr lang="en-GB" sz="1400" noProof="0">
                <a:ea typeface="Roboto" panose="02000000000000000000" pitchFamily="2" charset="0"/>
                <a:cs typeface="Calibri" panose="020F0502020204030204" pitchFamily="34" charset="0"/>
              </a:rPr>
            </a:br>
            <a:r>
              <a:rPr lang="en-GB" sz="1400" noProof="0">
                <a:ea typeface="Roboto" panose="02000000000000000000" pitchFamily="2" charset="0"/>
                <a:cs typeface="Calibri" panose="020F0502020204030204" pitchFamily="34" charset="0"/>
              </a:rPr>
              <a:t>with increased risk of developing EoE; </a:t>
            </a:r>
            <a:r>
              <a:rPr lang="en-GB" sz="1400" b="1" i="1" noProof="0">
                <a:ea typeface="Roboto" panose="02000000000000000000" pitchFamily="2" charset="0"/>
                <a:cs typeface="Calibri" panose="020F0502020204030204" pitchFamily="34" charset="0"/>
              </a:rPr>
              <a:t>TSLP</a:t>
            </a:r>
            <a:r>
              <a:rPr lang="en-GB" sz="1400" noProof="0">
                <a:ea typeface="Roboto" panose="02000000000000000000" pitchFamily="2" charset="0"/>
                <a:cs typeface="Calibri" panose="020F0502020204030204" pitchFamily="34" charset="0"/>
              </a:rPr>
              <a:t> </a:t>
            </a:r>
            <a:r>
              <a:rPr lang="en-GB" sz="1400" b="1" noProof="0">
                <a:ea typeface="Roboto" panose="02000000000000000000" pitchFamily="2" charset="0"/>
                <a:cs typeface="Calibri" panose="020F0502020204030204" pitchFamily="34" charset="0"/>
              </a:rPr>
              <a:t>expression is increased</a:t>
            </a:r>
            <a:br>
              <a:rPr lang="en-GB" sz="1400" b="1" noProof="0">
                <a:ea typeface="Roboto" panose="02000000000000000000" pitchFamily="2" charset="0"/>
                <a:cs typeface="Calibri" panose="020F0502020204030204" pitchFamily="34" charset="0"/>
              </a:rPr>
            </a:br>
            <a:r>
              <a:rPr lang="en-GB" sz="1400" b="1" noProof="0">
                <a:ea typeface="Roboto" panose="02000000000000000000" pitchFamily="2" charset="0"/>
                <a:cs typeface="Calibri" panose="020F0502020204030204" pitchFamily="34" charset="0"/>
              </a:rPr>
              <a:t>in biopsy samples from patients with EoE</a:t>
            </a:r>
            <a:r>
              <a:rPr lang="en-GB" sz="1400" b="1" baseline="30000" noProof="0">
                <a:ea typeface="Roboto" panose="02000000000000000000" pitchFamily="2" charset="0"/>
                <a:cs typeface="Calibri" panose="020F0502020204030204" pitchFamily="34" charset="0"/>
              </a:rPr>
              <a:t>5</a:t>
            </a:r>
          </a:p>
        </p:txBody>
      </p:sp>
      <p:sp>
        <p:nvSpPr>
          <p:cNvPr id="118" name="Rectangle 117">
            <a:extLst>
              <a:ext uri="{FF2B5EF4-FFF2-40B4-BE49-F238E27FC236}">
                <a16:creationId xmlns:a16="http://schemas.microsoft.com/office/drawing/2014/main" id="{6313DB40-BE31-640E-D3CB-6C23D5C6E12C}"/>
              </a:ext>
            </a:extLst>
          </p:cNvPr>
          <p:cNvSpPr/>
          <p:nvPr/>
        </p:nvSpPr>
        <p:spPr>
          <a:xfrm>
            <a:off x="479426" y="3066081"/>
            <a:ext cx="5509324" cy="581297"/>
          </a:xfrm>
          <a:prstGeom prst="rect">
            <a:avLst/>
          </a:prstGeom>
          <a:noFill/>
        </p:spPr>
        <p:txBody>
          <a:bodyPr wrap="square">
            <a:noAutofit/>
          </a:bodyPr>
          <a:lstStyle/>
          <a:p>
            <a:pPr marL="288000" indent="-288000">
              <a:spcBef>
                <a:spcPts val="300"/>
              </a:spcBef>
              <a:spcAft>
                <a:spcPts val="300"/>
              </a:spcAft>
              <a:buBlip>
                <a:blip r:embed="rId6"/>
              </a:buBlip>
            </a:pPr>
            <a:r>
              <a:rPr lang="en-GB" sz="1400" noProof="0">
                <a:ea typeface="Roboto" panose="02000000000000000000" pitchFamily="2" charset="0"/>
                <a:cs typeface="Calibri" panose="020F0502020204030204" pitchFamily="34" charset="0"/>
              </a:rPr>
              <a:t>A genome-wide association study identified the 5q22 locus, a region that </a:t>
            </a:r>
            <a:r>
              <a:rPr lang="en-GB" sz="1400" noProof="0" err="1">
                <a:ea typeface="Roboto" panose="02000000000000000000" pitchFamily="2" charset="0"/>
                <a:cs typeface="Calibri" panose="020F0502020204030204" pitchFamily="34" charset="0"/>
              </a:rPr>
              <a:t>harbors</a:t>
            </a:r>
            <a:r>
              <a:rPr lang="en-GB" sz="1400" noProof="0">
                <a:ea typeface="Roboto" panose="02000000000000000000" pitchFamily="2" charset="0"/>
                <a:cs typeface="Calibri" panose="020F0502020204030204" pitchFamily="34" charset="0"/>
              </a:rPr>
              <a:t> the </a:t>
            </a:r>
            <a:r>
              <a:rPr lang="en-GB" sz="1400" i="1" noProof="0">
                <a:ea typeface="Roboto" panose="02000000000000000000" pitchFamily="2" charset="0"/>
                <a:cs typeface="Calibri" panose="020F0502020204030204" pitchFamily="34" charset="0"/>
              </a:rPr>
              <a:t>TSLP</a:t>
            </a:r>
            <a:r>
              <a:rPr lang="en-GB" sz="1400" noProof="0">
                <a:ea typeface="Roboto" panose="02000000000000000000" pitchFamily="2" charset="0"/>
                <a:cs typeface="Calibri" panose="020F0502020204030204" pitchFamily="34" charset="0"/>
              </a:rPr>
              <a:t> gene, as a risk locus for EoE susceptibility</a:t>
            </a:r>
            <a:r>
              <a:rPr lang="en-GB" sz="1400" baseline="30000" noProof="0">
                <a:ea typeface="Roboto" panose="02000000000000000000" pitchFamily="2" charset="0"/>
                <a:cs typeface="Calibri" panose="020F0502020204030204" pitchFamily="34" charset="0"/>
              </a:rPr>
              <a:t>1,2</a:t>
            </a:r>
          </a:p>
        </p:txBody>
      </p:sp>
      <p:sp>
        <p:nvSpPr>
          <p:cNvPr id="145" name="Rectangle 144">
            <a:extLst>
              <a:ext uri="{FF2B5EF4-FFF2-40B4-BE49-F238E27FC236}">
                <a16:creationId xmlns:a16="http://schemas.microsoft.com/office/drawing/2014/main" id="{4B8ECB8B-7A32-9C68-9716-720122890B21}"/>
              </a:ext>
            </a:extLst>
          </p:cNvPr>
          <p:cNvSpPr/>
          <p:nvPr/>
        </p:nvSpPr>
        <p:spPr>
          <a:xfrm>
            <a:off x="1442874" y="2516981"/>
            <a:ext cx="1512889" cy="42226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96000" rIns="36000" rtlCol="0" anchor="ctr"/>
          <a:lstStyle/>
          <a:p>
            <a:r>
              <a:rPr lang="en-GB" sz="1600" b="1" i="1"/>
              <a:t>TSLP</a:t>
            </a:r>
            <a:r>
              <a:rPr lang="en-GB" sz="1600" b="1" baseline="30000"/>
              <a:t>1-3*</a:t>
            </a:r>
          </a:p>
        </p:txBody>
      </p:sp>
      <p:sp>
        <p:nvSpPr>
          <p:cNvPr id="121" name="Oval 120">
            <a:extLst>
              <a:ext uri="{FF2B5EF4-FFF2-40B4-BE49-F238E27FC236}">
                <a16:creationId xmlns:a16="http://schemas.microsoft.com/office/drawing/2014/main" id="{11D5DCCC-2D1F-F4F2-C655-62D22981526A}"/>
              </a:ext>
            </a:extLst>
          </p:cNvPr>
          <p:cNvSpPr/>
          <p:nvPr/>
        </p:nvSpPr>
        <p:spPr>
          <a:xfrm>
            <a:off x="1109500" y="2394737"/>
            <a:ext cx="666750" cy="666750"/>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3" name="Group 142">
            <a:extLst>
              <a:ext uri="{FF2B5EF4-FFF2-40B4-BE49-F238E27FC236}">
                <a16:creationId xmlns:a16="http://schemas.microsoft.com/office/drawing/2014/main" id="{82BD5986-4B12-ADCA-D497-FBAB55554452}"/>
              </a:ext>
            </a:extLst>
          </p:cNvPr>
          <p:cNvGrpSpPr/>
          <p:nvPr/>
        </p:nvGrpSpPr>
        <p:grpSpPr>
          <a:xfrm>
            <a:off x="1207931" y="2493169"/>
            <a:ext cx="469888" cy="469886"/>
            <a:chOff x="-5548307" y="652476"/>
            <a:chExt cx="4733962" cy="4733948"/>
          </a:xfrm>
        </p:grpSpPr>
        <p:grpSp>
          <p:nvGrpSpPr>
            <p:cNvPr id="123" name="Graphic 119">
              <a:extLst>
                <a:ext uri="{FF2B5EF4-FFF2-40B4-BE49-F238E27FC236}">
                  <a16:creationId xmlns:a16="http://schemas.microsoft.com/office/drawing/2014/main" id="{D1BFC775-6267-BC9C-E0ED-286EA3571C96}"/>
                </a:ext>
              </a:extLst>
            </p:cNvPr>
            <p:cNvGrpSpPr/>
            <p:nvPr/>
          </p:nvGrpSpPr>
          <p:grpSpPr>
            <a:xfrm>
              <a:off x="-5548307" y="652476"/>
              <a:ext cx="3499125" cy="3499127"/>
              <a:chOff x="-5548307" y="652476"/>
              <a:chExt cx="3499125" cy="3499127"/>
            </a:xfrm>
            <a:noFill/>
          </p:grpSpPr>
          <p:sp>
            <p:nvSpPr>
              <p:cNvPr id="124" name="Freeform: Shape 123">
                <a:extLst>
                  <a:ext uri="{FF2B5EF4-FFF2-40B4-BE49-F238E27FC236}">
                    <a16:creationId xmlns:a16="http://schemas.microsoft.com/office/drawing/2014/main" id="{C78CC503-7044-001F-4C64-3D595B1DFF86}"/>
                  </a:ext>
                </a:extLst>
              </p:cNvPr>
              <p:cNvSpPr/>
              <p:nvPr/>
            </p:nvSpPr>
            <p:spPr>
              <a:xfrm>
                <a:off x="-5548307" y="2412815"/>
                <a:ext cx="3499125" cy="1738788"/>
              </a:xfrm>
              <a:custGeom>
                <a:avLst/>
                <a:gdLst>
                  <a:gd name="csX0" fmla="*/ 3361492 w 3499125"/>
                  <a:gd name="csY0" fmla="*/ 117634 h 1738788"/>
                  <a:gd name="csX1" fmla="*/ 3455123 w 3499125"/>
                  <a:gd name="csY1" fmla="*/ 426434 h 1738788"/>
                  <a:gd name="csX2" fmla="*/ 3201091 w 3499125"/>
                  <a:gd name="csY2" fmla="*/ 1440752 h 1738788"/>
                  <a:gd name="csX3" fmla="*/ 2482525 w 3499125"/>
                  <a:gd name="csY3" fmla="*/ 1738789 h 1738788"/>
                  <a:gd name="csX4" fmla="*/ 2186773 w 3499125"/>
                  <a:gd name="csY4" fmla="*/ 1694783 h 1738788"/>
                  <a:gd name="csX5" fmla="*/ 965859 w 3499125"/>
                  <a:gd name="csY5" fmla="*/ 1324642 h 1738788"/>
                  <a:gd name="csX6" fmla="*/ 287774 w 3499125"/>
                  <a:gd name="csY6" fmla="*/ 1494473 h 1738788"/>
                  <a:gd name="csX7" fmla="*/ 49363 w 3499125"/>
                  <a:gd name="csY7" fmla="*/ 1494473 h 1738788"/>
                  <a:gd name="csX8" fmla="*/ 49363 w 3499125"/>
                  <a:gd name="csY8" fmla="*/ 1256157 h 1738788"/>
                  <a:gd name="csX9" fmla="*/ 1063681 w 3499125"/>
                  <a:gd name="csY9" fmla="*/ 1002030 h 1738788"/>
                  <a:gd name="csX10" fmla="*/ 1372481 w 3499125"/>
                  <a:gd name="csY10" fmla="*/ 1095661 h 1738788"/>
                  <a:gd name="csX11" fmla="*/ 1760339 w 3499125"/>
                  <a:gd name="csY11" fmla="*/ 1213295 h 1738788"/>
                  <a:gd name="csX12" fmla="*/ 2284595 w 3499125"/>
                  <a:gd name="csY12" fmla="*/ 1372267 h 1738788"/>
                  <a:gd name="csX13" fmla="*/ 2962680 w 3499125"/>
                  <a:gd name="csY13" fmla="*/ 1202341 h 1738788"/>
                  <a:gd name="csX14" fmla="*/ 3132606 w 3499125"/>
                  <a:gd name="csY14" fmla="*/ 524256 h 1738788"/>
                  <a:gd name="csX15" fmla="*/ 2973634 w 3499125"/>
                  <a:gd name="csY15" fmla="*/ 0 h 17387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3499125" h="1738788">
                    <a:moveTo>
                      <a:pt x="3361492" y="117634"/>
                    </a:moveTo>
                    <a:lnTo>
                      <a:pt x="3455123" y="426434"/>
                    </a:lnTo>
                    <a:cubicBezTo>
                      <a:pt x="3564279" y="786194"/>
                      <a:pt x="3466933" y="1174814"/>
                      <a:pt x="3201091" y="1440752"/>
                    </a:cubicBezTo>
                    <a:cubicBezTo>
                      <a:pt x="3007257" y="1634490"/>
                      <a:pt x="2748082" y="1738789"/>
                      <a:pt x="2482525" y="1738789"/>
                    </a:cubicBezTo>
                    <a:cubicBezTo>
                      <a:pt x="2383846" y="1738789"/>
                      <a:pt x="2284309" y="1724406"/>
                      <a:pt x="2186773" y="1694783"/>
                    </a:cubicBezTo>
                    <a:lnTo>
                      <a:pt x="965859" y="1324642"/>
                    </a:lnTo>
                    <a:cubicBezTo>
                      <a:pt x="725353" y="1251680"/>
                      <a:pt x="465511" y="1316736"/>
                      <a:pt x="287774" y="1494473"/>
                    </a:cubicBezTo>
                    <a:cubicBezTo>
                      <a:pt x="221956" y="1560290"/>
                      <a:pt x="115181" y="1560290"/>
                      <a:pt x="49363" y="1494473"/>
                    </a:cubicBezTo>
                    <a:cubicBezTo>
                      <a:pt x="-16454" y="1428655"/>
                      <a:pt x="-16454" y="1321975"/>
                      <a:pt x="49363" y="1256157"/>
                    </a:cubicBezTo>
                    <a:cubicBezTo>
                      <a:pt x="315206" y="990314"/>
                      <a:pt x="703826" y="892873"/>
                      <a:pt x="1063681" y="1002030"/>
                    </a:cubicBezTo>
                    <a:lnTo>
                      <a:pt x="1372481" y="1095661"/>
                    </a:lnTo>
                    <a:lnTo>
                      <a:pt x="1760339" y="1213295"/>
                    </a:lnTo>
                    <a:lnTo>
                      <a:pt x="2284595" y="1372267"/>
                    </a:lnTo>
                    <a:cubicBezTo>
                      <a:pt x="2525101" y="1445133"/>
                      <a:pt x="2784943" y="1380077"/>
                      <a:pt x="2962680" y="1202341"/>
                    </a:cubicBezTo>
                    <a:cubicBezTo>
                      <a:pt x="3140416" y="1024604"/>
                      <a:pt x="3205472" y="764762"/>
                      <a:pt x="3132606" y="524256"/>
                    </a:cubicBezTo>
                    <a:lnTo>
                      <a:pt x="2973634" y="0"/>
                    </a:lnTo>
                  </a:path>
                </a:pathLst>
              </a:custGeom>
              <a:noFill/>
              <a:ln w="12700" cap="flat">
                <a:solidFill>
                  <a:schemeClr val="tx2"/>
                </a:solidFill>
                <a:prstDash val="solid"/>
                <a:round/>
              </a:ln>
            </p:spPr>
            <p:txBody>
              <a:bodyPr/>
              <a:lstStyle/>
              <a:p>
                <a:endParaRPr lang="en-GB"/>
              </a:p>
            </p:txBody>
          </p:sp>
          <p:sp>
            <p:nvSpPr>
              <p:cNvPr id="125" name="Freeform: Shape 124">
                <a:extLst>
                  <a:ext uri="{FF2B5EF4-FFF2-40B4-BE49-F238E27FC236}">
                    <a16:creationId xmlns:a16="http://schemas.microsoft.com/office/drawing/2014/main" id="{A3C3681B-CB60-F519-A466-070264B0F1D0}"/>
                  </a:ext>
                </a:extLst>
              </p:cNvPr>
              <p:cNvSpPr/>
              <p:nvPr/>
            </p:nvSpPr>
            <p:spPr>
              <a:xfrm>
                <a:off x="-2829934" y="652476"/>
                <a:ext cx="585792" cy="1490114"/>
              </a:xfrm>
              <a:custGeom>
                <a:avLst/>
                <a:gdLst>
                  <a:gd name="csX0" fmla="*/ 137617 w 585792"/>
                  <a:gd name="csY0" fmla="*/ 1372481 h 1490114"/>
                  <a:gd name="csX1" fmla="*/ 43986 w 585792"/>
                  <a:gd name="csY1" fmla="*/ 1063681 h 1490114"/>
                  <a:gd name="csX2" fmla="*/ 298113 w 585792"/>
                  <a:gd name="csY2" fmla="*/ 49363 h 1490114"/>
                  <a:gd name="csX3" fmla="*/ 536429 w 585792"/>
                  <a:gd name="csY3" fmla="*/ 49363 h 1490114"/>
                  <a:gd name="csX4" fmla="*/ 536429 w 585792"/>
                  <a:gd name="csY4" fmla="*/ 287774 h 1490114"/>
                  <a:gd name="csX5" fmla="*/ 366598 w 585792"/>
                  <a:gd name="csY5" fmla="*/ 965859 h 1490114"/>
                  <a:gd name="csX6" fmla="*/ 525475 w 585792"/>
                  <a:gd name="csY6" fmla="*/ 1490115 h 1490114"/>
                  <a:gd name="csX7" fmla="*/ 525570 w 585792"/>
                  <a:gd name="csY7" fmla="*/ 1490115 h 14901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585792" h="1490114">
                    <a:moveTo>
                      <a:pt x="137617" y="1372481"/>
                    </a:moveTo>
                    <a:lnTo>
                      <a:pt x="43986" y="1063681"/>
                    </a:lnTo>
                    <a:cubicBezTo>
                      <a:pt x="-65170" y="703921"/>
                      <a:pt x="32271" y="315206"/>
                      <a:pt x="298113" y="49363"/>
                    </a:cubicBezTo>
                    <a:cubicBezTo>
                      <a:pt x="363931" y="-16454"/>
                      <a:pt x="470611" y="-16454"/>
                      <a:pt x="536429" y="49363"/>
                    </a:cubicBezTo>
                    <a:cubicBezTo>
                      <a:pt x="602247" y="115181"/>
                      <a:pt x="602247" y="221956"/>
                      <a:pt x="536429" y="287774"/>
                    </a:cubicBezTo>
                    <a:cubicBezTo>
                      <a:pt x="358692" y="465511"/>
                      <a:pt x="293636" y="725353"/>
                      <a:pt x="366598" y="965859"/>
                    </a:cubicBezTo>
                    <a:lnTo>
                      <a:pt x="525475" y="1490115"/>
                    </a:lnTo>
                    <a:lnTo>
                      <a:pt x="525570" y="1490115"/>
                    </a:lnTo>
                  </a:path>
                </a:pathLst>
              </a:custGeom>
              <a:noFill/>
              <a:ln w="12700" cap="flat">
                <a:solidFill>
                  <a:schemeClr val="tx2"/>
                </a:solidFill>
                <a:prstDash val="solid"/>
                <a:round/>
              </a:ln>
            </p:spPr>
            <p:txBody>
              <a:bodyPr/>
              <a:lstStyle/>
              <a:p>
                <a:endParaRPr lang="en-GB"/>
              </a:p>
            </p:txBody>
          </p:sp>
        </p:grpSp>
        <p:grpSp>
          <p:nvGrpSpPr>
            <p:cNvPr id="126" name="Graphic 119">
              <a:extLst>
                <a:ext uri="{FF2B5EF4-FFF2-40B4-BE49-F238E27FC236}">
                  <a16:creationId xmlns:a16="http://schemas.microsoft.com/office/drawing/2014/main" id="{16AF870F-78E5-11F9-DFF6-BC98933BF724}"/>
                </a:ext>
              </a:extLst>
            </p:cNvPr>
            <p:cNvGrpSpPr/>
            <p:nvPr/>
          </p:nvGrpSpPr>
          <p:grpSpPr>
            <a:xfrm>
              <a:off x="-4313470" y="1887338"/>
              <a:ext cx="3499125" cy="3499086"/>
              <a:chOff x="-4313470" y="1887338"/>
              <a:chExt cx="3499125" cy="3499086"/>
            </a:xfrm>
            <a:noFill/>
          </p:grpSpPr>
          <p:sp>
            <p:nvSpPr>
              <p:cNvPr id="127" name="Freeform: Shape 126">
                <a:extLst>
                  <a:ext uri="{FF2B5EF4-FFF2-40B4-BE49-F238E27FC236}">
                    <a16:creationId xmlns:a16="http://schemas.microsoft.com/office/drawing/2014/main" id="{A2176715-B4E0-D2BE-41DD-78E608B31D6C}"/>
                  </a:ext>
                </a:extLst>
              </p:cNvPr>
              <p:cNvSpPr/>
              <p:nvPr/>
            </p:nvSpPr>
            <p:spPr>
              <a:xfrm>
                <a:off x="-4118510" y="3896334"/>
                <a:ext cx="585792" cy="1490091"/>
              </a:xfrm>
              <a:custGeom>
                <a:avLst/>
                <a:gdLst>
                  <a:gd name="csX0" fmla="*/ 448175 w 585792"/>
                  <a:gd name="csY0" fmla="*/ 117634 h 1490091"/>
                  <a:gd name="csX1" fmla="*/ 541806 w 585792"/>
                  <a:gd name="csY1" fmla="*/ 426434 h 1490091"/>
                  <a:gd name="csX2" fmla="*/ 287679 w 585792"/>
                  <a:gd name="csY2" fmla="*/ 1440752 h 1490091"/>
                  <a:gd name="csX3" fmla="*/ 168521 w 585792"/>
                  <a:gd name="csY3" fmla="*/ 1490091 h 1490091"/>
                  <a:gd name="csX4" fmla="*/ 49363 w 585792"/>
                  <a:gd name="csY4" fmla="*/ 1440752 h 1490091"/>
                  <a:gd name="csX5" fmla="*/ 49363 w 585792"/>
                  <a:gd name="csY5" fmla="*/ 1202341 h 1490091"/>
                  <a:gd name="csX6" fmla="*/ 219194 w 585792"/>
                  <a:gd name="csY6" fmla="*/ 524256 h 1490091"/>
                  <a:gd name="csX7" fmla="*/ 60317 w 585792"/>
                  <a:gd name="csY7" fmla="*/ 95 h 1490091"/>
                  <a:gd name="csX8" fmla="*/ 60317 w 585792"/>
                  <a:gd name="csY8" fmla="*/ 0 h 149009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85792" h="1490091">
                    <a:moveTo>
                      <a:pt x="448175" y="117634"/>
                    </a:moveTo>
                    <a:lnTo>
                      <a:pt x="541806" y="426434"/>
                    </a:lnTo>
                    <a:cubicBezTo>
                      <a:pt x="650962" y="786194"/>
                      <a:pt x="553522" y="1174909"/>
                      <a:pt x="287679" y="1440752"/>
                    </a:cubicBezTo>
                    <a:cubicBezTo>
                      <a:pt x="254818" y="1473613"/>
                      <a:pt x="211669" y="1490091"/>
                      <a:pt x="168521" y="1490091"/>
                    </a:cubicBezTo>
                    <a:cubicBezTo>
                      <a:pt x="125373" y="1490091"/>
                      <a:pt x="82225" y="1473613"/>
                      <a:pt x="49363" y="1440752"/>
                    </a:cubicBezTo>
                    <a:cubicBezTo>
                      <a:pt x="-16454" y="1374934"/>
                      <a:pt x="-16454" y="1268159"/>
                      <a:pt x="49363" y="1202341"/>
                    </a:cubicBezTo>
                    <a:cubicBezTo>
                      <a:pt x="227100" y="1024604"/>
                      <a:pt x="292156" y="764762"/>
                      <a:pt x="219194" y="524256"/>
                    </a:cubicBezTo>
                    <a:lnTo>
                      <a:pt x="60317" y="95"/>
                    </a:lnTo>
                    <a:lnTo>
                      <a:pt x="60317" y="0"/>
                    </a:lnTo>
                  </a:path>
                </a:pathLst>
              </a:custGeom>
              <a:noFill/>
              <a:ln w="12700" cap="flat">
                <a:solidFill>
                  <a:schemeClr val="tx2"/>
                </a:solidFill>
                <a:prstDash val="solid"/>
                <a:round/>
              </a:ln>
            </p:spPr>
            <p:txBody>
              <a:bodyPr/>
              <a:lstStyle/>
              <a:p>
                <a:endParaRPr lang="en-GB"/>
              </a:p>
            </p:txBody>
          </p:sp>
          <p:sp>
            <p:nvSpPr>
              <p:cNvPr id="128" name="Freeform: Shape 127">
                <a:extLst>
                  <a:ext uri="{FF2B5EF4-FFF2-40B4-BE49-F238E27FC236}">
                    <a16:creationId xmlns:a16="http://schemas.microsoft.com/office/drawing/2014/main" id="{FC2B20D3-211F-58E0-DDFB-968E05E38173}"/>
                  </a:ext>
                </a:extLst>
              </p:cNvPr>
              <p:cNvSpPr/>
              <p:nvPr/>
            </p:nvSpPr>
            <p:spPr>
              <a:xfrm>
                <a:off x="-3976296" y="2224478"/>
                <a:ext cx="2315612" cy="1401621"/>
              </a:xfrm>
              <a:custGeom>
                <a:avLst/>
                <a:gdLst>
                  <a:gd name="csX0" fmla="*/ 2315612 w 2315612"/>
                  <a:gd name="csY0" fmla="*/ 440540 h 1401621"/>
                  <a:gd name="csX1" fmla="*/ 2098281 w 2315612"/>
                  <a:gd name="csY1" fmla="*/ 399592 h 1401621"/>
                  <a:gd name="csX2" fmla="*/ 1789480 w 2315612"/>
                  <a:gd name="csY2" fmla="*/ 305961 h 1401621"/>
                  <a:gd name="csX3" fmla="*/ 1401622 w 2315612"/>
                  <a:gd name="csY3" fmla="*/ 188328 h 1401621"/>
                  <a:gd name="csX4" fmla="*/ 877366 w 2315612"/>
                  <a:gd name="csY4" fmla="*/ 29355 h 1401621"/>
                  <a:gd name="csX5" fmla="*/ 199281 w 2315612"/>
                  <a:gd name="csY5" fmla="*/ 199281 h 1401621"/>
                  <a:gd name="csX6" fmla="*/ 29355 w 2315612"/>
                  <a:gd name="csY6" fmla="*/ 877366 h 1401621"/>
                  <a:gd name="csX7" fmla="*/ 188328 w 2315612"/>
                  <a:gd name="csY7" fmla="*/ 1401622 h 14016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315612" h="1401621">
                    <a:moveTo>
                      <a:pt x="2315612" y="440540"/>
                    </a:moveTo>
                    <a:cubicBezTo>
                      <a:pt x="2242822" y="434892"/>
                      <a:pt x="2169985" y="421347"/>
                      <a:pt x="2098281" y="399592"/>
                    </a:cubicBezTo>
                    <a:lnTo>
                      <a:pt x="1789480" y="305961"/>
                    </a:lnTo>
                    <a:lnTo>
                      <a:pt x="1401622" y="188328"/>
                    </a:lnTo>
                    <a:lnTo>
                      <a:pt x="877366" y="29355"/>
                    </a:lnTo>
                    <a:cubicBezTo>
                      <a:pt x="636860" y="-43511"/>
                      <a:pt x="377018" y="21545"/>
                      <a:pt x="199281" y="199281"/>
                    </a:cubicBezTo>
                    <a:cubicBezTo>
                      <a:pt x="21545" y="377018"/>
                      <a:pt x="-43511" y="636860"/>
                      <a:pt x="29355" y="877366"/>
                    </a:cubicBezTo>
                    <a:lnTo>
                      <a:pt x="188328" y="1401622"/>
                    </a:lnTo>
                  </a:path>
                </a:pathLst>
              </a:custGeom>
              <a:noFill/>
              <a:ln w="12700" cap="flat">
                <a:solidFill>
                  <a:schemeClr val="tx2"/>
                </a:solidFill>
                <a:prstDash val="solid"/>
                <a:round/>
              </a:ln>
            </p:spPr>
            <p:txBody>
              <a:bodyPr/>
              <a:lstStyle/>
              <a:p>
                <a:endParaRPr lang="en-GB"/>
              </a:p>
            </p:txBody>
          </p:sp>
          <p:sp>
            <p:nvSpPr>
              <p:cNvPr id="129" name="Freeform: Shape 128">
                <a:extLst>
                  <a:ext uri="{FF2B5EF4-FFF2-40B4-BE49-F238E27FC236}">
                    <a16:creationId xmlns:a16="http://schemas.microsoft.com/office/drawing/2014/main" id="{5CAF29ED-45CE-B1FB-7A83-7A95DEC10132}"/>
                  </a:ext>
                </a:extLst>
              </p:cNvPr>
              <p:cNvSpPr/>
              <p:nvPr/>
            </p:nvSpPr>
            <p:spPr>
              <a:xfrm>
                <a:off x="-4313470" y="1887338"/>
                <a:ext cx="3499125" cy="1621137"/>
              </a:xfrm>
              <a:custGeom>
                <a:avLst/>
                <a:gdLst>
                  <a:gd name="csX0" fmla="*/ 137634 w 3499125"/>
                  <a:gd name="csY0" fmla="*/ 1621138 h 1621137"/>
                  <a:gd name="csX1" fmla="*/ 44003 w 3499125"/>
                  <a:gd name="csY1" fmla="*/ 1312337 h 1621137"/>
                  <a:gd name="csX2" fmla="*/ 298035 w 3499125"/>
                  <a:gd name="csY2" fmla="*/ 298020 h 1621137"/>
                  <a:gd name="csX3" fmla="*/ 1312353 w 3499125"/>
                  <a:gd name="csY3" fmla="*/ 43988 h 1621137"/>
                  <a:gd name="csX4" fmla="*/ 1621153 w 3499125"/>
                  <a:gd name="csY4" fmla="*/ 137619 h 1621137"/>
                  <a:gd name="csX5" fmla="*/ 2009011 w 3499125"/>
                  <a:gd name="csY5" fmla="*/ 255253 h 1621137"/>
                  <a:gd name="csX6" fmla="*/ 2009106 w 3499125"/>
                  <a:gd name="csY6" fmla="*/ 255253 h 1621137"/>
                  <a:gd name="csX7" fmla="*/ 2533267 w 3499125"/>
                  <a:gd name="csY7" fmla="*/ 414130 h 1621137"/>
                  <a:gd name="csX8" fmla="*/ 3211352 w 3499125"/>
                  <a:gd name="csY8" fmla="*/ 244299 h 1621137"/>
                  <a:gd name="csX9" fmla="*/ 3449763 w 3499125"/>
                  <a:gd name="csY9" fmla="*/ 244299 h 1621137"/>
                  <a:gd name="csX10" fmla="*/ 3449763 w 3499125"/>
                  <a:gd name="csY10" fmla="*/ 482614 h 1621137"/>
                  <a:gd name="csX11" fmla="*/ 2985085 w 3499125"/>
                  <a:gd name="csY11" fmla="*/ 748467 h 16211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499125" h="1621137">
                    <a:moveTo>
                      <a:pt x="137634" y="1621138"/>
                    </a:moveTo>
                    <a:lnTo>
                      <a:pt x="44003" y="1312337"/>
                    </a:lnTo>
                    <a:cubicBezTo>
                      <a:pt x="-65153" y="952578"/>
                      <a:pt x="32193" y="563958"/>
                      <a:pt x="298035" y="298020"/>
                    </a:cubicBezTo>
                    <a:cubicBezTo>
                      <a:pt x="563973" y="32272"/>
                      <a:pt x="952593" y="-65168"/>
                      <a:pt x="1312353" y="43988"/>
                    </a:cubicBezTo>
                    <a:lnTo>
                      <a:pt x="1621153" y="137619"/>
                    </a:lnTo>
                    <a:lnTo>
                      <a:pt x="2009011" y="255253"/>
                    </a:lnTo>
                    <a:lnTo>
                      <a:pt x="2009106" y="255253"/>
                    </a:lnTo>
                    <a:lnTo>
                      <a:pt x="2533267" y="414130"/>
                    </a:lnTo>
                    <a:cubicBezTo>
                      <a:pt x="2773773" y="487091"/>
                      <a:pt x="3033615" y="422035"/>
                      <a:pt x="3211352" y="244299"/>
                    </a:cubicBezTo>
                    <a:cubicBezTo>
                      <a:pt x="3277170" y="178481"/>
                      <a:pt x="3383945" y="178481"/>
                      <a:pt x="3449763" y="244299"/>
                    </a:cubicBezTo>
                    <a:cubicBezTo>
                      <a:pt x="3515580" y="310117"/>
                      <a:pt x="3515580" y="416797"/>
                      <a:pt x="3449763" y="482614"/>
                    </a:cubicBezTo>
                    <a:cubicBezTo>
                      <a:pt x="3318670" y="613707"/>
                      <a:pt x="3157717" y="703852"/>
                      <a:pt x="2985085" y="748467"/>
                    </a:cubicBezTo>
                  </a:path>
                </a:pathLst>
              </a:custGeom>
              <a:noFill/>
              <a:ln w="12700" cap="flat">
                <a:solidFill>
                  <a:schemeClr val="tx2"/>
                </a:solidFill>
                <a:prstDash val="solid"/>
                <a:round/>
              </a:ln>
            </p:spPr>
            <p:txBody>
              <a:bodyPr/>
              <a:lstStyle/>
              <a:p>
                <a:endParaRPr lang="en-GB"/>
              </a:p>
            </p:txBody>
          </p:sp>
        </p:grpSp>
        <p:grpSp>
          <p:nvGrpSpPr>
            <p:cNvPr id="130" name="Graphic 119">
              <a:extLst>
                <a:ext uri="{FF2B5EF4-FFF2-40B4-BE49-F238E27FC236}">
                  <a16:creationId xmlns:a16="http://schemas.microsoft.com/office/drawing/2014/main" id="{3EAEA663-431D-24EA-41A7-DE011C58035D}"/>
                </a:ext>
              </a:extLst>
            </p:cNvPr>
            <p:cNvGrpSpPr/>
            <p:nvPr/>
          </p:nvGrpSpPr>
          <p:grpSpPr>
            <a:xfrm>
              <a:off x="-3962657" y="2239841"/>
              <a:ext cx="1560957" cy="1560957"/>
              <a:chOff x="-3962657" y="2239841"/>
              <a:chExt cx="1560957" cy="1560957"/>
            </a:xfrm>
          </p:grpSpPr>
          <p:sp>
            <p:nvSpPr>
              <p:cNvPr id="131" name="Freeform: Shape 130">
                <a:extLst>
                  <a:ext uri="{FF2B5EF4-FFF2-40B4-BE49-F238E27FC236}">
                    <a16:creationId xmlns:a16="http://schemas.microsoft.com/office/drawing/2014/main" id="{57A8A4B2-4ED3-63AB-1B7E-80070B23482C}"/>
                  </a:ext>
                </a:extLst>
              </p:cNvPr>
              <p:cNvSpPr/>
              <p:nvPr/>
            </p:nvSpPr>
            <p:spPr>
              <a:xfrm>
                <a:off x="-3153317" y="2239841"/>
                <a:ext cx="751617" cy="751617"/>
              </a:xfrm>
              <a:custGeom>
                <a:avLst/>
                <a:gdLst>
                  <a:gd name="csX0" fmla="*/ 751618 w 751617"/>
                  <a:gd name="csY0" fmla="*/ 751618 h 751617"/>
                  <a:gd name="csX1" fmla="*/ 0 w 751617"/>
                  <a:gd name="csY1" fmla="*/ 0 h 751617"/>
                </a:gdLst>
                <a:ahLst/>
                <a:cxnLst>
                  <a:cxn ang="0">
                    <a:pos x="csX0" y="csY0"/>
                  </a:cxn>
                  <a:cxn ang="0">
                    <a:pos x="csX1" y="csY1"/>
                  </a:cxn>
                </a:cxnLst>
                <a:rect l="l" t="t" r="r" b="b"/>
                <a:pathLst>
                  <a:path w="751617" h="751617">
                    <a:moveTo>
                      <a:pt x="751618" y="751618"/>
                    </a:moveTo>
                    <a:lnTo>
                      <a:pt x="0" y="0"/>
                    </a:lnTo>
                  </a:path>
                </a:pathLst>
              </a:custGeom>
              <a:ln w="12700" cap="flat">
                <a:solidFill>
                  <a:schemeClr val="tx2"/>
                </a:solidFill>
                <a:prstDash val="solid"/>
                <a:round/>
              </a:ln>
            </p:spPr>
            <p:txBody>
              <a:bodyPr/>
              <a:lstStyle/>
              <a:p>
                <a:endParaRPr lang="en-GB"/>
              </a:p>
            </p:txBody>
          </p:sp>
          <p:sp>
            <p:nvSpPr>
              <p:cNvPr id="132" name="Freeform: Shape 131">
                <a:extLst>
                  <a:ext uri="{FF2B5EF4-FFF2-40B4-BE49-F238E27FC236}">
                    <a16:creationId xmlns:a16="http://schemas.microsoft.com/office/drawing/2014/main" id="{BBC3625B-33B3-4D2A-ECE7-8A0914570C91}"/>
                  </a:ext>
                </a:extLst>
              </p:cNvPr>
              <p:cNvSpPr/>
              <p:nvPr/>
            </p:nvSpPr>
            <p:spPr>
              <a:xfrm>
                <a:off x="-3621957" y="2307564"/>
                <a:ext cx="1152525" cy="1152525"/>
              </a:xfrm>
              <a:custGeom>
                <a:avLst/>
                <a:gdLst>
                  <a:gd name="csX0" fmla="*/ 1152525 w 1152525"/>
                  <a:gd name="csY0" fmla="*/ 1152525 h 1152525"/>
                  <a:gd name="csX1" fmla="*/ 0 w 1152525"/>
                  <a:gd name="csY1" fmla="*/ 0 h 1152525"/>
                </a:gdLst>
                <a:ahLst/>
                <a:cxnLst>
                  <a:cxn ang="0">
                    <a:pos x="csX0" y="csY0"/>
                  </a:cxn>
                  <a:cxn ang="0">
                    <a:pos x="csX1" y="csY1"/>
                  </a:cxn>
                </a:cxnLst>
                <a:rect l="l" t="t" r="r" b="b"/>
                <a:pathLst>
                  <a:path w="1152525" h="1152525">
                    <a:moveTo>
                      <a:pt x="1152525" y="1152525"/>
                    </a:moveTo>
                    <a:lnTo>
                      <a:pt x="0" y="0"/>
                    </a:lnTo>
                  </a:path>
                </a:pathLst>
              </a:custGeom>
              <a:ln w="12700" cap="flat">
                <a:solidFill>
                  <a:schemeClr val="tx2"/>
                </a:solidFill>
                <a:prstDash val="solid"/>
                <a:round/>
              </a:ln>
            </p:spPr>
            <p:txBody>
              <a:bodyPr/>
              <a:lstStyle/>
              <a:p>
                <a:endParaRPr lang="en-GB"/>
              </a:p>
            </p:txBody>
          </p:sp>
          <p:sp>
            <p:nvSpPr>
              <p:cNvPr id="133" name="Freeform: Shape 132">
                <a:extLst>
                  <a:ext uri="{FF2B5EF4-FFF2-40B4-BE49-F238E27FC236}">
                    <a16:creationId xmlns:a16="http://schemas.microsoft.com/office/drawing/2014/main" id="{445A38FC-72C2-8B11-19AF-2B412FC1F646}"/>
                  </a:ext>
                </a:extLst>
              </p:cNvPr>
              <p:cNvSpPr/>
              <p:nvPr/>
            </p:nvSpPr>
            <p:spPr>
              <a:xfrm>
                <a:off x="-3890933" y="2574836"/>
                <a:ext cx="237143" cy="237143"/>
              </a:xfrm>
              <a:custGeom>
                <a:avLst/>
                <a:gdLst>
                  <a:gd name="csX0" fmla="*/ 237144 w 237143"/>
                  <a:gd name="csY0" fmla="*/ 237144 h 237143"/>
                  <a:gd name="csX1" fmla="*/ 0 w 237143"/>
                  <a:gd name="csY1" fmla="*/ 0 h 237143"/>
                </a:gdLst>
                <a:ahLst/>
                <a:cxnLst>
                  <a:cxn ang="0">
                    <a:pos x="csX0" y="csY0"/>
                  </a:cxn>
                  <a:cxn ang="0">
                    <a:pos x="csX1" y="csY1"/>
                  </a:cxn>
                </a:cxnLst>
                <a:rect l="l" t="t" r="r" b="b"/>
                <a:pathLst>
                  <a:path w="237143" h="237143">
                    <a:moveTo>
                      <a:pt x="237144" y="237144"/>
                    </a:moveTo>
                    <a:lnTo>
                      <a:pt x="0" y="0"/>
                    </a:lnTo>
                  </a:path>
                </a:pathLst>
              </a:custGeom>
              <a:ln w="12700" cap="flat">
                <a:solidFill>
                  <a:schemeClr val="tx2"/>
                </a:solidFill>
                <a:prstDash val="solid"/>
                <a:round/>
              </a:ln>
            </p:spPr>
            <p:txBody>
              <a:bodyPr/>
              <a:lstStyle/>
              <a:p>
                <a:endParaRPr lang="en-GB"/>
              </a:p>
            </p:txBody>
          </p:sp>
          <p:sp>
            <p:nvSpPr>
              <p:cNvPr id="134" name="Freeform: Shape 133">
                <a:extLst>
                  <a:ext uri="{FF2B5EF4-FFF2-40B4-BE49-F238E27FC236}">
                    <a16:creationId xmlns:a16="http://schemas.microsoft.com/office/drawing/2014/main" id="{73F296DC-BD82-8385-865E-D06468BD71D0}"/>
                  </a:ext>
                </a:extLst>
              </p:cNvPr>
              <p:cNvSpPr/>
              <p:nvPr/>
            </p:nvSpPr>
            <p:spPr>
              <a:xfrm>
                <a:off x="-3417960" y="3047819"/>
                <a:ext cx="681256" cy="681256"/>
              </a:xfrm>
              <a:custGeom>
                <a:avLst/>
                <a:gdLst>
                  <a:gd name="csX0" fmla="*/ 681257 w 681256"/>
                  <a:gd name="csY0" fmla="*/ 681257 h 681256"/>
                  <a:gd name="csX1" fmla="*/ 0 w 681256"/>
                  <a:gd name="csY1" fmla="*/ 0 h 681256"/>
                </a:gdLst>
                <a:ahLst/>
                <a:cxnLst>
                  <a:cxn ang="0">
                    <a:pos x="csX0" y="csY0"/>
                  </a:cxn>
                  <a:cxn ang="0">
                    <a:pos x="csX1" y="csY1"/>
                  </a:cxn>
                </a:cxnLst>
                <a:rect l="l" t="t" r="r" b="b"/>
                <a:pathLst>
                  <a:path w="681256" h="681256">
                    <a:moveTo>
                      <a:pt x="681257" y="681257"/>
                    </a:moveTo>
                    <a:lnTo>
                      <a:pt x="0" y="0"/>
                    </a:lnTo>
                  </a:path>
                </a:pathLst>
              </a:custGeom>
              <a:ln w="12700" cap="flat">
                <a:solidFill>
                  <a:schemeClr val="tx2"/>
                </a:solidFill>
                <a:prstDash val="solid"/>
                <a:round/>
              </a:ln>
            </p:spPr>
            <p:txBody>
              <a:bodyPr/>
              <a:lstStyle/>
              <a:p>
                <a:endParaRPr lang="en-GB"/>
              </a:p>
            </p:txBody>
          </p:sp>
          <p:sp>
            <p:nvSpPr>
              <p:cNvPr id="135" name="Freeform: Shape 134">
                <a:extLst>
                  <a:ext uri="{FF2B5EF4-FFF2-40B4-BE49-F238E27FC236}">
                    <a16:creationId xmlns:a16="http://schemas.microsoft.com/office/drawing/2014/main" id="{B74CDEBB-3776-8FF9-86C1-310791F48389}"/>
                  </a:ext>
                </a:extLst>
              </p:cNvPr>
              <p:cNvSpPr/>
              <p:nvPr/>
            </p:nvSpPr>
            <p:spPr>
              <a:xfrm>
                <a:off x="-3962657" y="3039465"/>
                <a:ext cx="761323" cy="761333"/>
              </a:xfrm>
              <a:custGeom>
                <a:avLst/>
                <a:gdLst>
                  <a:gd name="csX0" fmla="*/ 761324 w 761323"/>
                  <a:gd name="csY0" fmla="*/ 761333 h 761333"/>
                  <a:gd name="csX1" fmla="*/ 0 w 761323"/>
                  <a:gd name="csY1" fmla="*/ 0 h 761333"/>
                </a:gdLst>
                <a:ahLst/>
                <a:cxnLst>
                  <a:cxn ang="0">
                    <a:pos x="csX0" y="csY0"/>
                  </a:cxn>
                  <a:cxn ang="0">
                    <a:pos x="csX1" y="csY1"/>
                  </a:cxn>
                </a:cxnLst>
                <a:rect l="l" t="t" r="r" b="b"/>
                <a:pathLst>
                  <a:path w="761323" h="761333">
                    <a:moveTo>
                      <a:pt x="761324" y="761333"/>
                    </a:moveTo>
                    <a:lnTo>
                      <a:pt x="0" y="0"/>
                    </a:lnTo>
                  </a:path>
                </a:pathLst>
              </a:custGeom>
              <a:ln w="12700" cap="flat">
                <a:solidFill>
                  <a:schemeClr val="tx2"/>
                </a:solidFill>
                <a:prstDash val="solid"/>
                <a:round/>
              </a:ln>
            </p:spPr>
            <p:txBody>
              <a:bodyPr/>
              <a:lstStyle/>
              <a:p>
                <a:endParaRPr lang="en-GB"/>
              </a:p>
            </p:txBody>
          </p:sp>
        </p:grpSp>
        <p:grpSp>
          <p:nvGrpSpPr>
            <p:cNvPr id="136" name="Graphic 119">
              <a:extLst>
                <a:ext uri="{FF2B5EF4-FFF2-40B4-BE49-F238E27FC236}">
                  <a16:creationId xmlns:a16="http://schemas.microsoft.com/office/drawing/2014/main" id="{B584622A-938F-5B52-A525-33927B4F0B9F}"/>
                </a:ext>
              </a:extLst>
            </p:cNvPr>
            <p:cNvGrpSpPr/>
            <p:nvPr/>
          </p:nvGrpSpPr>
          <p:grpSpPr>
            <a:xfrm>
              <a:off x="-2478757" y="1104080"/>
              <a:ext cx="1212808" cy="1212818"/>
              <a:chOff x="-2478757" y="1104080"/>
              <a:chExt cx="1212808" cy="1212818"/>
            </a:xfrm>
          </p:grpSpPr>
          <p:sp>
            <p:nvSpPr>
              <p:cNvPr id="137" name="Freeform: Shape 136">
                <a:extLst>
                  <a:ext uri="{FF2B5EF4-FFF2-40B4-BE49-F238E27FC236}">
                    <a16:creationId xmlns:a16="http://schemas.microsoft.com/office/drawing/2014/main" id="{A57B5118-94E0-D4FA-5DC9-7A3BAC96BA44}"/>
                  </a:ext>
                </a:extLst>
              </p:cNvPr>
              <p:cNvSpPr/>
              <p:nvPr/>
            </p:nvSpPr>
            <p:spPr>
              <a:xfrm>
                <a:off x="-2414377" y="1104080"/>
                <a:ext cx="1148429" cy="1148429"/>
              </a:xfrm>
              <a:custGeom>
                <a:avLst/>
                <a:gdLst>
                  <a:gd name="csX0" fmla="*/ 1148429 w 1148429"/>
                  <a:gd name="csY0" fmla="*/ 1148429 h 1148429"/>
                  <a:gd name="csX1" fmla="*/ 0 w 1148429"/>
                  <a:gd name="csY1" fmla="*/ 0 h 1148429"/>
                </a:gdLst>
                <a:ahLst/>
                <a:cxnLst>
                  <a:cxn ang="0">
                    <a:pos x="csX0" y="csY0"/>
                  </a:cxn>
                  <a:cxn ang="0">
                    <a:pos x="csX1" y="csY1"/>
                  </a:cxn>
                </a:cxnLst>
                <a:rect l="l" t="t" r="r" b="b"/>
                <a:pathLst>
                  <a:path w="1148429" h="1148429">
                    <a:moveTo>
                      <a:pt x="1148429" y="1148429"/>
                    </a:moveTo>
                    <a:lnTo>
                      <a:pt x="0" y="0"/>
                    </a:lnTo>
                  </a:path>
                </a:pathLst>
              </a:custGeom>
              <a:ln w="12700" cap="flat">
                <a:solidFill>
                  <a:schemeClr val="tx2"/>
                </a:solidFill>
                <a:prstDash val="solid"/>
                <a:round/>
              </a:ln>
            </p:spPr>
            <p:txBody>
              <a:bodyPr/>
              <a:lstStyle/>
              <a:p>
                <a:endParaRPr lang="en-GB"/>
              </a:p>
            </p:txBody>
          </p:sp>
          <p:sp>
            <p:nvSpPr>
              <p:cNvPr id="138" name="Freeform: Shape 137">
                <a:extLst>
                  <a:ext uri="{FF2B5EF4-FFF2-40B4-BE49-F238E27FC236}">
                    <a16:creationId xmlns:a16="http://schemas.microsoft.com/office/drawing/2014/main" id="{E73B2885-A07E-3CA9-8A97-A0353E372FB5}"/>
                  </a:ext>
                </a:extLst>
              </p:cNvPr>
              <p:cNvSpPr/>
              <p:nvPr/>
            </p:nvSpPr>
            <p:spPr>
              <a:xfrm>
                <a:off x="-2478757" y="1557851"/>
                <a:ext cx="759047" cy="759047"/>
              </a:xfrm>
              <a:custGeom>
                <a:avLst/>
                <a:gdLst>
                  <a:gd name="csX0" fmla="*/ 759047 w 759047"/>
                  <a:gd name="csY0" fmla="*/ 759047 h 759047"/>
                  <a:gd name="csX1" fmla="*/ 0 w 759047"/>
                  <a:gd name="csY1" fmla="*/ 0 h 759047"/>
                </a:gdLst>
                <a:ahLst/>
                <a:cxnLst>
                  <a:cxn ang="0">
                    <a:pos x="csX0" y="csY0"/>
                  </a:cxn>
                  <a:cxn ang="0">
                    <a:pos x="csX1" y="csY1"/>
                  </a:cxn>
                </a:cxnLst>
                <a:rect l="l" t="t" r="r" b="b"/>
                <a:pathLst>
                  <a:path w="759047" h="759047">
                    <a:moveTo>
                      <a:pt x="759047" y="759047"/>
                    </a:moveTo>
                    <a:lnTo>
                      <a:pt x="0" y="0"/>
                    </a:lnTo>
                  </a:path>
                </a:pathLst>
              </a:custGeom>
              <a:ln w="12700" cap="flat">
                <a:solidFill>
                  <a:schemeClr val="tx2"/>
                </a:solidFill>
                <a:prstDash val="solid"/>
                <a:round/>
              </a:ln>
            </p:spPr>
            <p:txBody>
              <a:bodyPr/>
              <a:lstStyle/>
              <a:p>
                <a:endParaRPr lang="en-GB"/>
              </a:p>
            </p:txBody>
          </p:sp>
        </p:grpSp>
        <p:grpSp>
          <p:nvGrpSpPr>
            <p:cNvPr id="139" name="Graphic 119">
              <a:extLst>
                <a:ext uri="{FF2B5EF4-FFF2-40B4-BE49-F238E27FC236}">
                  <a16:creationId xmlns:a16="http://schemas.microsoft.com/office/drawing/2014/main" id="{4D52D015-71EC-9600-1060-31F4A26A0D0E}"/>
                </a:ext>
              </a:extLst>
            </p:cNvPr>
            <p:cNvGrpSpPr/>
            <p:nvPr/>
          </p:nvGrpSpPr>
          <p:grpSpPr>
            <a:xfrm>
              <a:off x="-5086521" y="3718217"/>
              <a:ext cx="1206446" cy="1206436"/>
              <a:chOff x="-5086521" y="3718217"/>
              <a:chExt cx="1206446" cy="1206436"/>
            </a:xfrm>
          </p:grpSpPr>
          <p:sp>
            <p:nvSpPr>
              <p:cNvPr id="140" name="Freeform: Shape 139">
                <a:extLst>
                  <a:ext uri="{FF2B5EF4-FFF2-40B4-BE49-F238E27FC236}">
                    <a16:creationId xmlns:a16="http://schemas.microsoft.com/office/drawing/2014/main" id="{4DBE63C8-4852-EDCD-72D8-92CBADFFFA08}"/>
                  </a:ext>
                </a:extLst>
              </p:cNvPr>
              <p:cNvSpPr/>
              <p:nvPr/>
            </p:nvSpPr>
            <p:spPr>
              <a:xfrm>
                <a:off x="-4663420" y="3718217"/>
                <a:ext cx="783345" cy="783336"/>
              </a:xfrm>
              <a:custGeom>
                <a:avLst/>
                <a:gdLst>
                  <a:gd name="csX0" fmla="*/ 783346 w 783345"/>
                  <a:gd name="csY0" fmla="*/ 783336 h 783336"/>
                  <a:gd name="csX1" fmla="*/ 0 w 783345"/>
                  <a:gd name="csY1" fmla="*/ 0 h 783336"/>
                </a:gdLst>
                <a:ahLst/>
                <a:cxnLst>
                  <a:cxn ang="0">
                    <a:pos x="csX0" y="csY0"/>
                  </a:cxn>
                  <a:cxn ang="0">
                    <a:pos x="csX1" y="csY1"/>
                  </a:cxn>
                </a:cxnLst>
                <a:rect l="l" t="t" r="r" b="b"/>
                <a:pathLst>
                  <a:path w="783345" h="783336">
                    <a:moveTo>
                      <a:pt x="783346" y="783336"/>
                    </a:moveTo>
                    <a:lnTo>
                      <a:pt x="0" y="0"/>
                    </a:lnTo>
                  </a:path>
                </a:pathLst>
              </a:custGeom>
              <a:ln w="12700" cap="flat">
                <a:solidFill>
                  <a:schemeClr val="tx2"/>
                </a:solidFill>
                <a:prstDash val="solid"/>
                <a:round/>
              </a:ln>
            </p:spPr>
            <p:txBody>
              <a:bodyPr/>
              <a:lstStyle/>
              <a:p>
                <a:endParaRPr lang="en-GB"/>
              </a:p>
            </p:txBody>
          </p:sp>
          <p:sp>
            <p:nvSpPr>
              <p:cNvPr id="141" name="Freeform: Shape 140">
                <a:extLst>
                  <a:ext uri="{FF2B5EF4-FFF2-40B4-BE49-F238E27FC236}">
                    <a16:creationId xmlns:a16="http://schemas.microsoft.com/office/drawing/2014/main" id="{9C779D64-7DD3-F6AF-7EF6-E2B3376B25AB}"/>
                  </a:ext>
                </a:extLst>
              </p:cNvPr>
              <p:cNvSpPr/>
              <p:nvPr/>
            </p:nvSpPr>
            <p:spPr>
              <a:xfrm>
                <a:off x="-5086521" y="3781082"/>
                <a:ext cx="1143571" cy="1143571"/>
              </a:xfrm>
              <a:custGeom>
                <a:avLst/>
                <a:gdLst>
                  <a:gd name="csX0" fmla="*/ 1143572 w 1143571"/>
                  <a:gd name="csY0" fmla="*/ 1143571 h 1143571"/>
                  <a:gd name="csX1" fmla="*/ 0 w 1143571"/>
                  <a:gd name="csY1" fmla="*/ 0 h 1143571"/>
                </a:gdLst>
                <a:ahLst/>
                <a:cxnLst>
                  <a:cxn ang="0">
                    <a:pos x="csX0" y="csY0"/>
                  </a:cxn>
                  <a:cxn ang="0">
                    <a:pos x="csX1" y="csY1"/>
                  </a:cxn>
                </a:cxnLst>
                <a:rect l="l" t="t" r="r" b="b"/>
                <a:pathLst>
                  <a:path w="1143571" h="1143571">
                    <a:moveTo>
                      <a:pt x="1143572" y="1143571"/>
                    </a:moveTo>
                    <a:lnTo>
                      <a:pt x="0" y="0"/>
                    </a:lnTo>
                  </a:path>
                </a:pathLst>
              </a:custGeom>
              <a:ln w="12700" cap="flat">
                <a:solidFill>
                  <a:schemeClr val="tx2"/>
                </a:solidFill>
                <a:prstDash val="solid"/>
                <a:round/>
              </a:ln>
            </p:spPr>
            <p:txBody>
              <a:bodyPr/>
              <a:lstStyle/>
              <a:p>
                <a:endParaRPr lang="en-GB"/>
              </a:p>
            </p:txBody>
          </p:sp>
        </p:grpSp>
      </p:grpSp>
      <p:sp>
        <p:nvSpPr>
          <p:cNvPr id="146" name="Rectangle 145">
            <a:extLst>
              <a:ext uri="{FF2B5EF4-FFF2-40B4-BE49-F238E27FC236}">
                <a16:creationId xmlns:a16="http://schemas.microsoft.com/office/drawing/2014/main" id="{6E8A89E7-A0C5-9BD2-0BBA-2546F59B6918}"/>
              </a:ext>
            </a:extLst>
          </p:cNvPr>
          <p:cNvSpPr/>
          <p:nvPr/>
        </p:nvSpPr>
        <p:spPr>
          <a:xfrm>
            <a:off x="3695536" y="2516981"/>
            <a:ext cx="1512889" cy="42226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96000" rIns="36000" rtlCol="0" anchor="ctr"/>
          <a:lstStyle/>
          <a:p>
            <a:r>
              <a:rPr lang="en-GB" sz="1600" b="1" i="1"/>
              <a:t>TSLPR</a:t>
            </a:r>
            <a:r>
              <a:rPr lang="en-GB" sz="1600" b="1" baseline="30000"/>
              <a:t>2</a:t>
            </a:r>
          </a:p>
        </p:txBody>
      </p:sp>
      <p:sp>
        <p:nvSpPr>
          <p:cNvPr id="147" name="Oval 146">
            <a:extLst>
              <a:ext uri="{FF2B5EF4-FFF2-40B4-BE49-F238E27FC236}">
                <a16:creationId xmlns:a16="http://schemas.microsoft.com/office/drawing/2014/main" id="{2AE69E2B-3D6F-9F01-1A57-EF3A5E740C79}"/>
              </a:ext>
            </a:extLst>
          </p:cNvPr>
          <p:cNvSpPr/>
          <p:nvPr/>
        </p:nvSpPr>
        <p:spPr>
          <a:xfrm>
            <a:off x="3362162" y="2394737"/>
            <a:ext cx="666750" cy="666750"/>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6" name="Group 175">
            <a:extLst>
              <a:ext uri="{FF2B5EF4-FFF2-40B4-BE49-F238E27FC236}">
                <a16:creationId xmlns:a16="http://schemas.microsoft.com/office/drawing/2014/main" id="{C34D8159-1AF4-60C0-5074-1D86A33CC53F}"/>
              </a:ext>
            </a:extLst>
          </p:cNvPr>
          <p:cNvGrpSpPr/>
          <p:nvPr/>
        </p:nvGrpSpPr>
        <p:grpSpPr>
          <a:xfrm>
            <a:off x="3459926" y="2492501"/>
            <a:ext cx="471222" cy="471222"/>
            <a:chOff x="3033713" y="366705"/>
            <a:chExt cx="6121399" cy="6121399"/>
          </a:xfrm>
        </p:grpSpPr>
        <p:sp>
          <p:nvSpPr>
            <p:cNvPr id="171" name="Freeform: Shape 170">
              <a:extLst>
                <a:ext uri="{FF2B5EF4-FFF2-40B4-BE49-F238E27FC236}">
                  <a16:creationId xmlns:a16="http://schemas.microsoft.com/office/drawing/2014/main" id="{F6E7706A-141D-55F6-9975-AA1A7DB16CD7}"/>
                </a:ext>
              </a:extLst>
            </p:cNvPr>
            <p:cNvSpPr/>
            <p:nvPr/>
          </p:nvSpPr>
          <p:spPr>
            <a:xfrm flipV="1">
              <a:off x="4113211" y="1446212"/>
              <a:ext cx="3962399" cy="3962399"/>
            </a:xfrm>
            <a:custGeom>
              <a:avLst/>
              <a:gdLst>
                <a:gd name="csX0" fmla="*/ 1981541 w 3962399"/>
                <a:gd name="csY0" fmla="*/ 185 h 3962399"/>
                <a:gd name="csX1" fmla="*/ 341 w 3962399"/>
                <a:gd name="csY1" fmla="*/ 1981385 h 3962399"/>
                <a:gd name="csX2" fmla="*/ 1981541 w 3962399"/>
                <a:gd name="csY2" fmla="*/ 3962585 h 3962399"/>
                <a:gd name="csX3" fmla="*/ 3962741 w 3962399"/>
                <a:gd name="csY3" fmla="*/ 1981385 h 3962399"/>
                <a:gd name="csX4" fmla="*/ 1981541 w 3962399"/>
                <a:gd name="csY4" fmla="*/ 185 h 3962399"/>
              </a:gdLst>
              <a:ahLst/>
              <a:cxnLst>
                <a:cxn ang="0">
                  <a:pos x="csX0" y="csY0"/>
                </a:cxn>
                <a:cxn ang="0">
                  <a:pos x="csX1" y="csY1"/>
                </a:cxn>
                <a:cxn ang="0">
                  <a:pos x="csX2" y="csY2"/>
                </a:cxn>
                <a:cxn ang="0">
                  <a:pos x="csX3" y="csY3"/>
                </a:cxn>
                <a:cxn ang="0">
                  <a:pos x="csX4" y="csY4"/>
                </a:cxn>
              </a:cxnLst>
              <a:rect l="l" t="t" r="r" b="b"/>
              <a:pathLst>
                <a:path w="3962399" h="3962399">
                  <a:moveTo>
                    <a:pt x="1981541" y="185"/>
                  </a:moveTo>
                  <a:cubicBezTo>
                    <a:pt x="889100" y="185"/>
                    <a:pt x="341" y="888944"/>
                    <a:pt x="341" y="1981385"/>
                  </a:cubicBezTo>
                  <a:cubicBezTo>
                    <a:pt x="341" y="3073827"/>
                    <a:pt x="889100" y="3962585"/>
                    <a:pt x="1981541" y="3962585"/>
                  </a:cubicBezTo>
                  <a:cubicBezTo>
                    <a:pt x="3073983" y="3962585"/>
                    <a:pt x="3962741" y="3073827"/>
                    <a:pt x="3962741" y="1981385"/>
                  </a:cubicBezTo>
                  <a:cubicBezTo>
                    <a:pt x="3962741" y="888944"/>
                    <a:pt x="3073983" y="185"/>
                    <a:pt x="1981541" y="185"/>
                  </a:cubicBezTo>
                  <a:close/>
                </a:path>
              </a:pathLst>
            </a:custGeom>
            <a:noFill/>
            <a:ln w="12700" cap="rnd">
              <a:solidFill>
                <a:schemeClr val="tx2"/>
              </a:solidFill>
              <a:prstDash val="solid"/>
              <a:round/>
            </a:ln>
          </p:spPr>
          <p:txBody>
            <a:bodyPr/>
            <a:lstStyle/>
            <a:p>
              <a:endParaRPr lang="en-GB"/>
            </a:p>
          </p:txBody>
        </p:sp>
        <p:sp>
          <p:nvSpPr>
            <p:cNvPr id="172" name="Freeform: Shape 171">
              <a:extLst>
                <a:ext uri="{FF2B5EF4-FFF2-40B4-BE49-F238E27FC236}">
                  <a16:creationId xmlns:a16="http://schemas.microsoft.com/office/drawing/2014/main" id="{FB5C695B-824D-657F-0134-B726E3B4AA79}"/>
                </a:ext>
              </a:extLst>
            </p:cNvPr>
            <p:cNvSpPr/>
            <p:nvPr/>
          </p:nvSpPr>
          <p:spPr>
            <a:xfrm flipV="1">
              <a:off x="5256211" y="2589212"/>
              <a:ext cx="1676399" cy="1676399"/>
            </a:xfrm>
            <a:custGeom>
              <a:avLst/>
              <a:gdLst>
                <a:gd name="csX0" fmla="*/ 838541 w 1676399"/>
                <a:gd name="csY0" fmla="*/ 275 h 1676399"/>
                <a:gd name="csX1" fmla="*/ 341 w 1676399"/>
                <a:gd name="csY1" fmla="*/ 838475 h 1676399"/>
                <a:gd name="csX2" fmla="*/ 838541 w 1676399"/>
                <a:gd name="csY2" fmla="*/ 1676675 h 1676399"/>
                <a:gd name="csX3" fmla="*/ 1676741 w 1676399"/>
                <a:gd name="csY3" fmla="*/ 838475 h 1676399"/>
                <a:gd name="csX4" fmla="*/ 838541 w 1676399"/>
                <a:gd name="csY4" fmla="*/ 275 h 1676399"/>
              </a:gdLst>
              <a:ahLst/>
              <a:cxnLst>
                <a:cxn ang="0">
                  <a:pos x="csX0" y="csY0"/>
                </a:cxn>
                <a:cxn ang="0">
                  <a:pos x="csX1" y="csY1"/>
                </a:cxn>
                <a:cxn ang="0">
                  <a:pos x="csX2" y="csY2"/>
                </a:cxn>
                <a:cxn ang="0">
                  <a:pos x="csX3" y="csY3"/>
                </a:cxn>
                <a:cxn ang="0">
                  <a:pos x="csX4" y="csY4"/>
                </a:cxn>
              </a:cxnLst>
              <a:rect l="l" t="t" r="r" b="b"/>
              <a:pathLst>
                <a:path w="1676399" h="1676399">
                  <a:moveTo>
                    <a:pt x="838541" y="275"/>
                  </a:moveTo>
                  <a:cubicBezTo>
                    <a:pt x="376350" y="275"/>
                    <a:pt x="341" y="376284"/>
                    <a:pt x="341" y="838475"/>
                  </a:cubicBezTo>
                  <a:cubicBezTo>
                    <a:pt x="341" y="1300666"/>
                    <a:pt x="376350" y="1676675"/>
                    <a:pt x="838541" y="1676675"/>
                  </a:cubicBezTo>
                  <a:cubicBezTo>
                    <a:pt x="1300732" y="1676675"/>
                    <a:pt x="1676741" y="1300666"/>
                    <a:pt x="1676741" y="838475"/>
                  </a:cubicBezTo>
                  <a:cubicBezTo>
                    <a:pt x="1676741" y="376284"/>
                    <a:pt x="1300732" y="275"/>
                    <a:pt x="838541" y="275"/>
                  </a:cubicBezTo>
                  <a:close/>
                </a:path>
              </a:pathLst>
            </a:custGeom>
            <a:noFill/>
            <a:ln w="12700" cap="rnd">
              <a:solidFill>
                <a:schemeClr val="tx2"/>
              </a:solidFill>
              <a:prstDash val="solid"/>
              <a:round/>
            </a:ln>
          </p:spPr>
          <p:txBody>
            <a:bodyPr/>
            <a:lstStyle/>
            <a:p>
              <a:endParaRPr lang="en-GB"/>
            </a:p>
          </p:txBody>
        </p:sp>
        <p:sp>
          <p:nvSpPr>
            <p:cNvPr id="173" name="Freeform: Shape 172">
              <a:extLst>
                <a:ext uri="{FF2B5EF4-FFF2-40B4-BE49-F238E27FC236}">
                  <a16:creationId xmlns:a16="http://schemas.microsoft.com/office/drawing/2014/main" id="{57AFD1AA-A8DC-AB11-9104-03D7389787E6}"/>
                </a:ext>
              </a:extLst>
            </p:cNvPr>
            <p:cNvSpPr/>
            <p:nvPr/>
          </p:nvSpPr>
          <p:spPr>
            <a:xfrm flipV="1">
              <a:off x="6094411" y="2026487"/>
              <a:ext cx="1400924" cy="1400924"/>
            </a:xfrm>
            <a:custGeom>
              <a:avLst/>
              <a:gdLst>
                <a:gd name="csX0" fmla="*/ 360 w 1400924"/>
                <a:gd name="csY0" fmla="*/ 213 h 1400924"/>
                <a:gd name="csX1" fmla="*/ 1401284 w 1400924"/>
                <a:gd name="csY1" fmla="*/ 1401137 h 1400924"/>
              </a:gdLst>
              <a:ahLst/>
              <a:cxnLst>
                <a:cxn ang="0">
                  <a:pos x="csX0" y="csY0"/>
                </a:cxn>
                <a:cxn ang="0">
                  <a:pos x="csX1" y="csY1"/>
                </a:cxn>
              </a:cxnLst>
              <a:rect l="l" t="t" r="r" b="b"/>
              <a:pathLst>
                <a:path w="1400924" h="1400924">
                  <a:moveTo>
                    <a:pt x="360" y="213"/>
                  </a:moveTo>
                  <a:lnTo>
                    <a:pt x="1401284" y="1401137"/>
                  </a:lnTo>
                </a:path>
              </a:pathLst>
            </a:custGeom>
            <a:noFill/>
            <a:ln w="12700" cap="rnd">
              <a:solidFill>
                <a:schemeClr val="tx2"/>
              </a:solidFill>
              <a:prstDash val="solid"/>
              <a:round/>
            </a:ln>
          </p:spPr>
          <p:txBody>
            <a:bodyPr/>
            <a:lstStyle/>
            <a:p>
              <a:endParaRPr lang="en-GB"/>
            </a:p>
          </p:txBody>
        </p:sp>
        <p:sp>
          <p:nvSpPr>
            <p:cNvPr id="174" name="Freeform: Shape 173">
              <a:extLst>
                <a:ext uri="{FF2B5EF4-FFF2-40B4-BE49-F238E27FC236}">
                  <a16:creationId xmlns:a16="http://schemas.microsoft.com/office/drawing/2014/main" id="{A45071B0-3EDF-4FCE-F8BA-3F091B071B76}"/>
                </a:ext>
              </a:extLst>
            </p:cNvPr>
            <p:cNvSpPr/>
            <p:nvPr/>
          </p:nvSpPr>
          <p:spPr>
            <a:xfrm flipV="1">
              <a:off x="7432473" y="472909"/>
              <a:ext cx="1616443" cy="1616443"/>
            </a:xfrm>
            <a:custGeom>
              <a:avLst/>
              <a:gdLst>
                <a:gd name="csX0" fmla="*/ 1617074 w 1616443"/>
                <a:gd name="csY0" fmla="*/ 808331 h 1616443"/>
                <a:gd name="csX1" fmla="*/ 808846 w 1616443"/>
                <a:gd name="csY1" fmla="*/ 116 h 1616443"/>
                <a:gd name="csX2" fmla="*/ 63483 w 1616443"/>
                <a:gd name="csY2" fmla="*/ 62981 h 1616443"/>
                <a:gd name="csX3" fmla="*/ 630 w 1616443"/>
                <a:gd name="csY3" fmla="*/ 808331 h 1616443"/>
                <a:gd name="csX4" fmla="*/ 808846 w 1616443"/>
                <a:gd name="csY4" fmla="*/ 1616559 h 1616443"/>
                <a:gd name="csX5" fmla="*/ 871711 w 1616443"/>
                <a:gd name="csY5" fmla="*/ 871196 h 1616443"/>
              </a:gdLst>
              <a:ahLst/>
              <a:cxnLst>
                <a:cxn ang="0">
                  <a:pos x="csX0" y="csY0"/>
                </a:cxn>
                <a:cxn ang="0">
                  <a:pos x="csX1" y="csY1"/>
                </a:cxn>
                <a:cxn ang="0">
                  <a:pos x="csX2" y="csY2"/>
                </a:cxn>
                <a:cxn ang="0">
                  <a:pos x="csX3" y="csY3"/>
                </a:cxn>
                <a:cxn ang="0">
                  <a:pos x="csX4" y="csY4"/>
                </a:cxn>
                <a:cxn ang="0">
                  <a:pos x="csX5" y="csY5"/>
                </a:cxn>
              </a:cxnLst>
              <a:rect l="l" t="t" r="r" b="b"/>
              <a:pathLst>
                <a:path w="1616443" h="1616443">
                  <a:moveTo>
                    <a:pt x="1617074" y="808331"/>
                  </a:moveTo>
                  <a:lnTo>
                    <a:pt x="808846" y="116"/>
                  </a:lnTo>
                  <a:lnTo>
                    <a:pt x="63483" y="62981"/>
                  </a:lnTo>
                  <a:lnTo>
                    <a:pt x="630" y="808331"/>
                  </a:lnTo>
                  <a:lnTo>
                    <a:pt x="808846" y="1616559"/>
                  </a:lnTo>
                  <a:lnTo>
                    <a:pt x="871711" y="871196"/>
                  </a:lnTo>
                  <a:close/>
                </a:path>
              </a:pathLst>
            </a:custGeom>
            <a:noFill/>
            <a:ln w="12700" cap="rnd">
              <a:solidFill>
                <a:schemeClr val="tx2"/>
              </a:solidFill>
              <a:prstDash val="solid"/>
              <a:round/>
            </a:ln>
          </p:spPr>
          <p:txBody>
            <a:bodyPr/>
            <a:lstStyle/>
            <a:p>
              <a:endParaRPr lang="en-GB"/>
            </a:p>
          </p:txBody>
        </p:sp>
        <p:sp>
          <p:nvSpPr>
            <p:cNvPr id="175" name="Freeform: Shape 174">
              <a:extLst>
                <a:ext uri="{FF2B5EF4-FFF2-40B4-BE49-F238E27FC236}">
                  <a16:creationId xmlns:a16="http://schemas.microsoft.com/office/drawing/2014/main" id="{BC52A1BB-36F9-2B22-2026-960AF231B47E}"/>
                </a:ext>
              </a:extLst>
            </p:cNvPr>
            <p:cNvSpPr/>
            <p:nvPr/>
          </p:nvSpPr>
          <p:spPr>
            <a:xfrm flipV="1">
              <a:off x="3033713" y="366705"/>
              <a:ext cx="6121399" cy="6121399"/>
            </a:xfrm>
            <a:custGeom>
              <a:avLst/>
              <a:gdLst>
                <a:gd name="csX0" fmla="*/ 5591652 w 6121399"/>
                <a:gd name="csY0" fmla="*/ 4783361 h 6121399"/>
                <a:gd name="csX1" fmla="*/ 5207515 w 6121399"/>
                <a:gd name="csY1" fmla="*/ 4399237 h 6121399"/>
                <a:gd name="csX2" fmla="*/ 4462152 w 6121399"/>
                <a:gd name="csY2" fmla="*/ 4462089 h 6121399"/>
                <a:gd name="csX3" fmla="*/ 4399300 w 6121399"/>
                <a:gd name="csY3" fmla="*/ 5207452 h 6121399"/>
                <a:gd name="csX4" fmla="*/ 4783424 w 6121399"/>
                <a:gd name="csY4" fmla="*/ 5591589 h 6121399"/>
                <a:gd name="csX5" fmla="*/ 3061241 w 6121399"/>
                <a:gd name="csY5" fmla="*/ 6121877 h 6121399"/>
                <a:gd name="csX6" fmla="*/ 541 w 6121399"/>
                <a:gd name="csY6" fmla="*/ 3061177 h 6121399"/>
                <a:gd name="csX7" fmla="*/ 3061241 w 6121399"/>
                <a:gd name="csY7" fmla="*/ 477 h 6121399"/>
                <a:gd name="csX8" fmla="*/ 6121941 w 6121399"/>
                <a:gd name="csY8" fmla="*/ 3061177 h 6121399"/>
                <a:gd name="csX9" fmla="*/ 5591652 w 6121399"/>
                <a:gd name="csY9" fmla="*/ 4783361 h 61213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121399" h="6121399">
                  <a:moveTo>
                    <a:pt x="5591652" y="4783361"/>
                  </a:moveTo>
                  <a:lnTo>
                    <a:pt x="5207515" y="4399237"/>
                  </a:lnTo>
                  <a:lnTo>
                    <a:pt x="4462152" y="4462089"/>
                  </a:lnTo>
                  <a:lnTo>
                    <a:pt x="4399300" y="5207452"/>
                  </a:lnTo>
                  <a:lnTo>
                    <a:pt x="4783424" y="5591589"/>
                  </a:lnTo>
                  <a:cubicBezTo>
                    <a:pt x="4292785" y="5926157"/>
                    <a:pt x="3699898" y="6121877"/>
                    <a:pt x="3061241" y="6121877"/>
                  </a:cubicBezTo>
                  <a:cubicBezTo>
                    <a:pt x="1370858" y="6121877"/>
                    <a:pt x="541" y="4751547"/>
                    <a:pt x="541" y="3061177"/>
                  </a:cubicBezTo>
                  <a:cubicBezTo>
                    <a:pt x="541" y="1370794"/>
                    <a:pt x="1370858" y="477"/>
                    <a:pt x="3061241" y="477"/>
                  </a:cubicBezTo>
                  <a:cubicBezTo>
                    <a:pt x="4751611" y="477"/>
                    <a:pt x="6121941" y="1370794"/>
                    <a:pt x="6121941" y="3061177"/>
                  </a:cubicBezTo>
                  <a:cubicBezTo>
                    <a:pt x="6121941" y="3699835"/>
                    <a:pt x="5926221" y="4292722"/>
                    <a:pt x="5591652" y="4783361"/>
                  </a:cubicBezTo>
                  <a:close/>
                </a:path>
              </a:pathLst>
            </a:custGeom>
            <a:noFill/>
            <a:ln w="12700" cap="rnd">
              <a:solidFill>
                <a:schemeClr val="tx2"/>
              </a:solidFill>
              <a:prstDash val="solid"/>
              <a:round/>
            </a:ln>
          </p:spPr>
          <p:txBody>
            <a:bodyPr/>
            <a:lstStyle/>
            <a:p>
              <a:endParaRPr lang="en-GB"/>
            </a:p>
          </p:txBody>
        </p:sp>
      </p:grpSp>
      <p:sp>
        <p:nvSpPr>
          <p:cNvPr id="4" name="Rectangle: Rounded Corners 3">
            <a:extLst>
              <a:ext uri="{FF2B5EF4-FFF2-40B4-BE49-F238E27FC236}">
                <a16:creationId xmlns:a16="http://schemas.microsoft.com/office/drawing/2014/main" id="{BAFEF2DF-FF42-9F81-15DE-CEF8247F2856}"/>
              </a:ext>
            </a:extLst>
          </p:cNvPr>
          <p:cNvSpPr/>
          <p:nvPr/>
        </p:nvSpPr>
        <p:spPr>
          <a:xfrm>
            <a:off x="8993131" y="3333751"/>
            <a:ext cx="457200" cy="195262"/>
          </a:xfrm>
          <a:prstGeom prst="roundRect">
            <a:avLst>
              <a:gd name="adj" fmla="val 38618"/>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t>JAK2</a:t>
            </a:r>
          </a:p>
        </p:txBody>
      </p:sp>
      <p:sp>
        <p:nvSpPr>
          <p:cNvPr id="5" name="Rectangle: Rounded Corners 4">
            <a:extLst>
              <a:ext uri="{FF2B5EF4-FFF2-40B4-BE49-F238E27FC236}">
                <a16:creationId xmlns:a16="http://schemas.microsoft.com/office/drawing/2014/main" id="{03ABF00D-C64D-8D68-D663-691B5DBEB2CE}"/>
              </a:ext>
            </a:extLst>
          </p:cNvPr>
          <p:cNvSpPr/>
          <p:nvPr/>
        </p:nvSpPr>
        <p:spPr>
          <a:xfrm>
            <a:off x="9764656" y="3333751"/>
            <a:ext cx="457200" cy="195262"/>
          </a:xfrm>
          <a:prstGeom prst="roundRect">
            <a:avLst>
              <a:gd name="adj" fmla="val 38618"/>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t>JAK1</a:t>
            </a:r>
          </a:p>
        </p:txBody>
      </p:sp>
      <p:sp>
        <p:nvSpPr>
          <p:cNvPr id="19" name="Rectangle 18">
            <a:extLst>
              <a:ext uri="{FF2B5EF4-FFF2-40B4-BE49-F238E27FC236}">
                <a16:creationId xmlns:a16="http://schemas.microsoft.com/office/drawing/2014/main" id="{7CE991DB-F7BA-E578-82BC-14625DA2DBCA}"/>
              </a:ext>
            </a:extLst>
          </p:cNvPr>
          <p:cNvSpPr/>
          <p:nvPr/>
        </p:nvSpPr>
        <p:spPr>
          <a:xfrm>
            <a:off x="6191133" y="1412875"/>
            <a:ext cx="1326516" cy="43200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ts val="600"/>
              </a:spcBef>
              <a:spcAft>
                <a:spcPts val="600"/>
              </a:spcAft>
              <a:buClr>
                <a:schemeClr val="accent1"/>
              </a:buClr>
            </a:pPr>
            <a:r>
              <a:rPr lang="en-US" sz="1200" b="1" noProof="0" dirty="0">
                <a:solidFill>
                  <a:schemeClr val="bg1"/>
                </a:solidFill>
                <a:cs typeface="Calibri" panose="020F0502020204030204" pitchFamily="34" charset="0"/>
              </a:rPr>
              <a:t>Cells that </a:t>
            </a:r>
            <a:br>
              <a:rPr lang="en-US" sz="1200" b="1" noProof="0" dirty="0">
                <a:solidFill>
                  <a:schemeClr val="bg1"/>
                </a:solidFill>
                <a:cs typeface="Calibri" panose="020F0502020204030204" pitchFamily="34" charset="0"/>
              </a:rPr>
            </a:br>
            <a:r>
              <a:rPr lang="en-US" sz="1200" b="1" noProof="0" dirty="0">
                <a:solidFill>
                  <a:schemeClr val="bg1"/>
                </a:solidFill>
                <a:cs typeface="Calibri" panose="020F0502020204030204" pitchFamily="34" charset="0"/>
              </a:rPr>
              <a:t>express TSLPR</a:t>
            </a:r>
            <a:endParaRPr lang="en-US" sz="1200" b="1" baseline="30000" noProof="0" dirty="0">
              <a:solidFill>
                <a:schemeClr val="bg1"/>
              </a:solidFill>
              <a:cs typeface="Calibri" panose="020F0502020204030204" pitchFamily="34" charset="0"/>
            </a:endParaRPr>
          </a:p>
        </p:txBody>
      </p:sp>
      <p:sp>
        <p:nvSpPr>
          <p:cNvPr id="693" name="TextBox 692">
            <a:extLst>
              <a:ext uri="{FF2B5EF4-FFF2-40B4-BE49-F238E27FC236}">
                <a16:creationId xmlns:a16="http://schemas.microsoft.com/office/drawing/2014/main" id="{C3380D4D-AD15-B074-598C-64DE9AB394F2}"/>
              </a:ext>
            </a:extLst>
          </p:cNvPr>
          <p:cNvSpPr txBox="1"/>
          <p:nvPr/>
        </p:nvSpPr>
        <p:spPr>
          <a:xfrm>
            <a:off x="6213993" y="1854636"/>
            <a:ext cx="1310640" cy="246221"/>
          </a:xfrm>
          <a:prstGeom prst="rect">
            <a:avLst/>
          </a:prstGeom>
          <a:noFill/>
        </p:spPr>
        <p:txBody>
          <a:bodyPr wrap="square">
            <a:spAutoFit/>
          </a:bodyPr>
          <a:lstStyle/>
          <a:p>
            <a:r>
              <a:rPr lang="en-GB" sz="1000" dirty="0"/>
              <a:t>Dendritic cells</a:t>
            </a:r>
          </a:p>
        </p:txBody>
      </p:sp>
      <p:sp>
        <p:nvSpPr>
          <p:cNvPr id="694" name="TextBox 693">
            <a:extLst>
              <a:ext uri="{FF2B5EF4-FFF2-40B4-BE49-F238E27FC236}">
                <a16:creationId xmlns:a16="http://schemas.microsoft.com/office/drawing/2014/main" id="{634BB3FF-BB1B-B5E2-E24B-D4A2095E989B}"/>
              </a:ext>
            </a:extLst>
          </p:cNvPr>
          <p:cNvSpPr txBox="1"/>
          <p:nvPr/>
        </p:nvSpPr>
        <p:spPr>
          <a:xfrm>
            <a:off x="6213993" y="4439340"/>
            <a:ext cx="1310640" cy="246221"/>
          </a:xfrm>
          <a:prstGeom prst="rect">
            <a:avLst/>
          </a:prstGeom>
          <a:noFill/>
        </p:spPr>
        <p:txBody>
          <a:bodyPr wrap="square">
            <a:spAutoFit/>
          </a:bodyPr>
          <a:lstStyle/>
          <a:p>
            <a:r>
              <a:rPr lang="en-GB" sz="1000" dirty="0"/>
              <a:t>Eosinophils</a:t>
            </a:r>
          </a:p>
        </p:txBody>
      </p:sp>
      <p:sp>
        <p:nvSpPr>
          <p:cNvPr id="695" name="TextBox 694">
            <a:extLst>
              <a:ext uri="{FF2B5EF4-FFF2-40B4-BE49-F238E27FC236}">
                <a16:creationId xmlns:a16="http://schemas.microsoft.com/office/drawing/2014/main" id="{497C029B-8C00-44D1-6E58-0CA03CDFACDC}"/>
              </a:ext>
            </a:extLst>
          </p:cNvPr>
          <p:cNvSpPr txBox="1"/>
          <p:nvPr/>
        </p:nvSpPr>
        <p:spPr>
          <a:xfrm>
            <a:off x="6213993" y="2500812"/>
            <a:ext cx="1310640" cy="246221"/>
          </a:xfrm>
          <a:prstGeom prst="rect">
            <a:avLst/>
          </a:prstGeom>
          <a:noFill/>
        </p:spPr>
        <p:txBody>
          <a:bodyPr wrap="square">
            <a:spAutoFit/>
          </a:bodyPr>
          <a:lstStyle/>
          <a:p>
            <a:r>
              <a:rPr lang="en-GB" sz="1000" dirty="0"/>
              <a:t>CD4+ T cells</a:t>
            </a:r>
          </a:p>
        </p:txBody>
      </p:sp>
      <p:sp>
        <p:nvSpPr>
          <p:cNvPr id="696" name="TextBox 695">
            <a:extLst>
              <a:ext uri="{FF2B5EF4-FFF2-40B4-BE49-F238E27FC236}">
                <a16:creationId xmlns:a16="http://schemas.microsoft.com/office/drawing/2014/main" id="{9EE23385-7662-B1DB-3282-DF303A23E6FF}"/>
              </a:ext>
            </a:extLst>
          </p:cNvPr>
          <p:cNvSpPr txBox="1"/>
          <p:nvPr/>
        </p:nvSpPr>
        <p:spPr>
          <a:xfrm>
            <a:off x="6213993" y="3146988"/>
            <a:ext cx="1310640" cy="246221"/>
          </a:xfrm>
          <a:prstGeom prst="rect">
            <a:avLst/>
          </a:prstGeom>
          <a:noFill/>
        </p:spPr>
        <p:txBody>
          <a:bodyPr wrap="square">
            <a:spAutoFit/>
          </a:bodyPr>
          <a:lstStyle/>
          <a:p>
            <a:r>
              <a:rPr lang="en-GB" sz="1000" dirty="0"/>
              <a:t>B cells</a:t>
            </a:r>
          </a:p>
        </p:txBody>
      </p:sp>
      <p:sp>
        <p:nvSpPr>
          <p:cNvPr id="697" name="TextBox 696">
            <a:extLst>
              <a:ext uri="{FF2B5EF4-FFF2-40B4-BE49-F238E27FC236}">
                <a16:creationId xmlns:a16="http://schemas.microsoft.com/office/drawing/2014/main" id="{04957D4C-59A9-5437-EF6C-A8191003CA45}"/>
              </a:ext>
            </a:extLst>
          </p:cNvPr>
          <p:cNvSpPr txBox="1"/>
          <p:nvPr/>
        </p:nvSpPr>
        <p:spPr>
          <a:xfrm>
            <a:off x="6213993" y="3793164"/>
            <a:ext cx="1310640" cy="246221"/>
          </a:xfrm>
          <a:prstGeom prst="rect">
            <a:avLst/>
          </a:prstGeom>
          <a:noFill/>
        </p:spPr>
        <p:txBody>
          <a:bodyPr wrap="square">
            <a:spAutoFit/>
          </a:bodyPr>
          <a:lstStyle/>
          <a:p>
            <a:r>
              <a:rPr lang="en-GB" sz="1000" dirty="0"/>
              <a:t>Mast cells</a:t>
            </a:r>
          </a:p>
        </p:txBody>
      </p:sp>
      <p:sp>
        <p:nvSpPr>
          <p:cNvPr id="698" name="TextBox 697">
            <a:extLst>
              <a:ext uri="{FF2B5EF4-FFF2-40B4-BE49-F238E27FC236}">
                <a16:creationId xmlns:a16="http://schemas.microsoft.com/office/drawing/2014/main" id="{D21C3B4F-CEF7-B08A-D6A3-67F14970FAF1}"/>
              </a:ext>
            </a:extLst>
          </p:cNvPr>
          <p:cNvSpPr txBox="1"/>
          <p:nvPr/>
        </p:nvSpPr>
        <p:spPr>
          <a:xfrm>
            <a:off x="6213993" y="5085516"/>
            <a:ext cx="1310640" cy="246221"/>
          </a:xfrm>
          <a:prstGeom prst="rect">
            <a:avLst/>
          </a:prstGeom>
          <a:noFill/>
        </p:spPr>
        <p:txBody>
          <a:bodyPr wrap="square">
            <a:spAutoFit/>
          </a:bodyPr>
          <a:lstStyle/>
          <a:p>
            <a:r>
              <a:rPr lang="en-GB" sz="1000" dirty="0"/>
              <a:t>Innate lymphoid cells</a:t>
            </a:r>
          </a:p>
        </p:txBody>
      </p:sp>
      <p:grpSp>
        <p:nvGrpSpPr>
          <p:cNvPr id="703" name="Group 702">
            <a:extLst>
              <a:ext uri="{FF2B5EF4-FFF2-40B4-BE49-F238E27FC236}">
                <a16:creationId xmlns:a16="http://schemas.microsoft.com/office/drawing/2014/main" id="{37335CB5-E8AD-29D5-814A-CED29CDA127E}"/>
              </a:ext>
            </a:extLst>
          </p:cNvPr>
          <p:cNvGrpSpPr/>
          <p:nvPr/>
        </p:nvGrpSpPr>
        <p:grpSpPr>
          <a:xfrm>
            <a:off x="6541533" y="2055903"/>
            <a:ext cx="655559" cy="534897"/>
            <a:chOff x="3955180" y="2521644"/>
            <a:chExt cx="794870" cy="648565"/>
          </a:xfrm>
          <a:solidFill>
            <a:schemeClr val="accent4"/>
          </a:solidFill>
        </p:grpSpPr>
        <p:sp>
          <p:nvSpPr>
            <p:cNvPr id="704" name="Freeform: Shape 703">
              <a:extLst>
                <a:ext uri="{FF2B5EF4-FFF2-40B4-BE49-F238E27FC236}">
                  <a16:creationId xmlns:a16="http://schemas.microsoft.com/office/drawing/2014/main" id="{A5FF4A0E-D2CD-9DE7-60F6-18EE627D409B}"/>
                </a:ext>
              </a:extLst>
            </p:cNvPr>
            <p:cNvSpPr/>
            <p:nvPr/>
          </p:nvSpPr>
          <p:spPr>
            <a:xfrm rot="8877126">
              <a:off x="3955180" y="2521644"/>
              <a:ext cx="794870" cy="648565"/>
            </a:xfrm>
            <a:custGeom>
              <a:avLst/>
              <a:gdLst>
                <a:gd name="connsiteX0" fmla="*/ 421569 w 1034979"/>
                <a:gd name="connsiteY0" fmla="*/ 923127 h 1509906"/>
                <a:gd name="connsiteX1" fmla="*/ 421569 w 1034979"/>
                <a:gd name="connsiteY1" fmla="*/ 923127 h 1509906"/>
                <a:gd name="connsiteX2" fmla="*/ 394899 w 1034979"/>
                <a:gd name="connsiteY2" fmla="*/ 932652 h 1509906"/>
                <a:gd name="connsiteX3" fmla="*/ 387279 w 1034979"/>
                <a:gd name="connsiteY3" fmla="*/ 934557 h 1509906"/>
                <a:gd name="connsiteX4" fmla="*/ 356799 w 1034979"/>
                <a:gd name="connsiteY4" fmla="*/ 936462 h 1509906"/>
                <a:gd name="connsiteX5" fmla="*/ 351084 w 1034979"/>
                <a:gd name="connsiteY5" fmla="*/ 940272 h 1509906"/>
                <a:gd name="connsiteX6" fmla="*/ 339654 w 1034979"/>
                <a:gd name="connsiteY6" fmla="*/ 949797 h 1509906"/>
                <a:gd name="connsiteX7" fmla="*/ 328224 w 1034979"/>
                <a:gd name="connsiteY7" fmla="*/ 953607 h 1509906"/>
                <a:gd name="connsiteX8" fmla="*/ 312984 w 1034979"/>
                <a:gd name="connsiteY8" fmla="*/ 959322 h 1509906"/>
                <a:gd name="connsiteX9" fmla="*/ 265359 w 1034979"/>
                <a:gd name="connsiteY9" fmla="*/ 955512 h 1509906"/>
                <a:gd name="connsiteX10" fmla="*/ 253929 w 1034979"/>
                <a:gd name="connsiteY10" fmla="*/ 951702 h 1509906"/>
                <a:gd name="connsiteX11" fmla="*/ 242499 w 1034979"/>
                <a:gd name="connsiteY11" fmla="*/ 947892 h 1509906"/>
                <a:gd name="connsiteX12" fmla="*/ 236784 w 1034979"/>
                <a:gd name="connsiteY12" fmla="*/ 945987 h 1509906"/>
                <a:gd name="connsiteX13" fmla="*/ 231069 w 1034979"/>
                <a:gd name="connsiteY13" fmla="*/ 944082 h 1509906"/>
                <a:gd name="connsiteX14" fmla="*/ 219639 w 1034979"/>
                <a:gd name="connsiteY14" fmla="*/ 942177 h 1509906"/>
                <a:gd name="connsiteX15" fmla="*/ 213924 w 1034979"/>
                <a:gd name="connsiteY15" fmla="*/ 940272 h 1509906"/>
                <a:gd name="connsiteX16" fmla="*/ 206304 w 1034979"/>
                <a:gd name="connsiteY16" fmla="*/ 938367 h 1509906"/>
                <a:gd name="connsiteX17" fmla="*/ 194874 w 1034979"/>
                <a:gd name="connsiteY17" fmla="*/ 934557 h 1509906"/>
                <a:gd name="connsiteX18" fmla="*/ 189159 w 1034979"/>
                <a:gd name="connsiteY18" fmla="*/ 932652 h 1509906"/>
                <a:gd name="connsiteX19" fmla="*/ 181539 w 1034979"/>
                <a:gd name="connsiteY19" fmla="*/ 930747 h 1509906"/>
                <a:gd name="connsiteX20" fmla="*/ 170109 w 1034979"/>
                <a:gd name="connsiteY20" fmla="*/ 925032 h 1509906"/>
                <a:gd name="connsiteX21" fmla="*/ 164394 w 1034979"/>
                <a:gd name="connsiteY21" fmla="*/ 921222 h 1509906"/>
                <a:gd name="connsiteX22" fmla="*/ 156774 w 1034979"/>
                <a:gd name="connsiteY22" fmla="*/ 909792 h 1509906"/>
                <a:gd name="connsiteX23" fmla="*/ 145344 w 1034979"/>
                <a:gd name="connsiteY23" fmla="*/ 905982 h 1509906"/>
                <a:gd name="connsiteX24" fmla="*/ 139629 w 1034979"/>
                <a:gd name="connsiteY24" fmla="*/ 902172 h 1509906"/>
                <a:gd name="connsiteX25" fmla="*/ 133914 w 1034979"/>
                <a:gd name="connsiteY25" fmla="*/ 900267 h 1509906"/>
                <a:gd name="connsiteX26" fmla="*/ 116769 w 1034979"/>
                <a:gd name="connsiteY26" fmla="*/ 896457 h 1509906"/>
                <a:gd name="connsiteX27" fmla="*/ 111054 w 1034979"/>
                <a:gd name="connsiteY27" fmla="*/ 890742 h 1509906"/>
                <a:gd name="connsiteX28" fmla="*/ 101529 w 1034979"/>
                <a:gd name="connsiteY28" fmla="*/ 873597 h 1509906"/>
                <a:gd name="connsiteX29" fmla="*/ 84384 w 1034979"/>
                <a:gd name="connsiteY29" fmla="*/ 865977 h 1509906"/>
                <a:gd name="connsiteX30" fmla="*/ 78669 w 1034979"/>
                <a:gd name="connsiteY30" fmla="*/ 864072 h 1509906"/>
                <a:gd name="connsiteX31" fmla="*/ 59619 w 1034979"/>
                <a:gd name="connsiteY31" fmla="*/ 867882 h 1509906"/>
                <a:gd name="connsiteX32" fmla="*/ 53904 w 1034979"/>
                <a:gd name="connsiteY32" fmla="*/ 871692 h 1509906"/>
                <a:gd name="connsiteX33" fmla="*/ 50094 w 1034979"/>
                <a:gd name="connsiteY33" fmla="*/ 877407 h 1509906"/>
                <a:gd name="connsiteX34" fmla="*/ 46284 w 1034979"/>
                <a:gd name="connsiteY34" fmla="*/ 888837 h 1509906"/>
                <a:gd name="connsiteX35" fmla="*/ 50094 w 1034979"/>
                <a:gd name="connsiteY35" fmla="*/ 926937 h 1509906"/>
                <a:gd name="connsiteX36" fmla="*/ 53904 w 1034979"/>
                <a:gd name="connsiteY36" fmla="*/ 932652 h 1509906"/>
                <a:gd name="connsiteX37" fmla="*/ 59619 w 1034979"/>
                <a:gd name="connsiteY37" fmla="*/ 936462 h 1509906"/>
                <a:gd name="connsiteX38" fmla="*/ 63429 w 1034979"/>
                <a:gd name="connsiteY38" fmla="*/ 942177 h 1509906"/>
                <a:gd name="connsiteX39" fmla="*/ 80574 w 1034979"/>
                <a:gd name="connsiteY39" fmla="*/ 951702 h 1509906"/>
                <a:gd name="connsiteX40" fmla="*/ 103434 w 1034979"/>
                <a:gd name="connsiteY40" fmla="*/ 953607 h 1509906"/>
                <a:gd name="connsiteX41" fmla="*/ 124389 w 1034979"/>
                <a:gd name="connsiteY41" fmla="*/ 959322 h 1509906"/>
                <a:gd name="connsiteX42" fmla="*/ 130104 w 1034979"/>
                <a:gd name="connsiteY42" fmla="*/ 961227 h 1509906"/>
                <a:gd name="connsiteX43" fmla="*/ 135819 w 1034979"/>
                <a:gd name="connsiteY43" fmla="*/ 966942 h 1509906"/>
                <a:gd name="connsiteX44" fmla="*/ 143439 w 1034979"/>
                <a:gd name="connsiteY44" fmla="*/ 968847 h 1509906"/>
                <a:gd name="connsiteX45" fmla="*/ 166299 w 1034979"/>
                <a:gd name="connsiteY45" fmla="*/ 972657 h 1509906"/>
                <a:gd name="connsiteX46" fmla="*/ 191064 w 1034979"/>
                <a:gd name="connsiteY46" fmla="*/ 978372 h 1509906"/>
                <a:gd name="connsiteX47" fmla="*/ 208209 w 1034979"/>
                <a:gd name="connsiteY47" fmla="*/ 984087 h 1509906"/>
                <a:gd name="connsiteX48" fmla="*/ 213924 w 1034979"/>
                <a:gd name="connsiteY48" fmla="*/ 985992 h 1509906"/>
                <a:gd name="connsiteX49" fmla="*/ 229164 w 1034979"/>
                <a:gd name="connsiteY49" fmla="*/ 989802 h 1509906"/>
                <a:gd name="connsiteX50" fmla="*/ 248214 w 1034979"/>
                <a:gd name="connsiteY50" fmla="*/ 995517 h 1509906"/>
                <a:gd name="connsiteX51" fmla="*/ 253929 w 1034979"/>
                <a:gd name="connsiteY51" fmla="*/ 999327 h 1509906"/>
                <a:gd name="connsiteX52" fmla="*/ 267264 w 1034979"/>
                <a:gd name="connsiteY52" fmla="*/ 1014567 h 1509906"/>
                <a:gd name="connsiteX53" fmla="*/ 272979 w 1034979"/>
                <a:gd name="connsiteY53" fmla="*/ 1033617 h 1509906"/>
                <a:gd name="connsiteX54" fmla="*/ 274884 w 1034979"/>
                <a:gd name="connsiteY54" fmla="*/ 1039332 h 1509906"/>
                <a:gd name="connsiteX55" fmla="*/ 276789 w 1034979"/>
                <a:gd name="connsiteY55" fmla="*/ 1045047 h 1509906"/>
                <a:gd name="connsiteX56" fmla="*/ 278694 w 1034979"/>
                <a:gd name="connsiteY56" fmla="*/ 1069812 h 1509906"/>
                <a:gd name="connsiteX57" fmla="*/ 280599 w 1034979"/>
                <a:gd name="connsiteY57" fmla="*/ 1075527 h 1509906"/>
                <a:gd name="connsiteX58" fmla="*/ 278694 w 1034979"/>
                <a:gd name="connsiteY58" fmla="*/ 1094577 h 1509906"/>
                <a:gd name="connsiteX59" fmla="*/ 276789 w 1034979"/>
                <a:gd name="connsiteY59" fmla="*/ 1104102 h 1509906"/>
                <a:gd name="connsiteX60" fmla="*/ 263454 w 1034979"/>
                <a:gd name="connsiteY60" fmla="*/ 1117437 h 1509906"/>
                <a:gd name="connsiteX61" fmla="*/ 252024 w 1034979"/>
                <a:gd name="connsiteY61" fmla="*/ 1125057 h 1509906"/>
                <a:gd name="connsiteX62" fmla="*/ 240594 w 1034979"/>
                <a:gd name="connsiteY62" fmla="*/ 1128867 h 1509906"/>
                <a:gd name="connsiteX63" fmla="*/ 126294 w 1034979"/>
                <a:gd name="connsiteY63" fmla="*/ 1128867 h 1509906"/>
                <a:gd name="connsiteX64" fmla="*/ 120579 w 1034979"/>
                <a:gd name="connsiteY64" fmla="*/ 1130772 h 1509906"/>
                <a:gd name="connsiteX65" fmla="*/ 105339 w 1034979"/>
                <a:gd name="connsiteY65" fmla="*/ 1132677 h 1509906"/>
                <a:gd name="connsiteX66" fmla="*/ 88194 w 1034979"/>
                <a:gd name="connsiteY66" fmla="*/ 1138392 h 1509906"/>
                <a:gd name="connsiteX67" fmla="*/ 82479 w 1034979"/>
                <a:gd name="connsiteY67" fmla="*/ 1140297 h 1509906"/>
                <a:gd name="connsiteX68" fmla="*/ 76764 w 1034979"/>
                <a:gd name="connsiteY68" fmla="*/ 1144107 h 1509906"/>
                <a:gd name="connsiteX69" fmla="*/ 65334 w 1034979"/>
                <a:gd name="connsiteY69" fmla="*/ 1146012 h 1509906"/>
                <a:gd name="connsiteX70" fmla="*/ 27234 w 1034979"/>
                <a:gd name="connsiteY70" fmla="*/ 1147917 h 1509906"/>
                <a:gd name="connsiteX71" fmla="*/ 15804 w 1034979"/>
                <a:gd name="connsiteY71" fmla="*/ 1153632 h 1509906"/>
                <a:gd name="connsiteX72" fmla="*/ 6279 w 1034979"/>
                <a:gd name="connsiteY72" fmla="*/ 1163157 h 1509906"/>
                <a:gd name="connsiteX73" fmla="*/ 4374 w 1034979"/>
                <a:gd name="connsiteY73" fmla="*/ 1168872 h 1509906"/>
                <a:gd name="connsiteX74" fmla="*/ 564 w 1034979"/>
                <a:gd name="connsiteY74" fmla="*/ 1174587 h 1509906"/>
                <a:gd name="connsiteX75" fmla="*/ 6279 w 1034979"/>
                <a:gd name="connsiteY75" fmla="*/ 1206972 h 1509906"/>
                <a:gd name="connsiteX76" fmla="*/ 11994 w 1034979"/>
                <a:gd name="connsiteY76" fmla="*/ 1210782 h 1509906"/>
                <a:gd name="connsiteX77" fmla="*/ 17709 w 1034979"/>
                <a:gd name="connsiteY77" fmla="*/ 1212687 h 1509906"/>
                <a:gd name="connsiteX78" fmla="*/ 145344 w 1034979"/>
                <a:gd name="connsiteY78" fmla="*/ 1210782 h 1509906"/>
                <a:gd name="connsiteX79" fmla="*/ 152964 w 1034979"/>
                <a:gd name="connsiteY79" fmla="*/ 1208877 h 1509906"/>
                <a:gd name="connsiteX80" fmla="*/ 303459 w 1034979"/>
                <a:gd name="connsiteY80" fmla="*/ 1203162 h 1509906"/>
                <a:gd name="connsiteX81" fmla="*/ 318699 w 1034979"/>
                <a:gd name="connsiteY81" fmla="*/ 1210782 h 1509906"/>
                <a:gd name="connsiteX82" fmla="*/ 330129 w 1034979"/>
                <a:gd name="connsiteY82" fmla="*/ 1216497 h 1509906"/>
                <a:gd name="connsiteX83" fmla="*/ 333939 w 1034979"/>
                <a:gd name="connsiteY83" fmla="*/ 1222212 h 1509906"/>
                <a:gd name="connsiteX84" fmla="*/ 339654 w 1034979"/>
                <a:gd name="connsiteY84" fmla="*/ 1224117 h 1509906"/>
                <a:gd name="connsiteX85" fmla="*/ 351084 w 1034979"/>
                <a:gd name="connsiteY85" fmla="*/ 1231737 h 1509906"/>
                <a:gd name="connsiteX86" fmla="*/ 356799 w 1034979"/>
                <a:gd name="connsiteY86" fmla="*/ 1235547 h 1509906"/>
                <a:gd name="connsiteX87" fmla="*/ 360609 w 1034979"/>
                <a:gd name="connsiteY87" fmla="*/ 1241262 h 1509906"/>
                <a:gd name="connsiteX88" fmla="*/ 366324 w 1034979"/>
                <a:gd name="connsiteY88" fmla="*/ 1252692 h 1509906"/>
                <a:gd name="connsiteX89" fmla="*/ 362514 w 1034979"/>
                <a:gd name="connsiteY89" fmla="*/ 1279362 h 1509906"/>
                <a:gd name="connsiteX90" fmla="*/ 358704 w 1034979"/>
                <a:gd name="connsiteY90" fmla="*/ 1285077 h 1509906"/>
                <a:gd name="connsiteX91" fmla="*/ 356799 w 1034979"/>
                <a:gd name="connsiteY91" fmla="*/ 1290792 h 1509906"/>
                <a:gd name="connsiteX92" fmla="*/ 352989 w 1034979"/>
                <a:gd name="connsiteY92" fmla="*/ 1296507 h 1509906"/>
                <a:gd name="connsiteX93" fmla="*/ 351084 w 1034979"/>
                <a:gd name="connsiteY93" fmla="*/ 1302222 h 1509906"/>
                <a:gd name="connsiteX94" fmla="*/ 347274 w 1034979"/>
                <a:gd name="connsiteY94" fmla="*/ 1307937 h 1509906"/>
                <a:gd name="connsiteX95" fmla="*/ 330129 w 1034979"/>
                <a:gd name="connsiteY95" fmla="*/ 1374612 h 1509906"/>
                <a:gd name="connsiteX96" fmla="*/ 328224 w 1034979"/>
                <a:gd name="connsiteY96" fmla="*/ 1426047 h 1509906"/>
                <a:gd name="connsiteX97" fmla="*/ 330129 w 1034979"/>
                <a:gd name="connsiteY97" fmla="*/ 1450812 h 1509906"/>
                <a:gd name="connsiteX98" fmla="*/ 332034 w 1034979"/>
                <a:gd name="connsiteY98" fmla="*/ 1456527 h 1509906"/>
                <a:gd name="connsiteX99" fmla="*/ 335844 w 1034979"/>
                <a:gd name="connsiteY99" fmla="*/ 1460337 h 1509906"/>
                <a:gd name="connsiteX100" fmla="*/ 364419 w 1034979"/>
                <a:gd name="connsiteY100" fmla="*/ 1506057 h 1509906"/>
                <a:gd name="connsiteX101" fmla="*/ 387279 w 1034979"/>
                <a:gd name="connsiteY101" fmla="*/ 1507962 h 1509906"/>
                <a:gd name="connsiteX102" fmla="*/ 392994 w 1034979"/>
                <a:gd name="connsiteY102" fmla="*/ 1502247 h 1509906"/>
                <a:gd name="connsiteX103" fmla="*/ 394899 w 1034979"/>
                <a:gd name="connsiteY103" fmla="*/ 1490817 h 1509906"/>
                <a:gd name="connsiteX104" fmla="*/ 396804 w 1034979"/>
                <a:gd name="connsiteY104" fmla="*/ 1485102 h 1509906"/>
                <a:gd name="connsiteX105" fmla="*/ 398709 w 1034979"/>
                <a:gd name="connsiteY105" fmla="*/ 1467957 h 1509906"/>
                <a:gd name="connsiteX106" fmla="*/ 400614 w 1034979"/>
                <a:gd name="connsiteY106" fmla="*/ 1454622 h 1509906"/>
                <a:gd name="connsiteX107" fmla="*/ 404424 w 1034979"/>
                <a:gd name="connsiteY107" fmla="*/ 1397472 h 1509906"/>
                <a:gd name="connsiteX108" fmla="*/ 410139 w 1034979"/>
                <a:gd name="connsiteY108" fmla="*/ 1386042 h 1509906"/>
                <a:gd name="connsiteX109" fmla="*/ 413949 w 1034979"/>
                <a:gd name="connsiteY109" fmla="*/ 1372707 h 1509906"/>
                <a:gd name="connsiteX110" fmla="*/ 415854 w 1034979"/>
                <a:gd name="connsiteY110" fmla="*/ 1366992 h 1509906"/>
                <a:gd name="connsiteX111" fmla="*/ 417759 w 1034979"/>
                <a:gd name="connsiteY111" fmla="*/ 1353657 h 1509906"/>
                <a:gd name="connsiteX112" fmla="*/ 421569 w 1034979"/>
                <a:gd name="connsiteY112" fmla="*/ 1342227 h 1509906"/>
                <a:gd name="connsiteX113" fmla="*/ 427284 w 1034979"/>
                <a:gd name="connsiteY113" fmla="*/ 1328892 h 1509906"/>
                <a:gd name="connsiteX114" fmla="*/ 436809 w 1034979"/>
                <a:gd name="connsiteY114" fmla="*/ 1317462 h 1509906"/>
                <a:gd name="connsiteX115" fmla="*/ 450144 w 1034979"/>
                <a:gd name="connsiteY115" fmla="*/ 1302222 h 1509906"/>
                <a:gd name="connsiteX116" fmla="*/ 457764 w 1034979"/>
                <a:gd name="connsiteY116" fmla="*/ 1290792 h 1509906"/>
                <a:gd name="connsiteX117" fmla="*/ 461574 w 1034979"/>
                <a:gd name="connsiteY117" fmla="*/ 1279362 h 1509906"/>
                <a:gd name="connsiteX118" fmla="*/ 465384 w 1034979"/>
                <a:gd name="connsiteY118" fmla="*/ 1264122 h 1509906"/>
                <a:gd name="connsiteX119" fmla="*/ 467289 w 1034979"/>
                <a:gd name="connsiteY119" fmla="*/ 1258407 h 1509906"/>
                <a:gd name="connsiteX120" fmla="*/ 507294 w 1034979"/>
                <a:gd name="connsiteY120" fmla="*/ 1252692 h 1509906"/>
                <a:gd name="connsiteX121" fmla="*/ 535869 w 1034979"/>
                <a:gd name="connsiteY121" fmla="*/ 1243167 h 1509906"/>
                <a:gd name="connsiteX122" fmla="*/ 541584 w 1034979"/>
                <a:gd name="connsiteY122" fmla="*/ 1241262 h 1509906"/>
                <a:gd name="connsiteX123" fmla="*/ 547299 w 1034979"/>
                <a:gd name="connsiteY123" fmla="*/ 1239357 h 1509906"/>
                <a:gd name="connsiteX124" fmla="*/ 554919 w 1034979"/>
                <a:gd name="connsiteY124" fmla="*/ 1237452 h 1509906"/>
                <a:gd name="connsiteX125" fmla="*/ 573969 w 1034979"/>
                <a:gd name="connsiteY125" fmla="*/ 1229832 h 1509906"/>
                <a:gd name="connsiteX126" fmla="*/ 585399 w 1034979"/>
                <a:gd name="connsiteY126" fmla="*/ 1226022 h 1509906"/>
                <a:gd name="connsiteX127" fmla="*/ 720654 w 1034979"/>
                <a:gd name="connsiteY127" fmla="*/ 1309842 h 1509906"/>
                <a:gd name="connsiteX128" fmla="*/ 733989 w 1034979"/>
                <a:gd name="connsiteY128" fmla="*/ 1319367 h 1509906"/>
                <a:gd name="connsiteX129" fmla="*/ 743514 w 1034979"/>
                <a:gd name="connsiteY129" fmla="*/ 1321272 h 1509906"/>
                <a:gd name="connsiteX130" fmla="*/ 749229 w 1034979"/>
                <a:gd name="connsiteY130" fmla="*/ 1323177 h 1509906"/>
                <a:gd name="connsiteX131" fmla="*/ 762564 w 1034979"/>
                <a:gd name="connsiteY131" fmla="*/ 1328892 h 1509906"/>
                <a:gd name="connsiteX132" fmla="*/ 777804 w 1034979"/>
                <a:gd name="connsiteY132" fmla="*/ 1326987 h 1509906"/>
                <a:gd name="connsiteX133" fmla="*/ 789234 w 1034979"/>
                <a:gd name="connsiteY133" fmla="*/ 1321272 h 1509906"/>
                <a:gd name="connsiteX134" fmla="*/ 794949 w 1034979"/>
                <a:gd name="connsiteY134" fmla="*/ 1319367 h 1509906"/>
                <a:gd name="connsiteX135" fmla="*/ 802569 w 1034979"/>
                <a:gd name="connsiteY135" fmla="*/ 1302222 h 1509906"/>
                <a:gd name="connsiteX136" fmla="*/ 800664 w 1034979"/>
                <a:gd name="connsiteY136" fmla="*/ 1277457 h 1509906"/>
                <a:gd name="connsiteX137" fmla="*/ 798759 w 1034979"/>
                <a:gd name="connsiteY137" fmla="*/ 1271742 h 1509906"/>
                <a:gd name="connsiteX138" fmla="*/ 796854 w 1034979"/>
                <a:gd name="connsiteY138" fmla="*/ 1264122 h 1509906"/>
                <a:gd name="connsiteX139" fmla="*/ 783519 w 1034979"/>
                <a:gd name="connsiteY139" fmla="*/ 1246977 h 1509906"/>
                <a:gd name="connsiteX140" fmla="*/ 773994 w 1034979"/>
                <a:gd name="connsiteY140" fmla="*/ 1241262 h 1509906"/>
                <a:gd name="connsiteX141" fmla="*/ 648264 w 1034979"/>
                <a:gd name="connsiteY141" fmla="*/ 1149822 h 1509906"/>
                <a:gd name="connsiteX142" fmla="*/ 644454 w 1034979"/>
                <a:gd name="connsiteY142" fmla="*/ 1132677 h 1509906"/>
                <a:gd name="connsiteX143" fmla="*/ 646359 w 1034979"/>
                <a:gd name="connsiteY143" fmla="*/ 1125057 h 1509906"/>
                <a:gd name="connsiteX144" fmla="*/ 650169 w 1034979"/>
                <a:gd name="connsiteY144" fmla="*/ 1107912 h 1509906"/>
                <a:gd name="connsiteX145" fmla="*/ 653979 w 1034979"/>
                <a:gd name="connsiteY145" fmla="*/ 1102197 h 1509906"/>
                <a:gd name="connsiteX146" fmla="*/ 655884 w 1034979"/>
                <a:gd name="connsiteY146" fmla="*/ 1096482 h 1509906"/>
                <a:gd name="connsiteX147" fmla="*/ 661599 w 1034979"/>
                <a:gd name="connsiteY147" fmla="*/ 1094577 h 1509906"/>
                <a:gd name="connsiteX148" fmla="*/ 671124 w 1034979"/>
                <a:gd name="connsiteY148" fmla="*/ 1083147 h 1509906"/>
                <a:gd name="connsiteX149" fmla="*/ 724464 w 1034979"/>
                <a:gd name="connsiteY149" fmla="*/ 1075527 h 1509906"/>
                <a:gd name="connsiteX150" fmla="*/ 842574 w 1034979"/>
                <a:gd name="connsiteY150" fmla="*/ 1077432 h 1509906"/>
                <a:gd name="connsiteX151" fmla="*/ 871149 w 1034979"/>
                <a:gd name="connsiteY151" fmla="*/ 1079337 h 1509906"/>
                <a:gd name="connsiteX152" fmla="*/ 899724 w 1034979"/>
                <a:gd name="connsiteY152" fmla="*/ 1085052 h 1509906"/>
                <a:gd name="connsiteX153" fmla="*/ 922584 w 1034979"/>
                <a:gd name="connsiteY153" fmla="*/ 1088862 h 1509906"/>
                <a:gd name="connsiteX154" fmla="*/ 951159 w 1034979"/>
                <a:gd name="connsiteY154" fmla="*/ 1094577 h 1509906"/>
                <a:gd name="connsiteX155" fmla="*/ 956874 w 1034979"/>
                <a:gd name="connsiteY155" fmla="*/ 1094577 h 1509906"/>
                <a:gd name="connsiteX156" fmla="*/ 1002594 w 1034979"/>
                <a:gd name="connsiteY156" fmla="*/ 1092672 h 1509906"/>
                <a:gd name="connsiteX157" fmla="*/ 1031169 w 1034979"/>
                <a:gd name="connsiteY157" fmla="*/ 1085052 h 1509906"/>
                <a:gd name="connsiteX158" fmla="*/ 1034979 w 1034979"/>
                <a:gd name="connsiteY158" fmla="*/ 1079337 h 1509906"/>
                <a:gd name="connsiteX159" fmla="*/ 1033074 w 1034979"/>
                <a:gd name="connsiteY159" fmla="*/ 1060287 h 1509906"/>
                <a:gd name="connsiteX160" fmla="*/ 1027359 w 1034979"/>
                <a:gd name="connsiteY160" fmla="*/ 1056477 h 1509906"/>
                <a:gd name="connsiteX161" fmla="*/ 1012119 w 1034979"/>
                <a:gd name="connsiteY161" fmla="*/ 1054572 h 1509906"/>
                <a:gd name="connsiteX162" fmla="*/ 1006404 w 1034979"/>
                <a:gd name="connsiteY162" fmla="*/ 1052667 h 1509906"/>
                <a:gd name="connsiteX163" fmla="*/ 998784 w 1034979"/>
                <a:gd name="connsiteY163" fmla="*/ 1050762 h 1509906"/>
                <a:gd name="connsiteX164" fmla="*/ 987354 w 1034979"/>
                <a:gd name="connsiteY164" fmla="*/ 1043142 h 1509906"/>
                <a:gd name="connsiteX165" fmla="*/ 975924 w 1034979"/>
                <a:gd name="connsiteY165" fmla="*/ 1039332 h 1509906"/>
                <a:gd name="connsiteX166" fmla="*/ 970209 w 1034979"/>
                <a:gd name="connsiteY166" fmla="*/ 1037427 h 1509906"/>
                <a:gd name="connsiteX167" fmla="*/ 962589 w 1034979"/>
                <a:gd name="connsiteY167" fmla="*/ 1035522 h 1509906"/>
                <a:gd name="connsiteX168" fmla="*/ 956874 w 1034979"/>
                <a:gd name="connsiteY168" fmla="*/ 1033617 h 1509906"/>
                <a:gd name="connsiteX169" fmla="*/ 935919 w 1034979"/>
                <a:gd name="connsiteY169" fmla="*/ 1027902 h 1509906"/>
                <a:gd name="connsiteX170" fmla="*/ 930204 w 1034979"/>
                <a:gd name="connsiteY170" fmla="*/ 1025997 h 1509906"/>
                <a:gd name="connsiteX171" fmla="*/ 825429 w 1034979"/>
                <a:gd name="connsiteY171" fmla="*/ 1027902 h 1509906"/>
                <a:gd name="connsiteX172" fmla="*/ 819714 w 1034979"/>
                <a:gd name="connsiteY172" fmla="*/ 1029807 h 1509906"/>
                <a:gd name="connsiteX173" fmla="*/ 730179 w 1034979"/>
                <a:gd name="connsiteY173" fmla="*/ 1031712 h 1509906"/>
                <a:gd name="connsiteX174" fmla="*/ 716844 w 1034979"/>
                <a:gd name="connsiteY174" fmla="*/ 1035522 h 1509906"/>
                <a:gd name="connsiteX175" fmla="*/ 695889 w 1034979"/>
                <a:gd name="connsiteY175" fmla="*/ 1037427 h 1509906"/>
                <a:gd name="connsiteX176" fmla="*/ 669219 w 1034979"/>
                <a:gd name="connsiteY176" fmla="*/ 1039332 h 1509906"/>
                <a:gd name="connsiteX177" fmla="*/ 669219 w 1034979"/>
                <a:gd name="connsiteY177" fmla="*/ 1039332 h 1509906"/>
                <a:gd name="connsiteX178" fmla="*/ 646359 w 1034979"/>
                <a:gd name="connsiteY178" fmla="*/ 1043142 h 1509906"/>
                <a:gd name="connsiteX179" fmla="*/ 642549 w 1034979"/>
                <a:gd name="connsiteY179" fmla="*/ 1031712 h 1509906"/>
                <a:gd name="connsiteX180" fmla="*/ 640644 w 1034979"/>
                <a:gd name="connsiteY180" fmla="*/ 1025997 h 1509906"/>
                <a:gd name="connsiteX181" fmla="*/ 642549 w 1034979"/>
                <a:gd name="connsiteY181" fmla="*/ 1008852 h 1509906"/>
                <a:gd name="connsiteX182" fmla="*/ 644454 w 1034979"/>
                <a:gd name="connsiteY182" fmla="*/ 1003137 h 1509906"/>
                <a:gd name="connsiteX183" fmla="*/ 661599 w 1034979"/>
                <a:gd name="connsiteY183" fmla="*/ 993612 h 1509906"/>
                <a:gd name="connsiteX184" fmla="*/ 673029 w 1034979"/>
                <a:gd name="connsiteY184" fmla="*/ 985992 h 1509906"/>
                <a:gd name="connsiteX185" fmla="*/ 674934 w 1034979"/>
                <a:gd name="connsiteY185" fmla="*/ 980277 h 1509906"/>
                <a:gd name="connsiteX186" fmla="*/ 680649 w 1034979"/>
                <a:gd name="connsiteY186" fmla="*/ 978372 h 1509906"/>
                <a:gd name="connsiteX187" fmla="*/ 686364 w 1034979"/>
                <a:gd name="connsiteY187" fmla="*/ 974562 h 1509906"/>
                <a:gd name="connsiteX188" fmla="*/ 695889 w 1034979"/>
                <a:gd name="connsiteY188" fmla="*/ 965037 h 1509906"/>
                <a:gd name="connsiteX189" fmla="*/ 705414 w 1034979"/>
                <a:gd name="connsiteY189" fmla="*/ 953607 h 1509906"/>
                <a:gd name="connsiteX190" fmla="*/ 716844 w 1034979"/>
                <a:gd name="connsiteY190" fmla="*/ 945987 h 1509906"/>
                <a:gd name="connsiteX191" fmla="*/ 732084 w 1034979"/>
                <a:gd name="connsiteY191" fmla="*/ 932652 h 1509906"/>
                <a:gd name="connsiteX192" fmla="*/ 741609 w 1034979"/>
                <a:gd name="connsiteY192" fmla="*/ 921222 h 1509906"/>
                <a:gd name="connsiteX193" fmla="*/ 753039 w 1034979"/>
                <a:gd name="connsiteY193" fmla="*/ 911697 h 1509906"/>
                <a:gd name="connsiteX194" fmla="*/ 758754 w 1034979"/>
                <a:gd name="connsiteY194" fmla="*/ 900267 h 1509906"/>
                <a:gd name="connsiteX195" fmla="*/ 760659 w 1034979"/>
                <a:gd name="connsiteY195" fmla="*/ 894552 h 1509906"/>
                <a:gd name="connsiteX196" fmla="*/ 766374 w 1034979"/>
                <a:gd name="connsiteY196" fmla="*/ 883122 h 1509906"/>
                <a:gd name="connsiteX197" fmla="*/ 764469 w 1034979"/>
                <a:gd name="connsiteY197" fmla="*/ 867882 h 1509906"/>
                <a:gd name="connsiteX198" fmla="*/ 758754 w 1034979"/>
                <a:gd name="connsiteY198" fmla="*/ 865977 h 1509906"/>
                <a:gd name="connsiteX199" fmla="*/ 737799 w 1034979"/>
                <a:gd name="connsiteY199" fmla="*/ 867882 h 1509906"/>
                <a:gd name="connsiteX200" fmla="*/ 732084 w 1034979"/>
                <a:gd name="connsiteY200" fmla="*/ 871692 h 1509906"/>
                <a:gd name="connsiteX201" fmla="*/ 720654 w 1034979"/>
                <a:gd name="connsiteY201" fmla="*/ 875502 h 1509906"/>
                <a:gd name="connsiteX202" fmla="*/ 716844 w 1034979"/>
                <a:gd name="connsiteY202" fmla="*/ 881217 h 1509906"/>
                <a:gd name="connsiteX203" fmla="*/ 711129 w 1034979"/>
                <a:gd name="connsiteY203" fmla="*/ 883122 h 1509906"/>
                <a:gd name="connsiteX204" fmla="*/ 705414 w 1034979"/>
                <a:gd name="connsiteY204" fmla="*/ 886932 h 1509906"/>
                <a:gd name="connsiteX205" fmla="*/ 699699 w 1034979"/>
                <a:gd name="connsiteY205" fmla="*/ 892647 h 1509906"/>
                <a:gd name="connsiteX206" fmla="*/ 692079 w 1034979"/>
                <a:gd name="connsiteY206" fmla="*/ 896457 h 1509906"/>
                <a:gd name="connsiteX207" fmla="*/ 650169 w 1034979"/>
                <a:gd name="connsiteY207" fmla="*/ 925032 h 1509906"/>
                <a:gd name="connsiteX208" fmla="*/ 636834 w 1034979"/>
                <a:gd name="connsiteY208" fmla="*/ 936462 h 1509906"/>
                <a:gd name="connsiteX209" fmla="*/ 627309 w 1034979"/>
                <a:gd name="connsiteY209" fmla="*/ 953607 h 1509906"/>
                <a:gd name="connsiteX210" fmla="*/ 602544 w 1034979"/>
                <a:gd name="connsiteY210" fmla="*/ 959322 h 1509906"/>
                <a:gd name="connsiteX211" fmla="*/ 589209 w 1034979"/>
                <a:gd name="connsiteY211" fmla="*/ 963132 h 1509906"/>
                <a:gd name="connsiteX212" fmla="*/ 573969 w 1034979"/>
                <a:gd name="connsiteY212" fmla="*/ 961227 h 1509906"/>
                <a:gd name="connsiteX213" fmla="*/ 562539 w 1034979"/>
                <a:gd name="connsiteY213" fmla="*/ 957417 h 1509906"/>
                <a:gd name="connsiteX214" fmla="*/ 551109 w 1034979"/>
                <a:gd name="connsiteY214" fmla="*/ 953607 h 1509906"/>
                <a:gd name="connsiteX215" fmla="*/ 539679 w 1034979"/>
                <a:gd name="connsiteY215" fmla="*/ 949797 h 1509906"/>
                <a:gd name="connsiteX216" fmla="*/ 533964 w 1034979"/>
                <a:gd name="connsiteY216" fmla="*/ 947892 h 1509906"/>
                <a:gd name="connsiteX217" fmla="*/ 528249 w 1034979"/>
                <a:gd name="connsiteY217" fmla="*/ 944082 h 1509906"/>
                <a:gd name="connsiteX218" fmla="*/ 516819 w 1034979"/>
                <a:gd name="connsiteY218" fmla="*/ 938367 h 1509906"/>
                <a:gd name="connsiteX219" fmla="*/ 509199 w 1034979"/>
                <a:gd name="connsiteY219" fmla="*/ 926937 h 1509906"/>
                <a:gd name="connsiteX220" fmla="*/ 505389 w 1034979"/>
                <a:gd name="connsiteY220" fmla="*/ 905982 h 1509906"/>
                <a:gd name="connsiteX221" fmla="*/ 507294 w 1034979"/>
                <a:gd name="connsiteY221" fmla="*/ 841212 h 1509906"/>
                <a:gd name="connsiteX222" fmla="*/ 513009 w 1034979"/>
                <a:gd name="connsiteY222" fmla="*/ 827877 h 1509906"/>
                <a:gd name="connsiteX223" fmla="*/ 503484 w 1034979"/>
                <a:gd name="connsiteY223" fmla="*/ 351627 h 1509906"/>
                <a:gd name="connsiteX224" fmla="*/ 499674 w 1034979"/>
                <a:gd name="connsiteY224" fmla="*/ 60162 h 1509906"/>
                <a:gd name="connsiteX225" fmla="*/ 490149 w 1034979"/>
                <a:gd name="connsiteY225" fmla="*/ 33492 h 1509906"/>
                <a:gd name="connsiteX226" fmla="*/ 488244 w 1034979"/>
                <a:gd name="connsiteY226" fmla="*/ 27777 h 1509906"/>
                <a:gd name="connsiteX227" fmla="*/ 484434 w 1034979"/>
                <a:gd name="connsiteY227" fmla="*/ 22062 h 1509906"/>
                <a:gd name="connsiteX228" fmla="*/ 478719 w 1034979"/>
                <a:gd name="connsiteY228" fmla="*/ 10632 h 1509906"/>
                <a:gd name="connsiteX229" fmla="*/ 473004 w 1034979"/>
                <a:gd name="connsiteY229" fmla="*/ 6822 h 1509906"/>
                <a:gd name="connsiteX230" fmla="*/ 469194 w 1034979"/>
                <a:gd name="connsiteY230" fmla="*/ 1107 h 1509906"/>
                <a:gd name="connsiteX231" fmla="*/ 429189 w 1034979"/>
                <a:gd name="connsiteY231" fmla="*/ 4917 h 1509906"/>
                <a:gd name="connsiteX232" fmla="*/ 421569 w 1034979"/>
                <a:gd name="connsiteY232" fmla="*/ 16347 h 1509906"/>
                <a:gd name="connsiteX233" fmla="*/ 417759 w 1034979"/>
                <a:gd name="connsiteY233" fmla="*/ 22062 h 1509906"/>
                <a:gd name="connsiteX234" fmla="*/ 419664 w 1034979"/>
                <a:gd name="connsiteY234" fmla="*/ 54447 h 1509906"/>
                <a:gd name="connsiteX235" fmla="*/ 423474 w 1034979"/>
                <a:gd name="connsiteY235" fmla="*/ 65877 h 1509906"/>
                <a:gd name="connsiteX236" fmla="*/ 425379 w 1034979"/>
                <a:gd name="connsiteY236" fmla="*/ 71592 h 1509906"/>
                <a:gd name="connsiteX237" fmla="*/ 425379 w 1034979"/>
                <a:gd name="connsiteY237" fmla="*/ 77307 h 1509906"/>
                <a:gd name="connsiteX238" fmla="*/ 429189 w 1034979"/>
                <a:gd name="connsiteY238" fmla="*/ 231612 h 1509906"/>
                <a:gd name="connsiteX239" fmla="*/ 440619 w 1034979"/>
                <a:gd name="connsiteY239" fmla="*/ 414492 h 1509906"/>
                <a:gd name="connsiteX240" fmla="*/ 425379 w 1034979"/>
                <a:gd name="connsiteY240" fmla="*/ 711672 h 1509906"/>
                <a:gd name="connsiteX241" fmla="*/ 417759 w 1034979"/>
                <a:gd name="connsiteY241" fmla="*/ 839307 h 1509906"/>
                <a:gd name="connsiteX242" fmla="*/ 413949 w 1034979"/>
                <a:gd name="connsiteY242" fmla="*/ 856452 h 1509906"/>
                <a:gd name="connsiteX243" fmla="*/ 417759 w 1034979"/>
                <a:gd name="connsiteY243" fmla="*/ 877407 h 1509906"/>
                <a:gd name="connsiteX244" fmla="*/ 421569 w 1034979"/>
                <a:gd name="connsiteY244" fmla="*/ 883122 h 1509906"/>
                <a:gd name="connsiteX245" fmla="*/ 425379 w 1034979"/>
                <a:gd name="connsiteY245" fmla="*/ 894552 h 1509906"/>
                <a:gd name="connsiteX246" fmla="*/ 423474 w 1034979"/>
                <a:gd name="connsiteY246" fmla="*/ 921222 h 1509906"/>
                <a:gd name="connsiteX247" fmla="*/ 417759 w 1034979"/>
                <a:gd name="connsiteY247" fmla="*/ 923127 h 1509906"/>
                <a:gd name="connsiteX248" fmla="*/ 412044 w 1034979"/>
                <a:gd name="connsiteY248" fmla="*/ 926937 h 1509906"/>
                <a:gd name="connsiteX249" fmla="*/ 421569 w 1034979"/>
                <a:gd name="connsiteY249" fmla="*/ 923127 h 1509906"/>
                <a:gd name="connsiteX0" fmla="*/ 421569 w 1034979"/>
                <a:gd name="connsiteY0" fmla="*/ 923127 h 1509906"/>
                <a:gd name="connsiteX1" fmla="*/ 421569 w 1034979"/>
                <a:gd name="connsiteY1" fmla="*/ 923127 h 1509906"/>
                <a:gd name="connsiteX2" fmla="*/ 394899 w 1034979"/>
                <a:gd name="connsiteY2" fmla="*/ 932652 h 1509906"/>
                <a:gd name="connsiteX3" fmla="*/ 387279 w 1034979"/>
                <a:gd name="connsiteY3" fmla="*/ 934557 h 1509906"/>
                <a:gd name="connsiteX4" fmla="*/ 356799 w 1034979"/>
                <a:gd name="connsiteY4" fmla="*/ 936462 h 1509906"/>
                <a:gd name="connsiteX5" fmla="*/ 351084 w 1034979"/>
                <a:gd name="connsiteY5" fmla="*/ 940272 h 1509906"/>
                <a:gd name="connsiteX6" fmla="*/ 339654 w 1034979"/>
                <a:gd name="connsiteY6" fmla="*/ 949797 h 1509906"/>
                <a:gd name="connsiteX7" fmla="*/ 328224 w 1034979"/>
                <a:gd name="connsiteY7" fmla="*/ 953607 h 1509906"/>
                <a:gd name="connsiteX8" fmla="*/ 312984 w 1034979"/>
                <a:gd name="connsiteY8" fmla="*/ 959322 h 1509906"/>
                <a:gd name="connsiteX9" fmla="*/ 265359 w 1034979"/>
                <a:gd name="connsiteY9" fmla="*/ 955512 h 1509906"/>
                <a:gd name="connsiteX10" fmla="*/ 253929 w 1034979"/>
                <a:gd name="connsiteY10" fmla="*/ 951702 h 1509906"/>
                <a:gd name="connsiteX11" fmla="*/ 242499 w 1034979"/>
                <a:gd name="connsiteY11" fmla="*/ 947892 h 1509906"/>
                <a:gd name="connsiteX12" fmla="*/ 236784 w 1034979"/>
                <a:gd name="connsiteY12" fmla="*/ 945987 h 1509906"/>
                <a:gd name="connsiteX13" fmla="*/ 231069 w 1034979"/>
                <a:gd name="connsiteY13" fmla="*/ 944082 h 1509906"/>
                <a:gd name="connsiteX14" fmla="*/ 219639 w 1034979"/>
                <a:gd name="connsiteY14" fmla="*/ 942177 h 1509906"/>
                <a:gd name="connsiteX15" fmla="*/ 213924 w 1034979"/>
                <a:gd name="connsiteY15" fmla="*/ 940272 h 1509906"/>
                <a:gd name="connsiteX16" fmla="*/ 206304 w 1034979"/>
                <a:gd name="connsiteY16" fmla="*/ 938367 h 1509906"/>
                <a:gd name="connsiteX17" fmla="*/ 194874 w 1034979"/>
                <a:gd name="connsiteY17" fmla="*/ 934557 h 1509906"/>
                <a:gd name="connsiteX18" fmla="*/ 189159 w 1034979"/>
                <a:gd name="connsiteY18" fmla="*/ 932652 h 1509906"/>
                <a:gd name="connsiteX19" fmla="*/ 181539 w 1034979"/>
                <a:gd name="connsiteY19" fmla="*/ 930747 h 1509906"/>
                <a:gd name="connsiteX20" fmla="*/ 170109 w 1034979"/>
                <a:gd name="connsiteY20" fmla="*/ 925032 h 1509906"/>
                <a:gd name="connsiteX21" fmla="*/ 164394 w 1034979"/>
                <a:gd name="connsiteY21" fmla="*/ 921222 h 1509906"/>
                <a:gd name="connsiteX22" fmla="*/ 156774 w 1034979"/>
                <a:gd name="connsiteY22" fmla="*/ 909792 h 1509906"/>
                <a:gd name="connsiteX23" fmla="*/ 145344 w 1034979"/>
                <a:gd name="connsiteY23" fmla="*/ 905982 h 1509906"/>
                <a:gd name="connsiteX24" fmla="*/ 139629 w 1034979"/>
                <a:gd name="connsiteY24" fmla="*/ 902172 h 1509906"/>
                <a:gd name="connsiteX25" fmla="*/ 133914 w 1034979"/>
                <a:gd name="connsiteY25" fmla="*/ 900267 h 1509906"/>
                <a:gd name="connsiteX26" fmla="*/ 116769 w 1034979"/>
                <a:gd name="connsiteY26" fmla="*/ 896457 h 1509906"/>
                <a:gd name="connsiteX27" fmla="*/ 111054 w 1034979"/>
                <a:gd name="connsiteY27" fmla="*/ 890742 h 1509906"/>
                <a:gd name="connsiteX28" fmla="*/ 101529 w 1034979"/>
                <a:gd name="connsiteY28" fmla="*/ 873597 h 1509906"/>
                <a:gd name="connsiteX29" fmla="*/ 84384 w 1034979"/>
                <a:gd name="connsiteY29" fmla="*/ 865977 h 1509906"/>
                <a:gd name="connsiteX30" fmla="*/ 78669 w 1034979"/>
                <a:gd name="connsiteY30" fmla="*/ 864072 h 1509906"/>
                <a:gd name="connsiteX31" fmla="*/ 59619 w 1034979"/>
                <a:gd name="connsiteY31" fmla="*/ 867882 h 1509906"/>
                <a:gd name="connsiteX32" fmla="*/ 53904 w 1034979"/>
                <a:gd name="connsiteY32" fmla="*/ 871692 h 1509906"/>
                <a:gd name="connsiteX33" fmla="*/ 50094 w 1034979"/>
                <a:gd name="connsiteY33" fmla="*/ 877407 h 1509906"/>
                <a:gd name="connsiteX34" fmla="*/ 46284 w 1034979"/>
                <a:gd name="connsiteY34" fmla="*/ 888837 h 1509906"/>
                <a:gd name="connsiteX35" fmla="*/ 50094 w 1034979"/>
                <a:gd name="connsiteY35" fmla="*/ 926937 h 1509906"/>
                <a:gd name="connsiteX36" fmla="*/ 53904 w 1034979"/>
                <a:gd name="connsiteY36" fmla="*/ 932652 h 1509906"/>
                <a:gd name="connsiteX37" fmla="*/ 59619 w 1034979"/>
                <a:gd name="connsiteY37" fmla="*/ 936462 h 1509906"/>
                <a:gd name="connsiteX38" fmla="*/ 63429 w 1034979"/>
                <a:gd name="connsiteY38" fmla="*/ 942177 h 1509906"/>
                <a:gd name="connsiteX39" fmla="*/ 80574 w 1034979"/>
                <a:gd name="connsiteY39" fmla="*/ 951702 h 1509906"/>
                <a:gd name="connsiteX40" fmla="*/ 103434 w 1034979"/>
                <a:gd name="connsiteY40" fmla="*/ 953607 h 1509906"/>
                <a:gd name="connsiteX41" fmla="*/ 124389 w 1034979"/>
                <a:gd name="connsiteY41" fmla="*/ 959322 h 1509906"/>
                <a:gd name="connsiteX42" fmla="*/ 130104 w 1034979"/>
                <a:gd name="connsiteY42" fmla="*/ 961227 h 1509906"/>
                <a:gd name="connsiteX43" fmla="*/ 135819 w 1034979"/>
                <a:gd name="connsiteY43" fmla="*/ 966942 h 1509906"/>
                <a:gd name="connsiteX44" fmla="*/ 143439 w 1034979"/>
                <a:gd name="connsiteY44" fmla="*/ 968847 h 1509906"/>
                <a:gd name="connsiteX45" fmla="*/ 166299 w 1034979"/>
                <a:gd name="connsiteY45" fmla="*/ 972657 h 1509906"/>
                <a:gd name="connsiteX46" fmla="*/ 191064 w 1034979"/>
                <a:gd name="connsiteY46" fmla="*/ 978372 h 1509906"/>
                <a:gd name="connsiteX47" fmla="*/ 208209 w 1034979"/>
                <a:gd name="connsiteY47" fmla="*/ 984087 h 1509906"/>
                <a:gd name="connsiteX48" fmla="*/ 213924 w 1034979"/>
                <a:gd name="connsiteY48" fmla="*/ 985992 h 1509906"/>
                <a:gd name="connsiteX49" fmla="*/ 229164 w 1034979"/>
                <a:gd name="connsiteY49" fmla="*/ 989802 h 1509906"/>
                <a:gd name="connsiteX50" fmla="*/ 248214 w 1034979"/>
                <a:gd name="connsiteY50" fmla="*/ 995517 h 1509906"/>
                <a:gd name="connsiteX51" fmla="*/ 253929 w 1034979"/>
                <a:gd name="connsiteY51" fmla="*/ 999327 h 1509906"/>
                <a:gd name="connsiteX52" fmla="*/ 267264 w 1034979"/>
                <a:gd name="connsiteY52" fmla="*/ 1014567 h 1509906"/>
                <a:gd name="connsiteX53" fmla="*/ 272979 w 1034979"/>
                <a:gd name="connsiteY53" fmla="*/ 1033617 h 1509906"/>
                <a:gd name="connsiteX54" fmla="*/ 274884 w 1034979"/>
                <a:gd name="connsiteY54" fmla="*/ 1039332 h 1509906"/>
                <a:gd name="connsiteX55" fmla="*/ 276789 w 1034979"/>
                <a:gd name="connsiteY55" fmla="*/ 1045047 h 1509906"/>
                <a:gd name="connsiteX56" fmla="*/ 278694 w 1034979"/>
                <a:gd name="connsiteY56" fmla="*/ 1069812 h 1509906"/>
                <a:gd name="connsiteX57" fmla="*/ 280599 w 1034979"/>
                <a:gd name="connsiteY57" fmla="*/ 1075527 h 1509906"/>
                <a:gd name="connsiteX58" fmla="*/ 278694 w 1034979"/>
                <a:gd name="connsiteY58" fmla="*/ 1094577 h 1509906"/>
                <a:gd name="connsiteX59" fmla="*/ 276789 w 1034979"/>
                <a:gd name="connsiteY59" fmla="*/ 1104102 h 1509906"/>
                <a:gd name="connsiteX60" fmla="*/ 263454 w 1034979"/>
                <a:gd name="connsiteY60" fmla="*/ 1117437 h 1509906"/>
                <a:gd name="connsiteX61" fmla="*/ 252024 w 1034979"/>
                <a:gd name="connsiteY61" fmla="*/ 1125057 h 1509906"/>
                <a:gd name="connsiteX62" fmla="*/ 240594 w 1034979"/>
                <a:gd name="connsiteY62" fmla="*/ 1128867 h 1509906"/>
                <a:gd name="connsiteX63" fmla="*/ 126294 w 1034979"/>
                <a:gd name="connsiteY63" fmla="*/ 1128867 h 1509906"/>
                <a:gd name="connsiteX64" fmla="*/ 120579 w 1034979"/>
                <a:gd name="connsiteY64" fmla="*/ 1130772 h 1509906"/>
                <a:gd name="connsiteX65" fmla="*/ 105339 w 1034979"/>
                <a:gd name="connsiteY65" fmla="*/ 1132677 h 1509906"/>
                <a:gd name="connsiteX66" fmla="*/ 88194 w 1034979"/>
                <a:gd name="connsiteY66" fmla="*/ 1138392 h 1509906"/>
                <a:gd name="connsiteX67" fmla="*/ 82479 w 1034979"/>
                <a:gd name="connsiteY67" fmla="*/ 1140297 h 1509906"/>
                <a:gd name="connsiteX68" fmla="*/ 76764 w 1034979"/>
                <a:gd name="connsiteY68" fmla="*/ 1144107 h 1509906"/>
                <a:gd name="connsiteX69" fmla="*/ 65334 w 1034979"/>
                <a:gd name="connsiteY69" fmla="*/ 1146012 h 1509906"/>
                <a:gd name="connsiteX70" fmla="*/ 27234 w 1034979"/>
                <a:gd name="connsiteY70" fmla="*/ 1147917 h 1509906"/>
                <a:gd name="connsiteX71" fmla="*/ 15804 w 1034979"/>
                <a:gd name="connsiteY71" fmla="*/ 1153632 h 1509906"/>
                <a:gd name="connsiteX72" fmla="*/ 6279 w 1034979"/>
                <a:gd name="connsiteY72" fmla="*/ 1163157 h 1509906"/>
                <a:gd name="connsiteX73" fmla="*/ 4374 w 1034979"/>
                <a:gd name="connsiteY73" fmla="*/ 1168872 h 1509906"/>
                <a:gd name="connsiteX74" fmla="*/ 564 w 1034979"/>
                <a:gd name="connsiteY74" fmla="*/ 1174587 h 1509906"/>
                <a:gd name="connsiteX75" fmla="*/ 6279 w 1034979"/>
                <a:gd name="connsiteY75" fmla="*/ 1206972 h 1509906"/>
                <a:gd name="connsiteX76" fmla="*/ 11994 w 1034979"/>
                <a:gd name="connsiteY76" fmla="*/ 1210782 h 1509906"/>
                <a:gd name="connsiteX77" fmla="*/ 17709 w 1034979"/>
                <a:gd name="connsiteY77" fmla="*/ 1212687 h 1509906"/>
                <a:gd name="connsiteX78" fmla="*/ 145344 w 1034979"/>
                <a:gd name="connsiteY78" fmla="*/ 1210782 h 1509906"/>
                <a:gd name="connsiteX79" fmla="*/ 152964 w 1034979"/>
                <a:gd name="connsiteY79" fmla="*/ 1208877 h 1509906"/>
                <a:gd name="connsiteX80" fmla="*/ 303459 w 1034979"/>
                <a:gd name="connsiteY80" fmla="*/ 1203162 h 1509906"/>
                <a:gd name="connsiteX81" fmla="*/ 318699 w 1034979"/>
                <a:gd name="connsiteY81" fmla="*/ 1210782 h 1509906"/>
                <a:gd name="connsiteX82" fmla="*/ 330129 w 1034979"/>
                <a:gd name="connsiteY82" fmla="*/ 1216497 h 1509906"/>
                <a:gd name="connsiteX83" fmla="*/ 333939 w 1034979"/>
                <a:gd name="connsiteY83" fmla="*/ 1222212 h 1509906"/>
                <a:gd name="connsiteX84" fmla="*/ 339654 w 1034979"/>
                <a:gd name="connsiteY84" fmla="*/ 1224117 h 1509906"/>
                <a:gd name="connsiteX85" fmla="*/ 351084 w 1034979"/>
                <a:gd name="connsiteY85" fmla="*/ 1231737 h 1509906"/>
                <a:gd name="connsiteX86" fmla="*/ 356799 w 1034979"/>
                <a:gd name="connsiteY86" fmla="*/ 1235547 h 1509906"/>
                <a:gd name="connsiteX87" fmla="*/ 360609 w 1034979"/>
                <a:gd name="connsiteY87" fmla="*/ 1241262 h 1509906"/>
                <a:gd name="connsiteX88" fmla="*/ 366324 w 1034979"/>
                <a:gd name="connsiteY88" fmla="*/ 1252692 h 1509906"/>
                <a:gd name="connsiteX89" fmla="*/ 362514 w 1034979"/>
                <a:gd name="connsiteY89" fmla="*/ 1279362 h 1509906"/>
                <a:gd name="connsiteX90" fmla="*/ 358704 w 1034979"/>
                <a:gd name="connsiteY90" fmla="*/ 1285077 h 1509906"/>
                <a:gd name="connsiteX91" fmla="*/ 356799 w 1034979"/>
                <a:gd name="connsiteY91" fmla="*/ 1290792 h 1509906"/>
                <a:gd name="connsiteX92" fmla="*/ 352989 w 1034979"/>
                <a:gd name="connsiteY92" fmla="*/ 1296507 h 1509906"/>
                <a:gd name="connsiteX93" fmla="*/ 351084 w 1034979"/>
                <a:gd name="connsiteY93" fmla="*/ 1302222 h 1509906"/>
                <a:gd name="connsiteX94" fmla="*/ 347274 w 1034979"/>
                <a:gd name="connsiteY94" fmla="*/ 1307937 h 1509906"/>
                <a:gd name="connsiteX95" fmla="*/ 330129 w 1034979"/>
                <a:gd name="connsiteY95" fmla="*/ 1374612 h 1509906"/>
                <a:gd name="connsiteX96" fmla="*/ 328224 w 1034979"/>
                <a:gd name="connsiteY96" fmla="*/ 1426047 h 1509906"/>
                <a:gd name="connsiteX97" fmla="*/ 330129 w 1034979"/>
                <a:gd name="connsiteY97" fmla="*/ 1450812 h 1509906"/>
                <a:gd name="connsiteX98" fmla="*/ 332034 w 1034979"/>
                <a:gd name="connsiteY98" fmla="*/ 1456527 h 1509906"/>
                <a:gd name="connsiteX99" fmla="*/ 335844 w 1034979"/>
                <a:gd name="connsiteY99" fmla="*/ 1460337 h 1509906"/>
                <a:gd name="connsiteX100" fmla="*/ 364419 w 1034979"/>
                <a:gd name="connsiteY100" fmla="*/ 1506057 h 1509906"/>
                <a:gd name="connsiteX101" fmla="*/ 387279 w 1034979"/>
                <a:gd name="connsiteY101" fmla="*/ 1507962 h 1509906"/>
                <a:gd name="connsiteX102" fmla="*/ 392994 w 1034979"/>
                <a:gd name="connsiteY102" fmla="*/ 1502247 h 1509906"/>
                <a:gd name="connsiteX103" fmla="*/ 394899 w 1034979"/>
                <a:gd name="connsiteY103" fmla="*/ 1490817 h 1509906"/>
                <a:gd name="connsiteX104" fmla="*/ 396804 w 1034979"/>
                <a:gd name="connsiteY104" fmla="*/ 1485102 h 1509906"/>
                <a:gd name="connsiteX105" fmla="*/ 398709 w 1034979"/>
                <a:gd name="connsiteY105" fmla="*/ 1467957 h 1509906"/>
                <a:gd name="connsiteX106" fmla="*/ 400614 w 1034979"/>
                <a:gd name="connsiteY106" fmla="*/ 1454622 h 1509906"/>
                <a:gd name="connsiteX107" fmla="*/ 404424 w 1034979"/>
                <a:gd name="connsiteY107" fmla="*/ 1397472 h 1509906"/>
                <a:gd name="connsiteX108" fmla="*/ 410139 w 1034979"/>
                <a:gd name="connsiteY108" fmla="*/ 1386042 h 1509906"/>
                <a:gd name="connsiteX109" fmla="*/ 413949 w 1034979"/>
                <a:gd name="connsiteY109" fmla="*/ 1372707 h 1509906"/>
                <a:gd name="connsiteX110" fmla="*/ 415854 w 1034979"/>
                <a:gd name="connsiteY110" fmla="*/ 1366992 h 1509906"/>
                <a:gd name="connsiteX111" fmla="*/ 417759 w 1034979"/>
                <a:gd name="connsiteY111" fmla="*/ 1353657 h 1509906"/>
                <a:gd name="connsiteX112" fmla="*/ 421569 w 1034979"/>
                <a:gd name="connsiteY112" fmla="*/ 1342227 h 1509906"/>
                <a:gd name="connsiteX113" fmla="*/ 427284 w 1034979"/>
                <a:gd name="connsiteY113" fmla="*/ 1328892 h 1509906"/>
                <a:gd name="connsiteX114" fmla="*/ 436809 w 1034979"/>
                <a:gd name="connsiteY114" fmla="*/ 1317462 h 1509906"/>
                <a:gd name="connsiteX115" fmla="*/ 450144 w 1034979"/>
                <a:gd name="connsiteY115" fmla="*/ 1302222 h 1509906"/>
                <a:gd name="connsiteX116" fmla="*/ 457764 w 1034979"/>
                <a:gd name="connsiteY116" fmla="*/ 1290792 h 1509906"/>
                <a:gd name="connsiteX117" fmla="*/ 461574 w 1034979"/>
                <a:gd name="connsiteY117" fmla="*/ 1279362 h 1509906"/>
                <a:gd name="connsiteX118" fmla="*/ 465384 w 1034979"/>
                <a:gd name="connsiteY118" fmla="*/ 1264122 h 1509906"/>
                <a:gd name="connsiteX119" fmla="*/ 467289 w 1034979"/>
                <a:gd name="connsiteY119" fmla="*/ 1258407 h 1509906"/>
                <a:gd name="connsiteX120" fmla="*/ 507294 w 1034979"/>
                <a:gd name="connsiteY120" fmla="*/ 1252692 h 1509906"/>
                <a:gd name="connsiteX121" fmla="*/ 535869 w 1034979"/>
                <a:gd name="connsiteY121" fmla="*/ 1243167 h 1509906"/>
                <a:gd name="connsiteX122" fmla="*/ 541584 w 1034979"/>
                <a:gd name="connsiteY122" fmla="*/ 1241262 h 1509906"/>
                <a:gd name="connsiteX123" fmla="*/ 547299 w 1034979"/>
                <a:gd name="connsiteY123" fmla="*/ 1239357 h 1509906"/>
                <a:gd name="connsiteX124" fmla="*/ 554919 w 1034979"/>
                <a:gd name="connsiteY124" fmla="*/ 1237452 h 1509906"/>
                <a:gd name="connsiteX125" fmla="*/ 573969 w 1034979"/>
                <a:gd name="connsiteY125" fmla="*/ 1229832 h 1509906"/>
                <a:gd name="connsiteX126" fmla="*/ 585399 w 1034979"/>
                <a:gd name="connsiteY126" fmla="*/ 1226022 h 1509906"/>
                <a:gd name="connsiteX127" fmla="*/ 720654 w 1034979"/>
                <a:gd name="connsiteY127" fmla="*/ 1309842 h 1509906"/>
                <a:gd name="connsiteX128" fmla="*/ 733989 w 1034979"/>
                <a:gd name="connsiteY128" fmla="*/ 1319367 h 1509906"/>
                <a:gd name="connsiteX129" fmla="*/ 743514 w 1034979"/>
                <a:gd name="connsiteY129" fmla="*/ 1321272 h 1509906"/>
                <a:gd name="connsiteX130" fmla="*/ 749229 w 1034979"/>
                <a:gd name="connsiteY130" fmla="*/ 1323177 h 1509906"/>
                <a:gd name="connsiteX131" fmla="*/ 762564 w 1034979"/>
                <a:gd name="connsiteY131" fmla="*/ 1328892 h 1509906"/>
                <a:gd name="connsiteX132" fmla="*/ 777804 w 1034979"/>
                <a:gd name="connsiteY132" fmla="*/ 1326987 h 1509906"/>
                <a:gd name="connsiteX133" fmla="*/ 789234 w 1034979"/>
                <a:gd name="connsiteY133" fmla="*/ 1321272 h 1509906"/>
                <a:gd name="connsiteX134" fmla="*/ 794949 w 1034979"/>
                <a:gd name="connsiteY134" fmla="*/ 1319367 h 1509906"/>
                <a:gd name="connsiteX135" fmla="*/ 802569 w 1034979"/>
                <a:gd name="connsiteY135" fmla="*/ 1302222 h 1509906"/>
                <a:gd name="connsiteX136" fmla="*/ 800664 w 1034979"/>
                <a:gd name="connsiteY136" fmla="*/ 1277457 h 1509906"/>
                <a:gd name="connsiteX137" fmla="*/ 798759 w 1034979"/>
                <a:gd name="connsiteY137" fmla="*/ 1271742 h 1509906"/>
                <a:gd name="connsiteX138" fmla="*/ 796854 w 1034979"/>
                <a:gd name="connsiteY138" fmla="*/ 1264122 h 1509906"/>
                <a:gd name="connsiteX139" fmla="*/ 783519 w 1034979"/>
                <a:gd name="connsiteY139" fmla="*/ 1246977 h 1509906"/>
                <a:gd name="connsiteX140" fmla="*/ 773994 w 1034979"/>
                <a:gd name="connsiteY140" fmla="*/ 1241262 h 1509906"/>
                <a:gd name="connsiteX141" fmla="*/ 648264 w 1034979"/>
                <a:gd name="connsiteY141" fmla="*/ 1149822 h 1509906"/>
                <a:gd name="connsiteX142" fmla="*/ 644454 w 1034979"/>
                <a:gd name="connsiteY142" fmla="*/ 1132677 h 1509906"/>
                <a:gd name="connsiteX143" fmla="*/ 646359 w 1034979"/>
                <a:gd name="connsiteY143" fmla="*/ 1125057 h 1509906"/>
                <a:gd name="connsiteX144" fmla="*/ 650169 w 1034979"/>
                <a:gd name="connsiteY144" fmla="*/ 1107912 h 1509906"/>
                <a:gd name="connsiteX145" fmla="*/ 653979 w 1034979"/>
                <a:gd name="connsiteY145" fmla="*/ 1102197 h 1509906"/>
                <a:gd name="connsiteX146" fmla="*/ 655884 w 1034979"/>
                <a:gd name="connsiteY146" fmla="*/ 1096482 h 1509906"/>
                <a:gd name="connsiteX147" fmla="*/ 661599 w 1034979"/>
                <a:gd name="connsiteY147" fmla="*/ 1094577 h 1509906"/>
                <a:gd name="connsiteX148" fmla="*/ 671124 w 1034979"/>
                <a:gd name="connsiteY148" fmla="*/ 1083147 h 1509906"/>
                <a:gd name="connsiteX149" fmla="*/ 724464 w 1034979"/>
                <a:gd name="connsiteY149" fmla="*/ 1075527 h 1509906"/>
                <a:gd name="connsiteX150" fmla="*/ 842574 w 1034979"/>
                <a:gd name="connsiteY150" fmla="*/ 1077432 h 1509906"/>
                <a:gd name="connsiteX151" fmla="*/ 871149 w 1034979"/>
                <a:gd name="connsiteY151" fmla="*/ 1079337 h 1509906"/>
                <a:gd name="connsiteX152" fmla="*/ 899724 w 1034979"/>
                <a:gd name="connsiteY152" fmla="*/ 1085052 h 1509906"/>
                <a:gd name="connsiteX153" fmla="*/ 922584 w 1034979"/>
                <a:gd name="connsiteY153" fmla="*/ 1088862 h 1509906"/>
                <a:gd name="connsiteX154" fmla="*/ 951159 w 1034979"/>
                <a:gd name="connsiteY154" fmla="*/ 1094577 h 1509906"/>
                <a:gd name="connsiteX155" fmla="*/ 956874 w 1034979"/>
                <a:gd name="connsiteY155" fmla="*/ 1094577 h 1509906"/>
                <a:gd name="connsiteX156" fmla="*/ 1002594 w 1034979"/>
                <a:gd name="connsiteY156" fmla="*/ 1092672 h 1509906"/>
                <a:gd name="connsiteX157" fmla="*/ 1031169 w 1034979"/>
                <a:gd name="connsiteY157" fmla="*/ 1085052 h 1509906"/>
                <a:gd name="connsiteX158" fmla="*/ 1034979 w 1034979"/>
                <a:gd name="connsiteY158" fmla="*/ 1079337 h 1509906"/>
                <a:gd name="connsiteX159" fmla="*/ 1033074 w 1034979"/>
                <a:gd name="connsiteY159" fmla="*/ 1060287 h 1509906"/>
                <a:gd name="connsiteX160" fmla="*/ 1027359 w 1034979"/>
                <a:gd name="connsiteY160" fmla="*/ 1056477 h 1509906"/>
                <a:gd name="connsiteX161" fmla="*/ 1012119 w 1034979"/>
                <a:gd name="connsiteY161" fmla="*/ 1054572 h 1509906"/>
                <a:gd name="connsiteX162" fmla="*/ 1006404 w 1034979"/>
                <a:gd name="connsiteY162" fmla="*/ 1052667 h 1509906"/>
                <a:gd name="connsiteX163" fmla="*/ 998784 w 1034979"/>
                <a:gd name="connsiteY163" fmla="*/ 1050762 h 1509906"/>
                <a:gd name="connsiteX164" fmla="*/ 987354 w 1034979"/>
                <a:gd name="connsiteY164" fmla="*/ 1043142 h 1509906"/>
                <a:gd name="connsiteX165" fmla="*/ 975924 w 1034979"/>
                <a:gd name="connsiteY165" fmla="*/ 1039332 h 1509906"/>
                <a:gd name="connsiteX166" fmla="*/ 970209 w 1034979"/>
                <a:gd name="connsiteY166" fmla="*/ 1037427 h 1509906"/>
                <a:gd name="connsiteX167" fmla="*/ 962589 w 1034979"/>
                <a:gd name="connsiteY167" fmla="*/ 1035522 h 1509906"/>
                <a:gd name="connsiteX168" fmla="*/ 956874 w 1034979"/>
                <a:gd name="connsiteY168" fmla="*/ 1033617 h 1509906"/>
                <a:gd name="connsiteX169" fmla="*/ 935919 w 1034979"/>
                <a:gd name="connsiteY169" fmla="*/ 1027902 h 1509906"/>
                <a:gd name="connsiteX170" fmla="*/ 930204 w 1034979"/>
                <a:gd name="connsiteY170" fmla="*/ 1025997 h 1509906"/>
                <a:gd name="connsiteX171" fmla="*/ 825429 w 1034979"/>
                <a:gd name="connsiteY171" fmla="*/ 1027902 h 1509906"/>
                <a:gd name="connsiteX172" fmla="*/ 819714 w 1034979"/>
                <a:gd name="connsiteY172" fmla="*/ 1029807 h 1509906"/>
                <a:gd name="connsiteX173" fmla="*/ 730179 w 1034979"/>
                <a:gd name="connsiteY173" fmla="*/ 1031712 h 1509906"/>
                <a:gd name="connsiteX174" fmla="*/ 716844 w 1034979"/>
                <a:gd name="connsiteY174" fmla="*/ 1035522 h 1509906"/>
                <a:gd name="connsiteX175" fmla="*/ 695889 w 1034979"/>
                <a:gd name="connsiteY175" fmla="*/ 1037427 h 1509906"/>
                <a:gd name="connsiteX176" fmla="*/ 669219 w 1034979"/>
                <a:gd name="connsiteY176" fmla="*/ 1039332 h 1509906"/>
                <a:gd name="connsiteX177" fmla="*/ 669219 w 1034979"/>
                <a:gd name="connsiteY177" fmla="*/ 1039332 h 1509906"/>
                <a:gd name="connsiteX178" fmla="*/ 646359 w 1034979"/>
                <a:gd name="connsiteY178" fmla="*/ 1043142 h 1509906"/>
                <a:gd name="connsiteX179" fmla="*/ 642549 w 1034979"/>
                <a:gd name="connsiteY179" fmla="*/ 1031712 h 1509906"/>
                <a:gd name="connsiteX180" fmla="*/ 640644 w 1034979"/>
                <a:gd name="connsiteY180" fmla="*/ 1025997 h 1509906"/>
                <a:gd name="connsiteX181" fmla="*/ 642549 w 1034979"/>
                <a:gd name="connsiteY181" fmla="*/ 1008852 h 1509906"/>
                <a:gd name="connsiteX182" fmla="*/ 644454 w 1034979"/>
                <a:gd name="connsiteY182" fmla="*/ 1003137 h 1509906"/>
                <a:gd name="connsiteX183" fmla="*/ 661599 w 1034979"/>
                <a:gd name="connsiteY183" fmla="*/ 993612 h 1509906"/>
                <a:gd name="connsiteX184" fmla="*/ 673029 w 1034979"/>
                <a:gd name="connsiteY184" fmla="*/ 985992 h 1509906"/>
                <a:gd name="connsiteX185" fmla="*/ 674934 w 1034979"/>
                <a:gd name="connsiteY185" fmla="*/ 980277 h 1509906"/>
                <a:gd name="connsiteX186" fmla="*/ 680649 w 1034979"/>
                <a:gd name="connsiteY186" fmla="*/ 978372 h 1509906"/>
                <a:gd name="connsiteX187" fmla="*/ 686364 w 1034979"/>
                <a:gd name="connsiteY187" fmla="*/ 974562 h 1509906"/>
                <a:gd name="connsiteX188" fmla="*/ 695889 w 1034979"/>
                <a:gd name="connsiteY188" fmla="*/ 965037 h 1509906"/>
                <a:gd name="connsiteX189" fmla="*/ 705414 w 1034979"/>
                <a:gd name="connsiteY189" fmla="*/ 953607 h 1509906"/>
                <a:gd name="connsiteX190" fmla="*/ 716844 w 1034979"/>
                <a:gd name="connsiteY190" fmla="*/ 945987 h 1509906"/>
                <a:gd name="connsiteX191" fmla="*/ 732084 w 1034979"/>
                <a:gd name="connsiteY191" fmla="*/ 932652 h 1509906"/>
                <a:gd name="connsiteX192" fmla="*/ 741609 w 1034979"/>
                <a:gd name="connsiteY192" fmla="*/ 921222 h 1509906"/>
                <a:gd name="connsiteX193" fmla="*/ 753039 w 1034979"/>
                <a:gd name="connsiteY193" fmla="*/ 911697 h 1509906"/>
                <a:gd name="connsiteX194" fmla="*/ 758754 w 1034979"/>
                <a:gd name="connsiteY194" fmla="*/ 900267 h 1509906"/>
                <a:gd name="connsiteX195" fmla="*/ 760659 w 1034979"/>
                <a:gd name="connsiteY195" fmla="*/ 894552 h 1509906"/>
                <a:gd name="connsiteX196" fmla="*/ 766374 w 1034979"/>
                <a:gd name="connsiteY196" fmla="*/ 883122 h 1509906"/>
                <a:gd name="connsiteX197" fmla="*/ 764469 w 1034979"/>
                <a:gd name="connsiteY197" fmla="*/ 867882 h 1509906"/>
                <a:gd name="connsiteX198" fmla="*/ 758754 w 1034979"/>
                <a:gd name="connsiteY198" fmla="*/ 865977 h 1509906"/>
                <a:gd name="connsiteX199" fmla="*/ 737799 w 1034979"/>
                <a:gd name="connsiteY199" fmla="*/ 867882 h 1509906"/>
                <a:gd name="connsiteX200" fmla="*/ 732084 w 1034979"/>
                <a:gd name="connsiteY200" fmla="*/ 871692 h 1509906"/>
                <a:gd name="connsiteX201" fmla="*/ 720654 w 1034979"/>
                <a:gd name="connsiteY201" fmla="*/ 875502 h 1509906"/>
                <a:gd name="connsiteX202" fmla="*/ 716844 w 1034979"/>
                <a:gd name="connsiteY202" fmla="*/ 881217 h 1509906"/>
                <a:gd name="connsiteX203" fmla="*/ 711129 w 1034979"/>
                <a:gd name="connsiteY203" fmla="*/ 883122 h 1509906"/>
                <a:gd name="connsiteX204" fmla="*/ 705414 w 1034979"/>
                <a:gd name="connsiteY204" fmla="*/ 886932 h 1509906"/>
                <a:gd name="connsiteX205" fmla="*/ 699699 w 1034979"/>
                <a:gd name="connsiteY205" fmla="*/ 892647 h 1509906"/>
                <a:gd name="connsiteX206" fmla="*/ 692079 w 1034979"/>
                <a:gd name="connsiteY206" fmla="*/ 896457 h 1509906"/>
                <a:gd name="connsiteX207" fmla="*/ 650169 w 1034979"/>
                <a:gd name="connsiteY207" fmla="*/ 925032 h 1509906"/>
                <a:gd name="connsiteX208" fmla="*/ 636834 w 1034979"/>
                <a:gd name="connsiteY208" fmla="*/ 936462 h 1509906"/>
                <a:gd name="connsiteX209" fmla="*/ 627309 w 1034979"/>
                <a:gd name="connsiteY209" fmla="*/ 953607 h 1509906"/>
                <a:gd name="connsiteX210" fmla="*/ 602544 w 1034979"/>
                <a:gd name="connsiteY210" fmla="*/ 959322 h 1509906"/>
                <a:gd name="connsiteX211" fmla="*/ 589209 w 1034979"/>
                <a:gd name="connsiteY211" fmla="*/ 963132 h 1509906"/>
                <a:gd name="connsiteX212" fmla="*/ 573969 w 1034979"/>
                <a:gd name="connsiteY212" fmla="*/ 961227 h 1509906"/>
                <a:gd name="connsiteX213" fmla="*/ 562539 w 1034979"/>
                <a:gd name="connsiteY213" fmla="*/ 957417 h 1509906"/>
                <a:gd name="connsiteX214" fmla="*/ 551109 w 1034979"/>
                <a:gd name="connsiteY214" fmla="*/ 953607 h 1509906"/>
                <a:gd name="connsiteX215" fmla="*/ 539679 w 1034979"/>
                <a:gd name="connsiteY215" fmla="*/ 949797 h 1509906"/>
                <a:gd name="connsiteX216" fmla="*/ 533964 w 1034979"/>
                <a:gd name="connsiteY216" fmla="*/ 947892 h 1509906"/>
                <a:gd name="connsiteX217" fmla="*/ 528249 w 1034979"/>
                <a:gd name="connsiteY217" fmla="*/ 944082 h 1509906"/>
                <a:gd name="connsiteX218" fmla="*/ 516819 w 1034979"/>
                <a:gd name="connsiteY218" fmla="*/ 938367 h 1509906"/>
                <a:gd name="connsiteX219" fmla="*/ 509199 w 1034979"/>
                <a:gd name="connsiteY219" fmla="*/ 926937 h 1509906"/>
                <a:gd name="connsiteX220" fmla="*/ 505389 w 1034979"/>
                <a:gd name="connsiteY220" fmla="*/ 905982 h 1509906"/>
                <a:gd name="connsiteX221" fmla="*/ 507294 w 1034979"/>
                <a:gd name="connsiteY221" fmla="*/ 841212 h 1509906"/>
                <a:gd name="connsiteX222" fmla="*/ 513009 w 1034979"/>
                <a:gd name="connsiteY222" fmla="*/ 827877 h 1509906"/>
                <a:gd name="connsiteX223" fmla="*/ 503484 w 1034979"/>
                <a:gd name="connsiteY223" fmla="*/ 351627 h 1509906"/>
                <a:gd name="connsiteX224" fmla="*/ 499674 w 1034979"/>
                <a:gd name="connsiteY224" fmla="*/ 60162 h 1509906"/>
                <a:gd name="connsiteX225" fmla="*/ 490149 w 1034979"/>
                <a:gd name="connsiteY225" fmla="*/ 33492 h 1509906"/>
                <a:gd name="connsiteX226" fmla="*/ 488244 w 1034979"/>
                <a:gd name="connsiteY226" fmla="*/ 27777 h 1509906"/>
                <a:gd name="connsiteX227" fmla="*/ 484434 w 1034979"/>
                <a:gd name="connsiteY227" fmla="*/ 22062 h 1509906"/>
                <a:gd name="connsiteX228" fmla="*/ 478719 w 1034979"/>
                <a:gd name="connsiteY228" fmla="*/ 10632 h 1509906"/>
                <a:gd name="connsiteX229" fmla="*/ 473004 w 1034979"/>
                <a:gd name="connsiteY229" fmla="*/ 6822 h 1509906"/>
                <a:gd name="connsiteX230" fmla="*/ 469194 w 1034979"/>
                <a:gd name="connsiteY230" fmla="*/ 1107 h 1509906"/>
                <a:gd name="connsiteX231" fmla="*/ 429189 w 1034979"/>
                <a:gd name="connsiteY231" fmla="*/ 4917 h 1509906"/>
                <a:gd name="connsiteX232" fmla="*/ 421569 w 1034979"/>
                <a:gd name="connsiteY232" fmla="*/ 16347 h 1509906"/>
                <a:gd name="connsiteX233" fmla="*/ 417759 w 1034979"/>
                <a:gd name="connsiteY233" fmla="*/ 22062 h 1509906"/>
                <a:gd name="connsiteX234" fmla="*/ 419664 w 1034979"/>
                <a:gd name="connsiteY234" fmla="*/ 54447 h 1509906"/>
                <a:gd name="connsiteX235" fmla="*/ 423474 w 1034979"/>
                <a:gd name="connsiteY235" fmla="*/ 65877 h 1509906"/>
                <a:gd name="connsiteX236" fmla="*/ 425379 w 1034979"/>
                <a:gd name="connsiteY236" fmla="*/ 71592 h 1509906"/>
                <a:gd name="connsiteX237" fmla="*/ 425379 w 1034979"/>
                <a:gd name="connsiteY237" fmla="*/ 77307 h 1509906"/>
                <a:gd name="connsiteX238" fmla="*/ 429189 w 1034979"/>
                <a:gd name="connsiteY238" fmla="*/ 231612 h 1509906"/>
                <a:gd name="connsiteX239" fmla="*/ 440619 w 1034979"/>
                <a:gd name="connsiteY239" fmla="*/ 414492 h 1509906"/>
                <a:gd name="connsiteX240" fmla="*/ 425379 w 1034979"/>
                <a:gd name="connsiteY240" fmla="*/ 711672 h 1509906"/>
                <a:gd name="connsiteX241" fmla="*/ 417759 w 1034979"/>
                <a:gd name="connsiteY241" fmla="*/ 839307 h 1509906"/>
                <a:gd name="connsiteX242" fmla="*/ 413949 w 1034979"/>
                <a:gd name="connsiteY242" fmla="*/ 856452 h 1509906"/>
                <a:gd name="connsiteX243" fmla="*/ 417759 w 1034979"/>
                <a:gd name="connsiteY243" fmla="*/ 877407 h 1509906"/>
                <a:gd name="connsiteX244" fmla="*/ 421569 w 1034979"/>
                <a:gd name="connsiteY244" fmla="*/ 883122 h 1509906"/>
                <a:gd name="connsiteX245" fmla="*/ 425379 w 1034979"/>
                <a:gd name="connsiteY245" fmla="*/ 894552 h 1509906"/>
                <a:gd name="connsiteX246" fmla="*/ 423474 w 1034979"/>
                <a:gd name="connsiteY246" fmla="*/ 921222 h 1509906"/>
                <a:gd name="connsiteX247" fmla="*/ 417759 w 1034979"/>
                <a:gd name="connsiteY247" fmla="*/ 923127 h 1509906"/>
                <a:gd name="connsiteX248" fmla="*/ 412044 w 1034979"/>
                <a:gd name="connsiteY248" fmla="*/ 926937 h 1509906"/>
                <a:gd name="connsiteX249" fmla="*/ 421569 w 1034979"/>
                <a:gd name="connsiteY249" fmla="*/ 923127 h 1509906"/>
                <a:gd name="connsiteX0" fmla="*/ 421569 w 1034979"/>
                <a:gd name="connsiteY0" fmla="*/ 918720 h 1505499"/>
                <a:gd name="connsiteX1" fmla="*/ 421569 w 1034979"/>
                <a:gd name="connsiteY1" fmla="*/ 918720 h 1505499"/>
                <a:gd name="connsiteX2" fmla="*/ 394899 w 1034979"/>
                <a:gd name="connsiteY2" fmla="*/ 928245 h 1505499"/>
                <a:gd name="connsiteX3" fmla="*/ 387279 w 1034979"/>
                <a:gd name="connsiteY3" fmla="*/ 930150 h 1505499"/>
                <a:gd name="connsiteX4" fmla="*/ 356799 w 1034979"/>
                <a:gd name="connsiteY4" fmla="*/ 932055 h 1505499"/>
                <a:gd name="connsiteX5" fmla="*/ 351084 w 1034979"/>
                <a:gd name="connsiteY5" fmla="*/ 935865 h 1505499"/>
                <a:gd name="connsiteX6" fmla="*/ 339654 w 1034979"/>
                <a:gd name="connsiteY6" fmla="*/ 945390 h 1505499"/>
                <a:gd name="connsiteX7" fmla="*/ 328224 w 1034979"/>
                <a:gd name="connsiteY7" fmla="*/ 949200 h 1505499"/>
                <a:gd name="connsiteX8" fmla="*/ 312984 w 1034979"/>
                <a:gd name="connsiteY8" fmla="*/ 954915 h 1505499"/>
                <a:gd name="connsiteX9" fmla="*/ 265359 w 1034979"/>
                <a:gd name="connsiteY9" fmla="*/ 951105 h 1505499"/>
                <a:gd name="connsiteX10" fmla="*/ 253929 w 1034979"/>
                <a:gd name="connsiteY10" fmla="*/ 947295 h 1505499"/>
                <a:gd name="connsiteX11" fmla="*/ 242499 w 1034979"/>
                <a:gd name="connsiteY11" fmla="*/ 943485 h 1505499"/>
                <a:gd name="connsiteX12" fmla="*/ 236784 w 1034979"/>
                <a:gd name="connsiteY12" fmla="*/ 941580 h 1505499"/>
                <a:gd name="connsiteX13" fmla="*/ 231069 w 1034979"/>
                <a:gd name="connsiteY13" fmla="*/ 939675 h 1505499"/>
                <a:gd name="connsiteX14" fmla="*/ 219639 w 1034979"/>
                <a:gd name="connsiteY14" fmla="*/ 937770 h 1505499"/>
                <a:gd name="connsiteX15" fmla="*/ 213924 w 1034979"/>
                <a:gd name="connsiteY15" fmla="*/ 935865 h 1505499"/>
                <a:gd name="connsiteX16" fmla="*/ 206304 w 1034979"/>
                <a:gd name="connsiteY16" fmla="*/ 933960 h 1505499"/>
                <a:gd name="connsiteX17" fmla="*/ 194874 w 1034979"/>
                <a:gd name="connsiteY17" fmla="*/ 930150 h 1505499"/>
                <a:gd name="connsiteX18" fmla="*/ 189159 w 1034979"/>
                <a:gd name="connsiteY18" fmla="*/ 928245 h 1505499"/>
                <a:gd name="connsiteX19" fmla="*/ 181539 w 1034979"/>
                <a:gd name="connsiteY19" fmla="*/ 926340 h 1505499"/>
                <a:gd name="connsiteX20" fmla="*/ 170109 w 1034979"/>
                <a:gd name="connsiteY20" fmla="*/ 920625 h 1505499"/>
                <a:gd name="connsiteX21" fmla="*/ 164394 w 1034979"/>
                <a:gd name="connsiteY21" fmla="*/ 916815 h 1505499"/>
                <a:gd name="connsiteX22" fmla="*/ 156774 w 1034979"/>
                <a:gd name="connsiteY22" fmla="*/ 905385 h 1505499"/>
                <a:gd name="connsiteX23" fmla="*/ 145344 w 1034979"/>
                <a:gd name="connsiteY23" fmla="*/ 901575 h 1505499"/>
                <a:gd name="connsiteX24" fmla="*/ 139629 w 1034979"/>
                <a:gd name="connsiteY24" fmla="*/ 897765 h 1505499"/>
                <a:gd name="connsiteX25" fmla="*/ 133914 w 1034979"/>
                <a:gd name="connsiteY25" fmla="*/ 895860 h 1505499"/>
                <a:gd name="connsiteX26" fmla="*/ 116769 w 1034979"/>
                <a:gd name="connsiteY26" fmla="*/ 892050 h 1505499"/>
                <a:gd name="connsiteX27" fmla="*/ 111054 w 1034979"/>
                <a:gd name="connsiteY27" fmla="*/ 886335 h 1505499"/>
                <a:gd name="connsiteX28" fmla="*/ 101529 w 1034979"/>
                <a:gd name="connsiteY28" fmla="*/ 869190 h 1505499"/>
                <a:gd name="connsiteX29" fmla="*/ 84384 w 1034979"/>
                <a:gd name="connsiteY29" fmla="*/ 861570 h 1505499"/>
                <a:gd name="connsiteX30" fmla="*/ 78669 w 1034979"/>
                <a:gd name="connsiteY30" fmla="*/ 859665 h 1505499"/>
                <a:gd name="connsiteX31" fmla="*/ 59619 w 1034979"/>
                <a:gd name="connsiteY31" fmla="*/ 863475 h 1505499"/>
                <a:gd name="connsiteX32" fmla="*/ 53904 w 1034979"/>
                <a:gd name="connsiteY32" fmla="*/ 867285 h 1505499"/>
                <a:gd name="connsiteX33" fmla="*/ 50094 w 1034979"/>
                <a:gd name="connsiteY33" fmla="*/ 873000 h 1505499"/>
                <a:gd name="connsiteX34" fmla="*/ 46284 w 1034979"/>
                <a:gd name="connsiteY34" fmla="*/ 884430 h 1505499"/>
                <a:gd name="connsiteX35" fmla="*/ 50094 w 1034979"/>
                <a:gd name="connsiteY35" fmla="*/ 922530 h 1505499"/>
                <a:gd name="connsiteX36" fmla="*/ 53904 w 1034979"/>
                <a:gd name="connsiteY36" fmla="*/ 928245 h 1505499"/>
                <a:gd name="connsiteX37" fmla="*/ 59619 w 1034979"/>
                <a:gd name="connsiteY37" fmla="*/ 932055 h 1505499"/>
                <a:gd name="connsiteX38" fmla="*/ 63429 w 1034979"/>
                <a:gd name="connsiteY38" fmla="*/ 937770 h 1505499"/>
                <a:gd name="connsiteX39" fmla="*/ 80574 w 1034979"/>
                <a:gd name="connsiteY39" fmla="*/ 947295 h 1505499"/>
                <a:gd name="connsiteX40" fmla="*/ 103434 w 1034979"/>
                <a:gd name="connsiteY40" fmla="*/ 949200 h 1505499"/>
                <a:gd name="connsiteX41" fmla="*/ 124389 w 1034979"/>
                <a:gd name="connsiteY41" fmla="*/ 954915 h 1505499"/>
                <a:gd name="connsiteX42" fmla="*/ 130104 w 1034979"/>
                <a:gd name="connsiteY42" fmla="*/ 956820 h 1505499"/>
                <a:gd name="connsiteX43" fmla="*/ 135819 w 1034979"/>
                <a:gd name="connsiteY43" fmla="*/ 962535 h 1505499"/>
                <a:gd name="connsiteX44" fmla="*/ 143439 w 1034979"/>
                <a:gd name="connsiteY44" fmla="*/ 964440 h 1505499"/>
                <a:gd name="connsiteX45" fmla="*/ 166299 w 1034979"/>
                <a:gd name="connsiteY45" fmla="*/ 968250 h 1505499"/>
                <a:gd name="connsiteX46" fmla="*/ 191064 w 1034979"/>
                <a:gd name="connsiteY46" fmla="*/ 973965 h 1505499"/>
                <a:gd name="connsiteX47" fmla="*/ 208209 w 1034979"/>
                <a:gd name="connsiteY47" fmla="*/ 979680 h 1505499"/>
                <a:gd name="connsiteX48" fmla="*/ 213924 w 1034979"/>
                <a:gd name="connsiteY48" fmla="*/ 981585 h 1505499"/>
                <a:gd name="connsiteX49" fmla="*/ 229164 w 1034979"/>
                <a:gd name="connsiteY49" fmla="*/ 985395 h 1505499"/>
                <a:gd name="connsiteX50" fmla="*/ 248214 w 1034979"/>
                <a:gd name="connsiteY50" fmla="*/ 991110 h 1505499"/>
                <a:gd name="connsiteX51" fmla="*/ 253929 w 1034979"/>
                <a:gd name="connsiteY51" fmla="*/ 994920 h 1505499"/>
                <a:gd name="connsiteX52" fmla="*/ 267264 w 1034979"/>
                <a:gd name="connsiteY52" fmla="*/ 1010160 h 1505499"/>
                <a:gd name="connsiteX53" fmla="*/ 272979 w 1034979"/>
                <a:gd name="connsiteY53" fmla="*/ 1029210 h 1505499"/>
                <a:gd name="connsiteX54" fmla="*/ 274884 w 1034979"/>
                <a:gd name="connsiteY54" fmla="*/ 1034925 h 1505499"/>
                <a:gd name="connsiteX55" fmla="*/ 276789 w 1034979"/>
                <a:gd name="connsiteY55" fmla="*/ 1040640 h 1505499"/>
                <a:gd name="connsiteX56" fmla="*/ 278694 w 1034979"/>
                <a:gd name="connsiteY56" fmla="*/ 1065405 h 1505499"/>
                <a:gd name="connsiteX57" fmla="*/ 280599 w 1034979"/>
                <a:gd name="connsiteY57" fmla="*/ 1071120 h 1505499"/>
                <a:gd name="connsiteX58" fmla="*/ 278694 w 1034979"/>
                <a:gd name="connsiteY58" fmla="*/ 1090170 h 1505499"/>
                <a:gd name="connsiteX59" fmla="*/ 276789 w 1034979"/>
                <a:gd name="connsiteY59" fmla="*/ 1099695 h 1505499"/>
                <a:gd name="connsiteX60" fmla="*/ 263454 w 1034979"/>
                <a:gd name="connsiteY60" fmla="*/ 1113030 h 1505499"/>
                <a:gd name="connsiteX61" fmla="*/ 252024 w 1034979"/>
                <a:gd name="connsiteY61" fmla="*/ 1120650 h 1505499"/>
                <a:gd name="connsiteX62" fmla="*/ 240594 w 1034979"/>
                <a:gd name="connsiteY62" fmla="*/ 1124460 h 1505499"/>
                <a:gd name="connsiteX63" fmla="*/ 126294 w 1034979"/>
                <a:gd name="connsiteY63" fmla="*/ 1124460 h 1505499"/>
                <a:gd name="connsiteX64" fmla="*/ 120579 w 1034979"/>
                <a:gd name="connsiteY64" fmla="*/ 1126365 h 1505499"/>
                <a:gd name="connsiteX65" fmla="*/ 105339 w 1034979"/>
                <a:gd name="connsiteY65" fmla="*/ 1128270 h 1505499"/>
                <a:gd name="connsiteX66" fmla="*/ 88194 w 1034979"/>
                <a:gd name="connsiteY66" fmla="*/ 1133985 h 1505499"/>
                <a:gd name="connsiteX67" fmla="*/ 82479 w 1034979"/>
                <a:gd name="connsiteY67" fmla="*/ 1135890 h 1505499"/>
                <a:gd name="connsiteX68" fmla="*/ 76764 w 1034979"/>
                <a:gd name="connsiteY68" fmla="*/ 1139700 h 1505499"/>
                <a:gd name="connsiteX69" fmla="*/ 65334 w 1034979"/>
                <a:gd name="connsiteY69" fmla="*/ 1141605 h 1505499"/>
                <a:gd name="connsiteX70" fmla="*/ 27234 w 1034979"/>
                <a:gd name="connsiteY70" fmla="*/ 1143510 h 1505499"/>
                <a:gd name="connsiteX71" fmla="*/ 15804 w 1034979"/>
                <a:gd name="connsiteY71" fmla="*/ 1149225 h 1505499"/>
                <a:gd name="connsiteX72" fmla="*/ 6279 w 1034979"/>
                <a:gd name="connsiteY72" fmla="*/ 1158750 h 1505499"/>
                <a:gd name="connsiteX73" fmla="*/ 4374 w 1034979"/>
                <a:gd name="connsiteY73" fmla="*/ 1164465 h 1505499"/>
                <a:gd name="connsiteX74" fmla="*/ 564 w 1034979"/>
                <a:gd name="connsiteY74" fmla="*/ 1170180 h 1505499"/>
                <a:gd name="connsiteX75" fmla="*/ 6279 w 1034979"/>
                <a:gd name="connsiteY75" fmla="*/ 1202565 h 1505499"/>
                <a:gd name="connsiteX76" fmla="*/ 11994 w 1034979"/>
                <a:gd name="connsiteY76" fmla="*/ 1206375 h 1505499"/>
                <a:gd name="connsiteX77" fmla="*/ 17709 w 1034979"/>
                <a:gd name="connsiteY77" fmla="*/ 1208280 h 1505499"/>
                <a:gd name="connsiteX78" fmla="*/ 145344 w 1034979"/>
                <a:gd name="connsiteY78" fmla="*/ 1206375 h 1505499"/>
                <a:gd name="connsiteX79" fmla="*/ 152964 w 1034979"/>
                <a:gd name="connsiteY79" fmla="*/ 1204470 h 1505499"/>
                <a:gd name="connsiteX80" fmla="*/ 303459 w 1034979"/>
                <a:gd name="connsiteY80" fmla="*/ 1198755 h 1505499"/>
                <a:gd name="connsiteX81" fmla="*/ 318699 w 1034979"/>
                <a:gd name="connsiteY81" fmla="*/ 1206375 h 1505499"/>
                <a:gd name="connsiteX82" fmla="*/ 330129 w 1034979"/>
                <a:gd name="connsiteY82" fmla="*/ 1212090 h 1505499"/>
                <a:gd name="connsiteX83" fmla="*/ 333939 w 1034979"/>
                <a:gd name="connsiteY83" fmla="*/ 1217805 h 1505499"/>
                <a:gd name="connsiteX84" fmla="*/ 339654 w 1034979"/>
                <a:gd name="connsiteY84" fmla="*/ 1219710 h 1505499"/>
                <a:gd name="connsiteX85" fmla="*/ 351084 w 1034979"/>
                <a:gd name="connsiteY85" fmla="*/ 1227330 h 1505499"/>
                <a:gd name="connsiteX86" fmla="*/ 356799 w 1034979"/>
                <a:gd name="connsiteY86" fmla="*/ 1231140 h 1505499"/>
                <a:gd name="connsiteX87" fmla="*/ 360609 w 1034979"/>
                <a:gd name="connsiteY87" fmla="*/ 1236855 h 1505499"/>
                <a:gd name="connsiteX88" fmla="*/ 366324 w 1034979"/>
                <a:gd name="connsiteY88" fmla="*/ 1248285 h 1505499"/>
                <a:gd name="connsiteX89" fmla="*/ 362514 w 1034979"/>
                <a:gd name="connsiteY89" fmla="*/ 1274955 h 1505499"/>
                <a:gd name="connsiteX90" fmla="*/ 358704 w 1034979"/>
                <a:gd name="connsiteY90" fmla="*/ 1280670 h 1505499"/>
                <a:gd name="connsiteX91" fmla="*/ 356799 w 1034979"/>
                <a:gd name="connsiteY91" fmla="*/ 1286385 h 1505499"/>
                <a:gd name="connsiteX92" fmla="*/ 352989 w 1034979"/>
                <a:gd name="connsiteY92" fmla="*/ 1292100 h 1505499"/>
                <a:gd name="connsiteX93" fmla="*/ 351084 w 1034979"/>
                <a:gd name="connsiteY93" fmla="*/ 1297815 h 1505499"/>
                <a:gd name="connsiteX94" fmla="*/ 347274 w 1034979"/>
                <a:gd name="connsiteY94" fmla="*/ 1303530 h 1505499"/>
                <a:gd name="connsiteX95" fmla="*/ 330129 w 1034979"/>
                <a:gd name="connsiteY95" fmla="*/ 1370205 h 1505499"/>
                <a:gd name="connsiteX96" fmla="*/ 328224 w 1034979"/>
                <a:gd name="connsiteY96" fmla="*/ 1421640 h 1505499"/>
                <a:gd name="connsiteX97" fmla="*/ 330129 w 1034979"/>
                <a:gd name="connsiteY97" fmla="*/ 1446405 h 1505499"/>
                <a:gd name="connsiteX98" fmla="*/ 332034 w 1034979"/>
                <a:gd name="connsiteY98" fmla="*/ 1452120 h 1505499"/>
                <a:gd name="connsiteX99" fmla="*/ 335844 w 1034979"/>
                <a:gd name="connsiteY99" fmla="*/ 1455930 h 1505499"/>
                <a:gd name="connsiteX100" fmla="*/ 364419 w 1034979"/>
                <a:gd name="connsiteY100" fmla="*/ 1501650 h 1505499"/>
                <a:gd name="connsiteX101" fmla="*/ 387279 w 1034979"/>
                <a:gd name="connsiteY101" fmla="*/ 1503555 h 1505499"/>
                <a:gd name="connsiteX102" fmla="*/ 392994 w 1034979"/>
                <a:gd name="connsiteY102" fmla="*/ 1497840 h 1505499"/>
                <a:gd name="connsiteX103" fmla="*/ 394899 w 1034979"/>
                <a:gd name="connsiteY103" fmla="*/ 1486410 h 1505499"/>
                <a:gd name="connsiteX104" fmla="*/ 396804 w 1034979"/>
                <a:gd name="connsiteY104" fmla="*/ 1480695 h 1505499"/>
                <a:gd name="connsiteX105" fmla="*/ 398709 w 1034979"/>
                <a:gd name="connsiteY105" fmla="*/ 1463550 h 1505499"/>
                <a:gd name="connsiteX106" fmla="*/ 400614 w 1034979"/>
                <a:gd name="connsiteY106" fmla="*/ 1450215 h 1505499"/>
                <a:gd name="connsiteX107" fmla="*/ 404424 w 1034979"/>
                <a:gd name="connsiteY107" fmla="*/ 1393065 h 1505499"/>
                <a:gd name="connsiteX108" fmla="*/ 410139 w 1034979"/>
                <a:gd name="connsiteY108" fmla="*/ 1381635 h 1505499"/>
                <a:gd name="connsiteX109" fmla="*/ 413949 w 1034979"/>
                <a:gd name="connsiteY109" fmla="*/ 1368300 h 1505499"/>
                <a:gd name="connsiteX110" fmla="*/ 415854 w 1034979"/>
                <a:gd name="connsiteY110" fmla="*/ 1362585 h 1505499"/>
                <a:gd name="connsiteX111" fmla="*/ 417759 w 1034979"/>
                <a:gd name="connsiteY111" fmla="*/ 1349250 h 1505499"/>
                <a:gd name="connsiteX112" fmla="*/ 421569 w 1034979"/>
                <a:gd name="connsiteY112" fmla="*/ 1337820 h 1505499"/>
                <a:gd name="connsiteX113" fmla="*/ 427284 w 1034979"/>
                <a:gd name="connsiteY113" fmla="*/ 1324485 h 1505499"/>
                <a:gd name="connsiteX114" fmla="*/ 436809 w 1034979"/>
                <a:gd name="connsiteY114" fmla="*/ 1313055 h 1505499"/>
                <a:gd name="connsiteX115" fmla="*/ 450144 w 1034979"/>
                <a:gd name="connsiteY115" fmla="*/ 1297815 h 1505499"/>
                <a:gd name="connsiteX116" fmla="*/ 457764 w 1034979"/>
                <a:gd name="connsiteY116" fmla="*/ 1286385 h 1505499"/>
                <a:gd name="connsiteX117" fmla="*/ 461574 w 1034979"/>
                <a:gd name="connsiteY117" fmla="*/ 1274955 h 1505499"/>
                <a:gd name="connsiteX118" fmla="*/ 465384 w 1034979"/>
                <a:gd name="connsiteY118" fmla="*/ 1259715 h 1505499"/>
                <a:gd name="connsiteX119" fmla="*/ 467289 w 1034979"/>
                <a:gd name="connsiteY119" fmla="*/ 1254000 h 1505499"/>
                <a:gd name="connsiteX120" fmla="*/ 507294 w 1034979"/>
                <a:gd name="connsiteY120" fmla="*/ 1248285 h 1505499"/>
                <a:gd name="connsiteX121" fmla="*/ 535869 w 1034979"/>
                <a:gd name="connsiteY121" fmla="*/ 1238760 h 1505499"/>
                <a:gd name="connsiteX122" fmla="*/ 541584 w 1034979"/>
                <a:gd name="connsiteY122" fmla="*/ 1236855 h 1505499"/>
                <a:gd name="connsiteX123" fmla="*/ 547299 w 1034979"/>
                <a:gd name="connsiteY123" fmla="*/ 1234950 h 1505499"/>
                <a:gd name="connsiteX124" fmla="*/ 554919 w 1034979"/>
                <a:gd name="connsiteY124" fmla="*/ 1233045 h 1505499"/>
                <a:gd name="connsiteX125" fmla="*/ 573969 w 1034979"/>
                <a:gd name="connsiteY125" fmla="*/ 1225425 h 1505499"/>
                <a:gd name="connsiteX126" fmla="*/ 585399 w 1034979"/>
                <a:gd name="connsiteY126" fmla="*/ 1221615 h 1505499"/>
                <a:gd name="connsiteX127" fmla="*/ 720654 w 1034979"/>
                <a:gd name="connsiteY127" fmla="*/ 1305435 h 1505499"/>
                <a:gd name="connsiteX128" fmla="*/ 733989 w 1034979"/>
                <a:gd name="connsiteY128" fmla="*/ 1314960 h 1505499"/>
                <a:gd name="connsiteX129" fmla="*/ 743514 w 1034979"/>
                <a:gd name="connsiteY129" fmla="*/ 1316865 h 1505499"/>
                <a:gd name="connsiteX130" fmla="*/ 749229 w 1034979"/>
                <a:gd name="connsiteY130" fmla="*/ 1318770 h 1505499"/>
                <a:gd name="connsiteX131" fmla="*/ 762564 w 1034979"/>
                <a:gd name="connsiteY131" fmla="*/ 1324485 h 1505499"/>
                <a:gd name="connsiteX132" fmla="*/ 777804 w 1034979"/>
                <a:gd name="connsiteY132" fmla="*/ 1322580 h 1505499"/>
                <a:gd name="connsiteX133" fmla="*/ 789234 w 1034979"/>
                <a:gd name="connsiteY133" fmla="*/ 1316865 h 1505499"/>
                <a:gd name="connsiteX134" fmla="*/ 794949 w 1034979"/>
                <a:gd name="connsiteY134" fmla="*/ 1314960 h 1505499"/>
                <a:gd name="connsiteX135" fmla="*/ 802569 w 1034979"/>
                <a:gd name="connsiteY135" fmla="*/ 1297815 h 1505499"/>
                <a:gd name="connsiteX136" fmla="*/ 800664 w 1034979"/>
                <a:gd name="connsiteY136" fmla="*/ 1273050 h 1505499"/>
                <a:gd name="connsiteX137" fmla="*/ 798759 w 1034979"/>
                <a:gd name="connsiteY137" fmla="*/ 1267335 h 1505499"/>
                <a:gd name="connsiteX138" fmla="*/ 796854 w 1034979"/>
                <a:gd name="connsiteY138" fmla="*/ 1259715 h 1505499"/>
                <a:gd name="connsiteX139" fmla="*/ 783519 w 1034979"/>
                <a:gd name="connsiteY139" fmla="*/ 1242570 h 1505499"/>
                <a:gd name="connsiteX140" fmla="*/ 773994 w 1034979"/>
                <a:gd name="connsiteY140" fmla="*/ 1236855 h 1505499"/>
                <a:gd name="connsiteX141" fmla="*/ 648264 w 1034979"/>
                <a:gd name="connsiteY141" fmla="*/ 1145415 h 1505499"/>
                <a:gd name="connsiteX142" fmla="*/ 644454 w 1034979"/>
                <a:gd name="connsiteY142" fmla="*/ 1128270 h 1505499"/>
                <a:gd name="connsiteX143" fmla="*/ 646359 w 1034979"/>
                <a:gd name="connsiteY143" fmla="*/ 1120650 h 1505499"/>
                <a:gd name="connsiteX144" fmla="*/ 650169 w 1034979"/>
                <a:gd name="connsiteY144" fmla="*/ 1103505 h 1505499"/>
                <a:gd name="connsiteX145" fmla="*/ 653979 w 1034979"/>
                <a:gd name="connsiteY145" fmla="*/ 1097790 h 1505499"/>
                <a:gd name="connsiteX146" fmla="*/ 655884 w 1034979"/>
                <a:gd name="connsiteY146" fmla="*/ 1092075 h 1505499"/>
                <a:gd name="connsiteX147" fmla="*/ 661599 w 1034979"/>
                <a:gd name="connsiteY147" fmla="*/ 1090170 h 1505499"/>
                <a:gd name="connsiteX148" fmla="*/ 671124 w 1034979"/>
                <a:gd name="connsiteY148" fmla="*/ 1078740 h 1505499"/>
                <a:gd name="connsiteX149" fmla="*/ 724464 w 1034979"/>
                <a:gd name="connsiteY149" fmla="*/ 1071120 h 1505499"/>
                <a:gd name="connsiteX150" fmla="*/ 842574 w 1034979"/>
                <a:gd name="connsiteY150" fmla="*/ 1073025 h 1505499"/>
                <a:gd name="connsiteX151" fmla="*/ 871149 w 1034979"/>
                <a:gd name="connsiteY151" fmla="*/ 1074930 h 1505499"/>
                <a:gd name="connsiteX152" fmla="*/ 899724 w 1034979"/>
                <a:gd name="connsiteY152" fmla="*/ 1080645 h 1505499"/>
                <a:gd name="connsiteX153" fmla="*/ 922584 w 1034979"/>
                <a:gd name="connsiteY153" fmla="*/ 1084455 h 1505499"/>
                <a:gd name="connsiteX154" fmla="*/ 951159 w 1034979"/>
                <a:gd name="connsiteY154" fmla="*/ 1090170 h 1505499"/>
                <a:gd name="connsiteX155" fmla="*/ 956874 w 1034979"/>
                <a:gd name="connsiteY155" fmla="*/ 1090170 h 1505499"/>
                <a:gd name="connsiteX156" fmla="*/ 1002594 w 1034979"/>
                <a:gd name="connsiteY156" fmla="*/ 1088265 h 1505499"/>
                <a:gd name="connsiteX157" fmla="*/ 1031169 w 1034979"/>
                <a:gd name="connsiteY157" fmla="*/ 1080645 h 1505499"/>
                <a:gd name="connsiteX158" fmla="*/ 1034979 w 1034979"/>
                <a:gd name="connsiteY158" fmla="*/ 1074930 h 1505499"/>
                <a:gd name="connsiteX159" fmla="*/ 1033074 w 1034979"/>
                <a:gd name="connsiteY159" fmla="*/ 1055880 h 1505499"/>
                <a:gd name="connsiteX160" fmla="*/ 1027359 w 1034979"/>
                <a:gd name="connsiteY160" fmla="*/ 1052070 h 1505499"/>
                <a:gd name="connsiteX161" fmla="*/ 1012119 w 1034979"/>
                <a:gd name="connsiteY161" fmla="*/ 1050165 h 1505499"/>
                <a:gd name="connsiteX162" fmla="*/ 1006404 w 1034979"/>
                <a:gd name="connsiteY162" fmla="*/ 1048260 h 1505499"/>
                <a:gd name="connsiteX163" fmla="*/ 998784 w 1034979"/>
                <a:gd name="connsiteY163" fmla="*/ 1046355 h 1505499"/>
                <a:gd name="connsiteX164" fmla="*/ 987354 w 1034979"/>
                <a:gd name="connsiteY164" fmla="*/ 1038735 h 1505499"/>
                <a:gd name="connsiteX165" fmla="*/ 975924 w 1034979"/>
                <a:gd name="connsiteY165" fmla="*/ 1034925 h 1505499"/>
                <a:gd name="connsiteX166" fmla="*/ 970209 w 1034979"/>
                <a:gd name="connsiteY166" fmla="*/ 1033020 h 1505499"/>
                <a:gd name="connsiteX167" fmla="*/ 962589 w 1034979"/>
                <a:gd name="connsiteY167" fmla="*/ 1031115 h 1505499"/>
                <a:gd name="connsiteX168" fmla="*/ 956874 w 1034979"/>
                <a:gd name="connsiteY168" fmla="*/ 1029210 h 1505499"/>
                <a:gd name="connsiteX169" fmla="*/ 935919 w 1034979"/>
                <a:gd name="connsiteY169" fmla="*/ 1023495 h 1505499"/>
                <a:gd name="connsiteX170" fmla="*/ 930204 w 1034979"/>
                <a:gd name="connsiteY170" fmla="*/ 1021590 h 1505499"/>
                <a:gd name="connsiteX171" fmla="*/ 825429 w 1034979"/>
                <a:gd name="connsiteY171" fmla="*/ 1023495 h 1505499"/>
                <a:gd name="connsiteX172" fmla="*/ 819714 w 1034979"/>
                <a:gd name="connsiteY172" fmla="*/ 1025400 h 1505499"/>
                <a:gd name="connsiteX173" fmla="*/ 730179 w 1034979"/>
                <a:gd name="connsiteY173" fmla="*/ 1027305 h 1505499"/>
                <a:gd name="connsiteX174" fmla="*/ 716844 w 1034979"/>
                <a:gd name="connsiteY174" fmla="*/ 1031115 h 1505499"/>
                <a:gd name="connsiteX175" fmla="*/ 695889 w 1034979"/>
                <a:gd name="connsiteY175" fmla="*/ 1033020 h 1505499"/>
                <a:gd name="connsiteX176" fmla="*/ 669219 w 1034979"/>
                <a:gd name="connsiteY176" fmla="*/ 1034925 h 1505499"/>
                <a:gd name="connsiteX177" fmla="*/ 669219 w 1034979"/>
                <a:gd name="connsiteY177" fmla="*/ 1034925 h 1505499"/>
                <a:gd name="connsiteX178" fmla="*/ 646359 w 1034979"/>
                <a:gd name="connsiteY178" fmla="*/ 1038735 h 1505499"/>
                <a:gd name="connsiteX179" fmla="*/ 642549 w 1034979"/>
                <a:gd name="connsiteY179" fmla="*/ 1027305 h 1505499"/>
                <a:gd name="connsiteX180" fmla="*/ 640644 w 1034979"/>
                <a:gd name="connsiteY180" fmla="*/ 1021590 h 1505499"/>
                <a:gd name="connsiteX181" fmla="*/ 642549 w 1034979"/>
                <a:gd name="connsiteY181" fmla="*/ 1004445 h 1505499"/>
                <a:gd name="connsiteX182" fmla="*/ 644454 w 1034979"/>
                <a:gd name="connsiteY182" fmla="*/ 998730 h 1505499"/>
                <a:gd name="connsiteX183" fmla="*/ 661599 w 1034979"/>
                <a:gd name="connsiteY183" fmla="*/ 989205 h 1505499"/>
                <a:gd name="connsiteX184" fmla="*/ 673029 w 1034979"/>
                <a:gd name="connsiteY184" fmla="*/ 981585 h 1505499"/>
                <a:gd name="connsiteX185" fmla="*/ 674934 w 1034979"/>
                <a:gd name="connsiteY185" fmla="*/ 975870 h 1505499"/>
                <a:gd name="connsiteX186" fmla="*/ 680649 w 1034979"/>
                <a:gd name="connsiteY186" fmla="*/ 973965 h 1505499"/>
                <a:gd name="connsiteX187" fmla="*/ 686364 w 1034979"/>
                <a:gd name="connsiteY187" fmla="*/ 970155 h 1505499"/>
                <a:gd name="connsiteX188" fmla="*/ 695889 w 1034979"/>
                <a:gd name="connsiteY188" fmla="*/ 960630 h 1505499"/>
                <a:gd name="connsiteX189" fmla="*/ 705414 w 1034979"/>
                <a:gd name="connsiteY189" fmla="*/ 949200 h 1505499"/>
                <a:gd name="connsiteX190" fmla="*/ 716844 w 1034979"/>
                <a:gd name="connsiteY190" fmla="*/ 941580 h 1505499"/>
                <a:gd name="connsiteX191" fmla="*/ 732084 w 1034979"/>
                <a:gd name="connsiteY191" fmla="*/ 928245 h 1505499"/>
                <a:gd name="connsiteX192" fmla="*/ 741609 w 1034979"/>
                <a:gd name="connsiteY192" fmla="*/ 916815 h 1505499"/>
                <a:gd name="connsiteX193" fmla="*/ 753039 w 1034979"/>
                <a:gd name="connsiteY193" fmla="*/ 907290 h 1505499"/>
                <a:gd name="connsiteX194" fmla="*/ 758754 w 1034979"/>
                <a:gd name="connsiteY194" fmla="*/ 895860 h 1505499"/>
                <a:gd name="connsiteX195" fmla="*/ 760659 w 1034979"/>
                <a:gd name="connsiteY195" fmla="*/ 890145 h 1505499"/>
                <a:gd name="connsiteX196" fmla="*/ 766374 w 1034979"/>
                <a:gd name="connsiteY196" fmla="*/ 878715 h 1505499"/>
                <a:gd name="connsiteX197" fmla="*/ 764469 w 1034979"/>
                <a:gd name="connsiteY197" fmla="*/ 863475 h 1505499"/>
                <a:gd name="connsiteX198" fmla="*/ 758754 w 1034979"/>
                <a:gd name="connsiteY198" fmla="*/ 861570 h 1505499"/>
                <a:gd name="connsiteX199" fmla="*/ 737799 w 1034979"/>
                <a:gd name="connsiteY199" fmla="*/ 863475 h 1505499"/>
                <a:gd name="connsiteX200" fmla="*/ 732084 w 1034979"/>
                <a:gd name="connsiteY200" fmla="*/ 867285 h 1505499"/>
                <a:gd name="connsiteX201" fmla="*/ 720654 w 1034979"/>
                <a:gd name="connsiteY201" fmla="*/ 871095 h 1505499"/>
                <a:gd name="connsiteX202" fmla="*/ 716844 w 1034979"/>
                <a:gd name="connsiteY202" fmla="*/ 876810 h 1505499"/>
                <a:gd name="connsiteX203" fmla="*/ 711129 w 1034979"/>
                <a:gd name="connsiteY203" fmla="*/ 878715 h 1505499"/>
                <a:gd name="connsiteX204" fmla="*/ 705414 w 1034979"/>
                <a:gd name="connsiteY204" fmla="*/ 882525 h 1505499"/>
                <a:gd name="connsiteX205" fmla="*/ 699699 w 1034979"/>
                <a:gd name="connsiteY205" fmla="*/ 888240 h 1505499"/>
                <a:gd name="connsiteX206" fmla="*/ 692079 w 1034979"/>
                <a:gd name="connsiteY206" fmla="*/ 892050 h 1505499"/>
                <a:gd name="connsiteX207" fmla="*/ 650169 w 1034979"/>
                <a:gd name="connsiteY207" fmla="*/ 920625 h 1505499"/>
                <a:gd name="connsiteX208" fmla="*/ 636834 w 1034979"/>
                <a:gd name="connsiteY208" fmla="*/ 932055 h 1505499"/>
                <a:gd name="connsiteX209" fmla="*/ 627309 w 1034979"/>
                <a:gd name="connsiteY209" fmla="*/ 949200 h 1505499"/>
                <a:gd name="connsiteX210" fmla="*/ 602544 w 1034979"/>
                <a:gd name="connsiteY210" fmla="*/ 954915 h 1505499"/>
                <a:gd name="connsiteX211" fmla="*/ 589209 w 1034979"/>
                <a:gd name="connsiteY211" fmla="*/ 958725 h 1505499"/>
                <a:gd name="connsiteX212" fmla="*/ 573969 w 1034979"/>
                <a:gd name="connsiteY212" fmla="*/ 956820 h 1505499"/>
                <a:gd name="connsiteX213" fmla="*/ 562539 w 1034979"/>
                <a:gd name="connsiteY213" fmla="*/ 953010 h 1505499"/>
                <a:gd name="connsiteX214" fmla="*/ 551109 w 1034979"/>
                <a:gd name="connsiteY214" fmla="*/ 949200 h 1505499"/>
                <a:gd name="connsiteX215" fmla="*/ 539679 w 1034979"/>
                <a:gd name="connsiteY215" fmla="*/ 945390 h 1505499"/>
                <a:gd name="connsiteX216" fmla="*/ 533964 w 1034979"/>
                <a:gd name="connsiteY216" fmla="*/ 943485 h 1505499"/>
                <a:gd name="connsiteX217" fmla="*/ 528249 w 1034979"/>
                <a:gd name="connsiteY217" fmla="*/ 939675 h 1505499"/>
                <a:gd name="connsiteX218" fmla="*/ 516819 w 1034979"/>
                <a:gd name="connsiteY218" fmla="*/ 933960 h 1505499"/>
                <a:gd name="connsiteX219" fmla="*/ 509199 w 1034979"/>
                <a:gd name="connsiteY219" fmla="*/ 922530 h 1505499"/>
                <a:gd name="connsiteX220" fmla="*/ 505389 w 1034979"/>
                <a:gd name="connsiteY220" fmla="*/ 901575 h 1505499"/>
                <a:gd name="connsiteX221" fmla="*/ 507294 w 1034979"/>
                <a:gd name="connsiteY221" fmla="*/ 836805 h 1505499"/>
                <a:gd name="connsiteX222" fmla="*/ 513009 w 1034979"/>
                <a:gd name="connsiteY222" fmla="*/ 823470 h 1505499"/>
                <a:gd name="connsiteX223" fmla="*/ 503484 w 1034979"/>
                <a:gd name="connsiteY223" fmla="*/ 347220 h 1505499"/>
                <a:gd name="connsiteX224" fmla="*/ 499674 w 1034979"/>
                <a:gd name="connsiteY224" fmla="*/ 55755 h 1505499"/>
                <a:gd name="connsiteX225" fmla="*/ 490149 w 1034979"/>
                <a:gd name="connsiteY225" fmla="*/ 29085 h 1505499"/>
                <a:gd name="connsiteX226" fmla="*/ 488244 w 1034979"/>
                <a:gd name="connsiteY226" fmla="*/ 23370 h 1505499"/>
                <a:gd name="connsiteX227" fmla="*/ 484434 w 1034979"/>
                <a:gd name="connsiteY227" fmla="*/ 17655 h 1505499"/>
                <a:gd name="connsiteX228" fmla="*/ 478719 w 1034979"/>
                <a:gd name="connsiteY228" fmla="*/ 6225 h 1505499"/>
                <a:gd name="connsiteX229" fmla="*/ 473004 w 1034979"/>
                <a:gd name="connsiteY229" fmla="*/ 2415 h 1505499"/>
                <a:gd name="connsiteX230" fmla="*/ 429189 w 1034979"/>
                <a:gd name="connsiteY230" fmla="*/ 510 h 1505499"/>
                <a:gd name="connsiteX231" fmla="*/ 421569 w 1034979"/>
                <a:gd name="connsiteY231" fmla="*/ 11940 h 1505499"/>
                <a:gd name="connsiteX232" fmla="*/ 417759 w 1034979"/>
                <a:gd name="connsiteY232" fmla="*/ 17655 h 1505499"/>
                <a:gd name="connsiteX233" fmla="*/ 419664 w 1034979"/>
                <a:gd name="connsiteY233" fmla="*/ 50040 h 1505499"/>
                <a:gd name="connsiteX234" fmla="*/ 423474 w 1034979"/>
                <a:gd name="connsiteY234" fmla="*/ 61470 h 1505499"/>
                <a:gd name="connsiteX235" fmla="*/ 425379 w 1034979"/>
                <a:gd name="connsiteY235" fmla="*/ 67185 h 1505499"/>
                <a:gd name="connsiteX236" fmla="*/ 425379 w 1034979"/>
                <a:gd name="connsiteY236" fmla="*/ 72900 h 1505499"/>
                <a:gd name="connsiteX237" fmla="*/ 429189 w 1034979"/>
                <a:gd name="connsiteY237" fmla="*/ 227205 h 1505499"/>
                <a:gd name="connsiteX238" fmla="*/ 440619 w 1034979"/>
                <a:gd name="connsiteY238" fmla="*/ 410085 h 1505499"/>
                <a:gd name="connsiteX239" fmla="*/ 425379 w 1034979"/>
                <a:gd name="connsiteY239" fmla="*/ 707265 h 1505499"/>
                <a:gd name="connsiteX240" fmla="*/ 417759 w 1034979"/>
                <a:gd name="connsiteY240" fmla="*/ 834900 h 1505499"/>
                <a:gd name="connsiteX241" fmla="*/ 413949 w 1034979"/>
                <a:gd name="connsiteY241" fmla="*/ 852045 h 1505499"/>
                <a:gd name="connsiteX242" fmla="*/ 417759 w 1034979"/>
                <a:gd name="connsiteY242" fmla="*/ 873000 h 1505499"/>
                <a:gd name="connsiteX243" fmla="*/ 421569 w 1034979"/>
                <a:gd name="connsiteY243" fmla="*/ 878715 h 1505499"/>
                <a:gd name="connsiteX244" fmla="*/ 425379 w 1034979"/>
                <a:gd name="connsiteY244" fmla="*/ 890145 h 1505499"/>
                <a:gd name="connsiteX245" fmla="*/ 423474 w 1034979"/>
                <a:gd name="connsiteY245" fmla="*/ 916815 h 1505499"/>
                <a:gd name="connsiteX246" fmla="*/ 417759 w 1034979"/>
                <a:gd name="connsiteY246" fmla="*/ 918720 h 1505499"/>
                <a:gd name="connsiteX247" fmla="*/ 412044 w 1034979"/>
                <a:gd name="connsiteY247" fmla="*/ 922530 h 1505499"/>
                <a:gd name="connsiteX248" fmla="*/ 421569 w 1034979"/>
                <a:gd name="connsiteY248" fmla="*/ 918720 h 1505499"/>
                <a:gd name="connsiteX0" fmla="*/ 421569 w 1034979"/>
                <a:gd name="connsiteY0" fmla="*/ 918720 h 1505499"/>
                <a:gd name="connsiteX1" fmla="*/ 421569 w 1034979"/>
                <a:gd name="connsiteY1" fmla="*/ 918720 h 1505499"/>
                <a:gd name="connsiteX2" fmla="*/ 394899 w 1034979"/>
                <a:gd name="connsiteY2" fmla="*/ 928245 h 1505499"/>
                <a:gd name="connsiteX3" fmla="*/ 387279 w 1034979"/>
                <a:gd name="connsiteY3" fmla="*/ 930150 h 1505499"/>
                <a:gd name="connsiteX4" fmla="*/ 356799 w 1034979"/>
                <a:gd name="connsiteY4" fmla="*/ 932055 h 1505499"/>
                <a:gd name="connsiteX5" fmla="*/ 351084 w 1034979"/>
                <a:gd name="connsiteY5" fmla="*/ 935865 h 1505499"/>
                <a:gd name="connsiteX6" fmla="*/ 339654 w 1034979"/>
                <a:gd name="connsiteY6" fmla="*/ 945390 h 1505499"/>
                <a:gd name="connsiteX7" fmla="*/ 328224 w 1034979"/>
                <a:gd name="connsiteY7" fmla="*/ 949200 h 1505499"/>
                <a:gd name="connsiteX8" fmla="*/ 312984 w 1034979"/>
                <a:gd name="connsiteY8" fmla="*/ 954915 h 1505499"/>
                <a:gd name="connsiteX9" fmla="*/ 265359 w 1034979"/>
                <a:gd name="connsiteY9" fmla="*/ 951105 h 1505499"/>
                <a:gd name="connsiteX10" fmla="*/ 253929 w 1034979"/>
                <a:gd name="connsiteY10" fmla="*/ 947295 h 1505499"/>
                <a:gd name="connsiteX11" fmla="*/ 242499 w 1034979"/>
                <a:gd name="connsiteY11" fmla="*/ 943485 h 1505499"/>
                <a:gd name="connsiteX12" fmla="*/ 236784 w 1034979"/>
                <a:gd name="connsiteY12" fmla="*/ 941580 h 1505499"/>
                <a:gd name="connsiteX13" fmla="*/ 231069 w 1034979"/>
                <a:gd name="connsiteY13" fmla="*/ 939675 h 1505499"/>
                <a:gd name="connsiteX14" fmla="*/ 219639 w 1034979"/>
                <a:gd name="connsiteY14" fmla="*/ 937770 h 1505499"/>
                <a:gd name="connsiteX15" fmla="*/ 213924 w 1034979"/>
                <a:gd name="connsiteY15" fmla="*/ 935865 h 1505499"/>
                <a:gd name="connsiteX16" fmla="*/ 206304 w 1034979"/>
                <a:gd name="connsiteY16" fmla="*/ 933960 h 1505499"/>
                <a:gd name="connsiteX17" fmla="*/ 194874 w 1034979"/>
                <a:gd name="connsiteY17" fmla="*/ 930150 h 1505499"/>
                <a:gd name="connsiteX18" fmla="*/ 189159 w 1034979"/>
                <a:gd name="connsiteY18" fmla="*/ 928245 h 1505499"/>
                <a:gd name="connsiteX19" fmla="*/ 181539 w 1034979"/>
                <a:gd name="connsiteY19" fmla="*/ 926340 h 1505499"/>
                <a:gd name="connsiteX20" fmla="*/ 170109 w 1034979"/>
                <a:gd name="connsiteY20" fmla="*/ 920625 h 1505499"/>
                <a:gd name="connsiteX21" fmla="*/ 164394 w 1034979"/>
                <a:gd name="connsiteY21" fmla="*/ 916815 h 1505499"/>
                <a:gd name="connsiteX22" fmla="*/ 156774 w 1034979"/>
                <a:gd name="connsiteY22" fmla="*/ 905385 h 1505499"/>
                <a:gd name="connsiteX23" fmla="*/ 145344 w 1034979"/>
                <a:gd name="connsiteY23" fmla="*/ 901575 h 1505499"/>
                <a:gd name="connsiteX24" fmla="*/ 139629 w 1034979"/>
                <a:gd name="connsiteY24" fmla="*/ 897765 h 1505499"/>
                <a:gd name="connsiteX25" fmla="*/ 133914 w 1034979"/>
                <a:gd name="connsiteY25" fmla="*/ 895860 h 1505499"/>
                <a:gd name="connsiteX26" fmla="*/ 116769 w 1034979"/>
                <a:gd name="connsiteY26" fmla="*/ 892050 h 1505499"/>
                <a:gd name="connsiteX27" fmla="*/ 111054 w 1034979"/>
                <a:gd name="connsiteY27" fmla="*/ 886335 h 1505499"/>
                <a:gd name="connsiteX28" fmla="*/ 101529 w 1034979"/>
                <a:gd name="connsiteY28" fmla="*/ 869190 h 1505499"/>
                <a:gd name="connsiteX29" fmla="*/ 84384 w 1034979"/>
                <a:gd name="connsiteY29" fmla="*/ 861570 h 1505499"/>
                <a:gd name="connsiteX30" fmla="*/ 78669 w 1034979"/>
                <a:gd name="connsiteY30" fmla="*/ 859665 h 1505499"/>
                <a:gd name="connsiteX31" fmla="*/ 59619 w 1034979"/>
                <a:gd name="connsiteY31" fmla="*/ 863475 h 1505499"/>
                <a:gd name="connsiteX32" fmla="*/ 53904 w 1034979"/>
                <a:gd name="connsiteY32" fmla="*/ 867285 h 1505499"/>
                <a:gd name="connsiteX33" fmla="*/ 50094 w 1034979"/>
                <a:gd name="connsiteY33" fmla="*/ 873000 h 1505499"/>
                <a:gd name="connsiteX34" fmla="*/ 46284 w 1034979"/>
                <a:gd name="connsiteY34" fmla="*/ 884430 h 1505499"/>
                <a:gd name="connsiteX35" fmla="*/ 50094 w 1034979"/>
                <a:gd name="connsiteY35" fmla="*/ 922530 h 1505499"/>
                <a:gd name="connsiteX36" fmla="*/ 53904 w 1034979"/>
                <a:gd name="connsiteY36" fmla="*/ 928245 h 1505499"/>
                <a:gd name="connsiteX37" fmla="*/ 59619 w 1034979"/>
                <a:gd name="connsiteY37" fmla="*/ 932055 h 1505499"/>
                <a:gd name="connsiteX38" fmla="*/ 63429 w 1034979"/>
                <a:gd name="connsiteY38" fmla="*/ 937770 h 1505499"/>
                <a:gd name="connsiteX39" fmla="*/ 80574 w 1034979"/>
                <a:gd name="connsiteY39" fmla="*/ 947295 h 1505499"/>
                <a:gd name="connsiteX40" fmla="*/ 103434 w 1034979"/>
                <a:gd name="connsiteY40" fmla="*/ 949200 h 1505499"/>
                <a:gd name="connsiteX41" fmla="*/ 124389 w 1034979"/>
                <a:gd name="connsiteY41" fmla="*/ 954915 h 1505499"/>
                <a:gd name="connsiteX42" fmla="*/ 130104 w 1034979"/>
                <a:gd name="connsiteY42" fmla="*/ 956820 h 1505499"/>
                <a:gd name="connsiteX43" fmla="*/ 135819 w 1034979"/>
                <a:gd name="connsiteY43" fmla="*/ 962535 h 1505499"/>
                <a:gd name="connsiteX44" fmla="*/ 143439 w 1034979"/>
                <a:gd name="connsiteY44" fmla="*/ 964440 h 1505499"/>
                <a:gd name="connsiteX45" fmla="*/ 166299 w 1034979"/>
                <a:gd name="connsiteY45" fmla="*/ 968250 h 1505499"/>
                <a:gd name="connsiteX46" fmla="*/ 191064 w 1034979"/>
                <a:gd name="connsiteY46" fmla="*/ 973965 h 1505499"/>
                <a:gd name="connsiteX47" fmla="*/ 208209 w 1034979"/>
                <a:gd name="connsiteY47" fmla="*/ 979680 h 1505499"/>
                <a:gd name="connsiteX48" fmla="*/ 213924 w 1034979"/>
                <a:gd name="connsiteY48" fmla="*/ 981585 h 1505499"/>
                <a:gd name="connsiteX49" fmla="*/ 229164 w 1034979"/>
                <a:gd name="connsiteY49" fmla="*/ 985395 h 1505499"/>
                <a:gd name="connsiteX50" fmla="*/ 248214 w 1034979"/>
                <a:gd name="connsiteY50" fmla="*/ 991110 h 1505499"/>
                <a:gd name="connsiteX51" fmla="*/ 253929 w 1034979"/>
                <a:gd name="connsiteY51" fmla="*/ 994920 h 1505499"/>
                <a:gd name="connsiteX52" fmla="*/ 267264 w 1034979"/>
                <a:gd name="connsiteY52" fmla="*/ 1010160 h 1505499"/>
                <a:gd name="connsiteX53" fmla="*/ 272979 w 1034979"/>
                <a:gd name="connsiteY53" fmla="*/ 1029210 h 1505499"/>
                <a:gd name="connsiteX54" fmla="*/ 274884 w 1034979"/>
                <a:gd name="connsiteY54" fmla="*/ 1034925 h 1505499"/>
                <a:gd name="connsiteX55" fmla="*/ 276789 w 1034979"/>
                <a:gd name="connsiteY55" fmla="*/ 1040640 h 1505499"/>
                <a:gd name="connsiteX56" fmla="*/ 278694 w 1034979"/>
                <a:gd name="connsiteY56" fmla="*/ 1065405 h 1505499"/>
                <a:gd name="connsiteX57" fmla="*/ 280599 w 1034979"/>
                <a:gd name="connsiteY57" fmla="*/ 1071120 h 1505499"/>
                <a:gd name="connsiteX58" fmla="*/ 278694 w 1034979"/>
                <a:gd name="connsiteY58" fmla="*/ 1090170 h 1505499"/>
                <a:gd name="connsiteX59" fmla="*/ 276789 w 1034979"/>
                <a:gd name="connsiteY59" fmla="*/ 1099695 h 1505499"/>
                <a:gd name="connsiteX60" fmla="*/ 263454 w 1034979"/>
                <a:gd name="connsiteY60" fmla="*/ 1113030 h 1505499"/>
                <a:gd name="connsiteX61" fmla="*/ 252024 w 1034979"/>
                <a:gd name="connsiteY61" fmla="*/ 1120650 h 1505499"/>
                <a:gd name="connsiteX62" fmla="*/ 240594 w 1034979"/>
                <a:gd name="connsiteY62" fmla="*/ 1124460 h 1505499"/>
                <a:gd name="connsiteX63" fmla="*/ 126294 w 1034979"/>
                <a:gd name="connsiteY63" fmla="*/ 1124460 h 1505499"/>
                <a:gd name="connsiteX64" fmla="*/ 120579 w 1034979"/>
                <a:gd name="connsiteY64" fmla="*/ 1126365 h 1505499"/>
                <a:gd name="connsiteX65" fmla="*/ 105339 w 1034979"/>
                <a:gd name="connsiteY65" fmla="*/ 1128270 h 1505499"/>
                <a:gd name="connsiteX66" fmla="*/ 88194 w 1034979"/>
                <a:gd name="connsiteY66" fmla="*/ 1133985 h 1505499"/>
                <a:gd name="connsiteX67" fmla="*/ 82479 w 1034979"/>
                <a:gd name="connsiteY67" fmla="*/ 1135890 h 1505499"/>
                <a:gd name="connsiteX68" fmla="*/ 76764 w 1034979"/>
                <a:gd name="connsiteY68" fmla="*/ 1139700 h 1505499"/>
                <a:gd name="connsiteX69" fmla="*/ 65334 w 1034979"/>
                <a:gd name="connsiteY69" fmla="*/ 1141605 h 1505499"/>
                <a:gd name="connsiteX70" fmla="*/ 27234 w 1034979"/>
                <a:gd name="connsiteY70" fmla="*/ 1143510 h 1505499"/>
                <a:gd name="connsiteX71" fmla="*/ 15804 w 1034979"/>
                <a:gd name="connsiteY71" fmla="*/ 1149225 h 1505499"/>
                <a:gd name="connsiteX72" fmla="*/ 6279 w 1034979"/>
                <a:gd name="connsiteY72" fmla="*/ 1158750 h 1505499"/>
                <a:gd name="connsiteX73" fmla="*/ 4374 w 1034979"/>
                <a:gd name="connsiteY73" fmla="*/ 1164465 h 1505499"/>
                <a:gd name="connsiteX74" fmla="*/ 564 w 1034979"/>
                <a:gd name="connsiteY74" fmla="*/ 1170180 h 1505499"/>
                <a:gd name="connsiteX75" fmla="*/ 6279 w 1034979"/>
                <a:gd name="connsiteY75" fmla="*/ 1202565 h 1505499"/>
                <a:gd name="connsiteX76" fmla="*/ 11994 w 1034979"/>
                <a:gd name="connsiteY76" fmla="*/ 1206375 h 1505499"/>
                <a:gd name="connsiteX77" fmla="*/ 17709 w 1034979"/>
                <a:gd name="connsiteY77" fmla="*/ 1208280 h 1505499"/>
                <a:gd name="connsiteX78" fmla="*/ 145344 w 1034979"/>
                <a:gd name="connsiteY78" fmla="*/ 1206375 h 1505499"/>
                <a:gd name="connsiteX79" fmla="*/ 152964 w 1034979"/>
                <a:gd name="connsiteY79" fmla="*/ 1204470 h 1505499"/>
                <a:gd name="connsiteX80" fmla="*/ 303459 w 1034979"/>
                <a:gd name="connsiteY80" fmla="*/ 1198755 h 1505499"/>
                <a:gd name="connsiteX81" fmla="*/ 318699 w 1034979"/>
                <a:gd name="connsiteY81" fmla="*/ 1206375 h 1505499"/>
                <a:gd name="connsiteX82" fmla="*/ 330129 w 1034979"/>
                <a:gd name="connsiteY82" fmla="*/ 1212090 h 1505499"/>
                <a:gd name="connsiteX83" fmla="*/ 333939 w 1034979"/>
                <a:gd name="connsiteY83" fmla="*/ 1217805 h 1505499"/>
                <a:gd name="connsiteX84" fmla="*/ 339654 w 1034979"/>
                <a:gd name="connsiteY84" fmla="*/ 1219710 h 1505499"/>
                <a:gd name="connsiteX85" fmla="*/ 351084 w 1034979"/>
                <a:gd name="connsiteY85" fmla="*/ 1227330 h 1505499"/>
                <a:gd name="connsiteX86" fmla="*/ 356799 w 1034979"/>
                <a:gd name="connsiteY86" fmla="*/ 1231140 h 1505499"/>
                <a:gd name="connsiteX87" fmla="*/ 360609 w 1034979"/>
                <a:gd name="connsiteY87" fmla="*/ 1236855 h 1505499"/>
                <a:gd name="connsiteX88" fmla="*/ 366324 w 1034979"/>
                <a:gd name="connsiteY88" fmla="*/ 1248285 h 1505499"/>
                <a:gd name="connsiteX89" fmla="*/ 362514 w 1034979"/>
                <a:gd name="connsiteY89" fmla="*/ 1274955 h 1505499"/>
                <a:gd name="connsiteX90" fmla="*/ 358704 w 1034979"/>
                <a:gd name="connsiteY90" fmla="*/ 1280670 h 1505499"/>
                <a:gd name="connsiteX91" fmla="*/ 356799 w 1034979"/>
                <a:gd name="connsiteY91" fmla="*/ 1286385 h 1505499"/>
                <a:gd name="connsiteX92" fmla="*/ 352989 w 1034979"/>
                <a:gd name="connsiteY92" fmla="*/ 1292100 h 1505499"/>
                <a:gd name="connsiteX93" fmla="*/ 351084 w 1034979"/>
                <a:gd name="connsiteY93" fmla="*/ 1297815 h 1505499"/>
                <a:gd name="connsiteX94" fmla="*/ 347274 w 1034979"/>
                <a:gd name="connsiteY94" fmla="*/ 1303530 h 1505499"/>
                <a:gd name="connsiteX95" fmla="*/ 330129 w 1034979"/>
                <a:gd name="connsiteY95" fmla="*/ 1370205 h 1505499"/>
                <a:gd name="connsiteX96" fmla="*/ 328224 w 1034979"/>
                <a:gd name="connsiteY96" fmla="*/ 1421640 h 1505499"/>
                <a:gd name="connsiteX97" fmla="*/ 330129 w 1034979"/>
                <a:gd name="connsiteY97" fmla="*/ 1446405 h 1505499"/>
                <a:gd name="connsiteX98" fmla="*/ 332034 w 1034979"/>
                <a:gd name="connsiteY98" fmla="*/ 1452120 h 1505499"/>
                <a:gd name="connsiteX99" fmla="*/ 335844 w 1034979"/>
                <a:gd name="connsiteY99" fmla="*/ 1455930 h 1505499"/>
                <a:gd name="connsiteX100" fmla="*/ 364419 w 1034979"/>
                <a:gd name="connsiteY100" fmla="*/ 1501650 h 1505499"/>
                <a:gd name="connsiteX101" fmla="*/ 387279 w 1034979"/>
                <a:gd name="connsiteY101" fmla="*/ 1503555 h 1505499"/>
                <a:gd name="connsiteX102" fmla="*/ 392994 w 1034979"/>
                <a:gd name="connsiteY102" fmla="*/ 1497840 h 1505499"/>
                <a:gd name="connsiteX103" fmla="*/ 394899 w 1034979"/>
                <a:gd name="connsiteY103" fmla="*/ 1486410 h 1505499"/>
                <a:gd name="connsiteX104" fmla="*/ 396804 w 1034979"/>
                <a:gd name="connsiteY104" fmla="*/ 1480695 h 1505499"/>
                <a:gd name="connsiteX105" fmla="*/ 398709 w 1034979"/>
                <a:gd name="connsiteY105" fmla="*/ 1463550 h 1505499"/>
                <a:gd name="connsiteX106" fmla="*/ 400614 w 1034979"/>
                <a:gd name="connsiteY106" fmla="*/ 1450215 h 1505499"/>
                <a:gd name="connsiteX107" fmla="*/ 404424 w 1034979"/>
                <a:gd name="connsiteY107" fmla="*/ 1393065 h 1505499"/>
                <a:gd name="connsiteX108" fmla="*/ 410139 w 1034979"/>
                <a:gd name="connsiteY108" fmla="*/ 1381635 h 1505499"/>
                <a:gd name="connsiteX109" fmla="*/ 413949 w 1034979"/>
                <a:gd name="connsiteY109" fmla="*/ 1368300 h 1505499"/>
                <a:gd name="connsiteX110" fmla="*/ 415854 w 1034979"/>
                <a:gd name="connsiteY110" fmla="*/ 1362585 h 1505499"/>
                <a:gd name="connsiteX111" fmla="*/ 417759 w 1034979"/>
                <a:gd name="connsiteY111" fmla="*/ 1349250 h 1505499"/>
                <a:gd name="connsiteX112" fmla="*/ 421569 w 1034979"/>
                <a:gd name="connsiteY112" fmla="*/ 1337820 h 1505499"/>
                <a:gd name="connsiteX113" fmla="*/ 427284 w 1034979"/>
                <a:gd name="connsiteY113" fmla="*/ 1324485 h 1505499"/>
                <a:gd name="connsiteX114" fmla="*/ 436809 w 1034979"/>
                <a:gd name="connsiteY114" fmla="*/ 1313055 h 1505499"/>
                <a:gd name="connsiteX115" fmla="*/ 450144 w 1034979"/>
                <a:gd name="connsiteY115" fmla="*/ 1297815 h 1505499"/>
                <a:gd name="connsiteX116" fmla="*/ 457764 w 1034979"/>
                <a:gd name="connsiteY116" fmla="*/ 1286385 h 1505499"/>
                <a:gd name="connsiteX117" fmla="*/ 461574 w 1034979"/>
                <a:gd name="connsiteY117" fmla="*/ 1274955 h 1505499"/>
                <a:gd name="connsiteX118" fmla="*/ 465384 w 1034979"/>
                <a:gd name="connsiteY118" fmla="*/ 1259715 h 1505499"/>
                <a:gd name="connsiteX119" fmla="*/ 467289 w 1034979"/>
                <a:gd name="connsiteY119" fmla="*/ 1254000 h 1505499"/>
                <a:gd name="connsiteX120" fmla="*/ 507294 w 1034979"/>
                <a:gd name="connsiteY120" fmla="*/ 1248285 h 1505499"/>
                <a:gd name="connsiteX121" fmla="*/ 535869 w 1034979"/>
                <a:gd name="connsiteY121" fmla="*/ 1238760 h 1505499"/>
                <a:gd name="connsiteX122" fmla="*/ 541584 w 1034979"/>
                <a:gd name="connsiteY122" fmla="*/ 1236855 h 1505499"/>
                <a:gd name="connsiteX123" fmla="*/ 547299 w 1034979"/>
                <a:gd name="connsiteY123" fmla="*/ 1234950 h 1505499"/>
                <a:gd name="connsiteX124" fmla="*/ 554919 w 1034979"/>
                <a:gd name="connsiteY124" fmla="*/ 1233045 h 1505499"/>
                <a:gd name="connsiteX125" fmla="*/ 573969 w 1034979"/>
                <a:gd name="connsiteY125" fmla="*/ 1225425 h 1505499"/>
                <a:gd name="connsiteX126" fmla="*/ 585399 w 1034979"/>
                <a:gd name="connsiteY126" fmla="*/ 1221615 h 1505499"/>
                <a:gd name="connsiteX127" fmla="*/ 720654 w 1034979"/>
                <a:gd name="connsiteY127" fmla="*/ 1305435 h 1505499"/>
                <a:gd name="connsiteX128" fmla="*/ 733989 w 1034979"/>
                <a:gd name="connsiteY128" fmla="*/ 1314960 h 1505499"/>
                <a:gd name="connsiteX129" fmla="*/ 743514 w 1034979"/>
                <a:gd name="connsiteY129" fmla="*/ 1316865 h 1505499"/>
                <a:gd name="connsiteX130" fmla="*/ 749229 w 1034979"/>
                <a:gd name="connsiteY130" fmla="*/ 1318770 h 1505499"/>
                <a:gd name="connsiteX131" fmla="*/ 762564 w 1034979"/>
                <a:gd name="connsiteY131" fmla="*/ 1324485 h 1505499"/>
                <a:gd name="connsiteX132" fmla="*/ 777804 w 1034979"/>
                <a:gd name="connsiteY132" fmla="*/ 1322580 h 1505499"/>
                <a:gd name="connsiteX133" fmla="*/ 789234 w 1034979"/>
                <a:gd name="connsiteY133" fmla="*/ 1316865 h 1505499"/>
                <a:gd name="connsiteX134" fmla="*/ 794949 w 1034979"/>
                <a:gd name="connsiteY134" fmla="*/ 1314960 h 1505499"/>
                <a:gd name="connsiteX135" fmla="*/ 802569 w 1034979"/>
                <a:gd name="connsiteY135" fmla="*/ 1297815 h 1505499"/>
                <a:gd name="connsiteX136" fmla="*/ 800664 w 1034979"/>
                <a:gd name="connsiteY136" fmla="*/ 1273050 h 1505499"/>
                <a:gd name="connsiteX137" fmla="*/ 798759 w 1034979"/>
                <a:gd name="connsiteY137" fmla="*/ 1267335 h 1505499"/>
                <a:gd name="connsiteX138" fmla="*/ 796854 w 1034979"/>
                <a:gd name="connsiteY138" fmla="*/ 1259715 h 1505499"/>
                <a:gd name="connsiteX139" fmla="*/ 783519 w 1034979"/>
                <a:gd name="connsiteY139" fmla="*/ 1242570 h 1505499"/>
                <a:gd name="connsiteX140" fmla="*/ 773994 w 1034979"/>
                <a:gd name="connsiteY140" fmla="*/ 1236855 h 1505499"/>
                <a:gd name="connsiteX141" fmla="*/ 648264 w 1034979"/>
                <a:gd name="connsiteY141" fmla="*/ 1145415 h 1505499"/>
                <a:gd name="connsiteX142" fmla="*/ 644454 w 1034979"/>
                <a:gd name="connsiteY142" fmla="*/ 1128270 h 1505499"/>
                <a:gd name="connsiteX143" fmla="*/ 646359 w 1034979"/>
                <a:gd name="connsiteY143" fmla="*/ 1120650 h 1505499"/>
                <a:gd name="connsiteX144" fmla="*/ 650169 w 1034979"/>
                <a:gd name="connsiteY144" fmla="*/ 1103505 h 1505499"/>
                <a:gd name="connsiteX145" fmla="*/ 653979 w 1034979"/>
                <a:gd name="connsiteY145" fmla="*/ 1097790 h 1505499"/>
                <a:gd name="connsiteX146" fmla="*/ 655884 w 1034979"/>
                <a:gd name="connsiteY146" fmla="*/ 1092075 h 1505499"/>
                <a:gd name="connsiteX147" fmla="*/ 661599 w 1034979"/>
                <a:gd name="connsiteY147" fmla="*/ 1090170 h 1505499"/>
                <a:gd name="connsiteX148" fmla="*/ 671124 w 1034979"/>
                <a:gd name="connsiteY148" fmla="*/ 1078740 h 1505499"/>
                <a:gd name="connsiteX149" fmla="*/ 724464 w 1034979"/>
                <a:gd name="connsiteY149" fmla="*/ 1071120 h 1505499"/>
                <a:gd name="connsiteX150" fmla="*/ 842574 w 1034979"/>
                <a:gd name="connsiteY150" fmla="*/ 1073025 h 1505499"/>
                <a:gd name="connsiteX151" fmla="*/ 871149 w 1034979"/>
                <a:gd name="connsiteY151" fmla="*/ 1074930 h 1505499"/>
                <a:gd name="connsiteX152" fmla="*/ 899724 w 1034979"/>
                <a:gd name="connsiteY152" fmla="*/ 1080645 h 1505499"/>
                <a:gd name="connsiteX153" fmla="*/ 922584 w 1034979"/>
                <a:gd name="connsiteY153" fmla="*/ 1084455 h 1505499"/>
                <a:gd name="connsiteX154" fmla="*/ 951159 w 1034979"/>
                <a:gd name="connsiteY154" fmla="*/ 1090170 h 1505499"/>
                <a:gd name="connsiteX155" fmla="*/ 956874 w 1034979"/>
                <a:gd name="connsiteY155" fmla="*/ 1090170 h 1505499"/>
                <a:gd name="connsiteX156" fmla="*/ 1002594 w 1034979"/>
                <a:gd name="connsiteY156" fmla="*/ 1088265 h 1505499"/>
                <a:gd name="connsiteX157" fmla="*/ 1031169 w 1034979"/>
                <a:gd name="connsiteY157" fmla="*/ 1080645 h 1505499"/>
                <a:gd name="connsiteX158" fmla="*/ 1034979 w 1034979"/>
                <a:gd name="connsiteY158" fmla="*/ 1074930 h 1505499"/>
                <a:gd name="connsiteX159" fmla="*/ 1033074 w 1034979"/>
                <a:gd name="connsiteY159" fmla="*/ 1055880 h 1505499"/>
                <a:gd name="connsiteX160" fmla="*/ 1027359 w 1034979"/>
                <a:gd name="connsiteY160" fmla="*/ 1052070 h 1505499"/>
                <a:gd name="connsiteX161" fmla="*/ 1012119 w 1034979"/>
                <a:gd name="connsiteY161" fmla="*/ 1050165 h 1505499"/>
                <a:gd name="connsiteX162" fmla="*/ 1006404 w 1034979"/>
                <a:gd name="connsiteY162" fmla="*/ 1048260 h 1505499"/>
                <a:gd name="connsiteX163" fmla="*/ 998784 w 1034979"/>
                <a:gd name="connsiteY163" fmla="*/ 1046355 h 1505499"/>
                <a:gd name="connsiteX164" fmla="*/ 987354 w 1034979"/>
                <a:gd name="connsiteY164" fmla="*/ 1038735 h 1505499"/>
                <a:gd name="connsiteX165" fmla="*/ 975924 w 1034979"/>
                <a:gd name="connsiteY165" fmla="*/ 1034925 h 1505499"/>
                <a:gd name="connsiteX166" fmla="*/ 970209 w 1034979"/>
                <a:gd name="connsiteY166" fmla="*/ 1033020 h 1505499"/>
                <a:gd name="connsiteX167" fmla="*/ 962589 w 1034979"/>
                <a:gd name="connsiteY167" fmla="*/ 1031115 h 1505499"/>
                <a:gd name="connsiteX168" fmla="*/ 956874 w 1034979"/>
                <a:gd name="connsiteY168" fmla="*/ 1029210 h 1505499"/>
                <a:gd name="connsiteX169" fmla="*/ 935919 w 1034979"/>
                <a:gd name="connsiteY169" fmla="*/ 1023495 h 1505499"/>
                <a:gd name="connsiteX170" fmla="*/ 930204 w 1034979"/>
                <a:gd name="connsiteY170" fmla="*/ 1021590 h 1505499"/>
                <a:gd name="connsiteX171" fmla="*/ 825429 w 1034979"/>
                <a:gd name="connsiteY171" fmla="*/ 1023495 h 1505499"/>
                <a:gd name="connsiteX172" fmla="*/ 819714 w 1034979"/>
                <a:gd name="connsiteY172" fmla="*/ 1025400 h 1505499"/>
                <a:gd name="connsiteX173" fmla="*/ 730179 w 1034979"/>
                <a:gd name="connsiteY173" fmla="*/ 1027305 h 1505499"/>
                <a:gd name="connsiteX174" fmla="*/ 716844 w 1034979"/>
                <a:gd name="connsiteY174" fmla="*/ 1031115 h 1505499"/>
                <a:gd name="connsiteX175" fmla="*/ 695889 w 1034979"/>
                <a:gd name="connsiteY175" fmla="*/ 1033020 h 1505499"/>
                <a:gd name="connsiteX176" fmla="*/ 669219 w 1034979"/>
                <a:gd name="connsiteY176" fmla="*/ 1034925 h 1505499"/>
                <a:gd name="connsiteX177" fmla="*/ 669219 w 1034979"/>
                <a:gd name="connsiteY177" fmla="*/ 1034925 h 1505499"/>
                <a:gd name="connsiteX178" fmla="*/ 646359 w 1034979"/>
                <a:gd name="connsiteY178" fmla="*/ 1038735 h 1505499"/>
                <a:gd name="connsiteX179" fmla="*/ 642549 w 1034979"/>
                <a:gd name="connsiteY179" fmla="*/ 1027305 h 1505499"/>
                <a:gd name="connsiteX180" fmla="*/ 640644 w 1034979"/>
                <a:gd name="connsiteY180" fmla="*/ 1021590 h 1505499"/>
                <a:gd name="connsiteX181" fmla="*/ 642549 w 1034979"/>
                <a:gd name="connsiteY181" fmla="*/ 1004445 h 1505499"/>
                <a:gd name="connsiteX182" fmla="*/ 644454 w 1034979"/>
                <a:gd name="connsiteY182" fmla="*/ 998730 h 1505499"/>
                <a:gd name="connsiteX183" fmla="*/ 661599 w 1034979"/>
                <a:gd name="connsiteY183" fmla="*/ 989205 h 1505499"/>
                <a:gd name="connsiteX184" fmla="*/ 673029 w 1034979"/>
                <a:gd name="connsiteY184" fmla="*/ 981585 h 1505499"/>
                <a:gd name="connsiteX185" fmla="*/ 674934 w 1034979"/>
                <a:gd name="connsiteY185" fmla="*/ 975870 h 1505499"/>
                <a:gd name="connsiteX186" fmla="*/ 680649 w 1034979"/>
                <a:gd name="connsiteY186" fmla="*/ 973965 h 1505499"/>
                <a:gd name="connsiteX187" fmla="*/ 686364 w 1034979"/>
                <a:gd name="connsiteY187" fmla="*/ 970155 h 1505499"/>
                <a:gd name="connsiteX188" fmla="*/ 695889 w 1034979"/>
                <a:gd name="connsiteY188" fmla="*/ 960630 h 1505499"/>
                <a:gd name="connsiteX189" fmla="*/ 705414 w 1034979"/>
                <a:gd name="connsiteY189" fmla="*/ 949200 h 1505499"/>
                <a:gd name="connsiteX190" fmla="*/ 716844 w 1034979"/>
                <a:gd name="connsiteY190" fmla="*/ 941580 h 1505499"/>
                <a:gd name="connsiteX191" fmla="*/ 732084 w 1034979"/>
                <a:gd name="connsiteY191" fmla="*/ 928245 h 1505499"/>
                <a:gd name="connsiteX192" fmla="*/ 741609 w 1034979"/>
                <a:gd name="connsiteY192" fmla="*/ 916815 h 1505499"/>
                <a:gd name="connsiteX193" fmla="*/ 753039 w 1034979"/>
                <a:gd name="connsiteY193" fmla="*/ 907290 h 1505499"/>
                <a:gd name="connsiteX194" fmla="*/ 758754 w 1034979"/>
                <a:gd name="connsiteY194" fmla="*/ 895860 h 1505499"/>
                <a:gd name="connsiteX195" fmla="*/ 760659 w 1034979"/>
                <a:gd name="connsiteY195" fmla="*/ 890145 h 1505499"/>
                <a:gd name="connsiteX196" fmla="*/ 766374 w 1034979"/>
                <a:gd name="connsiteY196" fmla="*/ 878715 h 1505499"/>
                <a:gd name="connsiteX197" fmla="*/ 764469 w 1034979"/>
                <a:gd name="connsiteY197" fmla="*/ 863475 h 1505499"/>
                <a:gd name="connsiteX198" fmla="*/ 758754 w 1034979"/>
                <a:gd name="connsiteY198" fmla="*/ 861570 h 1505499"/>
                <a:gd name="connsiteX199" fmla="*/ 737799 w 1034979"/>
                <a:gd name="connsiteY199" fmla="*/ 863475 h 1505499"/>
                <a:gd name="connsiteX200" fmla="*/ 732084 w 1034979"/>
                <a:gd name="connsiteY200" fmla="*/ 867285 h 1505499"/>
                <a:gd name="connsiteX201" fmla="*/ 720654 w 1034979"/>
                <a:gd name="connsiteY201" fmla="*/ 871095 h 1505499"/>
                <a:gd name="connsiteX202" fmla="*/ 716844 w 1034979"/>
                <a:gd name="connsiteY202" fmla="*/ 876810 h 1505499"/>
                <a:gd name="connsiteX203" fmla="*/ 711129 w 1034979"/>
                <a:gd name="connsiteY203" fmla="*/ 878715 h 1505499"/>
                <a:gd name="connsiteX204" fmla="*/ 705414 w 1034979"/>
                <a:gd name="connsiteY204" fmla="*/ 882525 h 1505499"/>
                <a:gd name="connsiteX205" fmla="*/ 699699 w 1034979"/>
                <a:gd name="connsiteY205" fmla="*/ 888240 h 1505499"/>
                <a:gd name="connsiteX206" fmla="*/ 692079 w 1034979"/>
                <a:gd name="connsiteY206" fmla="*/ 892050 h 1505499"/>
                <a:gd name="connsiteX207" fmla="*/ 650169 w 1034979"/>
                <a:gd name="connsiteY207" fmla="*/ 920625 h 1505499"/>
                <a:gd name="connsiteX208" fmla="*/ 636834 w 1034979"/>
                <a:gd name="connsiteY208" fmla="*/ 932055 h 1505499"/>
                <a:gd name="connsiteX209" fmla="*/ 627309 w 1034979"/>
                <a:gd name="connsiteY209" fmla="*/ 949200 h 1505499"/>
                <a:gd name="connsiteX210" fmla="*/ 602544 w 1034979"/>
                <a:gd name="connsiteY210" fmla="*/ 954915 h 1505499"/>
                <a:gd name="connsiteX211" fmla="*/ 589209 w 1034979"/>
                <a:gd name="connsiteY211" fmla="*/ 958725 h 1505499"/>
                <a:gd name="connsiteX212" fmla="*/ 573969 w 1034979"/>
                <a:gd name="connsiteY212" fmla="*/ 956820 h 1505499"/>
                <a:gd name="connsiteX213" fmla="*/ 562539 w 1034979"/>
                <a:gd name="connsiteY213" fmla="*/ 953010 h 1505499"/>
                <a:gd name="connsiteX214" fmla="*/ 551109 w 1034979"/>
                <a:gd name="connsiteY214" fmla="*/ 949200 h 1505499"/>
                <a:gd name="connsiteX215" fmla="*/ 539679 w 1034979"/>
                <a:gd name="connsiteY215" fmla="*/ 945390 h 1505499"/>
                <a:gd name="connsiteX216" fmla="*/ 533964 w 1034979"/>
                <a:gd name="connsiteY216" fmla="*/ 943485 h 1505499"/>
                <a:gd name="connsiteX217" fmla="*/ 528249 w 1034979"/>
                <a:gd name="connsiteY217" fmla="*/ 939675 h 1505499"/>
                <a:gd name="connsiteX218" fmla="*/ 516819 w 1034979"/>
                <a:gd name="connsiteY218" fmla="*/ 933960 h 1505499"/>
                <a:gd name="connsiteX219" fmla="*/ 509199 w 1034979"/>
                <a:gd name="connsiteY219" fmla="*/ 922530 h 1505499"/>
                <a:gd name="connsiteX220" fmla="*/ 505389 w 1034979"/>
                <a:gd name="connsiteY220" fmla="*/ 901575 h 1505499"/>
                <a:gd name="connsiteX221" fmla="*/ 507294 w 1034979"/>
                <a:gd name="connsiteY221" fmla="*/ 836805 h 1505499"/>
                <a:gd name="connsiteX222" fmla="*/ 513009 w 1034979"/>
                <a:gd name="connsiteY222" fmla="*/ 823470 h 1505499"/>
                <a:gd name="connsiteX223" fmla="*/ 503484 w 1034979"/>
                <a:gd name="connsiteY223" fmla="*/ 347220 h 1505499"/>
                <a:gd name="connsiteX224" fmla="*/ 499674 w 1034979"/>
                <a:gd name="connsiteY224" fmla="*/ 55755 h 1505499"/>
                <a:gd name="connsiteX225" fmla="*/ 490149 w 1034979"/>
                <a:gd name="connsiteY225" fmla="*/ 29085 h 1505499"/>
                <a:gd name="connsiteX226" fmla="*/ 488244 w 1034979"/>
                <a:gd name="connsiteY226" fmla="*/ 23370 h 1505499"/>
                <a:gd name="connsiteX227" fmla="*/ 484434 w 1034979"/>
                <a:gd name="connsiteY227" fmla="*/ 17655 h 1505499"/>
                <a:gd name="connsiteX228" fmla="*/ 478719 w 1034979"/>
                <a:gd name="connsiteY228" fmla="*/ 6225 h 1505499"/>
                <a:gd name="connsiteX229" fmla="*/ 473004 w 1034979"/>
                <a:gd name="connsiteY229" fmla="*/ 2415 h 1505499"/>
                <a:gd name="connsiteX230" fmla="*/ 429189 w 1034979"/>
                <a:gd name="connsiteY230" fmla="*/ 510 h 1505499"/>
                <a:gd name="connsiteX231" fmla="*/ 421569 w 1034979"/>
                <a:gd name="connsiteY231" fmla="*/ 11940 h 1505499"/>
                <a:gd name="connsiteX232" fmla="*/ 417759 w 1034979"/>
                <a:gd name="connsiteY232" fmla="*/ 17655 h 1505499"/>
                <a:gd name="connsiteX233" fmla="*/ 419664 w 1034979"/>
                <a:gd name="connsiteY233" fmla="*/ 50040 h 1505499"/>
                <a:gd name="connsiteX234" fmla="*/ 423474 w 1034979"/>
                <a:gd name="connsiteY234" fmla="*/ 61470 h 1505499"/>
                <a:gd name="connsiteX235" fmla="*/ 425379 w 1034979"/>
                <a:gd name="connsiteY235" fmla="*/ 67185 h 1505499"/>
                <a:gd name="connsiteX236" fmla="*/ 425379 w 1034979"/>
                <a:gd name="connsiteY236" fmla="*/ 72900 h 1505499"/>
                <a:gd name="connsiteX237" fmla="*/ 429189 w 1034979"/>
                <a:gd name="connsiteY237" fmla="*/ 227205 h 1505499"/>
                <a:gd name="connsiteX238" fmla="*/ 440619 w 1034979"/>
                <a:gd name="connsiteY238" fmla="*/ 410085 h 1505499"/>
                <a:gd name="connsiteX239" fmla="*/ 425379 w 1034979"/>
                <a:gd name="connsiteY239" fmla="*/ 707265 h 1505499"/>
                <a:gd name="connsiteX240" fmla="*/ 417759 w 1034979"/>
                <a:gd name="connsiteY240" fmla="*/ 834900 h 1505499"/>
                <a:gd name="connsiteX241" fmla="*/ 413949 w 1034979"/>
                <a:gd name="connsiteY241" fmla="*/ 852045 h 1505499"/>
                <a:gd name="connsiteX242" fmla="*/ 417759 w 1034979"/>
                <a:gd name="connsiteY242" fmla="*/ 873000 h 1505499"/>
                <a:gd name="connsiteX243" fmla="*/ 421569 w 1034979"/>
                <a:gd name="connsiteY243" fmla="*/ 878715 h 1505499"/>
                <a:gd name="connsiteX244" fmla="*/ 425379 w 1034979"/>
                <a:gd name="connsiteY244" fmla="*/ 890145 h 1505499"/>
                <a:gd name="connsiteX245" fmla="*/ 423474 w 1034979"/>
                <a:gd name="connsiteY245" fmla="*/ 916815 h 1505499"/>
                <a:gd name="connsiteX246" fmla="*/ 417759 w 1034979"/>
                <a:gd name="connsiteY246" fmla="*/ 918720 h 1505499"/>
                <a:gd name="connsiteX247" fmla="*/ 412044 w 1034979"/>
                <a:gd name="connsiteY247" fmla="*/ 922530 h 1505499"/>
                <a:gd name="connsiteX248" fmla="*/ 421569 w 1034979"/>
                <a:gd name="connsiteY248" fmla="*/ 918720 h 1505499"/>
                <a:gd name="connsiteX0" fmla="*/ 421569 w 1034979"/>
                <a:gd name="connsiteY0" fmla="*/ 918360 h 1505139"/>
                <a:gd name="connsiteX1" fmla="*/ 421569 w 1034979"/>
                <a:gd name="connsiteY1" fmla="*/ 918360 h 1505139"/>
                <a:gd name="connsiteX2" fmla="*/ 394899 w 1034979"/>
                <a:gd name="connsiteY2" fmla="*/ 927885 h 1505139"/>
                <a:gd name="connsiteX3" fmla="*/ 387279 w 1034979"/>
                <a:gd name="connsiteY3" fmla="*/ 929790 h 1505139"/>
                <a:gd name="connsiteX4" fmla="*/ 356799 w 1034979"/>
                <a:gd name="connsiteY4" fmla="*/ 931695 h 1505139"/>
                <a:gd name="connsiteX5" fmla="*/ 351084 w 1034979"/>
                <a:gd name="connsiteY5" fmla="*/ 935505 h 1505139"/>
                <a:gd name="connsiteX6" fmla="*/ 339654 w 1034979"/>
                <a:gd name="connsiteY6" fmla="*/ 945030 h 1505139"/>
                <a:gd name="connsiteX7" fmla="*/ 328224 w 1034979"/>
                <a:gd name="connsiteY7" fmla="*/ 948840 h 1505139"/>
                <a:gd name="connsiteX8" fmla="*/ 312984 w 1034979"/>
                <a:gd name="connsiteY8" fmla="*/ 954555 h 1505139"/>
                <a:gd name="connsiteX9" fmla="*/ 265359 w 1034979"/>
                <a:gd name="connsiteY9" fmla="*/ 950745 h 1505139"/>
                <a:gd name="connsiteX10" fmla="*/ 253929 w 1034979"/>
                <a:gd name="connsiteY10" fmla="*/ 946935 h 1505139"/>
                <a:gd name="connsiteX11" fmla="*/ 242499 w 1034979"/>
                <a:gd name="connsiteY11" fmla="*/ 943125 h 1505139"/>
                <a:gd name="connsiteX12" fmla="*/ 236784 w 1034979"/>
                <a:gd name="connsiteY12" fmla="*/ 941220 h 1505139"/>
                <a:gd name="connsiteX13" fmla="*/ 231069 w 1034979"/>
                <a:gd name="connsiteY13" fmla="*/ 939315 h 1505139"/>
                <a:gd name="connsiteX14" fmla="*/ 219639 w 1034979"/>
                <a:gd name="connsiteY14" fmla="*/ 937410 h 1505139"/>
                <a:gd name="connsiteX15" fmla="*/ 213924 w 1034979"/>
                <a:gd name="connsiteY15" fmla="*/ 935505 h 1505139"/>
                <a:gd name="connsiteX16" fmla="*/ 206304 w 1034979"/>
                <a:gd name="connsiteY16" fmla="*/ 933600 h 1505139"/>
                <a:gd name="connsiteX17" fmla="*/ 194874 w 1034979"/>
                <a:gd name="connsiteY17" fmla="*/ 929790 h 1505139"/>
                <a:gd name="connsiteX18" fmla="*/ 189159 w 1034979"/>
                <a:gd name="connsiteY18" fmla="*/ 927885 h 1505139"/>
                <a:gd name="connsiteX19" fmla="*/ 181539 w 1034979"/>
                <a:gd name="connsiteY19" fmla="*/ 925980 h 1505139"/>
                <a:gd name="connsiteX20" fmla="*/ 170109 w 1034979"/>
                <a:gd name="connsiteY20" fmla="*/ 920265 h 1505139"/>
                <a:gd name="connsiteX21" fmla="*/ 164394 w 1034979"/>
                <a:gd name="connsiteY21" fmla="*/ 916455 h 1505139"/>
                <a:gd name="connsiteX22" fmla="*/ 156774 w 1034979"/>
                <a:gd name="connsiteY22" fmla="*/ 905025 h 1505139"/>
                <a:gd name="connsiteX23" fmla="*/ 145344 w 1034979"/>
                <a:gd name="connsiteY23" fmla="*/ 901215 h 1505139"/>
                <a:gd name="connsiteX24" fmla="*/ 139629 w 1034979"/>
                <a:gd name="connsiteY24" fmla="*/ 897405 h 1505139"/>
                <a:gd name="connsiteX25" fmla="*/ 133914 w 1034979"/>
                <a:gd name="connsiteY25" fmla="*/ 895500 h 1505139"/>
                <a:gd name="connsiteX26" fmla="*/ 116769 w 1034979"/>
                <a:gd name="connsiteY26" fmla="*/ 891690 h 1505139"/>
                <a:gd name="connsiteX27" fmla="*/ 111054 w 1034979"/>
                <a:gd name="connsiteY27" fmla="*/ 885975 h 1505139"/>
                <a:gd name="connsiteX28" fmla="*/ 101529 w 1034979"/>
                <a:gd name="connsiteY28" fmla="*/ 868830 h 1505139"/>
                <a:gd name="connsiteX29" fmla="*/ 84384 w 1034979"/>
                <a:gd name="connsiteY29" fmla="*/ 861210 h 1505139"/>
                <a:gd name="connsiteX30" fmla="*/ 78669 w 1034979"/>
                <a:gd name="connsiteY30" fmla="*/ 859305 h 1505139"/>
                <a:gd name="connsiteX31" fmla="*/ 59619 w 1034979"/>
                <a:gd name="connsiteY31" fmla="*/ 863115 h 1505139"/>
                <a:gd name="connsiteX32" fmla="*/ 53904 w 1034979"/>
                <a:gd name="connsiteY32" fmla="*/ 866925 h 1505139"/>
                <a:gd name="connsiteX33" fmla="*/ 50094 w 1034979"/>
                <a:gd name="connsiteY33" fmla="*/ 872640 h 1505139"/>
                <a:gd name="connsiteX34" fmla="*/ 46284 w 1034979"/>
                <a:gd name="connsiteY34" fmla="*/ 884070 h 1505139"/>
                <a:gd name="connsiteX35" fmla="*/ 50094 w 1034979"/>
                <a:gd name="connsiteY35" fmla="*/ 922170 h 1505139"/>
                <a:gd name="connsiteX36" fmla="*/ 53904 w 1034979"/>
                <a:gd name="connsiteY36" fmla="*/ 927885 h 1505139"/>
                <a:gd name="connsiteX37" fmla="*/ 59619 w 1034979"/>
                <a:gd name="connsiteY37" fmla="*/ 931695 h 1505139"/>
                <a:gd name="connsiteX38" fmla="*/ 63429 w 1034979"/>
                <a:gd name="connsiteY38" fmla="*/ 937410 h 1505139"/>
                <a:gd name="connsiteX39" fmla="*/ 80574 w 1034979"/>
                <a:gd name="connsiteY39" fmla="*/ 946935 h 1505139"/>
                <a:gd name="connsiteX40" fmla="*/ 103434 w 1034979"/>
                <a:gd name="connsiteY40" fmla="*/ 948840 h 1505139"/>
                <a:gd name="connsiteX41" fmla="*/ 124389 w 1034979"/>
                <a:gd name="connsiteY41" fmla="*/ 954555 h 1505139"/>
                <a:gd name="connsiteX42" fmla="*/ 130104 w 1034979"/>
                <a:gd name="connsiteY42" fmla="*/ 956460 h 1505139"/>
                <a:gd name="connsiteX43" fmla="*/ 135819 w 1034979"/>
                <a:gd name="connsiteY43" fmla="*/ 962175 h 1505139"/>
                <a:gd name="connsiteX44" fmla="*/ 143439 w 1034979"/>
                <a:gd name="connsiteY44" fmla="*/ 964080 h 1505139"/>
                <a:gd name="connsiteX45" fmla="*/ 166299 w 1034979"/>
                <a:gd name="connsiteY45" fmla="*/ 967890 h 1505139"/>
                <a:gd name="connsiteX46" fmla="*/ 191064 w 1034979"/>
                <a:gd name="connsiteY46" fmla="*/ 973605 h 1505139"/>
                <a:gd name="connsiteX47" fmla="*/ 208209 w 1034979"/>
                <a:gd name="connsiteY47" fmla="*/ 979320 h 1505139"/>
                <a:gd name="connsiteX48" fmla="*/ 213924 w 1034979"/>
                <a:gd name="connsiteY48" fmla="*/ 981225 h 1505139"/>
                <a:gd name="connsiteX49" fmla="*/ 229164 w 1034979"/>
                <a:gd name="connsiteY49" fmla="*/ 985035 h 1505139"/>
                <a:gd name="connsiteX50" fmla="*/ 248214 w 1034979"/>
                <a:gd name="connsiteY50" fmla="*/ 990750 h 1505139"/>
                <a:gd name="connsiteX51" fmla="*/ 253929 w 1034979"/>
                <a:gd name="connsiteY51" fmla="*/ 994560 h 1505139"/>
                <a:gd name="connsiteX52" fmla="*/ 267264 w 1034979"/>
                <a:gd name="connsiteY52" fmla="*/ 1009800 h 1505139"/>
                <a:gd name="connsiteX53" fmla="*/ 272979 w 1034979"/>
                <a:gd name="connsiteY53" fmla="*/ 1028850 h 1505139"/>
                <a:gd name="connsiteX54" fmla="*/ 274884 w 1034979"/>
                <a:gd name="connsiteY54" fmla="*/ 1034565 h 1505139"/>
                <a:gd name="connsiteX55" fmla="*/ 276789 w 1034979"/>
                <a:gd name="connsiteY55" fmla="*/ 1040280 h 1505139"/>
                <a:gd name="connsiteX56" fmla="*/ 278694 w 1034979"/>
                <a:gd name="connsiteY56" fmla="*/ 1065045 h 1505139"/>
                <a:gd name="connsiteX57" fmla="*/ 280599 w 1034979"/>
                <a:gd name="connsiteY57" fmla="*/ 1070760 h 1505139"/>
                <a:gd name="connsiteX58" fmla="*/ 278694 w 1034979"/>
                <a:gd name="connsiteY58" fmla="*/ 1089810 h 1505139"/>
                <a:gd name="connsiteX59" fmla="*/ 276789 w 1034979"/>
                <a:gd name="connsiteY59" fmla="*/ 1099335 h 1505139"/>
                <a:gd name="connsiteX60" fmla="*/ 263454 w 1034979"/>
                <a:gd name="connsiteY60" fmla="*/ 1112670 h 1505139"/>
                <a:gd name="connsiteX61" fmla="*/ 252024 w 1034979"/>
                <a:gd name="connsiteY61" fmla="*/ 1120290 h 1505139"/>
                <a:gd name="connsiteX62" fmla="*/ 240594 w 1034979"/>
                <a:gd name="connsiteY62" fmla="*/ 1124100 h 1505139"/>
                <a:gd name="connsiteX63" fmla="*/ 126294 w 1034979"/>
                <a:gd name="connsiteY63" fmla="*/ 1124100 h 1505139"/>
                <a:gd name="connsiteX64" fmla="*/ 120579 w 1034979"/>
                <a:gd name="connsiteY64" fmla="*/ 1126005 h 1505139"/>
                <a:gd name="connsiteX65" fmla="*/ 105339 w 1034979"/>
                <a:gd name="connsiteY65" fmla="*/ 1127910 h 1505139"/>
                <a:gd name="connsiteX66" fmla="*/ 88194 w 1034979"/>
                <a:gd name="connsiteY66" fmla="*/ 1133625 h 1505139"/>
                <a:gd name="connsiteX67" fmla="*/ 82479 w 1034979"/>
                <a:gd name="connsiteY67" fmla="*/ 1135530 h 1505139"/>
                <a:gd name="connsiteX68" fmla="*/ 76764 w 1034979"/>
                <a:gd name="connsiteY68" fmla="*/ 1139340 h 1505139"/>
                <a:gd name="connsiteX69" fmla="*/ 65334 w 1034979"/>
                <a:gd name="connsiteY69" fmla="*/ 1141245 h 1505139"/>
                <a:gd name="connsiteX70" fmla="*/ 27234 w 1034979"/>
                <a:gd name="connsiteY70" fmla="*/ 1143150 h 1505139"/>
                <a:gd name="connsiteX71" fmla="*/ 15804 w 1034979"/>
                <a:gd name="connsiteY71" fmla="*/ 1148865 h 1505139"/>
                <a:gd name="connsiteX72" fmla="*/ 6279 w 1034979"/>
                <a:gd name="connsiteY72" fmla="*/ 1158390 h 1505139"/>
                <a:gd name="connsiteX73" fmla="*/ 4374 w 1034979"/>
                <a:gd name="connsiteY73" fmla="*/ 1164105 h 1505139"/>
                <a:gd name="connsiteX74" fmla="*/ 564 w 1034979"/>
                <a:gd name="connsiteY74" fmla="*/ 1169820 h 1505139"/>
                <a:gd name="connsiteX75" fmla="*/ 6279 w 1034979"/>
                <a:gd name="connsiteY75" fmla="*/ 1202205 h 1505139"/>
                <a:gd name="connsiteX76" fmla="*/ 11994 w 1034979"/>
                <a:gd name="connsiteY76" fmla="*/ 1206015 h 1505139"/>
                <a:gd name="connsiteX77" fmla="*/ 17709 w 1034979"/>
                <a:gd name="connsiteY77" fmla="*/ 1207920 h 1505139"/>
                <a:gd name="connsiteX78" fmla="*/ 145344 w 1034979"/>
                <a:gd name="connsiteY78" fmla="*/ 1206015 h 1505139"/>
                <a:gd name="connsiteX79" fmla="*/ 152964 w 1034979"/>
                <a:gd name="connsiteY79" fmla="*/ 1204110 h 1505139"/>
                <a:gd name="connsiteX80" fmla="*/ 303459 w 1034979"/>
                <a:gd name="connsiteY80" fmla="*/ 1198395 h 1505139"/>
                <a:gd name="connsiteX81" fmla="*/ 318699 w 1034979"/>
                <a:gd name="connsiteY81" fmla="*/ 1206015 h 1505139"/>
                <a:gd name="connsiteX82" fmla="*/ 330129 w 1034979"/>
                <a:gd name="connsiteY82" fmla="*/ 1211730 h 1505139"/>
                <a:gd name="connsiteX83" fmla="*/ 333939 w 1034979"/>
                <a:gd name="connsiteY83" fmla="*/ 1217445 h 1505139"/>
                <a:gd name="connsiteX84" fmla="*/ 339654 w 1034979"/>
                <a:gd name="connsiteY84" fmla="*/ 1219350 h 1505139"/>
                <a:gd name="connsiteX85" fmla="*/ 351084 w 1034979"/>
                <a:gd name="connsiteY85" fmla="*/ 1226970 h 1505139"/>
                <a:gd name="connsiteX86" fmla="*/ 356799 w 1034979"/>
                <a:gd name="connsiteY86" fmla="*/ 1230780 h 1505139"/>
                <a:gd name="connsiteX87" fmla="*/ 360609 w 1034979"/>
                <a:gd name="connsiteY87" fmla="*/ 1236495 h 1505139"/>
                <a:gd name="connsiteX88" fmla="*/ 366324 w 1034979"/>
                <a:gd name="connsiteY88" fmla="*/ 1247925 h 1505139"/>
                <a:gd name="connsiteX89" fmla="*/ 362514 w 1034979"/>
                <a:gd name="connsiteY89" fmla="*/ 1274595 h 1505139"/>
                <a:gd name="connsiteX90" fmla="*/ 358704 w 1034979"/>
                <a:gd name="connsiteY90" fmla="*/ 1280310 h 1505139"/>
                <a:gd name="connsiteX91" fmla="*/ 356799 w 1034979"/>
                <a:gd name="connsiteY91" fmla="*/ 1286025 h 1505139"/>
                <a:gd name="connsiteX92" fmla="*/ 352989 w 1034979"/>
                <a:gd name="connsiteY92" fmla="*/ 1291740 h 1505139"/>
                <a:gd name="connsiteX93" fmla="*/ 351084 w 1034979"/>
                <a:gd name="connsiteY93" fmla="*/ 1297455 h 1505139"/>
                <a:gd name="connsiteX94" fmla="*/ 347274 w 1034979"/>
                <a:gd name="connsiteY94" fmla="*/ 1303170 h 1505139"/>
                <a:gd name="connsiteX95" fmla="*/ 330129 w 1034979"/>
                <a:gd name="connsiteY95" fmla="*/ 1369845 h 1505139"/>
                <a:gd name="connsiteX96" fmla="*/ 328224 w 1034979"/>
                <a:gd name="connsiteY96" fmla="*/ 1421280 h 1505139"/>
                <a:gd name="connsiteX97" fmla="*/ 330129 w 1034979"/>
                <a:gd name="connsiteY97" fmla="*/ 1446045 h 1505139"/>
                <a:gd name="connsiteX98" fmla="*/ 332034 w 1034979"/>
                <a:gd name="connsiteY98" fmla="*/ 1451760 h 1505139"/>
                <a:gd name="connsiteX99" fmla="*/ 335844 w 1034979"/>
                <a:gd name="connsiteY99" fmla="*/ 1455570 h 1505139"/>
                <a:gd name="connsiteX100" fmla="*/ 364419 w 1034979"/>
                <a:gd name="connsiteY100" fmla="*/ 1501290 h 1505139"/>
                <a:gd name="connsiteX101" fmla="*/ 387279 w 1034979"/>
                <a:gd name="connsiteY101" fmla="*/ 1503195 h 1505139"/>
                <a:gd name="connsiteX102" fmla="*/ 392994 w 1034979"/>
                <a:gd name="connsiteY102" fmla="*/ 1497480 h 1505139"/>
                <a:gd name="connsiteX103" fmla="*/ 394899 w 1034979"/>
                <a:gd name="connsiteY103" fmla="*/ 1486050 h 1505139"/>
                <a:gd name="connsiteX104" fmla="*/ 396804 w 1034979"/>
                <a:gd name="connsiteY104" fmla="*/ 1480335 h 1505139"/>
                <a:gd name="connsiteX105" fmla="*/ 398709 w 1034979"/>
                <a:gd name="connsiteY105" fmla="*/ 1463190 h 1505139"/>
                <a:gd name="connsiteX106" fmla="*/ 400614 w 1034979"/>
                <a:gd name="connsiteY106" fmla="*/ 1449855 h 1505139"/>
                <a:gd name="connsiteX107" fmla="*/ 404424 w 1034979"/>
                <a:gd name="connsiteY107" fmla="*/ 1392705 h 1505139"/>
                <a:gd name="connsiteX108" fmla="*/ 410139 w 1034979"/>
                <a:gd name="connsiteY108" fmla="*/ 1381275 h 1505139"/>
                <a:gd name="connsiteX109" fmla="*/ 413949 w 1034979"/>
                <a:gd name="connsiteY109" fmla="*/ 1367940 h 1505139"/>
                <a:gd name="connsiteX110" fmla="*/ 415854 w 1034979"/>
                <a:gd name="connsiteY110" fmla="*/ 1362225 h 1505139"/>
                <a:gd name="connsiteX111" fmla="*/ 417759 w 1034979"/>
                <a:gd name="connsiteY111" fmla="*/ 1348890 h 1505139"/>
                <a:gd name="connsiteX112" fmla="*/ 421569 w 1034979"/>
                <a:gd name="connsiteY112" fmla="*/ 1337460 h 1505139"/>
                <a:gd name="connsiteX113" fmla="*/ 427284 w 1034979"/>
                <a:gd name="connsiteY113" fmla="*/ 1324125 h 1505139"/>
                <a:gd name="connsiteX114" fmla="*/ 436809 w 1034979"/>
                <a:gd name="connsiteY114" fmla="*/ 1312695 h 1505139"/>
                <a:gd name="connsiteX115" fmla="*/ 450144 w 1034979"/>
                <a:gd name="connsiteY115" fmla="*/ 1297455 h 1505139"/>
                <a:gd name="connsiteX116" fmla="*/ 457764 w 1034979"/>
                <a:gd name="connsiteY116" fmla="*/ 1286025 h 1505139"/>
                <a:gd name="connsiteX117" fmla="*/ 461574 w 1034979"/>
                <a:gd name="connsiteY117" fmla="*/ 1274595 h 1505139"/>
                <a:gd name="connsiteX118" fmla="*/ 465384 w 1034979"/>
                <a:gd name="connsiteY118" fmla="*/ 1259355 h 1505139"/>
                <a:gd name="connsiteX119" fmla="*/ 467289 w 1034979"/>
                <a:gd name="connsiteY119" fmla="*/ 1253640 h 1505139"/>
                <a:gd name="connsiteX120" fmla="*/ 507294 w 1034979"/>
                <a:gd name="connsiteY120" fmla="*/ 1247925 h 1505139"/>
                <a:gd name="connsiteX121" fmla="*/ 535869 w 1034979"/>
                <a:gd name="connsiteY121" fmla="*/ 1238400 h 1505139"/>
                <a:gd name="connsiteX122" fmla="*/ 541584 w 1034979"/>
                <a:gd name="connsiteY122" fmla="*/ 1236495 h 1505139"/>
                <a:gd name="connsiteX123" fmla="*/ 547299 w 1034979"/>
                <a:gd name="connsiteY123" fmla="*/ 1234590 h 1505139"/>
                <a:gd name="connsiteX124" fmla="*/ 554919 w 1034979"/>
                <a:gd name="connsiteY124" fmla="*/ 1232685 h 1505139"/>
                <a:gd name="connsiteX125" fmla="*/ 573969 w 1034979"/>
                <a:gd name="connsiteY125" fmla="*/ 1225065 h 1505139"/>
                <a:gd name="connsiteX126" fmla="*/ 585399 w 1034979"/>
                <a:gd name="connsiteY126" fmla="*/ 1221255 h 1505139"/>
                <a:gd name="connsiteX127" fmla="*/ 720654 w 1034979"/>
                <a:gd name="connsiteY127" fmla="*/ 1305075 h 1505139"/>
                <a:gd name="connsiteX128" fmla="*/ 733989 w 1034979"/>
                <a:gd name="connsiteY128" fmla="*/ 1314600 h 1505139"/>
                <a:gd name="connsiteX129" fmla="*/ 743514 w 1034979"/>
                <a:gd name="connsiteY129" fmla="*/ 1316505 h 1505139"/>
                <a:gd name="connsiteX130" fmla="*/ 749229 w 1034979"/>
                <a:gd name="connsiteY130" fmla="*/ 1318410 h 1505139"/>
                <a:gd name="connsiteX131" fmla="*/ 762564 w 1034979"/>
                <a:gd name="connsiteY131" fmla="*/ 1324125 h 1505139"/>
                <a:gd name="connsiteX132" fmla="*/ 777804 w 1034979"/>
                <a:gd name="connsiteY132" fmla="*/ 1322220 h 1505139"/>
                <a:gd name="connsiteX133" fmla="*/ 789234 w 1034979"/>
                <a:gd name="connsiteY133" fmla="*/ 1316505 h 1505139"/>
                <a:gd name="connsiteX134" fmla="*/ 794949 w 1034979"/>
                <a:gd name="connsiteY134" fmla="*/ 1314600 h 1505139"/>
                <a:gd name="connsiteX135" fmla="*/ 802569 w 1034979"/>
                <a:gd name="connsiteY135" fmla="*/ 1297455 h 1505139"/>
                <a:gd name="connsiteX136" fmla="*/ 800664 w 1034979"/>
                <a:gd name="connsiteY136" fmla="*/ 1272690 h 1505139"/>
                <a:gd name="connsiteX137" fmla="*/ 798759 w 1034979"/>
                <a:gd name="connsiteY137" fmla="*/ 1266975 h 1505139"/>
                <a:gd name="connsiteX138" fmla="*/ 796854 w 1034979"/>
                <a:gd name="connsiteY138" fmla="*/ 1259355 h 1505139"/>
                <a:gd name="connsiteX139" fmla="*/ 783519 w 1034979"/>
                <a:gd name="connsiteY139" fmla="*/ 1242210 h 1505139"/>
                <a:gd name="connsiteX140" fmla="*/ 773994 w 1034979"/>
                <a:gd name="connsiteY140" fmla="*/ 1236495 h 1505139"/>
                <a:gd name="connsiteX141" fmla="*/ 648264 w 1034979"/>
                <a:gd name="connsiteY141" fmla="*/ 1145055 h 1505139"/>
                <a:gd name="connsiteX142" fmla="*/ 644454 w 1034979"/>
                <a:gd name="connsiteY142" fmla="*/ 1127910 h 1505139"/>
                <a:gd name="connsiteX143" fmla="*/ 646359 w 1034979"/>
                <a:gd name="connsiteY143" fmla="*/ 1120290 h 1505139"/>
                <a:gd name="connsiteX144" fmla="*/ 650169 w 1034979"/>
                <a:gd name="connsiteY144" fmla="*/ 1103145 h 1505139"/>
                <a:gd name="connsiteX145" fmla="*/ 653979 w 1034979"/>
                <a:gd name="connsiteY145" fmla="*/ 1097430 h 1505139"/>
                <a:gd name="connsiteX146" fmla="*/ 655884 w 1034979"/>
                <a:gd name="connsiteY146" fmla="*/ 1091715 h 1505139"/>
                <a:gd name="connsiteX147" fmla="*/ 661599 w 1034979"/>
                <a:gd name="connsiteY147" fmla="*/ 1089810 h 1505139"/>
                <a:gd name="connsiteX148" fmla="*/ 671124 w 1034979"/>
                <a:gd name="connsiteY148" fmla="*/ 1078380 h 1505139"/>
                <a:gd name="connsiteX149" fmla="*/ 724464 w 1034979"/>
                <a:gd name="connsiteY149" fmla="*/ 1070760 h 1505139"/>
                <a:gd name="connsiteX150" fmla="*/ 842574 w 1034979"/>
                <a:gd name="connsiteY150" fmla="*/ 1072665 h 1505139"/>
                <a:gd name="connsiteX151" fmla="*/ 871149 w 1034979"/>
                <a:gd name="connsiteY151" fmla="*/ 1074570 h 1505139"/>
                <a:gd name="connsiteX152" fmla="*/ 899724 w 1034979"/>
                <a:gd name="connsiteY152" fmla="*/ 1080285 h 1505139"/>
                <a:gd name="connsiteX153" fmla="*/ 922584 w 1034979"/>
                <a:gd name="connsiteY153" fmla="*/ 1084095 h 1505139"/>
                <a:gd name="connsiteX154" fmla="*/ 951159 w 1034979"/>
                <a:gd name="connsiteY154" fmla="*/ 1089810 h 1505139"/>
                <a:gd name="connsiteX155" fmla="*/ 956874 w 1034979"/>
                <a:gd name="connsiteY155" fmla="*/ 1089810 h 1505139"/>
                <a:gd name="connsiteX156" fmla="*/ 1002594 w 1034979"/>
                <a:gd name="connsiteY156" fmla="*/ 1087905 h 1505139"/>
                <a:gd name="connsiteX157" fmla="*/ 1031169 w 1034979"/>
                <a:gd name="connsiteY157" fmla="*/ 1080285 h 1505139"/>
                <a:gd name="connsiteX158" fmla="*/ 1034979 w 1034979"/>
                <a:gd name="connsiteY158" fmla="*/ 1074570 h 1505139"/>
                <a:gd name="connsiteX159" fmla="*/ 1033074 w 1034979"/>
                <a:gd name="connsiteY159" fmla="*/ 1055520 h 1505139"/>
                <a:gd name="connsiteX160" fmla="*/ 1027359 w 1034979"/>
                <a:gd name="connsiteY160" fmla="*/ 1051710 h 1505139"/>
                <a:gd name="connsiteX161" fmla="*/ 1012119 w 1034979"/>
                <a:gd name="connsiteY161" fmla="*/ 1049805 h 1505139"/>
                <a:gd name="connsiteX162" fmla="*/ 1006404 w 1034979"/>
                <a:gd name="connsiteY162" fmla="*/ 1047900 h 1505139"/>
                <a:gd name="connsiteX163" fmla="*/ 998784 w 1034979"/>
                <a:gd name="connsiteY163" fmla="*/ 1045995 h 1505139"/>
                <a:gd name="connsiteX164" fmla="*/ 987354 w 1034979"/>
                <a:gd name="connsiteY164" fmla="*/ 1038375 h 1505139"/>
                <a:gd name="connsiteX165" fmla="*/ 975924 w 1034979"/>
                <a:gd name="connsiteY165" fmla="*/ 1034565 h 1505139"/>
                <a:gd name="connsiteX166" fmla="*/ 970209 w 1034979"/>
                <a:gd name="connsiteY166" fmla="*/ 1032660 h 1505139"/>
                <a:gd name="connsiteX167" fmla="*/ 962589 w 1034979"/>
                <a:gd name="connsiteY167" fmla="*/ 1030755 h 1505139"/>
                <a:gd name="connsiteX168" fmla="*/ 956874 w 1034979"/>
                <a:gd name="connsiteY168" fmla="*/ 1028850 h 1505139"/>
                <a:gd name="connsiteX169" fmla="*/ 935919 w 1034979"/>
                <a:gd name="connsiteY169" fmla="*/ 1023135 h 1505139"/>
                <a:gd name="connsiteX170" fmla="*/ 930204 w 1034979"/>
                <a:gd name="connsiteY170" fmla="*/ 1021230 h 1505139"/>
                <a:gd name="connsiteX171" fmla="*/ 825429 w 1034979"/>
                <a:gd name="connsiteY171" fmla="*/ 1023135 h 1505139"/>
                <a:gd name="connsiteX172" fmla="*/ 819714 w 1034979"/>
                <a:gd name="connsiteY172" fmla="*/ 1025040 h 1505139"/>
                <a:gd name="connsiteX173" fmla="*/ 730179 w 1034979"/>
                <a:gd name="connsiteY173" fmla="*/ 1026945 h 1505139"/>
                <a:gd name="connsiteX174" fmla="*/ 716844 w 1034979"/>
                <a:gd name="connsiteY174" fmla="*/ 1030755 h 1505139"/>
                <a:gd name="connsiteX175" fmla="*/ 695889 w 1034979"/>
                <a:gd name="connsiteY175" fmla="*/ 1032660 h 1505139"/>
                <a:gd name="connsiteX176" fmla="*/ 669219 w 1034979"/>
                <a:gd name="connsiteY176" fmla="*/ 1034565 h 1505139"/>
                <a:gd name="connsiteX177" fmla="*/ 669219 w 1034979"/>
                <a:gd name="connsiteY177" fmla="*/ 1034565 h 1505139"/>
                <a:gd name="connsiteX178" fmla="*/ 646359 w 1034979"/>
                <a:gd name="connsiteY178" fmla="*/ 1038375 h 1505139"/>
                <a:gd name="connsiteX179" fmla="*/ 642549 w 1034979"/>
                <a:gd name="connsiteY179" fmla="*/ 1026945 h 1505139"/>
                <a:gd name="connsiteX180" fmla="*/ 640644 w 1034979"/>
                <a:gd name="connsiteY180" fmla="*/ 1021230 h 1505139"/>
                <a:gd name="connsiteX181" fmla="*/ 642549 w 1034979"/>
                <a:gd name="connsiteY181" fmla="*/ 1004085 h 1505139"/>
                <a:gd name="connsiteX182" fmla="*/ 644454 w 1034979"/>
                <a:gd name="connsiteY182" fmla="*/ 998370 h 1505139"/>
                <a:gd name="connsiteX183" fmla="*/ 661599 w 1034979"/>
                <a:gd name="connsiteY183" fmla="*/ 988845 h 1505139"/>
                <a:gd name="connsiteX184" fmla="*/ 673029 w 1034979"/>
                <a:gd name="connsiteY184" fmla="*/ 981225 h 1505139"/>
                <a:gd name="connsiteX185" fmla="*/ 674934 w 1034979"/>
                <a:gd name="connsiteY185" fmla="*/ 975510 h 1505139"/>
                <a:gd name="connsiteX186" fmla="*/ 680649 w 1034979"/>
                <a:gd name="connsiteY186" fmla="*/ 973605 h 1505139"/>
                <a:gd name="connsiteX187" fmla="*/ 686364 w 1034979"/>
                <a:gd name="connsiteY187" fmla="*/ 969795 h 1505139"/>
                <a:gd name="connsiteX188" fmla="*/ 695889 w 1034979"/>
                <a:gd name="connsiteY188" fmla="*/ 960270 h 1505139"/>
                <a:gd name="connsiteX189" fmla="*/ 705414 w 1034979"/>
                <a:gd name="connsiteY189" fmla="*/ 948840 h 1505139"/>
                <a:gd name="connsiteX190" fmla="*/ 716844 w 1034979"/>
                <a:gd name="connsiteY190" fmla="*/ 941220 h 1505139"/>
                <a:gd name="connsiteX191" fmla="*/ 732084 w 1034979"/>
                <a:gd name="connsiteY191" fmla="*/ 927885 h 1505139"/>
                <a:gd name="connsiteX192" fmla="*/ 741609 w 1034979"/>
                <a:gd name="connsiteY192" fmla="*/ 916455 h 1505139"/>
                <a:gd name="connsiteX193" fmla="*/ 753039 w 1034979"/>
                <a:gd name="connsiteY193" fmla="*/ 906930 h 1505139"/>
                <a:gd name="connsiteX194" fmla="*/ 758754 w 1034979"/>
                <a:gd name="connsiteY194" fmla="*/ 895500 h 1505139"/>
                <a:gd name="connsiteX195" fmla="*/ 760659 w 1034979"/>
                <a:gd name="connsiteY195" fmla="*/ 889785 h 1505139"/>
                <a:gd name="connsiteX196" fmla="*/ 766374 w 1034979"/>
                <a:gd name="connsiteY196" fmla="*/ 878355 h 1505139"/>
                <a:gd name="connsiteX197" fmla="*/ 764469 w 1034979"/>
                <a:gd name="connsiteY197" fmla="*/ 863115 h 1505139"/>
                <a:gd name="connsiteX198" fmla="*/ 758754 w 1034979"/>
                <a:gd name="connsiteY198" fmla="*/ 861210 h 1505139"/>
                <a:gd name="connsiteX199" fmla="*/ 737799 w 1034979"/>
                <a:gd name="connsiteY199" fmla="*/ 863115 h 1505139"/>
                <a:gd name="connsiteX200" fmla="*/ 732084 w 1034979"/>
                <a:gd name="connsiteY200" fmla="*/ 866925 h 1505139"/>
                <a:gd name="connsiteX201" fmla="*/ 720654 w 1034979"/>
                <a:gd name="connsiteY201" fmla="*/ 870735 h 1505139"/>
                <a:gd name="connsiteX202" fmla="*/ 716844 w 1034979"/>
                <a:gd name="connsiteY202" fmla="*/ 876450 h 1505139"/>
                <a:gd name="connsiteX203" fmla="*/ 711129 w 1034979"/>
                <a:gd name="connsiteY203" fmla="*/ 878355 h 1505139"/>
                <a:gd name="connsiteX204" fmla="*/ 705414 w 1034979"/>
                <a:gd name="connsiteY204" fmla="*/ 882165 h 1505139"/>
                <a:gd name="connsiteX205" fmla="*/ 699699 w 1034979"/>
                <a:gd name="connsiteY205" fmla="*/ 887880 h 1505139"/>
                <a:gd name="connsiteX206" fmla="*/ 692079 w 1034979"/>
                <a:gd name="connsiteY206" fmla="*/ 891690 h 1505139"/>
                <a:gd name="connsiteX207" fmla="*/ 650169 w 1034979"/>
                <a:gd name="connsiteY207" fmla="*/ 920265 h 1505139"/>
                <a:gd name="connsiteX208" fmla="*/ 636834 w 1034979"/>
                <a:gd name="connsiteY208" fmla="*/ 931695 h 1505139"/>
                <a:gd name="connsiteX209" fmla="*/ 627309 w 1034979"/>
                <a:gd name="connsiteY209" fmla="*/ 948840 h 1505139"/>
                <a:gd name="connsiteX210" fmla="*/ 602544 w 1034979"/>
                <a:gd name="connsiteY210" fmla="*/ 954555 h 1505139"/>
                <a:gd name="connsiteX211" fmla="*/ 589209 w 1034979"/>
                <a:gd name="connsiteY211" fmla="*/ 958365 h 1505139"/>
                <a:gd name="connsiteX212" fmla="*/ 573969 w 1034979"/>
                <a:gd name="connsiteY212" fmla="*/ 956460 h 1505139"/>
                <a:gd name="connsiteX213" fmla="*/ 562539 w 1034979"/>
                <a:gd name="connsiteY213" fmla="*/ 952650 h 1505139"/>
                <a:gd name="connsiteX214" fmla="*/ 551109 w 1034979"/>
                <a:gd name="connsiteY214" fmla="*/ 948840 h 1505139"/>
                <a:gd name="connsiteX215" fmla="*/ 539679 w 1034979"/>
                <a:gd name="connsiteY215" fmla="*/ 945030 h 1505139"/>
                <a:gd name="connsiteX216" fmla="*/ 533964 w 1034979"/>
                <a:gd name="connsiteY216" fmla="*/ 943125 h 1505139"/>
                <a:gd name="connsiteX217" fmla="*/ 528249 w 1034979"/>
                <a:gd name="connsiteY217" fmla="*/ 939315 h 1505139"/>
                <a:gd name="connsiteX218" fmla="*/ 516819 w 1034979"/>
                <a:gd name="connsiteY218" fmla="*/ 933600 h 1505139"/>
                <a:gd name="connsiteX219" fmla="*/ 509199 w 1034979"/>
                <a:gd name="connsiteY219" fmla="*/ 922170 h 1505139"/>
                <a:gd name="connsiteX220" fmla="*/ 505389 w 1034979"/>
                <a:gd name="connsiteY220" fmla="*/ 901215 h 1505139"/>
                <a:gd name="connsiteX221" fmla="*/ 507294 w 1034979"/>
                <a:gd name="connsiteY221" fmla="*/ 836445 h 1505139"/>
                <a:gd name="connsiteX222" fmla="*/ 513009 w 1034979"/>
                <a:gd name="connsiteY222" fmla="*/ 823110 h 1505139"/>
                <a:gd name="connsiteX223" fmla="*/ 503484 w 1034979"/>
                <a:gd name="connsiteY223" fmla="*/ 346860 h 1505139"/>
                <a:gd name="connsiteX224" fmla="*/ 499674 w 1034979"/>
                <a:gd name="connsiteY224" fmla="*/ 55395 h 1505139"/>
                <a:gd name="connsiteX225" fmla="*/ 490149 w 1034979"/>
                <a:gd name="connsiteY225" fmla="*/ 28725 h 1505139"/>
                <a:gd name="connsiteX226" fmla="*/ 488244 w 1034979"/>
                <a:gd name="connsiteY226" fmla="*/ 23010 h 1505139"/>
                <a:gd name="connsiteX227" fmla="*/ 484434 w 1034979"/>
                <a:gd name="connsiteY227" fmla="*/ 17295 h 1505139"/>
                <a:gd name="connsiteX228" fmla="*/ 478719 w 1034979"/>
                <a:gd name="connsiteY228" fmla="*/ 5865 h 1505139"/>
                <a:gd name="connsiteX229" fmla="*/ 429189 w 1034979"/>
                <a:gd name="connsiteY229" fmla="*/ 150 h 1505139"/>
                <a:gd name="connsiteX230" fmla="*/ 421569 w 1034979"/>
                <a:gd name="connsiteY230" fmla="*/ 11580 h 1505139"/>
                <a:gd name="connsiteX231" fmla="*/ 417759 w 1034979"/>
                <a:gd name="connsiteY231" fmla="*/ 17295 h 1505139"/>
                <a:gd name="connsiteX232" fmla="*/ 419664 w 1034979"/>
                <a:gd name="connsiteY232" fmla="*/ 49680 h 1505139"/>
                <a:gd name="connsiteX233" fmla="*/ 423474 w 1034979"/>
                <a:gd name="connsiteY233" fmla="*/ 61110 h 1505139"/>
                <a:gd name="connsiteX234" fmla="*/ 425379 w 1034979"/>
                <a:gd name="connsiteY234" fmla="*/ 66825 h 1505139"/>
                <a:gd name="connsiteX235" fmla="*/ 425379 w 1034979"/>
                <a:gd name="connsiteY235" fmla="*/ 72540 h 1505139"/>
                <a:gd name="connsiteX236" fmla="*/ 429189 w 1034979"/>
                <a:gd name="connsiteY236" fmla="*/ 226845 h 1505139"/>
                <a:gd name="connsiteX237" fmla="*/ 440619 w 1034979"/>
                <a:gd name="connsiteY237" fmla="*/ 409725 h 1505139"/>
                <a:gd name="connsiteX238" fmla="*/ 425379 w 1034979"/>
                <a:gd name="connsiteY238" fmla="*/ 706905 h 1505139"/>
                <a:gd name="connsiteX239" fmla="*/ 417759 w 1034979"/>
                <a:gd name="connsiteY239" fmla="*/ 834540 h 1505139"/>
                <a:gd name="connsiteX240" fmla="*/ 413949 w 1034979"/>
                <a:gd name="connsiteY240" fmla="*/ 851685 h 1505139"/>
                <a:gd name="connsiteX241" fmla="*/ 417759 w 1034979"/>
                <a:gd name="connsiteY241" fmla="*/ 872640 h 1505139"/>
                <a:gd name="connsiteX242" fmla="*/ 421569 w 1034979"/>
                <a:gd name="connsiteY242" fmla="*/ 878355 h 1505139"/>
                <a:gd name="connsiteX243" fmla="*/ 425379 w 1034979"/>
                <a:gd name="connsiteY243" fmla="*/ 889785 h 1505139"/>
                <a:gd name="connsiteX244" fmla="*/ 423474 w 1034979"/>
                <a:gd name="connsiteY244" fmla="*/ 916455 h 1505139"/>
                <a:gd name="connsiteX245" fmla="*/ 417759 w 1034979"/>
                <a:gd name="connsiteY245" fmla="*/ 918360 h 1505139"/>
                <a:gd name="connsiteX246" fmla="*/ 412044 w 1034979"/>
                <a:gd name="connsiteY246" fmla="*/ 922170 h 1505139"/>
                <a:gd name="connsiteX247" fmla="*/ 421569 w 1034979"/>
                <a:gd name="connsiteY247" fmla="*/ 918360 h 1505139"/>
                <a:gd name="connsiteX0" fmla="*/ 421569 w 1034979"/>
                <a:gd name="connsiteY0" fmla="*/ 918360 h 1505139"/>
                <a:gd name="connsiteX1" fmla="*/ 421569 w 1034979"/>
                <a:gd name="connsiteY1" fmla="*/ 918360 h 1505139"/>
                <a:gd name="connsiteX2" fmla="*/ 394899 w 1034979"/>
                <a:gd name="connsiteY2" fmla="*/ 927885 h 1505139"/>
                <a:gd name="connsiteX3" fmla="*/ 387279 w 1034979"/>
                <a:gd name="connsiteY3" fmla="*/ 929790 h 1505139"/>
                <a:gd name="connsiteX4" fmla="*/ 356799 w 1034979"/>
                <a:gd name="connsiteY4" fmla="*/ 931695 h 1505139"/>
                <a:gd name="connsiteX5" fmla="*/ 351084 w 1034979"/>
                <a:gd name="connsiteY5" fmla="*/ 935505 h 1505139"/>
                <a:gd name="connsiteX6" fmla="*/ 339654 w 1034979"/>
                <a:gd name="connsiteY6" fmla="*/ 945030 h 1505139"/>
                <a:gd name="connsiteX7" fmla="*/ 328224 w 1034979"/>
                <a:gd name="connsiteY7" fmla="*/ 948840 h 1505139"/>
                <a:gd name="connsiteX8" fmla="*/ 312984 w 1034979"/>
                <a:gd name="connsiteY8" fmla="*/ 954555 h 1505139"/>
                <a:gd name="connsiteX9" fmla="*/ 265359 w 1034979"/>
                <a:gd name="connsiteY9" fmla="*/ 950745 h 1505139"/>
                <a:gd name="connsiteX10" fmla="*/ 253929 w 1034979"/>
                <a:gd name="connsiteY10" fmla="*/ 946935 h 1505139"/>
                <a:gd name="connsiteX11" fmla="*/ 242499 w 1034979"/>
                <a:gd name="connsiteY11" fmla="*/ 943125 h 1505139"/>
                <a:gd name="connsiteX12" fmla="*/ 236784 w 1034979"/>
                <a:gd name="connsiteY12" fmla="*/ 941220 h 1505139"/>
                <a:gd name="connsiteX13" fmla="*/ 231069 w 1034979"/>
                <a:gd name="connsiteY13" fmla="*/ 939315 h 1505139"/>
                <a:gd name="connsiteX14" fmla="*/ 219639 w 1034979"/>
                <a:gd name="connsiteY14" fmla="*/ 937410 h 1505139"/>
                <a:gd name="connsiteX15" fmla="*/ 213924 w 1034979"/>
                <a:gd name="connsiteY15" fmla="*/ 935505 h 1505139"/>
                <a:gd name="connsiteX16" fmla="*/ 206304 w 1034979"/>
                <a:gd name="connsiteY16" fmla="*/ 933600 h 1505139"/>
                <a:gd name="connsiteX17" fmla="*/ 194874 w 1034979"/>
                <a:gd name="connsiteY17" fmla="*/ 929790 h 1505139"/>
                <a:gd name="connsiteX18" fmla="*/ 189159 w 1034979"/>
                <a:gd name="connsiteY18" fmla="*/ 927885 h 1505139"/>
                <a:gd name="connsiteX19" fmla="*/ 181539 w 1034979"/>
                <a:gd name="connsiteY19" fmla="*/ 925980 h 1505139"/>
                <a:gd name="connsiteX20" fmla="*/ 170109 w 1034979"/>
                <a:gd name="connsiteY20" fmla="*/ 920265 h 1505139"/>
                <a:gd name="connsiteX21" fmla="*/ 164394 w 1034979"/>
                <a:gd name="connsiteY21" fmla="*/ 916455 h 1505139"/>
                <a:gd name="connsiteX22" fmla="*/ 156774 w 1034979"/>
                <a:gd name="connsiteY22" fmla="*/ 905025 h 1505139"/>
                <a:gd name="connsiteX23" fmla="*/ 145344 w 1034979"/>
                <a:gd name="connsiteY23" fmla="*/ 901215 h 1505139"/>
                <a:gd name="connsiteX24" fmla="*/ 139629 w 1034979"/>
                <a:gd name="connsiteY24" fmla="*/ 897405 h 1505139"/>
                <a:gd name="connsiteX25" fmla="*/ 133914 w 1034979"/>
                <a:gd name="connsiteY25" fmla="*/ 895500 h 1505139"/>
                <a:gd name="connsiteX26" fmla="*/ 116769 w 1034979"/>
                <a:gd name="connsiteY26" fmla="*/ 891690 h 1505139"/>
                <a:gd name="connsiteX27" fmla="*/ 111054 w 1034979"/>
                <a:gd name="connsiteY27" fmla="*/ 885975 h 1505139"/>
                <a:gd name="connsiteX28" fmla="*/ 101529 w 1034979"/>
                <a:gd name="connsiteY28" fmla="*/ 868830 h 1505139"/>
                <a:gd name="connsiteX29" fmla="*/ 84384 w 1034979"/>
                <a:gd name="connsiteY29" fmla="*/ 861210 h 1505139"/>
                <a:gd name="connsiteX30" fmla="*/ 78669 w 1034979"/>
                <a:gd name="connsiteY30" fmla="*/ 859305 h 1505139"/>
                <a:gd name="connsiteX31" fmla="*/ 59619 w 1034979"/>
                <a:gd name="connsiteY31" fmla="*/ 863115 h 1505139"/>
                <a:gd name="connsiteX32" fmla="*/ 53904 w 1034979"/>
                <a:gd name="connsiteY32" fmla="*/ 866925 h 1505139"/>
                <a:gd name="connsiteX33" fmla="*/ 50094 w 1034979"/>
                <a:gd name="connsiteY33" fmla="*/ 872640 h 1505139"/>
                <a:gd name="connsiteX34" fmla="*/ 46284 w 1034979"/>
                <a:gd name="connsiteY34" fmla="*/ 884070 h 1505139"/>
                <a:gd name="connsiteX35" fmla="*/ 50094 w 1034979"/>
                <a:gd name="connsiteY35" fmla="*/ 922170 h 1505139"/>
                <a:gd name="connsiteX36" fmla="*/ 53904 w 1034979"/>
                <a:gd name="connsiteY36" fmla="*/ 927885 h 1505139"/>
                <a:gd name="connsiteX37" fmla="*/ 59619 w 1034979"/>
                <a:gd name="connsiteY37" fmla="*/ 931695 h 1505139"/>
                <a:gd name="connsiteX38" fmla="*/ 63429 w 1034979"/>
                <a:gd name="connsiteY38" fmla="*/ 937410 h 1505139"/>
                <a:gd name="connsiteX39" fmla="*/ 80574 w 1034979"/>
                <a:gd name="connsiteY39" fmla="*/ 946935 h 1505139"/>
                <a:gd name="connsiteX40" fmla="*/ 103434 w 1034979"/>
                <a:gd name="connsiteY40" fmla="*/ 948840 h 1505139"/>
                <a:gd name="connsiteX41" fmla="*/ 124389 w 1034979"/>
                <a:gd name="connsiteY41" fmla="*/ 954555 h 1505139"/>
                <a:gd name="connsiteX42" fmla="*/ 130104 w 1034979"/>
                <a:gd name="connsiteY42" fmla="*/ 956460 h 1505139"/>
                <a:gd name="connsiteX43" fmla="*/ 135819 w 1034979"/>
                <a:gd name="connsiteY43" fmla="*/ 962175 h 1505139"/>
                <a:gd name="connsiteX44" fmla="*/ 143439 w 1034979"/>
                <a:gd name="connsiteY44" fmla="*/ 964080 h 1505139"/>
                <a:gd name="connsiteX45" fmla="*/ 166299 w 1034979"/>
                <a:gd name="connsiteY45" fmla="*/ 967890 h 1505139"/>
                <a:gd name="connsiteX46" fmla="*/ 191064 w 1034979"/>
                <a:gd name="connsiteY46" fmla="*/ 973605 h 1505139"/>
                <a:gd name="connsiteX47" fmla="*/ 208209 w 1034979"/>
                <a:gd name="connsiteY47" fmla="*/ 979320 h 1505139"/>
                <a:gd name="connsiteX48" fmla="*/ 213924 w 1034979"/>
                <a:gd name="connsiteY48" fmla="*/ 981225 h 1505139"/>
                <a:gd name="connsiteX49" fmla="*/ 229164 w 1034979"/>
                <a:gd name="connsiteY49" fmla="*/ 985035 h 1505139"/>
                <a:gd name="connsiteX50" fmla="*/ 248214 w 1034979"/>
                <a:gd name="connsiteY50" fmla="*/ 990750 h 1505139"/>
                <a:gd name="connsiteX51" fmla="*/ 253929 w 1034979"/>
                <a:gd name="connsiteY51" fmla="*/ 994560 h 1505139"/>
                <a:gd name="connsiteX52" fmla="*/ 267264 w 1034979"/>
                <a:gd name="connsiteY52" fmla="*/ 1009800 h 1505139"/>
                <a:gd name="connsiteX53" fmla="*/ 272979 w 1034979"/>
                <a:gd name="connsiteY53" fmla="*/ 1028850 h 1505139"/>
                <a:gd name="connsiteX54" fmla="*/ 274884 w 1034979"/>
                <a:gd name="connsiteY54" fmla="*/ 1034565 h 1505139"/>
                <a:gd name="connsiteX55" fmla="*/ 276789 w 1034979"/>
                <a:gd name="connsiteY55" fmla="*/ 1040280 h 1505139"/>
                <a:gd name="connsiteX56" fmla="*/ 278694 w 1034979"/>
                <a:gd name="connsiteY56" fmla="*/ 1065045 h 1505139"/>
                <a:gd name="connsiteX57" fmla="*/ 280599 w 1034979"/>
                <a:gd name="connsiteY57" fmla="*/ 1070760 h 1505139"/>
                <a:gd name="connsiteX58" fmla="*/ 278694 w 1034979"/>
                <a:gd name="connsiteY58" fmla="*/ 1089810 h 1505139"/>
                <a:gd name="connsiteX59" fmla="*/ 276789 w 1034979"/>
                <a:gd name="connsiteY59" fmla="*/ 1099335 h 1505139"/>
                <a:gd name="connsiteX60" fmla="*/ 263454 w 1034979"/>
                <a:gd name="connsiteY60" fmla="*/ 1112670 h 1505139"/>
                <a:gd name="connsiteX61" fmla="*/ 252024 w 1034979"/>
                <a:gd name="connsiteY61" fmla="*/ 1120290 h 1505139"/>
                <a:gd name="connsiteX62" fmla="*/ 240594 w 1034979"/>
                <a:gd name="connsiteY62" fmla="*/ 1124100 h 1505139"/>
                <a:gd name="connsiteX63" fmla="*/ 126294 w 1034979"/>
                <a:gd name="connsiteY63" fmla="*/ 1124100 h 1505139"/>
                <a:gd name="connsiteX64" fmla="*/ 120579 w 1034979"/>
                <a:gd name="connsiteY64" fmla="*/ 1126005 h 1505139"/>
                <a:gd name="connsiteX65" fmla="*/ 105339 w 1034979"/>
                <a:gd name="connsiteY65" fmla="*/ 1127910 h 1505139"/>
                <a:gd name="connsiteX66" fmla="*/ 88194 w 1034979"/>
                <a:gd name="connsiteY66" fmla="*/ 1133625 h 1505139"/>
                <a:gd name="connsiteX67" fmla="*/ 82479 w 1034979"/>
                <a:gd name="connsiteY67" fmla="*/ 1135530 h 1505139"/>
                <a:gd name="connsiteX68" fmla="*/ 76764 w 1034979"/>
                <a:gd name="connsiteY68" fmla="*/ 1139340 h 1505139"/>
                <a:gd name="connsiteX69" fmla="*/ 65334 w 1034979"/>
                <a:gd name="connsiteY69" fmla="*/ 1141245 h 1505139"/>
                <a:gd name="connsiteX70" fmla="*/ 27234 w 1034979"/>
                <a:gd name="connsiteY70" fmla="*/ 1143150 h 1505139"/>
                <a:gd name="connsiteX71" fmla="*/ 15804 w 1034979"/>
                <a:gd name="connsiteY71" fmla="*/ 1148865 h 1505139"/>
                <a:gd name="connsiteX72" fmla="*/ 6279 w 1034979"/>
                <a:gd name="connsiteY72" fmla="*/ 1158390 h 1505139"/>
                <a:gd name="connsiteX73" fmla="*/ 4374 w 1034979"/>
                <a:gd name="connsiteY73" fmla="*/ 1164105 h 1505139"/>
                <a:gd name="connsiteX74" fmla="*/ 564 w 1034979"/>
                <a:gd name="connsiteY74" fmla="*/ 1169820 h 1505139"/>
                <a:gd name="connsiteX75" fmla="*/ 6279 w 1034979"/>
                <a:gd name="connsiteY75" fmla="*/ 1202205 h 1505139"/>
                <a:gd name="connsiteX76" fmla="*/ 11994 w 1034979"/>
                <a:gd name="connsiteY76" fmla="*/ 1206015 h 1505139"/>
                <a:gd name="connsiteX77" fmla="*/ 17709 w 1034979"/>
                <a:gd name="connsiteY77" fmla="*/ 1207920 h 1505139"/>
                <a:gd name="connsiteX78" fmla="*/ 145344 w 1034979"/>
                <a:gd name="connsiteY78" fmla="*/ 1206015 h 1505139"/>
                <a:gd name="connsiteX79" fmla="*/ 152964 w 1034979"/>
                <a:gd name="connsiteY79" fmla="*/ 1204110 h 1505139"/>
                <a:gd name="connsiteX80" fmla="*/ 303459 w 1034979"/>
                <a:gd name="connsiteY80" fmla="*/ 1198395 h 1505139"/>
                <a:gd name="connsiteX81" fmla="*/ 318699 w 1034979"/>
                <a:gd name="connsiteY81" fmla="*/ 1206015 h 1505139"/>
                <a:gd name="connsiteX82" fmla="*/ 330129 w 1034979"/>
                <a:gd name="connsiteY82" fmla="*/ 1211730 h 1505139"/>
                <a:gd name="connsiteX83" fmla="*/ 333939 w 1034979"/>
                <a:gd name="connsiteY83" fmla="*/ 1217445 h 1505139"/>
                <a:gd name="connsiteX84" fmla="*/ 339654 w 1034979"/>
                <a:gd name="connsiteY84" fmla="*/ 1219350 h 1505139"/>
                <a:gd name="connsiteX85" fmla="*/ 351084 w 1034979"/>
                <a:gd name="connsiteY85" fmla="*/ 1226970 h 1505139"/>
                <a:gd name="connsiteX86" fmla="*/ 356799 w 1034979"/>
                <a:gd name="connsiteY86" fmla="*/ 1230780 h 1505139"/>
                <a:gd name="connsiteX87" fmla="*/ 360609 w 1034979"/>
                <a:gd name="connsiteY87" fmla="*/ 1236495 h 1505139"/>
                <a:gd name="connsiteX88" fmla="*/ 366324 w 1034979"/>
                <a:gd name="connsiteY88" fmla="*/ 1247925 h 1505139"/>
                <a:gd name="connsiteX89" fmla="*/ 362514 w 1034979"/>
                <a:gd name="connsiteY89" fmla="*/ 1274595 h 1505139"/>
                <a:gd name="connsiteX90" fmla="*/ 358704 w 1034979"/>
                <a:gd name="connsiteY90" fmla="*/ 1280310 h 1505139"/>
                <a:gd name="connsiteX91" fmla="*/ 356799 w 1034979"/>
                <a:gd name="connsiteY91" fmla="*/ 1286025 h 1505139"/>
                <a:gd name="connsiteX92" fmla="*/ 352989 w 1034979"/>
                <a:gd name="connsiteY92" fmla="*/ 1291740 h 1505139"/>
                <a:gd name="connsiteX93" fmla="*/ 351084 w 1034979"/>
                <a:gd name="connsiteY93" fmla="*/ 1297455 h 1505139"/>
                <a:gd name="connsiteX94" fmla="*/ 347274 w 1034979"/>
                <a:gd name="connsiteY94" fmla="*/ 1303170 h 1505139"/>
                <a:gd name="connsiteX95" fmla="*/ 330129 w 1034979"/>
                <a:gd name="connsiteY95" fmla="*/ 1369845 h 1505139"/>
                <a:gd name="connsiteX96" fmla="*/ 328224 w 1034979"/>
                <a:gd name="connsiteY96" fmla="*/ 1421280 h 1505139"/>
                <a:gd name="connsiteX97" fmla="*/ 330129 w 1034979"/>
                <a:gd name="connsiteY97" fmla="*/ 1446045 h 1505139"/>
                <a:gd name="connsiteX98" fmla="*/ 332034 w 1034979"/>
                <a:gd name="connsiteY98" fmla="*/ 1451760 h 1505139"/>
                <a:gd name="connsiteX99" fmla="*/ 335844 w 1034979"/>
                <a:gd name="connsiteY99" fmla="*/ 1455570 h 1505139"/>
                <a:gd name="connsiteX100" fmla="*/ 364419 w 1034979"/>
                <a:gd name="connsiteY100" fmla="*/ 1501290 h 1505139"/>
                <a:gd name="connsiteX101" fmla="*/ 387279 w 1034979"/>
                <a:gd name="connsiteY101" fmla="*/ 1503195 h 1505139"/>
                <a:gd name="connsiteX102" fmla="*/ 392994 w 1034979"/>
                <a:gd name="connsiteY102" fmla="*/ 1497480 h 1505139"/>
                <a:gd name="connsiteX103" fmla="*/ 394899 w 1034979"/>
                <a:gd name="connsiteY103" fmla="*/ 1486050 h 1505139"/>
                <a:gd name="connsiteX104" fmla="*/ 396804 w 1034979"/>
                <a:gd name="connsiteY104" fmla="*/ 1480335 h 1505139"/>
                <a:gd name="connsiteX105" fmla="*/ 398709 w 1034979"/>
                <a:gd name="connsiteY105" fmla="*/ 1463190 h 1505139"/>
                <a:gd name="connsiteX106" fmla="*/ 400614 w 1034979"/>
                <a:gd name="connsiteY106" fmla="*/ 1449855 h 1505139"/>
                <a:gd name="connsiteX107" fmla="*/ 404424 w 1034979"/>
                <a:gd name="connsiteY107" fmla="*/ 1392705 h 1505139"/>
                <a:gd name="connsiteX108" fmla="*/ 410139 w 1034979"/>
                <a:gd name="connsiteY108" fmla="*/ 1381275 h 1505139"/>
                <a:gd name="connsiteX109" fmla="*/ 413949 w 1034979"/>
                <a:gd name="connsiteY109" fmla="*/ 1367940 h 1505139"/>
                <a:gd name="connsiteX110" fmla="*/ 415854 w 1034979"/>
                <a:gd name="connsiteY110" fmla="*/ 1362225 h 1505139"/>
                <a:gd name="connsiteX111" fmla="*/ 417759 w 1034979"/>
                <a:gd name="connsiteY111" fmla="*/ 1348890 h 1505139"/>
                <a:gd name="connsiteX112" fmla="*/ 421569 w 1034979"/>
                <a:gd name="connsiteY112" fmla="*/ 1337460 h 1505139"/>
                <a:gd name="connsiteX113" fmla="*/ 427284 w 1034979"/>
                <a:gd name="connsiteY113" fmla="*/ 1324125 h 1505139"/>
                <a:gd name="connsiteX114" fmla="*/ 436809 w 1034979"/>
                <a:gd name="connsiteY114" fmla="*/ 1312695 h 1505139"/>
                <a:gd name="connsiteX115" fmla="*/ 450144 w 1034979"/>
                <a:gd name="connsiteY115" fmla="*/ 1297455 h 1505139"/>
                <a:gd name="connsiteX116" fmla="*/ 457764 w 1034979"/>
                <a:gd name="connsiteY116" fmla="*/ 1286025 h 1505139"/>
                <a:gd name="connsiteX117" fmla="*/ 461574 w 1034979"/>
                <a:gd name="connsiteY117" fmla="*/ 1274595 h 1505139"/>
                <a:gd name="connsiteX118" fmla="*/ 465384 w 1034979"/>
                <a:gd name="connsiteY118" fmla="*/ 1259355 h 1505139"/>
                <a:gd name="connsiteX119" fmla="*/ 467289 w 1034979"/>
                <a:gd name="connsiteY119" fmla="*/ 1253640 h 1505139"/>
                <a:gd name="connsiteX120" fmla="*/ 507294 w 1034979"/>
                <a:gd name="connsiteY120" fmla="*/ 1247925 h 1505139"/>
                <a:gd name="connsiteX121" fmla="*/ 535869 w 1034979"/>
                <a:gd name="connsiteY121" fmla="*/ 1238400 h 1505139"/>
                <a:gd name="connsiteX122" fmla="*/ 541584 w 1034979"/>
                <a:gd name="connsiteY122" fmla="*/ 1236495 h 1505139"/>
                <a:gd name="connsiteX123" fmla="*/ 547299 w 1034979"/>
                <a:gd name="connsiteY123" fmla="*/ 1234590 h 1505139"/>
                <a:gd name="connsiteX124" fmla="*/ 554919 w 1034979"/>
                <a:gd name="connsiteY124" fmla="*/ 1232685 h 1505139"/>
                <a:gd name="connsiteX125" fmla="*/ 573969 w 1034979"/>
                <a:gd name="connsiteY125" fmla="*/ 1225065 h 1505139"/>
                <a:gd name="connsiteX126" fmla="*/ 585399 w 1034979"/>
                <a:gd name="connsiteY126" fmla="*/ 1221255 h 1505139"/>
                <a:gd name="connsiteX127" fmla="*/ 720654 w 1034979"/>
                <a:gd name="connsiteY127" fmla="*/ 1305075 h 1505139"/>
                <a:gd name="connsiteX128" fmla="*/ 733989 w 1034979"/>
                <a:gd name="connsiteY128" fmla="*/ 1314600 h 1505139"/>
                <a:gd name="connsiteX129" fmla="*/ 743514 w 1034979"/>
                <a:gd name="connsiteY129" fmla="*/ 1316505 h 1505139"/>
                <a:gd name="connsiteX130" fmla="*/ 749229 w 1034979"/>
                <a:gd name="connsiteY130" fmla="*/ 1318410 h 1505139"/>
                <a:gd name="connsiteX131" fmla="*/ 762564 w 1034979"/>
                <a:gd name="connsiteY131" fmla="*/ 1324125 h 1505139"/>
                <a:gd name="connsiteX132" fmla="*/ 777804 w 1034979"/>
                <a:gd name="connsiteY132" fmla="*/ 1322220 h 1505139"/>
                <a:gd name="connsiteX133" fmla="*/ 789234 w 1034979"/>
                <a:gd name="connsiteY133" fmla="*/ 1316505 h 1505139"/>
                <a:gd name="connsiteX134" fmla="*/ 794949 w 1034979"/>
                <a:gd name="connsiteY134" fmla="*/ 1314600 h 1505139"/>
                <a:gd name="connsiteX135" fmla="*/ 802569 w 1034979"/>
                <a:gd name="connsiteY135" fmla="*/ 1297455 h 1505139"/>
                <a:gd name="connsiteX136" fmla="*/ 800664 w 1034979"/>
                <a:gd name="connsiteY136" fmla="*/ 1272690 h 1505139"/>
                <a:gd name="connsiteX137" fmla="*/ 798759 w 1034979"/>
                <a:gd name="connsiteY137" fmla="*/ 1266975 h 1505139"/>
                <a:gd name="connsiteX138" fmla="*/ 796854 w 1034979"/>
                <a:gd name="connsiteY138" fmla="*/ 1259355 h 1505139"/>
                <a:gd name="connsiteX139" fmla="*/ 783519 w 1034979"/>
                <a:gd name="connsiteY139" fmla="*/ 1242210 h 1505139"/>
                <a:gd name="connsiteX140" fmla="*/ 773994 w 1034979"/>
                <a:gd name="connsiteY140" fmla="*/ 1236495 h 1505139"/>
                <a:gd name="connsiteX141" fmla="*/ 648264 w 1034979"/>
                <a:gd name="connsiteY141" fmla="*/ 1145055 h 1505139"/>
                <a:gd name="connsiteX142" fmla="*/ 644454 w 1034979"/>
                <a:gd name="connsiteY142" fmla="*/ 1127910 h 1505139"/>
                <a:gd name="connsiteX143" fmla="*/ 646359 w 1034979"/>
                <a:gd name="connsiteY143" fmla="*/ 1120290 h 1505139"/>
                <a:gd name="connsiteX144" fmla="*/ 650169 w 1034979"/>
                <a:gd name="connsiteY144" fmla="*/ 1103145 h 1505139"/>
                <a:gd name="connsiteX145" fmla="*/ 653979 w 1034979"/>
                <a:gd name="connsiteY145" fmla="*/ 1097430 h 1505139"/>
                <a:gd name="connsiteX146" fmla="*/ 655884 w 1034979"/>
                <a:gd name="connsiteY146" fmla="*/ 1091715 h 1505139"/>
                <a:gd name="connsiteX147" fmla="*/ 661599 w 1034979"/>
                <a:gd name="connsiteY147" fmla="*/ 1089810 h 1505139"/>
                <a:gd name="connsiteX148" fmla="*/ 671124 w 1034979"/>
                <a:gd name="connsiteY148" fmla="*/ 1078380 h 1505139"/>
                <a:gd name="connsiteX149" fmla="*/ 724464 w 1034979"/>
                <a:gd name="connsiteY149" fmla="*/ 1070760 h 1505139"/>
                <a:gd name="connsiteX150" fmla="*/ 842574 w 1034979"/>
                <a:gd name="connsiteY150" fmla="*/ 1072665 h 1505139"/>
                <a:gd name="connsiteX151" fmla="*/ 871149 w 1034979"/>
                <a:gd name="connsiteY151" fmla="*/ 1074570 h 1505139"/>
                <a:gd name="connsiteX152" fmla="*/ 899724 w 1034979"/>
                <a:gd name="connsiteY152" fmla="*/ 1080285 h 1505139"/>
                <a:gd name="connsiteX153" fmla="*/ 922584 w 1034979"/>
                <a:gd name="connsiteY153" fmla="*/ 1084095 h 1505139"/>
                <a:gd name="connsiteX154" fmla="*/ 951159 w 1034979"/>
                <a:gd name="connsiteY154" fmla="*/ 1089810 h 1505139"/>
                <a:gd name="connsiteX155" fmla="*/ 956874 w 1034979"/>
                <a:gd name="connsiteY155" fmla="*/ 1089810 h 1505139"/>
                <a:gd name="connsiteX156" fmla="*/ 1002594 w 1034979"/>
                <a:gd name="connsiteY156" fmla="*/ 1087905 h 1505139"/>
                <a:gd name="connsiteX157" fmla="*/ 1031169 w 1034979"/>
                <a:gd name="connsiteY157" fmla="*/ 1080285 h 1505139"/>
                <a:gd name="connsiteX158" fmla="*/ 1034979 w 1034979"/>
                <a:gd name="connsiteY158" fmla="*/ 1074570 h 1505139"/>
                <a:gd name="connsiteX159" fmla="*/ 1033074 w 1034979"/>
                <a:gd name="connsiteY159" fmla="*/ 1055520 h 1505139"/>
                <a:gd name="connsiteX160" fmla="*/ 1027359 w 1034979"/>
                <a:gd name="connsiteY160" fmla="*/ 1051710 h 1505139"/>
                <a:gd name="connsiteX161" fmla="*/ 1012119 w 1034979"/>
                <a:gd name="connsiteY161" fmla="*/ 1049805 h 1505139"/>
                <a:gd name="connsiteX162" fmla="*/ 1006404 w 1034979"/>
                <a:gd name="connsiteY162" fmla="*/ 1047900 h 1505139"/>
                <a:gd name="connsiteX163" fmla="*/ 998784 w 1034979"/>
                <a:gd name="connsiteY163" fmla="*/ 1045995 h 1505139"/>
                <a:gd name="connsiteX164" fmla="*/ 987354 w 1034979"/>
                <a:gd name="connsiteY164" fmla="*/ 1038375 h 1505139"/>
                <a:gd name="connsiteX165" fmla="*/ 975924 w 1034979"/>
                <a:gd name="connsiteY165" fmla="*/ 1034565 h 1505139"/>
                <a:gd name="connsiteX166" fmla="*/ 970209 w 1034979"/>
                <a:gd name="connsiteY166" fmla="*/ 1032660 h 1505139"/>
                <a:gd name="connsiteX167" fmla="*/ 962589 w 1034979"/>
                <a:gd name="connsiteY167" fmla="*/ 1030755 h 1505139"/>
                <a:gd name="connsiteX168" fmla="*/ 956874 w 1034979"/>
                <a:gd name="connsiteY168" fmla="*/ 1028850 h 1505139"/>
                <a:gd name="connsiteX169" fmla="*/ 935919 w 1034979"/>
                <a:gd name="connsiteY169" fmla="*/ 1023135 h 1505139"/>
                <a:gd name="connsiteX170" fmla="*/ 930204 w 1034979"/>
                <a:gd name="connsiteY170" fmla="*/ 1021230 h 1505139"/>
                <a:gd name="connsiteX171" fmla="*/ 825429 w 1034979"/>
                <a:gd name="connsiteY171" fmla="*/ 1023135 h 1505139"/>
                <a:gd name="connsiteX172" fmla="*/ 819714 w 1034979"/>
                <a:gd name="connsiteY172" fmla="*/ 1025040 h 1505139"/>
                <a:gd name="connsiteX173" fmla="*/ 730179 w 1034979"/>
                <a:gd name="connsiteY173" fmla="*/ 1026945 h 1505139"/>
                <a:gd name="connsiteX174" fmla="*/ 716844 w 1034979"/>
                <a:gd name="connsiteY174" fmla="*/ 1030755 h 1505139"/>
                <a:gd name="connsiteX175" fmla="*/ 695889 w 1034979"/>
                <a:gd name="connsiteY175" fmla="*/ 1032660 h 1505139"/>
                <a:gd name="connsiteX176" fmla="*/ 669219 w 1034979"/>
                <a:gd name="connsiteY176" fmla="*/ 1034565 h 1505139"/>
                <a:gd name="connsiteX177" fmla="*/ 669219 w 1034979"/>
                <a:gd name="connsiteY177" fmla="*/ 1034565 h 1505139"/>
                <a:gd name="connsiteX178" fmla="*/ 646359 w 1034979"/>
                <a:gd name="connsiteY178" fmla="*/ 1038375 h 1505139"/>
                <a:gd name="connsiteX179" fmla="*/ 642549 w 1034979"/>
                <a:gd name="connsiteY179" fmla="*/ 1026945 h 1505139"/>
                <a:gd name="connsiteX180" fmla="*/ 640644 w 1034979"/>
                <a:gd name="connsiteY180" fmla="*/ 1021230 h 1505139"/>
                <a:gd name="connsiteX181" fmla="*/ 642549 w 1034979"/>
                <a:gd name="connsiteY181" fmla="*/ 1004085 h 1505139"/>
                <a:gd name="connsiteX182" fmla="*/ 644454 w 1034979"/>
                <a:gd name="connsiteY182" fmla="*/ 998370 h 1505139"/>
                <a:gd name="connsiteX183" fmla="*/ 661599 w 1034979"/>
                <a:gd name="connsiteY183" fmla="*/ 988845 h 1505139"/>
                <a:gd name="connsiteX184" fmla="*/ 673029 w 1034979"/>
                <a:gd name="connsiteY184" fmla="*/ 981225 h 1505139"/>
                <a:gd name="connsiteX185" fmla="*/ 674934 w 1034979"/>
                <a:gd name="connsiteY185" fmla="*/ 975510 h 1505139"/>
                <a:gd name="connsiteX186" fmla="*/ 680649 w 1034979"/>
                <a:gd name="connsiteY186" fmla="*/ 973605 h 1505139"/>
                <a:gd name="connsiteX187" fmla="*/ 686364 w 1034979"/>
                <a:gd name="connsiteY187" fmla="*/ 969795 h 1505139"/>
                <a:gd name="connsiteX188" fmla="*/ 695889 w 1034979"/>
                <a:gd name="connsiteY188" fmla="*/ 960270 h 1505139"/>
                <a:gd name="connsiteX189" fmla="*/ 705414 w 1034979"/>
                <a:gd name="connsiteY189" fmla="*/ 948840 h 1505139"/>
                <a:gd name="connsiteX190" fmla="*/ 716844 w 1034979"/>
                <a:gd name="connsiteY190" fmla="*/ 941220 h 1505139"/>
                <a:gd name="connsiteX191" fmla="*/ 732084 w 1034979"/>
                <a:gd name="connsiteY191" fmla="*/ 927885 h 1505139"/>
                <a:gd name="connsiteX192" fmla="*/ 741609 w 1034979"/>
                <a:gd name="connsiteY192" fmla="*/ 916455 h 1505139"/>
                <a:gd name="connsiteX193" fmla="*/ 753039 w 1034979"/>
                <a:gd name="connsiteY193" fmla="*/ 906930 h 1505139"/>
                <a:gd name="connsiteX194" fmla="*/ 758754 w 1034979"/>
                <a:gd name="connsiteY194" fmla="*/ 895500 h 1505139"/>
                <a:gd name="connsiteX195" fmla="*/ 760659 w 1034979"/>
                <a:gd name="connsiteY195" fmla="*/ 889785 h 1505139"/>
                <a:gd name="connsiteX196" fmla="*/ 766374 w 1034979"/>
                <a:gd name="connsiteY196" fmla="*/ 878355 h 1505139"/>
                <a:gd name="connsiteX197" fmla="*/ 764469 w 1034979"/>
                <a:gd name="connsiteY197" fmla="*/ 863115 h 1505139"/>
                <a:gd name="connsiteX198" fmla="*/ 758754 w 1034979"/>
                <a:gd name="connsiteY198" fmla="*/ 861210 h 1505139"/>
                <a:gd name="connsiteX199" fmla="*/ 737799 w 1034979"/>
                <a:gd name="connsiteY199" fmla="*/ 863115 h 1505139"/>
                <a:gd name="connsiteX200" fmla="*/ 732084 w 1034979"/>
                <a:gd name="connsiteY200" fmla="*/ 866925 h 1505139"/>
                <a:gd name="connsiteX201" fmla="*/ 720654 w 1034979"/>
                <a:gd name="connsiteY201" fmla="*/ 870735 h 1505139"/>
                <a:gd name="connsiteX202" fmla="*/ 716844 w 1034979"/>
                <a:gd name="connsiteY202" fmla="*/ 876450 h 1505139"/>
                <a:gd name="connsiteX203" fmla="*/ 711129 w 1034979"/>
                <a:gd name="connsiteY203" fmla="*/ 878355 h 1505139"/>
                <a:gd name="connsiteX204" fmla="*/ 705414 w 1034979"/>
                <a:gd name="connsiteY204" fmla="*/ 882165 h 1505139"/>
                <a:gd name="connsiteX205" fmla="*/ 699699 w 1034979"/>
                <a:gd name="connsiteY205" fmla="*/ 887880 h 1505139"/>
                <a:gd name="connsiteX206" fmla="*/ 692079 w 1034979"/>
                <a:gd name="connsiteY206" fmla="*/ 891690 h 1505139"/>
                <a:gd name="connsiteX207" fmla="*/ 650169 w 1034979"/>
                <a:gd name="connsiteY207" fmla="*/ 920265 h 1505139"/>
                <a:gd name="connsiteX208" fmla="*/ 636834 w 1034979"/>
                <a:gd name="connsiteY208" fmla="*/ 931695 h 1505139"/>
                <a:gd name="connsiteX209" fmla="*/ 627309 w 1034979"/>
                <a:gd name="connsiteY209" fmla="*/ 948840 h 1505139"/>
                <a:gd name="connsiteX210" fmla="*/ 602544 w 1034979"/>
                <a:gd name="connsiteY210" fmla="*/ 954555 h 1505139"/>
                <a:gd name="connsiteX211" fmla="*/ 589209 w 1034979"/>
                <a:gd name="connsiteY211" fmla="*/ 958365 h 1505139"/>
                <a:gd name="connsiteX212" fmla="*/ 573969 w 1034979"/>
                <a:gd name="connsiteY212" fmla="*/ 956460 h 1505139"/>
                <a:gd name="connsiteX213" fmla="*/ 562539 w 1034979"/>
                <a:gd name="connsiteY213" fmla="*/ 952650 h 1505139"/>
                <a:gd name="connsiteX214" fmla="*/ 551109 w 1034979"/>
                <a:gd name="connsiteY214" fmla="*/ 948840 h 1505139"/>
                <a:gd name="connsiteX215" fmla="*/ 539679 w 1034979"/>
                <a:gd name="connsiteY215" fmla="*/ 945030 h 1505139"/>
                <a:gd name="connsiteX216" fmla="*/ 533964 w 1034979"/>
                <a:gd name="connsiteY216" fmla="*/ 943125 h 1505139"/>
                <a:gd name="connsiteX217" fmla="*/ 528249 w 1034979"/>
                <a:gd name="connsiteY217" fmla="*/ 939315 h 1505139"/>
                <a:gd name="connsiteX218" fmla="*/ 516819 w 1034979"/>
                <a:gd name="connsiteY218" fmla="*/ 933600 h 1505139"/>
                <a:gd name="connsiteX219" fmla="*/ 509199 w 1034979"/>
                <a:gd name="connsiteY219" fmla="*/ 922170 h 1505139"/>
                <a:gd name="connsiteX220" fmla="*/ 505389 w 1034979"/>
                <a:gd name="connsiteY220" fmla="*/ 901215 h 1505139"/>
                <a:gd name="connsiteX221" fmla="*/ 507294 w 1034979"/>
                <a:gd name="connsiteY221" fmla="*/ 836445 h 1505139"/>
                <a:gd name="connsiteX222" fmla="*/ 513009 w 1034979"/>
                <a:gd name="connsiteY222" fmla="*/ 823110 h 1505139"/>
                <a:gd name="connsiteX223" fmla="*/ 503484 w 1034979"/>
                <a:gd name="connsiteY223" fmla="*/ 346860 h 1505139"/>
                <a:gd name="connsiteX224" fmla="*/ 499674 w 1034979"/>
                <a:gd name="connsiteY224" fmla="*/ 55395 h 1505139"/>
                <a:gd name="connsiteX225" fmla="*/ 490149 w 1034979"/>
                <a:gd name="connsiteY225" fmla="*/ 28725 h 1505139"/>
                <a:gd name="connsiteX226" fmla="*/ 488244 w 1034979"/>
                <a:gd name="connsiteY226" fmla="*/ 23010 h 1505139"/>
                <a:gd name="connsiteX227" fmla="*/ 484434 w 1034979"/>
                <a:gd name="connsiteY227" fmla="*/ 17295 h 1505139"/>
                <a:gd name="connsiteX228" fmla="*/ 478719 w 1034979"/>
                <a:gd name="connsiteY228" fmla="*/ 5865 h 1505139"/>
                <a:gd name="connsiteX229" fmla="*/ 429189 w 1034979"/>
                <a:gd name="connsiteY229" fmla="*/ 150 h 1505139"/>
                <a:gd name="connsiteX230" fmla="*/ 421569 w 1034979"/>
                <a:gd name="connsiteY230" fmla="*/ 11580 h 1505139"/>
                <a:gd name="connsiteX231" fmla="*/ 419664 w 1034979"/>
                <a:gd name="connsiteY231" fmla="*/ 49680 h 1505139"/>
                <a:gd name="connsiteX232" fmla="*/ 423474 w 1034979"/>
                <a:gd name="connsiteY232" fmla="*/ 61110 h 1505139"/>
                <a:gd name="connsiteX233" fmla="*/ 425379 w 1034979"/>
                <a:gd name="connsiteY233" fmla="*/ 66825 h 1505139"/>
                <a:gd name="connsiteX234" fmla="*/ 425379 w 1034979"/>
                <a:gd name="connsiteY234" fmla="*/ 72540 h 1505139"/>
                <a:gd name="connsiteX235" fmla="*/ 429189 w 1034979"/>
                <a:gd name="connsiteY235" fmla="*/ 226845 h 1505139"/>
                <a:gd name="connsiteX236" fmla="*/ 440619 w 1034979"/>
                <a:gd name="connsiteY236" fmla="*/ 409725 h 1505139"/>
                <a:gd name="connsiteX237" fmla="*/ 425379 w 1034979"/>
                <a:gd name="connsiteY237" fmla="*/ 706905 h 1505139"/>
                <a:gd name="connsiteX238" fmla="*/ 417759 w 1034979"/>
                <a:gd name="connsiteY238" fmla="*/ 834540 h 1505139"/>
                <a:gd name="connsiteX239" fmla="*/ 413949 w 1034979"/>
                <a:gd name="connsiteY239" fmla="*/ 851685 h 1505139"/>
                <a:gd name="connsiteX240" fmla="*/ 417759 w 1034979"/>
                <a:gd name="connsiteY240" fmla="*/ 872640 h 1505139"/>
                <a:gd name="connsiteX241" fmla="*/ 421569 w 1034979"/>
                <a:gd name="connsiteY241" fmla="*/ 878355 h 1505139"/>
                <a:gd name="connsiteX242" fmla="*/ 425379 w 1034979"/>
                <a:gd name="connsiteY242" fmla="*/ 889785 h 1505139"/>
                <a:gd name="connsiteX243" fmla="*/ 423474 w 1034979"/>
                <a:gd name="connsiteY243" fmla="*/ 916455 h 1505139"/>
                <a:gd name="connsiteX244" fmla="*/ 417759 w 1034979"/>
                <a:gd name="connsiteY244" fmla="*/ 918360 h 1505139"/>
                <a:gd name="connsiteX245" fmla="*/ 412044 w 1034979"/>
                <a:gd name="connsiteY245" fmla="*/ 922170 h 1505139"/>
                <a:gd name="connsiteX246" fmla="*/ 421569 w 1034979"/>
                <a:gd name="connsiteY246" fmla="*/ 918360 h 1505139"/>
                <a:gd name="connsiteX0" fmla="*/ 421569 w 1034979"/>
                <a:gd name="connsiteY0" fmla="*/ 918360 h 1505139"/>
                <a:gd name="connsiteX1" fmla="*/ 421569 w 1034979"/>
                <a:gd name="connsiteY1" fmla="*/ 918360 h 1505139"/>
                <a:gd name="connsiteX2" fmla="*/ 394899 w 1034979"/>
                <a:gd name="connsiteY2" fmla="*/ 927885 h 1505139"/>
                <a:gd name="connsiteX3" fmla="*/ 387279 w 1034979"/>
                <a:gd name="connsiteY3" fmla="*/ 929790 h 1505139"/>
                <a:gd name="connsiteX4" fmla="*/ 356799 w 1034979"/>
                <a:gd name="connsiteY4" fmla="*/ 931695 h 1505139"/>
                <a:gd name="connsiteX5" fmla="*/ 351084 w 1034979"/>
                <a:gd name="connsiteY5" fmla="*/ 935505 h 1505139"/>
                <a:gd name="connsiteX6" fmla="*/ 339654 w 1034979"/>
                <a:gd name="connsiteY6" fmla="*/ 945030 h 1505139"/>
                <a:gd name="connsiteX7" fmla="*/ 328224 w 1034979"/>
                <a:gd name="connsiteY7" fmla="*/ 948840 h 1505139"/>
                <a:gd name="connsiteX8" fmla="*/ 312984 w 1034979"/>
                <a:gd name="connsiteY8" fmla="*/ 954555 h 1505139"/>
                <a:gd name="connsiteX9" fmla="*/ 265359 w 1034979"/>
                <a:gd name="connsiteY9" fmla="*/ 950745 h 1505139"/>
                <a:gd name="connsiteX10" fmla="*/ 253929 w 1034979"/>
                <a:gd name="connsiteY10" fmla="*/ 946935 h 1505139"/>
                <a:gd name="connsiteX11" fmla="*/ 242499 w 1034979"/>
                <a:gd name="connsiteY11" fmla="*/ 943125 h 1505139"/>
                <a:gd name="connsiteX12" fmla="*/ 236784 w 1034979"/>
                <a:gd name="connsiteY12" fmla="*/ 941220 h 1505139"/>
                <a:gd name="connsiteX13" fmla="*/ 231069 w 1034979"/>
                <a:gd name="connsiteY13" fmla="*/ 939315 h 1505139"/>
                <a:gd name="connsiteX14" fmla="*/ 219639 w 1034979"/>
                <a:gd name="connsiteY14" fmla="*/ 937410 h 1505139"/>
                <a:gd name="connsiteX15" fmla="*/ 213924 w 1034979"/>
                <a:gd name="connsiteY15" fmla="*/ 935505 h 1505139"/>
                <a:gd name="connsiteX16" fmla="*/ 206304 w 1034979"/>
                <a:gd name="connsiteY16" fmla="*/ 933600 h 1505139"/>
                <a:gd name="connsiteX17" fmla="*/ 194874 w 1034979"/>
                <a:gd name="connsiteY17" fmla="*/ 929790 h 1505139"/>
                <a:gd name="connsiteX18" fmla="*/ 189159 w 1034979"/>
                <a:gd name="connsiteY18" fmla="*/ 927885 h 1505139"/>
                <a:gd name="connsiteX19" fmla="*/ 181539 w 1034979"/>
                <a:gd name="connsiteY19" fmla="*/ 925980 h 1505139"/>
                <a:gd name="connsiteX20" fmla="*/ 170109 w 1034979"/>
                <a:gd name="connsiteY20" fmla="*/ 920265 h 1505139"/>
                <a:gd name="connsiteX21" fmla="*/ 164394 w 1034979"/>
                <a:gd name="connsiteY21" fmla="*/ 916455 h 1505139"/>
                <a:gd name="connsiteX22" fmla="*/ 156774 w 1034979"/>
                <a:gd name="connsiteY22" fmla="*/ 905025 h 1505139"/>
                <a:gd name="connsiteX23" fmla="*/ 145344 w 1034979"/>
                <a:gd name="connsiteY23" fmla="*/ 901215 h 1505139"/>
                <a:gd name="connsiteX24" fmla="*/ 139629 w 1034979"/>
                <a:gd name="connsiteY24" fmla="*/ 897405 h 1505139"/>
                <a:gd name="connsiteX25" fmla="*/ 133914 w 1034979"/>
                <a:gd name="connsiteY25" fmla="*/ 895500 h 1505139"/>
                <a:gd name="connsiteX26" fmla="*/ 116769 w 1034979"/>
                <a:gd name="connsiteY26" fmla="*/ 891690 h 1505139"/>
                <a:gd name="connsiteX27" fmla="*/ 111054 w 1034979"/>
                <a:gd name="connsiteY27" fmla="*/ 885975 h 1505139"/>
                <a:gd name="connsiteX28" fmla="*/ 101529 w 1034979"/>
                <a:gd name="connsiteY28" fmla="*/ 868830 h 1505139"/>
                <a:gd name="connsiteX29" fmla="*/ 84384 w 1034979"/>
                <a:gd name="connsiteY29" fmla="*/ 861210 h 1505139"/>
                <a:gd name="connsiteX30" fmla="*/ 78669 w 1034979"/>
                <a:gd name="connsiteY30" fmla="*/ 859305 h 1505139"/>
                <a:gd name="connsiteX31" fmla="*/ 59619 w 1034979"/>
                <a:gd name="connsiteY31" fmla="*/ 863115 h 1505139"/>
                <a:gd name="connsiteX32" fmla="*/ 53904 w 1034979"/>
                <a:gd name="connsiteY32" fmla="*/ 866925 h 1505139"/>
                <a:gd name="connsiteX33" fmla="*/ 50094 w 1034979"/>
                <a:gd name="connsiteY33" fmla="*/ 872640 h 1505139"/>
                <a:gd name="connsiteX34" fmla="*/ 46284 w 1034979"/>
                <a:gd name="connsiteY34" fmla="*/ 884070 h 1505139"/>
                <a:gd name="connsiteX35" fmla="*/ 50094 w 1034979"/>
                <a:gd name="connsiteY35" fmla="*/ 922170 h 1505139"/>
                <a:gd name="connsiteX36" fmla="*/ 53904 w 1034979"/>
                <a:gd name="connsiteY36" fmla="*/ 927885 h 1505139"/>
                <a:gd name="connsiteX37" fmla="*/ 59619 w 1034979"/>
                <a:gd name="connsiteY37" fmla="*/ 931695 h 1505139"/>
                <a:gd name="connsiteX38" fmla="*/ 63429 w 1034979"/>
                <a:gd name="connsiteY38" fmla="*/ 937410 h 1505139"/>
                <a:gd name="connsiteX39" fmla="*/ 80574 w 1034979"/>
                <a:gd name="connsiteY39" fmla="*/ 946935 h 1505139"/>
                <a:gd name="connsiteX40" fmla="*/ 103434 w 1034979"/>
                <a:gd name="connsiteY40" fmla="*/ 948840 h 1505139"/>
                <a:gd name="connsiteX41" fmla="*/ 124389 w 1034979"/>
                <a:gd name="connsiteY41" fmla="*/ 954555 h 1505139"/>
                <a:gd name="connsiteX42" fmla="*/ 130104 w 1034979"/>
                <a:gd name="connsiteY42" fmla="*/ 956460 h 1505139"/>
                <a:gd name="connsiteX43" fmla="*/ 135819 w 1034979"/>
                <a:gd name="connsiteY43" fmla="*/ 962175 h 1505139"/>
                <a:gd name="connsiteX44" fmla="*/ 143439 w 1034979"/>
                <a:gd name="connsiteY44" fmla="*/ 964080 h 1505139"/>
                <a:gd name="connsiteX45" fmla="*/ 166299 w 1034979"/>
                <a:gd name="connsiteY45" fmla="*/ 967890 h 1505139"/>
                <a:gd name="connsiteX46" fmla="*/ 191064 w 1034979"/>
                <a:gd name="connsiteY46" fmla="*/ 973605 h 1505139"/>
                <a:gd name="connsiteX47" fmla="*/ 208209 w 1034979"/>
                <a:gd name="connsiteY47" fmla="*/ 979320 h 1505139"/>
                <a:gd name="connsiteX48" fmla="*/ 213924 w 1034979"/>
                <a:gd name="connsiteY48" fmla="*/ 981225 h 1505139"/>
                <a:gd name="connsiteX49" fmla="*/ 229164 w 1034979"/>
                <a:gd name="connsiteY49" fmla="*/ 985035 h 1505139"/>
                <a:gd name="connsiteX50" fmla="*/ 248214 w 1034979"/>
                <a:gd name="connsiteY50" fmla="*/ 990750 h 1505139"/>
                <a:gd name="connsiteX51" fmla="*/ 253929 w 1034979"/>
                <a:gd name="connsiteY51" fmla="*/ 994560 h 1505139"/>
                <a:gd name="connsiteX52" fmla="*/ 267264 w 1034979"/>
                <a:gd name="connsiteY52" fmla="*/ 1009800 h 1505139"/>
                <a:gd name="connsiteX53" fmla="*/ 272979 w 1034979"/>
                <a:gd name="connsiteY53" fmla="*/ 1028850 h 1505139"/>
                <a:gd name="connsiteX54" fmla="*/ 274884 w 1034979"/>
                <a:gd name="connsiteY54" fmla="*/ 1034565 h 1505139"/>
                <a:gd name="connsiteX55" fmla="*/ 276789 w 1034979"/>
                <a:gd name="connsiteY55" fmla="*/ 1040280 h 1505139"/>
                <a:gd name="connsiteX56" fmla="*/ 278694 w 1034979"/>
                <a:gd name="connsiteY56" fmla="*/ 1065045 h 1505139"/>
                <a:gd name="connsiteX57" fmla="*/ 280599 w 1034979"/>
                <a:gd name="connsiteY57" fmla="*/ 1070760 h 1505139"/>
                <a:gd name="connsiteX58" fmla="*/ 278694 w 1034979"/>
                <a:gd name="connsiteY58" fmla="*/ 1089810 h 1505139"/>
                <a:gd name="connsiteX59" fmla="*/ 276789 w 1034979"/>
                <a:gd name="connsiteY59" fmla="*/ 1099335 h 1505139"/>
                <a:gd name="connsiteX60" fmla="*/ 263454 w 1034979"/>
                <a:gd name="connsiteY60" fmla="*/ 1112670 h 1505139"/>
                <a:gd name="connsiteX61" fmla="*/ 252024 w 1034979"/>
                <a:gd name="connsiteY61" fmla="*/ 1120290 h 1505139"/>
                <a:gd name="connsiteX62" fmla="*/ 240594 w 1034979"/>
                <a:gd name="connsiteY62" fmla="*/ 1124100 h 1505139"/>
                <a:gd name="connsiteX63" fmla="*/ 126294 w 1034979"/>
                <a:gd name="connsiteY63" fmla="*/ 1124100 h 1505139"/>
                <a:gd name="connsiteX64" fmla="*/ 120579 w 1034979"/>
                <a:gd name="connsiteY64" fmla="*/ 1126005 h 1505139"/>
                <a:gd name="connsiteX65" fmla="*/ 105339 w 1034979"/>
                <a:gd name="connsiteY65" fmla="*/ 1127910 h 1505139"/>
                <a:gd name="connsiteX66" fmla="*/ 88194 w 1034979"/>
                <a:gd name="connsiteY66" fmla="*/ 1133625 h 1505139"/>
                <a:gd name="connsiteX67" fmla="*/ 82479 w 1034979"/>
                <a:gd name="connsiteY67" fmla="*/ 1135530 h 1505139"/>
                <a:gd name="connsiteX68" fmla="*/ 76764 w 1034979"/>
                <a:gd name="connsiteY68" fmla="*/ 1139340 h 1505139"/>
                <a:gd name="connsiteX69" fmla="*/ 65334 w 1034979"/>
                <a:gd name="connsiteY69" fmla="*/ 1141245 h 1505139"/>
                <a:gd name="connsiteX70" fmla="*/ 27234 w 1034979"/>
                <a:gd name="connsiteY70" fmla="*/ 1143150 h 1505139"/>
                <a:gd name="connsiteX71" fmla="*/ 15804 w 1034979"/>
                <a:gd name="connsiteY71" fmla="*/ 1148865 h 1505139"/>
                <a:gd name="connsiteX72" fmla="*/ 6279 w 1034979"/>
                <a:gd name="connsiteY72" fmla="*/ 1158390 h 1505139"/>
                <a:gd name="connsiteX73" fmla="*/ 4374 w 1034979"/>
                <a:gd name="connsiteY73" fmla="*/ 1164105 h 1505139"/>
                <a:gd name="connsiteX74" fmla="*/ 564 w 1034979"/>
                <a:gd name="connsiteY74" fmla="*/ 1169820 h 1505139"/>
                <a:gd name="connsiteX75" fmla="*/ 6279 w 1034979"/>
                <a:gd name="connsiteY75" fmla="*/ 1202205 h 1505139"/>
                <a:gd name="connsiteX76" fmla="*/ 11994 w 1034979"/>
                <a:gd name="connsiteY76" fmla="*/ 1206015 h 1505139"/>
                <a:gd name="connsiteX77" fmla="*/ 17709 w 1034979"/>
                <a:gd name="connsiteY77" fmla="*/ 1207920 h 1505139"/>
                <a:gd name="connsiteX78" fmla="*/ 145344 w 1034979"/>
                <a:gd name="connsiteY78" fmla="*/ 1206015 h 1505139"/>
                <a:gd name="connsiteX79" fmla="*/ 152964 w 1034979"/>
                <a:gd name="connsiteY79" fmla="*/ 1204110 h 1505139"/>
                <a:gd name="connsiteX80" fmla="*/ 303459 w 1034979"/>
                <a:gd name="connsiteY80" fmla="*/ 1198395 h 1505139"/>
                <a:gd name="connsiteX81" fmla="*/ 318699 w 1034979"/>
                <a:gd name="connsiteY81" fmla="*/ 1206015 h 1505139"/>
                <a:gd name="connsiteX82" fmla="*/ 330129 w 1034979"/>
                <a:gd name="connsiteY82" fmla="*/ 1211730 h 1505139"/>
                <a:gd name="connsiteX83" fmla="*/ 333939 w 1034979"/>
                <a:gd name="connsiteY83" fmla="*/ 1217445 h 1505139"/>
                <a:gd name="connsiteX84" fmla="*/ 339654 w 1034979"/>
                <a:gd name="connsiteY84" fmla="*/ 1219350 h 1505139"/>
                <a:gd name="connsiteX85" fmla="*/ 351084 w 1034979"/>
                <a:gd name="connsiteY85" fmla="*/ 1226970 h 1505139"/>
                <a:gd name="connsiteX86" fmla="*/ 356799 w 1034979"/>
                <a:gd name="connsiteY86" fmla="*/ 1230780 h 1505139"/>
                <a:gd name="connsiteX87" fmla="*/ 360609 w 1034979"/>
                <a:gd name="connsiteY87" fmla="*/ 1236495 h 1505139"/>
                <a:gd name="connsiteX88" fmla="*/ 366324 w 1034979"/>
                <a:gd name="connsiteY88" fmla="*/ 1247925 h 1505139"/>
                <a:gd name="connsiteX89" fmla="*/ 362514 w 1034979"/>
                <a:gd name="connsiteY89" fmla="*/ 1274595 h 1505139"/>
                <a:gd name="connsiteX90" fmla="*/ 358704 w 1034979"/>
                <a:gd name="connsiteY90" fmla="*/ 1280310 h 1505139"/>
                <a:gd name="connsiteX91" fmla="*/ 356799 w 1034979"/>
                <a:gd name="connsiteY91" fmla="*/ 1286025 h 1505139"/>
                <a:gd name="connsiteX92" fmla="*/ 352989 w 1034979"/>
                <a:gd name="connsiteY92" fmla="*/ 1291740 h 1505139"/>
                <a:gd name="connsiteX93" fmla="*/ 351084 w 1034979"/>
                <a:gd name="connsiteY93" fmla="*/ 1297455 h 1505139"/>
                <a:gd name="connsiteX94" fmla="*/ 347274 w 1034979"/>
                <a:gd name="connsiteY94" fmla="*/ 1303170 h 1505139"/>
                <a:gd name="connsiteX95" fmla="*/ 330129 w 1034979"/>
                <a:gd name="connsiteY95" fmla="*/ 1369845 h 1505139"/>
                <a:gd name="connsiteX96" fmla="*/ 328224 w 1034979"/>
                <a:gd name="connsiteY96" fmla="*/ 1421280 h 1505139"/>
                <a:gd name="connsiteX97" fmla="*/ 330129 w 1034979"/>
                <a:gd name="connsiteY97" fmla="*/ 1446045 h 1505139"/>
                <a:gd name="connsiteX98" fmla="*/ 332034 w 1034979"/>
                <a:gd name="connsiteY98" fmla="*/ 1451760 h 1505139"/>
                <a:gd name="connsiteX99" fmla="*/ 335844 w 1034979"/>
                <a:gd name="connsiteY99" fmla="*/ 1455570 h 1505139"/>
                <a:gd name="connsiteX100" fmla="*/ 364419 w 1034979"/>
                <a:gd name="connsiteY100" fmla="*/ 1501290 h 1505139"/>
                <a:gd name="connsiteX101" fmla="*/ 387279 w 1034979"/>
                <a:gd name="connsiteY101" fmla="*/ 1503195 h 1505139"/>
                <a:gd name="connsiteX102" fmla="*/ 392994 w 1034979"/>
                <a:gd name="connsiteY102" fmla="*/ 1497480 h 1505139"/>
                <a:gd name="connsiteX103" fmla="*/ 394899 w 1034979"/>
                <a:gd name="connsiteY103" fmla="*/ 1486050 h 1505139"/>
                <a:gd name="connsiteX104" fmla="*/ 396804 w 1034979"/>
                <a:gd name="connsiteY104" fmla="*/ 1480335 h 1505139"/>
                <a:gd name="connsiteX105" fmla="*/ 398709 w 1034979"/>
                <a:gd name="connsiteY105" fmla="*/ 1463190 h 1505139"/>
                <a:gd name="connsiteX106" fmla="*/ 400614 w 1034979"/>
                <a:gd name="connsiteY106" fmla="*/ 1449855 h 1505139"/>
                <a:gd name="connsiteX107" fmla="*/ 404424 w 1034979"/>
                <a:gd name="connsiteY107" fmla="*/ 1392705 h 1505139"/>
                <a:gd name="connsiteX108" fmla="*/ 410139 w 1034979"/>
                <a:gd name="connsiteY108" fmla="*/ 1381275 h 1505139"/>
                <a:gd name="connsiteX109" fmla="*/ 413949 w 1034979"/>
                <a:gd name="connsiteY109" fmla="*/ 1367940 h 1505139"/>
                <a:gd name="connsiteX110" fmla="*/ 415854 w 1034979"/>
                <a:gd name="connsiteY110" fmla="*/ 1362225 h 1505139"/>
                <a:gd name="connsiteX111" fmla="*/ 417759 w 1034979"/>
                <a:gd name="connsiteY111" fmla="*/ 1348890 h 1505139"/>
                <a:gd name="connsiteX112" fmla="*/ 421569 w 1034979"/>
                <a:gd name="connsiteY112" fmla="*/ 1337460 h 1505139"/>
                <a:gd name="connsiteX113" fmla="*/ 427284 w 1034979"/>
                <a:gd name="connsiteY113" fmla="*/ 1324125 h 1505139"/>
                <a:gd name="connsiteX114" fmla="*/ 436809 w 1034979"/>
                <a:gd name="connsiteY114" fmla="*/ 1312695 h 1505139"/>
                <a:gd name="connsiteX115" fmla="*/ 450144 w 1034979"/>
                <a:gd name="connsiteY115" fmla="*/ 1297455 h 1505139"/>
                <a:gd name="connsiteX116" fmla="*/ 457764 w 1034979"/>
                <a:gd name="connsiteY116" fmla="*/ 1286025 h 1505139"/>
                <a:gd name="connsiteX117" fmla="*/ 461574 w 1034979"/>
                <a:gd name="connsiteY117" fmla="*/ 1274595 h 1505139"/>
                <a:gd name="connsiteX118" fmla="*/ 465384 w 1034979"/>
                <a:gd name="connsiteY118" fmla="*/ 1259355 h 1505139"/>
                <a:gd name="connsiteX119" fmla="*/ 467289 w 1034979"/>
                <a:gd name="connsiteY119" fmla="*/ 1253640 h 1505139"/>
                <a:gd name="connsiteX120" fmla="*/ 507294 w 1034979"/>
                <a:gd name="connsiteY120" fmla="*/ 1247925 h 1505139"/>
                <a:gd name="connsiteX121" fmla="*/ 535869 w 1034979"/>
                <a:gd name="connsiteY121" fmla="*/ 1238400 h 1505139"/>
                <a:gd name="connsiteX122" fmla="*/ 541584 w 1034979"/>
                <a:gd name="connsiteY122" fmla="*/ 1236495 h 1505139"/>
                <a:gd name="connsiteX123" fmla="*/ 547299 w 1034979"/>
                <a:gd name="connsiteY123" fmla="*/ 1234590 h 1505139"/>
                <a:gd name="connsiteX124" fmla="*/ 554919 w 1034979"/>
                <a:gd name="connsiteY124" fmla="*/ 1232685 h 1505139"/>
                <a:gd name="connsiteX125" fmla="*/ 573969 w 1034979"/>
                <a:gd name="connsiteY125" fmla="*/ 1225065 h 1505139"/>
                <a:gd name="connsiteX126" fmla="*/ 585399 w 1034979"/>
                <a:gd name="connsiteY126" fmla="*/ 1221255 h 1505139"/>
                <a:gd name="connsiteX127" fmla="*/ 720654 w 1034979"/>
                <a:gd name="connsiteY127" fmla="*/ 1305075 h 1505139"/>
                <a:gd name="connsiteX128" fmla="*/ 733989 w 1034979"/>
                <a:gd name="connsiteY128" fmla="*/ 1314600 h 1505139"/>
                <a:gd name="connsiteX129" fmla="*/ 743514 w 1034979"/>
                <a:gd name="connsiteY129" fmla="*/ 1316505 h 1505139"/>
                <a:gd name="connsiteX130" fmla="*/ 749229 w 1034979"/>
                <a:gd name="connsiteY130" fmla="*/ 1318410 h 1505139"/>
                <a:gd name="connsiteX131" fmla="*/ 762564 w 1034979"/>
                <a:gd name="connsiteY131" fmla="*/ 1324125 h 1505139"/>
                <a:gd name="connsiteX132" fmla="*/ 777804 w 1034979"/>
                <a:gd name="connsiteY132" fmla="*/ 1322220 h 1505139"/>
                <a:gd name="connsiteX133" fmla="*/ 789234 w 1034979"/>
                <a:gd name="connsiteY133" fmla="*/ 1316505 h 1505139"/>
                <a:gd name="connsiteX134" fmla="*/ 794949 w 1034979"/>
                <a:gd name="connsiteY134" fmla="*/ 1314600 h 1505139"/>
                <a:gd name="connsiteX135" fmla="*/ 802569 w 1034979"/>
                <a:gd name="connsiteY135" fmla="*/ 1297455 h 1505139"/>
                <a:gd name="connsiteX136" fmla="*/ 800664 w 1034979"/>
                <a:gd name="connsiteY136" fmla="*/ 1272690 h 1505139"/>
                <a:gd name="connsiteX137" fmla="*/ 798759 w 1034979"/>
                <a:gd name="connsiteY137" fmla="*/ 1266975 h 1505139"/>
                <a:gd name="connsiteX138" fmla="*/ 796854 w 1034979"/>
                <a:gd name="connsiteY138" fmla="*/ 1259355 h 1505139"/>
                <a:gd name="connsiteX139" fmla="*/ 783519 w 1034979"/>
                <a:gd name="connsiteY139" fmla="*/ 1242210 h 1505139"/>
                <a:gd name="connsiteX140" fmla="*/ 773994 w 1034979"/>
                <a:gd name="connsiteY140" fmla="*/ 1236495 h 1505139"/>
                <a:gd name="connsiteX141" fmla="*/ 648264 w 1034979"/>
                <a:gd name="connsiteY141" fmla="*/ 1145055 h 1505139"/>
                <a:gd name="connsiteX142" fmla="*/ 644454 w 1034979"/>
                <a:gd name="connsiteY142" fmla="*/ 1127910 h 1505139"/>
                <a:gd name="connsiteX143" fmla="*/ 646359 w 1034979"/>
                <a:gd name="connsiteY143" fmla="*/ 1120290 h 1505139"/>
                <a:gd name="connsiteX144" fmla="*/ 650169 w 1034979"/>
                <a:gd name="connsiteY144" fmla="*/ 1103145 h 1505139"/>
                <a:gd name="connsiteX145" fmla="*/ 653979 w 1034979"/>
                <a:gd name="connsiteY145" fmla="*/ 1097430 h 1505139"/>
                <a:gd name="connsiteX146" fmla="*/ 655884 w 1034979"/>
                <a:gd name="connsiteY146" fmla="*/ 1091715 h 1505139"/>
                <a:gd name="connsiteX147" fmla="*/ 661599 w 1034979"/>
                <a:gd name="connsiteY147" fmla="*/ 1089810 h 1505139"/>
                <a:gd name="connsiteX148" fmla="*/ 671124 w 1034979"/>
                <a:gd name="connsiteY148" fmla="*/ 1078380 h 1505139"/>
                <a:gd name="connsiteX149" fmla="*/ 724464 w 1034979"/>
                <a:gd name="connsiteY149" fmla="*/ 1070760 h 1505139"/>
                <a:gd name="connsiteX150" fmla="*/ 842574 w 1034979"/>
                <a:gd name="connsiteY150" fmla="*/ 1072665 h 1505139"/>
                <a:gd name="connsiteX151" fmla="*/ 871149 w 1034979"/>
                <a:gd name="connsiteY151" fmla="*/ 1074570 h 1505139"/>
                <a:gd name="connsiteX152" fmla="*/ 899724 w 1034979"/>
                <a:gd name="connsiteY152" fmla="*/ 1080285 h 1505139"/>
                <a:gd name="connsiteX153" fmla="*/ 922584 w 1034979"/>
                <a:gd name="connsiteY153" fmla="*/ 1084095 h 1505139"/>
                <a:gd name="connsiteX154" fmla="*/ 951159 w 1034979"/>
                <a:gd name="connsiteY154" fmla="*/ 1089810 h 1505139"/>
                <a:gd name="connsiteX155" fmla="*/ 956874 w 1034979"/>
                <a:gd name="connsiteY155" fmla="*/ 1089810 h 1505139"/>
                <a:gd name="connsiteX156" fmla="*/ 1002594 w 1034979"/>
                <a:gd name="connsiteY156" fmla="*/ 1087905 h 1505139"/>
                <a:gd name="connsiteX157" fmla="*/ 1031169 w 1034979"/>
                <a:gd name="connsiteY157" fmla="*/ 1080285 h 1505139"/>
                <a:gd name="connsiteX158" fmla="*/ 1034979 w 1034979"/>
                <a:gd name="connsiteY158" fmla="*/ 1074570 h 1505139"/>
                <a:gd name="connsiteX159" fmla="*/ 1033074 w 1034979"/>
                <a:gd name="connsiteY159" fmla="*/ 1055520 h 1505139"/>
                <a:gd name="connsiteX160" fmla="*/ 1027359 w 1034979"/>
                <a:gd name="connsiteY160" fmla="*/ 1051710 h 1505139"/>
                <a:gd name="connsiteX161" fmla="*/ 1012119 w 1034979"/>
                <a:gd name="connsiteY161" fmla="*/ 1049805 h 1505139"/>
                <a:gd name="connsiteX162" fmla="*/ 1006404 w 1034979"/>
                <a:gd name="connsiteY162" fmla="*/ 1047900 h 1505139"/>
                <a:gd name="connsiteX163" fmla="*/ 998784 w 1034979"/>
                <a:gd name="connsiteY163" fmla="*/ 1045995 h 1505139"/>
                <a:gd name="connsiteX164" fmla="*/ 987354 w 1034979"/>
                <a:gd name="connsiteY164" fmla="*/ 1038375 h 1505139"/>
                <a:gd name="connsiteX165" fmla="*/ 975924 w 1034979"/>
                <a:gd name="connsiteY165" fmla="*/ 1034565 h 1505139"/>
                <a:gd name="connsiteX166" fmla="*/ 970209 w 1034979"/>
                <a:gd name="connsiteY166" fmla="*/ 1032660 h 1505139"/>
                <a:gd name="connsiteX167" fmla="*/ 962589 w 1034979"/>
                <a:gd name="connsiteY167" fmla="*/ 1030755 h 1505139"/>
                <a:gd name="connsiteX168" fmla="*/ 956874 w 1034979"/>
                <a:gd name="connsiteY168" fmla="*/ 1028850 h 1505139"/>
                <a:gd name="connsiteX169" fmla="*/ 935919 w 1034979"/>
                <a:gd name="connsiteY169" fmla="*/ 1023135 h 1505139"/>
                <a:gd name="connsiteX170" fmla="*/ 930204 w 1034979"/>
                <a:gd name="connsiteY170" fmla="*/ 1021230 h 1505139"/>
                <a:gd name="connsiteX171" fmla="*/ 825429 w 1034979"/>
                <a:gd name="connsiteY171" fmla="*/ 1023135 h 1505139"/>
                <a:gd name="connsiteX172" fmla="*/ 819714 w 1034979"/>
                <a:gd name="connsiteY172" fmla="*/ 1025040 h 1505139"/>
                <a:gd name="connsiteX173" fmla="*/ 730179 w 1034979"/>
                <a:gd name="connsiteY173" fmla="*/ 1026945 h 1505139"/>
                <a:gd name="connsiteX174" fmla="*/ 716844 w 1034979"/>
                <a:gd name="connsiteY174" fmla="*/ 1030755 h 1505139"/>
                <a:gd name="connsiteX175" fmla="*/ 695889 w 1034979"/>
                <a:gd name="connsiteY175" fmla="*/ 1032660 h 1505139"/>
                <a:gd name="connsiteX176" fmla="*/ 669219 w 1034979"/>
                <a:gd name="connsiteY176" fmla="*/ 1034565 h 1505139"/>
                <a:gd name="connsiteX177" fmla="*/ 669219 w 1034979"/>
                <a:gd name="connsiteY177" fmla="*/ 1034565 h 1505139"/>
                <a:gd name="connsiteX178" fmla="*/ 646359 w 1034979"/>
                <a:gd name="connsiteY178" fmla="*/ 1038375 h 1505139"/>
                <a:gd name="connsiteX179" fmla="*/ 642549 w 1034979"/>
                <a:gd name="connsiteY179" fmla="*/ 1026945 h 1505139"/>
                <a:gd name="connsiteX180" fmla="*/ 640644 w 1034979"/>
                <a:gd name="connsiteY180" fmla="*/ 1021230 h 1505139"/>
                <a:gd name="connsiteX181" fmla="*/ 642549 w 1034979"/>
                <a:gd name="connsiteY181" fmla="*/ 1004085 h 1505139"/>
                <a:gd name="connsiteX182" fmla="*/ 644454 w 1034979"/>
                <a:gd name="connsiteY182" fmla="*/ 998370 h 1505139"/>
                <a:gd name="connsiteX183" fmla="*/ 661599 w 1034979"/>
                <a:gd name="connsiteY183" fmla="*/ 988845 h 1505139"/>
                <a:gd name="connsiteX184" fmla="*/ 673029 w 1034979"/>
                <a:gd name="connsiteY184" fmla="*/ 981225 h 1505139"/>
                <a:gd name="connsiteX185" fmla="*/ 674934 w 1034979"/>
                <a:gd name="connsiteY185" fmla="*/ 975510 h 1505139"/>
                <a:gd name="connsiteX186" fmla="*/ 680649 w 1034979"/>
                <a:gd name="connsiteY186" fmla="*/ 973605 h 1505139"/>
                <a:gd name="connsiteX187" fmla="*/ 686364 w 1034979"/>
                <a:gd name="connsiteY187" fmla="*/ 969795 h 1505139"/>
                <a:gd name="connsiteX188" fmla="*/ 695889 w 1034979"/>
                <a:gd name="connsiteY188" fmla="*/ 960270 h 1505139"/>
                <a:gd name="connsiteX189" fmla="*/ 705414 w 1034979"/>
                <a:gd name="connsiteY189" fmla="*/ 948840 h 1505139"/>
                <a:gd name="connsiteX190" fmla="*/ 716844 w 1034979"/>
                <a:gd name="connsiteY190" fmla="*/ 941220 h 1505139"/>
                <a:gd name="connsiteX191" fmla="*/ 732084 w 1034979"/>
                <a:gd name="connsiteY191" fmla="*/ 927885 h 1505139"/>
                <a:gd name="connsiteX192" fmla="*/ 741609 w 1034979"/>
                <a:gd name="connsiteY192" fmla="*/ 916455 h 1505139"/>
                <a:gd name="connsiteX193" fmla="*/ 753039 w 1034979"/>
                <a:gd name="connsiteY193" fmla="*/ 906930 h 1505139"/>
                <a:gd name="connsiteX194" fmla="*/ 758754 w 1034979"/>
                <a:gd name="connsiteY194" fmla="*/ 895500 h 1505139"/>
                <a:gd name="connsiteX195" fmla="*/ 760659 w 1034979"/>
                <a:gd name="connsiteY195" fmla="*/ 889785 h 1505139"/>
                <a:gd name="connsiteX196" fmla="*/ 766374 w 1034979"/>
                <a:gd name="connsiteY196" fmla="*/ 878355 h 1505139"/>
                <a:gd name="connsiteX197" fmla="*/ 764469 w 1034979"/>
                <a:gd name="connsiteY197" fmla="*/ 863115 h 1505139"/>
                <a:gd name="connsiteX198" fmla="*/ 758754 w 1034979"/>
                <a:gd name="connsiteY198" fmla="*/ 861210 h 1505139"/>
                <a:gd name="connsiteX199" fmla="*/ 737799 w 1034979"/>
                <a:gd name="connsiteY199" fmla="*/ 863115 h 1505139"/>
                <a:gd name="connsiteX200" fmla="*/ 732084 w 1034979"/>
                <a:gd name="connsiteY200" fmla="*/ 866925 h 1505139"/>
                <a:gd name="connsiteX201" fmla="*/ 720654 w 1034979"/>
                <a:gd name="connsiteY201" fmla="*/ 870735 h 1505139"/>
                <a:gd name="connsiteX202" fmla="*/ 716844 w 1034979"/>
                <a:gd name="connsiteY202" fmla="*/ 876450 h 1505139"/>
                <a:gd name="connsiteX203" fmla="*/ 711129 w 1034979"/>
                <a:gd name="connsiteY203" fmla="*/ 878355 h 1505139"/>
                <a:gd name="connsiteX204" fmla="*/ 705414 w 1034979"/>
                <a:gd name="connsiteY204" fmla="*/ 882165 h 1505139"/>
                <a:gd name="connsiteX205" fmla="*/ 699699 w 1034979"/>
                <a:gd name="connsiteY205" fmla="*/ 887880 h 1505139"/>
                <a:gd name="connsiteX206" fmla="*/ 692079 w 1034979"/>
                <a:gd name="connsiteY206" fmla="*/ 891690 h 1505139"/>
                <a:gd name="connsiteX207" fmla="*/ 650169 w 1034979"/>
                <a:gd name="connsiteY207" fmla="*/ 920265 h 1505139"/>
                <a:gd name="connsiteX208" fmla="*/ 636834 w 1034979"/>
                <a:gd name="connsiteY208" fmla="*/ 931695 h 1505139"/>
                <a:gd name="connsiteX209" fmla="*/ 627309 w 1034979"/>
                <a:gd name="connsiteY209" fmla="*/ 948840 h 1505139"/>
                <a:gd name="connsiteX210" fmla="*/ 602544 w 1034979"/>
                <a:gd name="connsiteY210" fmla="*/ 954555 h 1505139"/>
                <a:gd name="connsiteX211" fmla="*/ 589209 w 1034979"/>
                <a:gd name="connsiteY211" fmla="*/ 958365 h 1505139"/>
                <a:gd name="connsiteX212" fmla="*/ 573969 w 1034979"/>
                <a:gd name="connsiteY212" fmla="*/ 956460 h 1505139"/>
                <a:gd name="connsiteX213" fmla="*/ 562539 w 1034979"/>
                <a:gd name="connsiteY213" fmla="*/ 952650 h 1505139"/>
                <a:gd name="connsiteX214" fmla="*/ 551109 w 1034979"/>
                <a:gd name="connsiteY214" fmla="*/ 948840 h 1505139"/>
                <a:gd name="connsiteX215" fmla="*/ 539679 w 1034979"/>
                <a:gd name="connsiteY215" fmla="*/ 945030 h 1505139"/>
                <a:gd name="connsiteX216" fmla="*/ 533964 w 1034979"/>
                <a:gd name="connsiteY216" fmla="*/ 943125 h 1505139"/>
                <a:gd name="connsiteX217" fmla="*/ 528249 w 1034979"/>
                <a:gd name="connsiteY217" fmla="*/ 939315 h 1505139"/>
                <a:gd name="connsiteX218" fmla="*/ 516819 w 1034979"/>
                <a:gd name="connsiteY218" fmla="*/ 933600 h 1505139"/>
                <a:gd name="connsiteX219" fmla="*/ 509199 w 1034979"/>
                <a:gd name="connsiteY219" fmla="*/ 922170 h 1505139"/>
                <a:gd name="connsiteX220" fmla="*/ 505389 w 1034979"/>
                <a:gd name="connsiteY220" fmla="*/ 901215 h 1505139"/>
                <a:gd name="connsiteX221" fmla="*/ 507294 w 1034979"/>
                <a:gd name="connsiteY221" fmla="*/ 836445 h 1505139"/>
                <a:gd name="connsiteX222" fmla="*/ 513009 w 1034979"/>
                <a:gd name="connsiteY222" fmla="*/ 823110 h 1505139"/>
                <a:gd name="connsiteX223" fmla="*/ 503484 w 1034979"/>
                <a:gd name="connsiteY223" fmla="*/ 346860 h 1505139"/>
                <a:gd name="connsiteX224" fmla="*/ 499674 w 1034979"/>
                <a:gd name="connsiteY224" fmla="*/ 55395 h 1505139"/>
                <a:gd name="connsiteX225" fmla="*/ 490149 w 1034979"/>
                <a:gd name="connsiteY225" fmla="*/ 28725 h 1505139"/>
                <a:gd name="connsiteX226" fmla="*/ 488244 w 1034979"/>
                <a:gd name="connsiteY226" fmla="*/ 23010 h 1505139"/>
                <a:gd name="connsiteX227" fmla="*/ 484434 w 1034979"/>
                <a:gd name="connsiteY227" fmla="*/ 17295 h 1505139"/>
                <a:gd name="connsiteX228" fmla="*/ 478719 w 1034979"/>
                <a:gd name="connsiteY228" fmla="*/ 5865 h 1505139"/>
                <a:gd name="connsiteX229" fmla="*/ 429189 w 1034979"/>
                <a:gd name="connsiteY229" fmla="*/ 150 h 1505139"/>
                <a:gd name="connsiteX230" fmla="*/ 421569 w 1034979"/>
                <a:gd name="connsiteY230" fmla="*/ 11580 h 1505139"/>
                <a:gd name="connsiteX231" fmla="*/ 419664 w 1034979"/>
                <a:gd name="connsiteY231" fmla="*/ 49680 h 1505139"/>
                <a:gd name="connsiteX232" fmla="*/ 423474 w 1034979"/>
                <a:gd name="connsiteY232" fmla="*/ 61110 h 1505139"/>
                <a:gd name="connsiteX233" fmla="*/ 425379 w 1034979"/>
                <a:gd name="connsiteY233" fmla="*/ 66825 h 1505139"/>
                <a:gd name="connsiteX234" fmla="*/ 425379 w 1034979"/>
                <a:gd name="connsiteY234" fmla="*/ 72540 h 1505139"/>
                <a:gd name="connsiteX235" fmla="*/ 429189 w 1034979"/>
                <a:gd name="connsiteY235" fmla="*/ 226845 h 1505139"/>
                <a:gd name="connsiteX236" fmla="*/ 440619 w 1034979"/>
                <a:gd name="connsiteY236" fmla="*/ 409725 h 1505139"/>
                <a:gd name="connsiteX237" fmla="*/ 425379 w 1034979"/>
                <a:gd name="connsiteY237" fmla="*/ 706905 h 1505139"/>
                <a:gd name="connsiteX238" fmla="*/ 417759 w 1034979"/>
                <a:gd name="connsiteY238" fmla="*/ 834540 h 1505139"/>
                <a:gd name="connsiteX239" fmla="*/ 413949 w 1034979"/>
                <a:gd name="connsiteY239" fmla="*/ 851685 h 1505139"/>
                <a:gd name="connsiteX240" fmla="*/ 417759 w 1034979"/>
                <a:gd name="connsiteY240" fmla="*/ 872640 h 1505139"/>
                <a:gd name="connsiteX241" fmla="*/ 421569 w 1034979"/>
                <a:gd name="connsiteY241" fmla="*/ 878355 h 1505139"/>
                <a:gd name="connsiteX242" fmla="*/ 425379 w 1034979"/>
                <a:gd name="connsiteY242" fmla="*/ 889785 h 1505139"/>
                <a:gd name="connsiteX243" fmla="*/ 423474 w 1034979"/>
                <a:gd name="connsiteY243" fmla="*/ 916455 h 1505139"/>
                <a:gd name="connsiteX244" fmla="*/ 417759 w 1034979"/>
                <a:gd name="connsiteY244" fmla="*/ 918360 h 1505139"/>
                <a:gd name="connsiteX245" fmla="*/ 412044 w 1034979"/>
                <a:gd name="connsiteY245" fmla="*/ 922170 h 1505139"/>
                <a:gd name="connsiteX246" fmla="*/ 421569 w 1034979"/>
                <a:gd name="connsiteY246" fmla="*/ 918360 h 1505139"/>
                <a:gd name="connsiteX0" fmla="*/ 421569 w 1034979"/>
                <a:gd name="connsiteY0" fmla="*/ 918360 h 1505139"/>
                <a:gd name="connsiteX1" fmla="*/ 421569 w 1034979"/>
                <a:gd name="connsiteY1" fmla="*/ 918360 h 1505139"/>
                <a:gd name="connsiteX2" fmla="*/ 394899 w 1034979"/>
                <a:gd name="connsiteY2" fmla="*/ 927885 h 1505139"/>
                <a:gd name="connsiteX3" fmla="*/ 387279 w 1034979"/>
                <a:gd name="connsiteY3" fmla="*/ 929790 h 1505139"/>
                <a:gd name="connsiteX4" fmla="*/ 356799 w 1034979"/>
                <a:gd name="connsiteY4" fmla="*/ 931695 h 1505139"/>
                <a:gd name="connsiteX5" fmla="*/ 351084 w 1034979"/>
                <a:gd name="connsiteY5" fmla="*/ 935505 h 1505139"/>
                <a:gd name="connsiteX6" fmla="*/ 339654 w 1034979"/>
                <a:gd name="connsiteY6" fmla="*/ 945030 h 1505139"/>
                <a:gd name="connsiteX7" fmla="*/ 328224 w 1034979"/>
                <a:gd name="connsiteY7" fmla="*/ 948840 h 1505139"/>
                <a:gd name="connsiteX8" fmla="*/ 312984 w 1034979"/>
                <a:gd name="connsiteY8" fmla="*/ 954555 h 1505139"/>
                <a:gd name="connsiteX9" fmla="*/ 265359 w 1034979"/>
                <a:gd name="connsiteY9" fmla="*/ 950745 h 1505139"/>
                <a:gd name="connsiteX10" fmla="*/ 253929 w 1034979"/>
                <a:gd name="connsiteY10" fmla="*/ 946935 h 1505139"/>
                <a:gd name="connsiteX11" fmla="*/ 242499 w 1034979"/>
                <a:gd name="connsiteY11" fmla="*/ 943125 h 1505139"/>
                <a:gd name="connsiteX12" fmla="*/ 236784 w 1034979"/>
                <a:gd name="connsiteY12" fmla="*/ 941220 h 1505139"/>
                <a:gd name="connsiteX13" fmla="*/ 231069 w 1034979"/>
                <a:gd name="connsiteY13" fmla="*/ 939315 h 1505139"/>
                <a:gd name="connsiteX14" fmla="*/ 219639 w 1034979"/>
                <a:gd name="connsiteY14" fmla="*/ 937410 h 1505139"/>
                <a:gd name="connsiteX15" fmla="*/ 213924 w 1034979"/>
                <a:gd name="connsiteY15" fmla="*/ 935505 h 1505139"/>
                <a:gd name="connsiteX16" fmla="*/ 206304 w 1034979"/>
                <a:gd name="connsiteY16" fmla="*/ 933600 h 1505139"/>
                <a:gd name="connsiteX17" fmla="*/ 194874 w 1034979"/>
                <a:gd name="connsiteY17" fmla="*/ 929790 h 1505139"/>
                <a:gd name="connsiteX18" fmla="*/ 189159 w 1034979"/>
                <a:gd name="connsiteY18" fmla="*/ 927885 h 1505139"/>
                <a:gd name="connsiteX19" fmla="*/ 181539 w 1034979"/>
                <a:gd name="connsiteY19" fmla="*/ 925980 h 1505139"/>
                <a:gd name="connsiteX20" fmla="*/ 170109 w 1034979"/>
                <a:gd name="connsiteY20" fmla="*/ 920265 h 1505139"/>
                <a:gd name="connsiteX21" fmla="*/ 164394 w 1034979"/>
                <a:gd name="connsiteY21" fmla="*/ 916455 h 1505139"/>
                <a:gd name="connsiteX22" fmla="*/ 156774 w 1034979"/>
                <a:gd name="connsiteY22" fmla="*/ 905025 h 1505139"/>
                <a:gd name="connsiteX23" fmla="*/ 145344 w 1034979"/>
                <a:gd name="connsiteY23" fmla="*/ 901215 h 1505139"/>
                <a:gd name="connsiteX24" fmla="*/ 139629 w 1034979"/>
                <a:gd name="connsiteY24" fmla="*/ 897405 h 1505139"/>
                <a:gd name="connsiteX25" fmla="*/ 133914 w 1034979"/>
                <a:gd name="connsiteY25" fmla="*/ 895500 h 1505139"/>
                <a:gd name="connsiteX26" fmla="*/ 116769 w 1034979"/>
                <a:gd name="connsiteY26" fmla="*/ 891690 h 1505139"/>
                <a:gd name="connsiteX27" fmla="*/ 111054 w 1034979"/>
                <a:gd name="connsiteY27" fmla="*/ 885975 h 1505139"/>
                <a:gd name="connsiteX28" fmla="*/ 101529 w 1034979"/>
                <a:gd name="connsiteY28" fmla="*/ 868830 h 1505139"/>
                <a:gd name="connsiteX29" fmla="*/ 84384 w 1034979"/>
                <a:gd name="connsiteY29" fmla="*/ 861210 h 1505139"/>
                <a:gd name="connsiteX30" fmla="*/ 78669 w 1034979"/>
                <a:gd name="connsiteY30" fmla="*/ 859305 h 1505139"/>
                <a:gd name="connsiteX31" fmla="*/ 59619 w 1034979"/>
                <a:gd name="connsiteY31" fmla="*/ 863115 h 1505139"/>
                <a:gd name="connsiteX32" fmla="*/ 53904 w 1034979"/>
                <a:gd name="connsiteY32" fmla="*/ 866925 h 1505139"/>
                <a:gd name="connsiteX33" fmla="*/ 50094 w 1034979"/>
                <a:gd name="connsiteY33" fmla="*/ 872640 h 1505139"/>
                <a:gd name="connsiteX34" fmla="*/ 46284 w 1034979"/>
                <a:gd name="connsiteY34" fmla="*/ 884070 h 1505139"/>
                <a:gd name="connsiteX35" fmla="*/ 50094 w 1034979"/>
                <a:gd name="connsiteY35" fmla="*/ 922170 h 1505139"/>
                <a:gd name="connsiteX36" fmla="*/ 53904 w 1034979"/>
                <a:gd name="connsiteY36" fmla="*/ 927885 h 1505139"/>
                <a:gd name="connsiteX37" fmla="*/ 59619 w 1034979"/>
                <a:gd name="connsiteY37" fmla="*/ 931695 h 1505139"/>
                <a:gd name="connsiteX38" fmla="*/ 63429 w 1034979"/>
                <a:gd name="connsiteY38" fmla="*/ 937410 h 1505139"/>
                <a:gd name="connsiteX39" fmla="*/ 80574 w 1034979"/>
                <a:gd name="connsiteY39" fmla="*/ 946935 h 1505139"/>
                <a:gd name="connsiteX40" fmla="*/ 103434 w 1034979"/>
                <a:gd name="connsiteY40" fmla="*/ 948840 h 1505139"/>
                <a:gd name="connsiteX41" fmla="*/ 124389 w 1034979"/>
                <a:gd name="connsiteY41" fmla="*/ 954555 h 1505139"/>
                <a:gd name="connsiteX42" fmla="*/ 130104 w 1034979"/>
                <a:gd name="connsiteY42" fmla="*/ 956460 h 1505139"/>
                <a:gd name="connsiteX43" fmla="*/ 135819 w 1034979"/>
                <a:gd name="connsiteY43" fmla="*/ 962175 h 1505139"/>
                <a:gd name="connsiteX44" fmla="*/ 143439 w 1034979"/>
                <a:gd name="connsiteY44" fmla="*/ 964080 h 1505139"/>
                <a:gd name="connsiteX45" fmla="*/ 166299 w 1034979"/>
                <a:gd name="connsiteY45" fmla="*/ 967890 h 1505139"/>
                <a:gd name="connsiteX46" fmla="*/ 191064 w 1034979"/>
                <a:gd name="connsiteY46" fmla="*/ 973605 h 1505139"/>
                <a:gd name="connsiteX47" fmla="*/ 208209 w 1034979"/>
                <a:gd name="connsiteY47" fmla="*/ 979320 h 1505139"/>
                <a:gd name="connsiteX48" fmla="*/ 213924 w 1034979"/>
                <a:gd name="connsiteY48" fmla="*/ 981225 h 1505139"/>
                <a:gd name="connsiteX49" fmla="*/ 229164 w 1034979"/>
                <a:gd name="connsiteY49" fmla="*/ 985035 h 1505139"/>
                <a:gd name="connsiteX50" fmla="*/ 248214 w 1034979"/>
                <a:gd name="connsiteY50" fmla="*/ 990750 h 1505139"/>
                <a:gd name="connsiteX51" fmla="*/ 253929 w 1034979"/>
                <a:gd name="connsiteY51" fmla="*/ 994560 h 1505139"/>
                <a:gd name="connsiteX52" fmla="*/ 267264 w 1034979"/>
                <a:gd name="connsiteY52" fmla="*/ 1009800 h 1505139"/>
                <a:gd name="connsiteX53" fmla="*/ 272979 w 1034979"/>
                <a:gd name="connsiteY53" fmla="*/ 1028850 h 1505139"/>
                <a:gd name="connsiteX54" fmla="*/ 274884 w 1034979"/>
                <a:gd name="connsiteY54" fmla="*/ 1034565 h 1505139"/>
                <a:gd name="connsiteX55" fmla="*/ 276789 w 1034979"/>
                <a:gd name="connsiteY55" fmla="*/ 1040280 h 1505139"/>
                <a:gd name="connsiteX56" fmla="*/ 278694 w 1034979"/>
                <a:gd name="connsiteY56" fmla="*/ 1065045 h 1505139"/>
                <a:gd name="connsiteX57" fmla="*/ 280599 w 1034979"/>
                <a:gd name="connsiteY57" fmla="*/ 1070760 h 1505139"/>
                <a:gd name="connsiteX58" fmla="*/ 278694 w 1034979"/>
                <a:gd name="connsiteY58" fmla="*/ 1089810 h 1505139"/>
                <a:gd name="connsiteX59" fmla="*/ 276789 w 1034979"/>
                <a:gd name="connsiteY59" fmla="*/ 1099335 h 1505139"/>
                <a:gd name="connsiteX60" fmla="*/ 263454 w 1034979"/>
                <a:gd name="connsiteY60" fmla="*/ 1112670 h 1505139"/>
                <a:gd name="connsiteX61" fmla="*/ 252024 w 1034979"/>
                <a:gd name="connsiteY61" fmla="*/ 1120290 h 1505139"/>
                <a:gd name="connsiteX62" fmla="*/ 240594 w 1034979"/>
                <a:gd name="connsiteY62" fmla="*/ 1124100 h 1505139"/>
                <a:gd name="connsiteX63" fmla="*/ 126294 w 1034979"/>
                <a:gd name="connsiteY63" fmla="*/ 1124100 h 1505139"/>
                <a:gd name="connsiteX64" fmla="*/ 120579 w 1034979"/>
                <a:gd name="connsiteY64" fmla="*/ 1126005 h 1505139"/>
                <a:gd name="connsiteX65" fmla="*/ 105339 w 1034979"/>
                <a:gd name="connsiteY65" fmla="*/ 1127910 h 1505139"/>
                <a:gd name="connsiteX66" fmla="*/ 88194 w 1034979"/>
                <a:gd name="connsiteY66" fmla="*/ 1133625 h 1505139"/>
                <a:gd name="connsiteX67" fmla="*/ 82479 w 1034979"/>
                <a:gd name="connsiteY67" fmla="*/ 1135530 h 1505139"/>
                <a:gd name="connsiteX68" fmla="*/ 76764 w 1034979"/>
                <a:gd name="connsiteY68" fmla="*/ 1139340 h 1505139"/>
                <a:gd name="connsiteX69" fmla="*/ 65334 w 1034979"/>
                <a:gd name="connsiteY69" fmla="*/ 1141245 h 1505139"/>
                <a:gd name="connsiteX70" fmla="*/ 27234 w 1034979"/>
                <a:gd name="connsiteY70" fmla="*/ 1143150 h 1505139"/>
                <a:gd name="connsiteX71" fmla="*/ 15804 w 1034979"/>
                <a:gd name="connsiteY71" fmla="*/ 1148865 h 1505139"/>
                <a:gd name="connsiteX72" fmla="*/ 6279 w 1034979"/>
                <a:gd name="connsiteY72" fmla="*/ 1158390 h 1505139"/>
                <a:gd name="connsiteX73" fmla="*/ 4374 w 1034979"/>
                <a:gd name="connsiteY73" fmla="*/ 1164105 h 1505139"/>
                <a:gd name="connsiteX74" fmla="*/ 564 w 1034979"/>
                <a:gd name="connsiteY74" fmla="*/ 1169820 h 1505139"/>
                <a:gd name="connsiteX75" fmla="*/ 6279 w 1034979"/>
                <a:gd name="connsiteY75" fmla="*/ 1202205 h 1505139"/>
                <a:gd name="connsiteX76" fmla="*/ 11994 w 1034979"/>
                <a:gd name="connsiteY76" fmla="*/ 1206015 h 1505139"/>
                <a:gd name="connsiteX77" fmla="*/ 17709 w 1034979"/>
                <a:gd name="connsiteY77" fmla="*/ 1207920 h 1505139"/>
                <a:gd name="connsiteX78" fmla="*/ 145344 w 1034979"/>
                <a:gd name="connsiteY78" fmla="*/ 1206015 h 1505139"/>
                <a:gd name="connsiteX79" fmla="*/ 152964 w 1034979"/>
                <a:gd name="connsiteY79" fmla="*/ 1204110 h 1505139"/>
                <a:gd name="connsiteX80" fmla="*/ 303459 w 1034979"/>
                <a:gd name="connsiteY80" fmla="*/ 1198395 h 1505139"/>
                <a:gd name="connsiteX81" fmla="*/ 318699 w 1034979"/>
                <a:gd name="connsiteY81" fmla="*/ 1206015 h 1505139"/>
                <a:gd name="connsiteX82" fmla="*/ 330129 w 1034979"/>
                <a:gd name="connsiteY82" fmla="*/ 1211730 h 1505139"/>
                <a:gd name="connsiteX83" fmla="*/ 333939 w 1034979"/>
                <a:gd name="connsiteY83" fmla="*/ 1217445 h 1505139"/>
                <a:gd name="connsiteX84" fmla="*/ 339654 w 1034979"/>
                <a:gd name="connsiteY84" fmla="*/ 1219350 h 1505139"/>
                <a:gd name="connsiteX85" fmla="*/ 351084 w 1034979"/>
                <a:gd name="connsiteY85" fmla="*/ 1226970 h 1505139"/>
                <a:gd name="connsiteX86" fmla="*/ 356799 w 1034979"/>
                <a:gd name="connsiteY86" fmla="*/ 1230780 h 1505139"/>
                <a:gd name="connsiteX87" fmla="*/ 360609 w 1034979"/>
                <a:gd name="connsiteY87" fmla="*/ 1236495 h 1505139"/>
                <a:gd name="connsiteX88" fmla="*/ 366324 w 1034979"/>
                <a:gd name="connsiteY88" fmla="*/ 1247925 h 1505139"/>
                <a:gd name="connsiteX89" fmla="*/ 362514 w 1034979"/>
                <a:gd name="connsiteY89" fmla="*/ 1274595 h 1505139"/>
                <a:gd name="connsiteX90" fmla="*/ 358704 w 1034979"/>
                <a:gd name="connsiteY90" fmla="*/ 1280310 h 1505139"/>
                <a:gd name="connsiteX91" fmla="*/ 356799 w 1034979"/>
                <a:gd name="connsiteY91" fmla="*/ 1286025 h 1505139"/>
                <a:gd name="connsiteX92" fmla="*/ 352989 w 1034979"/>
                <a:gd name="connsiteY92" fmla="*/ 1291740 h 1505139"/>
                <a:gd name="connsiteX93" fmla="*/ 351084 w 1034979"/>
                <a:gd name="connsiteY93" fmla="*/ 1297455 h 1505139"/>
                <a:gd name="connsiteX94" fmla="*/ 347274 w 1034979"/>
                <a:gd name="connsiteY94" fmla="*/ 1303170 h 1505139"/>
                <a:gd name="connsiteX95" fmla="*/ 330129 w 1034979"/>
                <a:gd name="connsiteY95" fmla="*/ 1369845 h 1505139"/>
                <a:gd name="connsiteX96" fmla="*/ 328224 w 1034979"/>
                <a:gd name="connsiteY96" fmla="*/ 1421280 h 1505139"/>
                <a:gd name="connsiteX97" fmla="*/ 330129 w 1034979"/>
                <a:gd name="connsiteY97" fmla="*/ 1446045 h 1505139"/>
                <a:gd name="connsiteX98" fmla="*/ 332034 w 1034979"/>
                <a:gd name="connsiteY98" fmla="*/ 1451760 h 1505139"/>
                <a:gd name="connsiteX99" fmla="*/ 335844 w 1034979"/>
                <a:gd name="connsiteY99" fmla="*/ 1455570 h 1505139"/>
                <a:gd name="connsiteX100" fmla="*/ 364419 w 1034979"/>
                <a:gd name="connsiteY100" fmla="*/ 1501290 h 1505139"/>
                <a:gd name="connsiteX101" fmla="*/ 387279 w 1034979"/>
                <a:gd name="connsiteY101" fmla="*/ 1503195 h 1505139"/>
                <a:gd name="connsiteX102" fmla="*/ 392994 w 1034979"/>
                <a:gd name="connsiteY102" fmla="*/ 1497480 h 1505139"/>
                <a:gd name="connsiteX103" fmla="*/ 394899 w 1034979"/>
                <a:gd name="connsiteY103" fmla="*/ 1486050 h 1505139"/>
                <a:gd name="connsiteX104" fmla="*/ 396804 w 1034979"/>
                <a:gd name="connsiteY104" fmla="*/ 1480335 h 1505139"/>
                <a:gd name="connsiteX105" fmla="*/ 398709 w 1034979"/>
                <a:gd name="connsiteY105" fmla="*/ 1463190 h 1505139"/>
                <a:gd name="connsiteX106" fmla="*/ 400614 w 1034979"/>
                <a:gd name="connsiteY106" fmla="*/ 1449855 h 1505139"/>
                <a:gd name="connsiteX107" fmla="*/ 404424 w 1034979"/>
                <a:gd name="connsiteY107" fmla="*/ 1392705 h 1505139"/>
                <a:gd name="connsiteX108" fmla="*/ 410139 w 1034979"/>
                <a:gd name="connsiteY108" fmla="*/ 1381275 h 1505139"/>
                <a:gd name="connsiteX109" fmla="*/ 413949 w 1034979"/>
                <a:gd name="connsiteY109" fmla="*/ 1367940 h 1505139"/>
                <a:gd name="connsiteX110" fmla="*/ 415854 w 1034979"/>
                <a:gd name="connsiteY110" fmla="*/ 1362225 h 1505139"/>
                <a:gd name="connsiteX111" fmla="*/ 417759 w 1034979"/>
                <a:gd name="connsiteY111" fmla="*/ 1348890 h 1505139"/>
                <a:gd name="connsiteX112" fmla="*/ 421569 w 1034979"/>
                <a:gd name="connsiteY112" fmla="*/ 1337460 h 1505139"/>
                <a:gd name="connsiteX113" fmla="*/ 427284 w 1034979"/>
                <a:gd name="connsiteY113" fmla="*/ 1324125 h 1505139"/>
                <a:gd name="connsiteX114" fmla="*/ 436809 w 1034979"/>
                <a:gd name="connsiteY114" fmla="*/ 1312695 h 1505139"/>
                <a:gd name="connsiteX115" fmla="*/ 450144 w 1034979"/>
                <a:gd name="connsiteY115" fmla="*/ 1297455 h 1505139"/>
                <a:gd name="connsiteX116" fmla="*/ 457764 w 1034979"/>
                <a:gd name="connsiteY116" fmla="*/ 1286025 h 1505139"/>
                <a:gd name="connsiteX117" fmla="*/ 461574 w 1034979"/>
                <a:gd name="connsiteY117" fmla="*/ 1274595 h 1505139"/>
                <a:gd name="connsiteX118" fmla="*/ 465384 w 1034979"/>
                <a:gd name="connsiteY118" fmla="*/ 1259355 h 1505139"/>
                <a:gd name="connsiteX119" fmla="*/ 467289 w 1034979"/>
                <a:gd name="connsiteY119" fmla="*/ 1253640 h 1505139"/>
                <a:gd name="connsiteX120" fmla="*/ 507294 w 1034979"/>
                <a:gd name="connsiteY120" fmla="*/ 1247925 h 1505139"/>
                <a:gd name="connsiteX121" fmla="*/ 535869 w 1034979"/>
                <a:gd name="connsiteY121" fmla="*/ 1238400 h 1505139"/>
                <a:gd name="connsiteX122" fmla="*/ 541584 w 1034979"/>
                <a:gd name="connsiteY122" fmla="*/ 1236495 h 1505139"/>
                <a:gd name="connsiteX123" fmla="*/ 547299 w 1034979"/>
                <a:gd name="connsiteY123" fmla="*/ 1234590 h 1505139"/>
                <a:gd name="connsiteX124" fmla="*/ 554919 w 1034979"/>
                <a:gd name="connsiteY124" fmla="*/ 1232685 h 1505139"/>
                <a:gd name="connsiteX125" fmla="*/ 573969 w 1034979"/>
                <a:gd name="connsiteY125" fmla="*/ 1225065 h 1505139"/>
                <a:gd name="connsiteX126" fmla="*/ 585399 w 1034979"/>
                <a:gd name="connsiteY126" fmla="*/ 1221255 h 1505139"/>
                <a:gd name="connsiteX127" fmla="*/ 720654 w 1034979"/>
                <a:gd name="connsiteY127" fmla="*/ 1305075 h 1505139"/>
                <a:gd name="connsiteX128" fmla="*/ 733989 w 1034979"/>
                <a:gd name="connsiteY128" fmla="*/ 1314600 h 1505139"/>
                <a:gd name="connsiteX129" fmla="*/ 743514 w 1034979"/>
                <a:gd name="connsiteY129" fmla="*/ 1316505 h 1505139"/>
                <a:gd name="connsiteX130" fmla="*/ 749229 w 1034979"/>
                <a:gd name="connsiteY130" fmla="*/ 1318410 h 1505139"/>
                <a:gd name="connsiteX131" fmla="*/ 762564 w 1034979"/>
                <a:gd name="connsiteY131" fmla="*/ 1324125 h 1505139"/>
                <a:gd name="connsiteX132" fmla="*/ 777804 w 1034979"/>
                <a:gd name="connsiteY132" fmla="*/ 1322220 h 1505139"/>
                <a:gd name="connsiteX133" fmla="*/ 789234 w 1034979"/>
                <a:gd name="connsiteY133" fmla="*/ 1316505 h 1505139"/>
                <a:gd name="connsiteX134" fmla="*/ 794949 w 1034979"/>
                <a:gd name="connsiteY134" fmla="*/ 1314600 h 1505139"/>
                <a:gd name="connsiteX135" fmla="*/ 802569 w 1034979"/>
                <a:gd name="connsiteY135" fmla="*/ 1297455 h 1505139"/>
                <a:gd name="connsiteX136" fmla="*/ 800664 w 1034979"/>
                <a:gd name="connsiteY136" fmla="*/ 1272690 h 1505139"/>
                <a:gd name="connsiteX137" fmla="*/ 798759 w 1034979"/>
                <a:gd name="connsiteY137" fmla="*/ 1266975 h 1505139"/>
                <a:gd name="connsiteX138" fmla="*/ 796854 w 1034979"/>
                <a:gd name="connsiteY138" fmla="*/ 1259355 h 1505139"/>
                <a:gd name="connsiteX139" fmla="*/ 783519 w 1034979"/>
                <a:gd name="connsiteY139" fmla="*/ 1242210 h 1505139"/>
                <a:gd name="connsiteX140" fmla="*/ 773994 w 1034979"/>
                <a:gd name="connsiteY140" fmla="*/ 1236495 h 1505139"/>
                <a:gd name="connsiteX141" fmla="*/ 648264 w 1034979"/>
                <a:gd name="connsiteY141" fmla="*/ 1145055 h 1505139"/>
                <a:gd name="connsiteX142" fmla="*/ 644454 w 1034979"/>
                <a:gd name="connsiteY142" fmla="*/ 1127910 h 1505139"/>
                <a:gd name="connsiteX143" fmla="*/ 646359 w 1034979"/>
                <a:gd name="connsiteY143" fmla="*/ 1120290 h 1505139"/>
                <a:gd name="connsiteX144" fmla="*/ 650169 w 1034979"/>
                <a:gd name="connsiteY144" fmla="*/ 1103145 h 1505139"/>
                <a:gd name="connsiteX145" fmla="*/ 653979 w 1034979"/>
                <a:gd name="connsiteY145" fmla="*/ 1097430 h 1505139"/>
                <a:gd name="connsiteX146" fmla="*/ 655884 w 1034979"/>
                <a:gd name="connsiteY146" fmla="*/ 1091715 h 1505139"/>
                <a:gd name="connsiteX147" fmla="*/ 661599 w 1034979"/>
                <a:gd name="connsiteY147" fmla="*/ 1089810 h 1505139"/>
                <a:gd name="connsiteX148" fmla="*/ 671124 w 1034979"/>
                <a:gd name="connsiteY148" fmla="*/ 1078380 h 1505139"/>
                <a:gd name="connsiteX149" fmla="*/ 724464 w 1034979"/>
                <a:gd name="connsiteY149" fmla="*/ 1070760 h 1505139"/>
                <a:gd name="connsiteX150" fmla="*/ 842574 w 1034979"/>
                <a:gd name="connsiteY150" fmla="*/ 1072665 h 1505139"/>
                <a:gd name="connsiteX151" fmla="*/ 871149 w 1034979"/>
                <a:gd name="connsiteY151" fmla="*/ 1074570 h 1505139"/>
                <a:gd name="connsiteX152" fmla="*/ 899724 w 1034979"/>
                <a:gd name="connsiteY152" fmla="*/ 1080285 h 1505139"/>
                <a:gd name="connsiteX153" fmla="*/ 922584 w 1034979"/>
                <a:gd name="connsiteY153" fmla="*/ 1084095 h 1505139"/>
                <a:gd name="connsiteX154" fmla="*/ 951159 w 1034979"/>
                <a:gd name="connsiteY154" fmla="*/ 1089810 h 1505139"/>
                <a:gd name="connsiteX155" fmla="*/ 956874 w 1034979"/>
                <a:gd name="connsiteY155" fmla="*/ 1089810 h 1505139"/>
                <a:gd name="connsiteX156" fmla="*/ 1002594 w 1034979"/>
                <a:gd name="connsiteY156" fmla="*/ 1087905 h 1505139"/>
                <a:gd name="connsiteX157" fmla="*/ 1031169 w 1034979"/>
                <a:gd name="connsiteY157" fmla="*/ 1080285 h 1505139"/>
                <a:gd name="connsiteX158" fmla="*/ 1034979 w 1034979"/>
                <a:gd name="connsiteY158" fmla="*/ 1074570 h 1505139"/>
                <a:gd name="connsiteX159" fmla="*/ 1033074 w 1034979"/>
                <a:gd name="connsiteY159" fmla="*/ 1055520 h 1505139"/>
                <a:gd name="connsiteX160" fmla="*/ 1027359 w 1034979"/>
                <a:gd name="connsiteY160" fmla="*/ 1051710 h 1505139"/>
                <a:gd name="connsiteX161" fmla="*/ 1012119 w 1034979"/>
                <a:gd name="connsiteY161" fmla="*/ 1049805 h 1505139"/>
                <a:gd name="connsiteX162" fmla="*/ 1006404 w 1034979"/>
                <a:gd name="connsiteY162" fmla="*/ 1047900 h 1505139"/>
                <a:gd name="connsiteX163" fmla="*/ 998784 w 1034979"/>
                <a:gd name="connsiteY163" fmla="*/ 1045995 h 1505139"/>
                <a:gd name="connsiteX164" fmla="*/ 987354 w 1034979"/>
                <a:gd name="connsiteY164" fmla="*/ 1038375 h 1505139"/>
                <a:gd name="connsiteX165" fmla="*/ 975924 w 1034979"/>
                <a:gd name="connsiteY165" fmla="*/ 1034565 h 1505139"/>
                <a:gd name="connsiteX166" fmla="*/ 970209 w 1034979"/>
                <a:gd name="connsiteY166" fmla="*/ 1032660 h 1505139"/>
                <a:gd name="connsiteX167" fmla="*/ 962589 w 1034979"/>
                <a:gd name="connsiteY167" fmla="*/ 1030755 h 1505139"/>
                <a:gd name="connsiteX168" fmla="*/ 956874 w 1034979"/>
                <a:gd name="connsiteY168" fmla="*/ 1028850 h 1505139"/>
                <a:gd name="connsiteX169" fmla="*/ 935919 w 1034979"/>
                <a:gd name="connsiteY169" fmla="*/ 1023135 h 1505139"/>
                <a:gd name="connsiteX170" fmla="*/ 930204 w 1034979"/>
                <a:gd name="connsiteY170" fmla="*/ 1021230 h 1505139"/>
                <a:gd name="connsiteX171" fmla="*/ 825429 w 1034979"/>
                <a:gd name="connsiteY171" fmla="*/ 1023135 h 1505139"/>
                <a:gd name="connsiteX172" fmla="*/ 819714 w 1034979"/>
                <a:gd name="connsiteY172" fmla="*/ 1025040 h 1505139"/>
                <a:gd name="connsiteX173" fmla="*/ 730179 w 1034979"/>
                <a:gd name="connsiteY173" fmla="*/ 1026945 h 1505139"/>
                <a:gd name="connsiteX174" fmla="*/ 716844 w 1034979"/>
                <a:gd name="connsiteY174" fmla="*/ 1030755 h 1505139"/>
                <a:gd name="connsiteX175" fmla="*/ 695889 w 1034979"/>
                <a:gd name="connsiteY175" fmla="*/ 1032660 h 1505139"/>
                <a:gd name="connsiteX176" fmla="*/ 669219 w 1034979"/>
                <a:gd name="connsiteY176" fmla="*/ 1034565 h 1505139"/>
                <a:gd name="connsiteX177" fmla="*/ 669219 w 1034979"/>
                <a:gd name="connsiteY177" fmla="*/ 1034565 h 1505139"/>
                <a:gd name="connsiteX178" fmla="*/ 646359 w 1034979"/>
                <a:gd name="connsiteY178" fmla="*/ 1038375 h 1505139"/>
                <a:gd name="connsiteX179" fmla="*/ 642549 w 1034979"/>
                <a:gd name="connsiteY179" fmla="*/ 1026945 h 1505139"/>
                <a:gd name="connsiteX180" fmla="*/ 640644 w 1034979"/>
                <a:gd name="connsiteY180" fmla="*/ 1021230 h 1505139"/>
                <a:gd name="connsiteX181" fmla="*/ 642549 w 1034979"/>
                <a:gd name="connsiteY181" fmla="*/ 1004085 h 1505139"/>
                <a:gd name="connsiteX182" fmla="*/ 644454 w 1034979"/>
                <a:gd name="connsiteY182" fmla="*/ 998370 h 1505139"/>
                <a:gd name="connsiteX183" fmla="*/ 661599 w 1034979"/>
                <a:gd name="connsiteY183" fmla="*/ 988845 h 1505139"/>
                <a:gd name="connsiteX184" fmla="*/ 673029 w 1034979"/>
                <a:gd name="connsiteY184" fmla="*/ 981225 h 1505139"/>
                <a:gd name="connsiteX185" fmla="*/ 674934 w 1034979"/>
                <a:gd name="connsiteY185" fmla="*/ 975510 h 1505139"/>
                <a:gd name="connsiteX186" fmla="*/ 680649 w 1034979"/>
                <a:gd name="connsiteY186" fmla="*/ 973605 h 1505139"/>
                <a:gd name="connsiteX187" fmla="*/ 686364 w 1034979"/>
                <a:gd name="connsiteY187" fmla="*/ 969795 h 1505139"/>
                <a:gd name="connsiteX188" fmla="*/ 695889 w 1034979"/>
                <a:gd name="connsiteY188" fmla="*/ 960270 h 1505139"/>
                <a:gd name="connsiteX189" fmla="*/ 705414 w 1034979"/>
                <a:gd name="connsiteY189" fmla="*/ 948840 h 1505139"/>
                <a:gd name="connsiteX190" fmla="*/ 716844 w 1034979"/>
                <a:gd name="connsiteY190" fmla="*/ 941220 h 1505139"/>
                <a:gd name="connsiteX191" fmla="*/ 732084 w 1034979"/>
                <a:gd name="connsiteY191" fmla="*/ 927885 h 1505139"/>
                <a:gd name="connsiteX192" fmla="*/ 741609 w 1034979"/>
                <a:gd name="connsiteY192" fmla="*/ 916455 h 1505139"/>
                <a:gd name="connsiteX193" fmla="*/ 753039 w 1034979"/>
                <a:gd name="connsiteY193" fmla="*/ 906930 h 1505139"/>
                <a:gd name="connsiteX194" fmla="*/ 758754 w 1034979"/>
                <a:gd name="connsiteY194" fmla="*/ 895500 h 1505139"/>
                <a:gd name="connsiteX195" fmla="*/ 760659 w 1034979"/>
                <a:gd name="connsiteY195" fmla="*/ 889785 h 1505139"/>
                <a:gd name="connsiteX196" fmla="*/ 766374 w 1034979"/>
                <a:gd name="connsiteY196" fmla="*/ 878355 h 1505139"/>
                <a:gd name="connsiteX197" fmla="*/ 764469 w 1034979"/>
                <a:gd name="connsiteY197" fmla="*/ 863115 h 1505139"/>
                <a:gd name="connsiteX198" fmla="*/ 758754 w 1034979"/>
                <a:gd name="connsiteY198" fmla="*/ 861210 h 1505139"/>
                <a:gd name="connsiteX199" fmla="*/ 737799 w 1034979"/>
                <a:gd name="connsiteY199" fmla="*/ 863115 h 1505139"/>
                <a:gd name="connsiteX200" fmla="*/ 732084 w 1034979"/>
                <a:gd name="connsiteY200" fmla="*/ 866925 h 1505139"/>
                <a:gd name="connsiteX201" fmla="*/ 720654 w 1034979"/>
                <a:gd name="connsiteY201" fmla="*/ 870735 h 1505139"/>
                <a:gd name="connsiteX202" fmla="*/ 716844 w 1034979"/>
                <a:gd name="connsiteY202" fmla="*/ 876450 h 1505139"/>
                <a:gd name="connsiteX203" fmla="*/ 711129 w 1034979"/>
                <a:gd name="connsiteY203" fmla="*/ 878355 h 1505139"/>
                <a:gd name="connsiteX204" fmla="*/ 705414 w 1034979"/>
                <a:gd name="connsiteY204" fmla="*/ 882165 h 1505139"/>
                <a:gd name="connsiteX205" fmla="*/ 699699 w 1034979"/>
                <a:gd name="connsiteY205" fmla="*/ 887880 h 1505139"/>
                <a:gd name="connsiteX206" fmla="*/ 692079 w 1034979"/>
                <a:gd name="connsiteY206" fmla="*/ 891690 h 1505139"/>
                <a:gd name="connsiteX207" fmla="*/ 650169 w 1034979"/>
                <a:gd name="connsiteY207" fmla="*/ 920265 h 1505139"/>
                <a:gd name="connsiteX208" fmla="*/ 636834 w 1034979"/>
                <a:gd name="connsiteY208" fmla="*/ 931695 h 1505139"/>
                <a:gd name="connsiteX209" fmla="*/ 627309 w 1034979"/>
                <a:gd name="connsiteY209" fmla="*/ 948840 h 1505139"/>
                <a:gd name="connsiteX210" fmla="*/ 602544 w 1034979"/>
                <a:gd name="connsiteY210" fmla="*/ 954555 h 1505139"/>
                <a:gd name="connsiteX211" fmla="*/ 589209 w 1034979"/>
                <a:gd name="connsiteY211" fmla="*/ 958365 h 1505139"/>
                <a:gd name="connsiteX212" fmla="*/ 573969 w 1034979"/>
                <a:gd name="connsiteY212" fmla="*/ 956460 h 1505139"/>
                <a:gd name="connsiteX213" fmla="*/ 562539 w 1034979"/>
                <a:gd name="connsiteY213" fmla="*/ 952650 h 1505139"/>
                <a:gd name="connsiteX214" fmla="*/ 551109 w 1034979"/>
                <a:gd name="connsiteY214" fmla="*/ 948840 h 1505139"/>
                <a:gd name="connsiteX215" fmla="*/ 539679 w 1034979"/>
                <a:gd name="connsiteY215" fmla="*/ 945030 h 1505139"/>
                <a:gd name="connsiteX216" fmla="*/ 533964 w 1034979"/>
                <a:gd name="connsiteY216" fmla="*/ 943125 h 1505139"/>
                <a:gd name="connsiteX217" fmla="*/ 528249 w 1034979"/>
                <a:gd name="connsiteY217" fmla="*/ 939315 h 1505139"/>
                <a:gd name="connsiteX218" fmla="*/ 516819 w 1034979"/>
                <a:gd name="connsiteY218" fmla="*/ 933600 h 1505139"/>
                <a:gd name="connsiteX219" fmla="*/ 509199 w 1034979"/>
                <a:gd name="connsiteY219" fmla="*/ 922170 h 1505139"/>
                <a:gd name="connsiteX220" fmla="*/ 505389 w 1034979"/>
                <a:gd name="connsiteY220" fmla="*/ 901215 h 1505139"/>
                <a:gd name="connsiteX221" fmla="*/ 507294 w 1034979"/>
                <a:gd name="connsiteY221" fmla="*/ 836445 h 1505139"/>
                <a:gd name="connsiteX222" fmla="*/ 513009 w 1034979"/>
                <a:gd name="connsiteY222" fmla="*/ 823110 h 1505139"/>
                <a:gd name="connsiteX223" fmla="*/ 503484 w 1034979"/>
                <a:gd name="connsiteY223" fmla="*/ 346860 h 1505139"/>
                <a:gd name="connsiteX224" fmla="*/ 499674 w 1034979"/>
                <a:gd name="connsiteY224" fmla="*/ 55395 h 1505139"/>
                <a:gd name="connsiteX225" fmla="*/ 490149 w 1034979"/>
                <a:gd name="connsiteY225" fmla="*/ 28725 h 1505139"/>
                <a:gd name="connsiteX226" fmla="*/ 488244 w 1034979"/>
                <a:gd name="connsiteY226" fmla="*/ 23010 h 1505139"/>
                <a:gd name="connsiteX227" fmla="*/ 484434 w 1034979"/>
                <a:gd name="connsiteY227" fmla="*/ 17295 h 1505139"/>
                <a:gd name="connsiteX228" fmla="*/ 478719 w 1034979"/>
                <a:gd name="connsiteY228" fmla="*/ 5865 h 1505139"/>
                <a:gd name="connsiteX229" fmla="*/ 429189 w 1034979"/>
                <a:gd name="connsiteY229" fmla="*/ 150 h 1505139"/>
                <a:gd name="connsiteX230" fmla="*/ 419664 w 1034979"/>
                <a:gd name="connsiteY230" fmla="*/ 49680 h 1505139"/>
                <a:gd name="connsiteX231" fmla="*/ 423474 w 1034979"/>
                <a:gd name="connsiteY231" fmla="*/ 61110 h 1505139"/>
                <a:gd name="connsiteX232" fmla="*/ 425379 w 1034979"/>
                <a:gd name="connsiteY232" fmla="*/ 66825 h 1505139"/>
                <a:gd name="connsiteX233" fmla="*/ 425379 w 1034979"/>
                <a:gd name="connsiteY233" fmla="*/ 72540 h 1505139"/>
                <a:gd name="connsiteX234" fmla="*/ 429189 w 1034979"/>
                <a:gd name="connsiteY234" fmla="*/ 226845 h 1505139"/>
                <a:gd name="connsiteX235" fmla="*/ 440619 w 1034979"/>
                <a:gd name="connsiteY235" fmla="*/ 409725 h 1505139"/>
                <a:gd name="connsiteX236" fmla="*/ 425379 w 1034979"/>
                <a:gd name="connsiteY236" fmla="*/ 706905 h 1505139"/>
                <a:gd name="connsiteX237" fmla="*/ 417759 w 1034979"/>
                <a:gd name="connsiteY237" fmla="*/ 834540 h 1505139"/>
                <a:gd name="connsiteX238" fmla="*/ 413949 w 1034979"/>
                <a:gd name="connsiteY238" fmla="*/ 851685 h 1505139"/>
                <a:gd name="connsiteX239" fmla="*/ 417759 w 1034979"/>
                <a:gd name="connsiteY239" fmla="*/ 872640 h 1505139"/>
                <a:gd name="connsiteX240" fmla="*/ 421569 w 1034979"/>
                <a:gd name="connsiteY240" fmla="*/ 878355 h 1505139"/>
                <a:gd name="connsiteX241" fmla="*/ 425379 w 1034979"/>
                <a:gd name="connsiteY241" fmla="*/ 889785 h 1505139"/>
                <a:gd name="connsiteX242" fmla="*/ 423474 w 1034979"/>
                <a:gd name="connsiteY242" fmla="*/ 916455 h 1505139"/>
                <a:gd name="connsiteX243" fmla="*/ 417759 w 1034979"/>
                <a:gd name="connsiteY243" fmla="*/ 918360 h 1505139"/>
                <a:gd name="connsiteX244" fmla="*/ 412044 w 1034979"/>
                <a:gd name="connsiteY244" fmla="*/ 922170 h 1505139"/>
                <a:gd name="connsiteX245" fmla="*/ 421569 w 1034979"/>
                <a:gd name="connsiteY245" fmla="*/ 918360 h 1505139"/>
                <a:gd name="connsiteX0" fmla="*/ 421569 w 1034979"/>
                <a:gd name="connsiteY0" fmla="*/ 918360 h 1505139"/>
                <a:gd name="connsiteX1" fmla="*/ 421569 w 1034979"/>
                <a:gd name="connsiteY1" fmla="*/ 918360 h 1505139"/>
                <a:gd name="connsiteX2" fmla="*/ 394899 w 1034979"/>
                <a:gd name="connsiteY2" fmla="*/ 927885 h 1505139"/>
                <a:gd name="connsiteX3" fmla="*/ 387279 w 1034979"/>
                <a:gd name="connsiteY3" fmla="*/ 929790 h 1505139"/>
                <a:gd name="connsiteX4" fmla="*/ 356799 w 1034979"/>
                <a:gd name="connsiteY4" fmla="*/ 931695 h 1505139"/>
                <a:gd name="connsiteX5" fmla="*/ 351084 w 1034979"/>
                <a:gd name="connsiteY5" fmla="*/ 935505 h 1505139"/>
                <a:gd name="connsiteX6" fmla="*/ 339654 w 1034979"/>
                <a:gd name="connsiteY6" fmla="*/ 945030 h 1505139"/>
                <a:gd name="connsiteX7" fmla="*/ 328224 w 1034979"/>
                <a:gd name="connsiteY7" fmla="*/ 948840 h 1505139"/>
                <a:gd name="connsiteX8" fmla="*/ 312984 w 1034979"/>
                <a:gd name="connsiteY8" fmla="*/ 954555 h 1505139"/>
                <a:gd name="connsiteX9" fmla="*/ 265359 w 1034979"/>
                <a:gd name="connsiteY9" fmla="*/ 950745 h 1505139"/>
                <a:gd name="connsiteX10" fmla="*/ 253929 w 1034979"/>
                <a:gd name="connsiteY10" fmla="*/ 946935 h 1505139"/>
                <a:gd name="connsiteX11" fmla="*/ 242499 w 1034979"/>
                <a:gd name="connsiteY11" fmla="*/ 943125 h 1505139"/>
                <a:gd name="connsiteX12" fmla="*/ 236784 w 1034979"/>
                <a:gd name="connsiteY12" fmla="*/ 941220 h 1505139"/>
                <a:gd name="connsiteX13" fmla="*/ 231069 w 1034979"/>
                <a:gd name="connsiteY13" fmla="*/ 939315 h 1505139"/>
                <a:gd name="connsiteX14" fmla="*/ 219639 w 1034979"/>
                <a:gd name="connsiteY14" fmla="*/ 937410 h 1505139"/>
                <a:gd name="connsiteX15" fmla="*/ 213924 w 1034979"/>
                <a:gd name="connsiteY15" fmla="*/ 935505 h 1505139"/>
                <a:gd name="connsiteX16" fmla="*/ 206304 w 1034979"/>
                <a:gd name="connsiteY16" fmla="*/ 933600 h 1505139"/>
                <a:gd name="connsiteX17" fmla="*/ 194874 w 1034979"/>
                <a:gd name="connsiteY17" fmla="*/ 929790 h 1505139"/>
                <a:gd name="connsiteX18" fmla="*/ 189159 w 1034979"/>
                <a:gd name="connsiteY18" fmla="*/ 927885 h 1505139"/>
                <a:gd name="connsiteX19" fmla="*/ 181539 w 1034979"/>
                <a:gd name="connsiteY19" fmla="*/ 925980 h 1505139"/>
                <a:gd name="connsiteX20" fmla="*/ 170109 w 1034979"/>
                <a:gd name="connsiteY20" fmla="*/ 920265 h 1505139"/>
                <a:gd name="connsiteX21" fmla="*/ 164394 w 1034979"/>
                <a:gd name="connsiteY21" fmla="*/ 916455 h 1505139"/>
                <a:gd name="connsiteX22" fmla="*/ 156774 w 1034979"/>
                <a:gd name="connsiteY22" fmla="*/ 905025 h 1505139"/>
                <a:gd name="connsiteX23" fmla="*/ 145344 w 1034979"/>
                <a:gd name="connsiteY23" fmla="*/ 901215 h 1505139"/>
                <a:gd name="connsiteX24" fmla="*/ 139629 w 1034979"/>
                <a:gd name="connsiteY24" fmla="*/ 897405 h 1505139"/>
                <a:gd name="connsiteX25" fmla="*/ 133914 w 1034979"/>
                <a:gd name="connsiteY25" fmla="*/ 895500 h 1505139"/>
                <a:gd name="connsiteX26" fmla="*/ 116769 w 1034979"/>
                <a:gd name="connsiteY26" fmla="*/ 891690 h 1505139"/>
                <a:gd name="connsiteX27" fmla="*/ 111054 w 1034979"/>
                <a:gd name="connsiteY27" fmla="*/ 885975 h 1505139"/>
                <a:gd name="connsiteX28" fmla="*/ 101529 w 1034979"/>
                <a:gd name="connsiteY28" fmla="*/ 868830 h 1505139"/>
                <a:gd name="connsiteX29" fmla="*/ 84384 w 1034979"/>
                <a:gd name="connsiteY29" fmla="*/ 861210 h 1505139"/>
                <a:gd name="connsiteX30" fmla="*/ 78669 w 1034979"/>
                <a:gd name="connsiteY30" fmla="*/ 859305 h 1505139"/>
                <a:gd name="connsiteX31" fmla="*/ 59619 w 1034979"/>
                <a:gd name="connsiteY31" fmla="*/ 863115 h 1505139"/>
                <a:gd name="connsiteX32" fmla="*/ 53904 w 1034979"/>
                <a:gd name="connsiteY32" fmla="*/ 866925 h 1505139"/>
                <a:gd name="connsiteX33" fmla="*/ 50094 w 1034979"/>
                <a:gd name="connsiteY33" fmla="*/ 872640 h 1505139"/>
                <a:gd name="connsiteX34" fmla="*/ 46284 w 1034979"/>
                <a:gd name="connsiteY34" fmla="*/ 884070 h 1505139"/>
                <a:gd name="connsiteX35" fmla="*/ 50094 w 1034979"/>
                <a:gd name="connsiteY35" fmla="*/ 922170 h 1505139"/>
                <a:gd name="connsiteX36" fmla="*/ 53904 w 1034979"/>
                <a:gd name="connsiteY36" fmla="*/ 927885 h 1505139"/>
                <a:gd name="connsiteX37" fmla="*/ 59619 w 1034979"/>
                <a:gd name="connsiteY37" fmla="*/ 931695 h 1505139"/>
                <a:gd name="connsiteX38" fmla="*/ 63429 w 1034979"/>
                <a:gd name="connsiteY38" fmla="*/ 937410 h 1505139"/>
                <a:gd name="connsiteX39" fmla="*/ 80574 w 1034979"/>
                <a:gd name="connsiteY39" fmla="*/ 946935 h 1505139"/>
                <a:gd name="connsiteX40" fmla="*/ 103434 w 1034979"/>
                <a:gd name="connsiteY40" fmla="*/ 948840 h 1505139"/>
                <a:gd name="connsiteX41" fmla="*/ 124389 w 1034979"/>
                <a:gd name="connsiteY41" fmla="*/ 954555 h 1505139"/>
                <a:gd name="connsiteX42" fmla="*/ 130104 w 1034979"/>
                <a:gd name="connsiteY42" fmla="*/ 956460 h 1505139"/>
                <a:gd name="connsiteX43" fmla="*/ 135819 w 1034979"/>
                <a:gd name="connsiteY43" fmla="*/ 962175 h 1505139"/>
                <a:gd name="connsiteX44" fmla="*/ 143439 w 1034979"/>
                <a:gd name="connsiteY44" fmla="*/ 964080 h 1505139"/>
                <a:gd name="connsiteX45" fmla="*/ 166299 w 1034979"/>
                <a:gd name="connsiteY45" fmla="*/ 967890 h 1505139"/>
                <a:gd name="connsiteX46" fmla="*/ 191064 w 1034979"/>
                <a:gd name="connsiteY46" fmla="*/ 973605 h 1505139"/>
                <a:gd name="connsiteX47" fmla="*/ 208209 w 1034979"/>
                <a:gd name="connsiteY47" fmla="*/ 979320 h 1505139"/>
                <a:gd name="connsiteX48" fmla="*/ 213924 w 1034979"/>
                <a:gd name="connsiteY48" fmla="*/ 981225 h 1505139"/>
                <a:gd name="connsiteX49" fmla="*/ 229164 w 1034979"/>
                <a:gd name="connsiteY49" fmla="*/ 985035 h 1505139"/>
                <a:gd name="connsiteX50" fmla="*/ 248214 w 1034979"/>
                <a:gd name="connsiteY50" fmla="*/ 990750 h 1505139"/>
                <a:gd name="connsiteX51" fmla="*/ 253929 w 1034979"/>
                <a:gd name="connsiteY51" fmla="*/ 994560 h 1505139"/>
                <a:gd name="connsiteX52" fmla="*/ 267264 w 1034979"/>
                <a:gd name="connsiteY52" fmla="*/ 1009800 h 1505139"/>
                <a:gd name="connsiteX53" fmla="*/ 272979 w 1034979"/>
                <a:gd name="connsiteY53" fmla="*/ 1028850 h 1505139"/>
                <a:gd name="connsiteX54" fmla="*/ 274884 w 1034979"/>
                <a:gd name="connsiteY54" fmla="*/ 1034565 h 1505139"/>
                <a:gd name="connsiteX55" fmla="*/ 276789 w 1034979"/>
                <a:gd name="connsiteY55" fmla="*/ 1040280 h 1505139"/>
                <a:gd name="connsiteX56" fmla="*/ 278694 w 1034979"/>
                <a:gd name="connsiteY56" fmla="*/ 1065045 h 1505139"/>
                <a:gd name="connsiteX57" fmla="*/ 280599 w 1034979"/>
                <a:gd name="connsiteY57" fmla="*/ 1070760 h 1505139"/>
                <a:gd name="connsiteX58" fmla="*/ 278694 w 1034979"/>
                <a:gd name="connsiteY58" fmla="*/ 1089810 h 1505139"/>
                <a:gd name="connsiteX59" fmla="*/ 276789 w 1034979"/>
                <a:gd name="connsiteY59" fmla="*/ 1099335 h 1505139"/>
                <a:gd name="connsiteX60" fmla="*/ 263454 w 1034979"/>
                <a:gd name="connsiteY60" fmla="*/ 1112670 h 1505139"/>
                <a:gd name="connsiteX61" fmla="*/ 252024 w 1034979"/>
                <a:gd name="connsiteY61" fmla="*/ 1120290 h 1505139"/>
                <a:gd name="connsiteX62" fmla="*/ 240594 w 1034979"/>
                <a:gd name="connsiteY62" fmla="*/ 1124100 h 1505139"/>
                <a:gd name="connsiteX63" fmla="*/ 126294 w 1034979"/>
                <a:gd name="connsiteY63" fmla="*/ 1124100 h 1505139"/>
                <a:gd name="connsiteX64" fmla="*/ 120579 w 1034979"/>
                <a:gd name="connsiteY64" fmla="*/ 1126005 h 1505139"/>
                <a:gd name="connsiteX65" fmla="*/ 105339 w 1034979"/>
                <a:gd name="connsiteY65" fmla="*/ 1127910 h 1505139"/>
                <a:gd name="connsiteX66" fmla="*/ 88194 w 1034979"/>
                <a:gd name="connsiteY66" fmla="*/ 1133625 h 1505139"/>
                <a:gd name="connsiteX67" fmla="*/ 82479 w 1034979"/>
                <a:gd name="connsiteY67" fmla="*/ 1135530 h 1505139"/>
                <a:gd name="connsiteX68" fmla="*/ 76764 w 1034979"/>
                <a:gd name="connsiteY68" fmla="*/ 1139340 h 1505139"/>
                <a:gd name="connsiteX69" fmla="*/ 65334 w 1034979"/>
                <a:gd name="connsiteY69" fmla="*/ 1141245 h 1505139"/>
                <a:gd name="connsiteX70" fmla="*/ 27234 w 1034979"/>
                <a:gd name="connsiteY70" fmla="*/ 1143150 h 1505139"/>
                <a:gd name="connsiteX71" fmla="*/ 15804 w 1034979"/>
                <a:gd name="connsiteY71" fmla="*/ 1148865 h 1505139"/>
                <a:gd name="connsiteX72" fmla="*/ 6279 w 1034979"/>
                <a:gd name="connsiteY72" fmla="*/ 1158390 h 1505139"/>
                <a:gd name="connsiteX73" fmla="*/ 4374 w 1034979"/>
                <a:gd name="connsiteY73" fmla="*/ 1164105 h 1505139"/>
                <a:gd name="connsiteX74" fmla="*/ 564 w 1034979"/>
                <a:gd name="connsiteY74" fmla="*/ 1169820 h 1505139"/>
                <a:gd name="connsiteX75" fmla="*/ 6279 w 1034979"/>
                <a:gd name="connsiteY75" fmla="*/ 1202205 h 1505139"/>
                <a:gd name="connsiteX76" fmla="*/ 11994 w 1034979"/>
                <a:gd name="connsiteY76" fmla="*/ 1206015 h 1505139"/>
                <a:gd name="connsiteX77" fmla="*/ 17709 w 1034979"/>
                <a:gd name="connsiteY77" fmla="*/ 1207920 h 1505139"/>
                <a:gd name="connsiteX78" fmla="*/ 145344 w 1034979"/>
                <a:gd name="connsiteY78" fmla="*/ 1206015 h 1505139"/>
                <a:gd name="connsiteX79" fmla="*/ 152964 w 1034979"/>
                <a:gd name="connsiteY79" fmla="*/ 1204110 h 1505139"/>
                <a:gd name="connsiteX80" fmla="*/ 303459 w 1034979"/>
                <a:gd name="connsiteY80" fmla="*/ 1198395 h 1505139"/>
                <a:gd name="connsiteX81" fmla="*/ 318699 w 1034979"/>
                <a:gd name="connsiteY81" fmla="*/ 1206015 h 1505139"/>
                <a:gd name="connsiteX82" fmla="*/ 330129 w 1034979"/>
                <a:gd name="connsiteY82" fmla="*/ 1211730 h 1505139"/>
                <a:gd name="connsiteX83" fmla="*/ 333939 w 1034979"/>
                <a:gd name="connsiteY83" fmla="*/ 1217445 h 1505139"/>
                <a:gd name="connsiteX84" fmla="*/ 339654 w 1034979"/>
                <a:gd name="connsiteY84" fmla="*/ 1219350 h 1505139"/>
                <a:gd name="connsiteX85" fmla="*/ 351084 w 1034979"/>
                <a:gd name="connsiteY85" fmla="*/ 1226970 h 1505139"/>
                <a:gd name="connsiteX86" fmla="*/ 356799 w 1034979"/>
                <a:gd name="connsiteY86" fmla="*/ 1230780 h 1505139"/>
                <a:gd name="connsiteX87" fmla="*/ 360609 w 1034979"/>
                <a:gd name="connsiteY87" fmla="*/ 1236495 h 1505139"/>
                <a:gd name="connsiteX88" fmla="*/ 366324 w 1034979"/>
                <a:gd name="connsiteY88" fmla="*/ 1247925 h 1505139"/>
                <a:gd name="connsiteX89" fmla="*/ 362514 w 1034979"/>
                <a:gd name="connsiteY89" fmla="*/ 1274595 h 1505139"/>
                <a:gd name="connsiteX90" fmla="*/ 358704 w 1034979"/>
                <a:gd name="connsiteY90" fmla="*/ 1280310 h 1505139"/>
                <a:gd name="connsiteX91" fmla="*/ 356799 w 1034979"/>
                <a:gd name="connsiteY91" fmla="*/ 1286025 h 1505139"/>
                <a:gd name="connsiteX92" fmla="*/ 352989 w 1034979"/>
                <a:gd name="connsiteY92" fmla="*/ 1291740 h 1505139"/>
                <a:gd name="connsiteX93" fmla="*/ 351084 w 1034979"/>
                <a:gd name="connsiteY93" fmla="*/ 1297455 h 1505139"/>
                <a:gd name="connsiteX94" fmla="*/ 347274 w 1034979"/>
                <a:gd name="connsiteY94" fmla="*/ 1303170 h 1505139"/>
                <a:gd name="connsiteX95" fmla="*/ 330129 w 1034979"/>
                <a:gd name="connsiteY95" fmla="*/ 1369845 h 1505139"/>
                <a:gd name="connsiteX96" fmla="*/ 328224 w 1034979"/>
                <a:gd name="connsiteY96" fmla="*/ 1421280 h 1505139"/>
                <a:gd name="connsiteX97" fmla="*/ 330129 w 1034979"/>
                <a:gd name="connsiteY97" fmla="*/ 1446045 h 1505139"/>
                <a:gd name="connsiteX98" fmla="*/ 332034 w 1034979"/>
                <a:gd name="connsiteY98" fmla="*/ 1451760 h 1505139"/>
                <a:gd name="connsiteX99" fmla="*/ 335844 w 1034979"/>
                <a:gd name="connsiteY99" fmla="*/ 1455570 h 1505139"/>
                <a:gd name="connsiteX100" fmla="*/ 364419 w 1034979"/>
                <a:gd name="connsiteY100" fmla="*/ 1501290 h 1505139"/>
                <a:gd name="connsiteX101" fmla="*/ 387279 w 1034979"/>
                <a:gd name="connsiteY101" fmla="*/ 1503195 h 1505139"/>
                <a:gd name="connsiteX102" fmla="*/ 392994 w 1034979"/>
                <a:gd name="connsiteY102" fmla="*/ 1497480 h 1505139"/>
                <a:gd name="connsiteX103" fmla="*/ 394899 w 1034979"/>
                <a:gd name="connsiteY103" fmla="*/ 1486050 h 1505139"/>
                <a:gd name="connsiteX104" fmla="*/ 396804 w 1034979"/>
                <a:gd name="connsiteY104" fmla="*/ 1480335 h 1505139"/>
                <a:gd name="connsiteX105" fmla="*/ 398709 w 1034979"/>
                <a:gd name="connsiteY105" fmla="*/ 1463190 h 1505139"/>
                <a:gd name="connsiteX106" fmla="*/ 400614 w 1034979"/>
                <a:gd name="connsiteY106" fmla="*/ 1449855 h 1505139"/>
                <a:gd name="connsiteX107" fmla="*/ 404424 w 1034979"/>
                <a:gd name="connsiteY107" fmla="*/ 1392705 h 1505139"/>
                <a:gd name="connsiteX108" fmla="*/ 410139 w 1034979"/>
                <a:gd name="connsiteY108" fmla="*/ 1381275 h 1505139"/>
                <a:gd name="connsiteX109" fmla="*/ 413949 w 1034979"/>
                <a:gd name="connsiteY109" fmla="*/ 1367940 h 1505139"/>
                <a:gd name="connsiteX110" fmla="*/ 415854 w 1034979"/>
                <a:gd name="connsiteY110" fmla="*/ 1362225 h 1505139"/>
                <a:gd name="connsiteX111" fmla="*/ 417759 w 1034979"/>
                <a:gd name="connsiteY111" fmla="*/ 1348890 h 1505139"/>
                <a:gd name="connsiteX112" fmla="*/ 421569 w 1034979"/>
                <a:gd name="connsiteY112" fmla="*/ 1337460 h 1505139"/>
                <a:gd name="connsiteX113" fmla="*/ 427284 w 1034979"/>
                <a:gd name="connsiteY113" fmla="*/ 1324125 h 1505139"/>
                <a:gd name="connsiteX114" fmla="*/ 436809 w 1034979"/>
                <a:gd name="connsiteY114" fmla="*/ 1312695 h 1505139"/>
                <a:gd name="connsiteX115" fmla="*/ 450144 w 1034979"/>
                <a:gd name="connsiteY115" fmla="*/ 1297455 h 1505139"/>
                <a:gd name="connsiteX116" fmla="*/ 457764 w 1034979"/>
                <a:gd name="connsiteY116" fmla="*/ 1286025 h 1505139"/>
                <a:gd name="connsiteX117" fmla="*/ 461574 w 1034979"/>
                <a:gd name="connsiteY117" fmla="*/ 1274595 h 1505139"/>
                <a:gd name="connsiteX118" fmla="*/ 465384 w 1034979"/>
                <a:gd name="connsiteY118" fmla="*/ 1259355 h 1505139"/>
                <a:gd name="connsiteX119" fmla="*/ 467289 w 1034979"/>
                <a:gd name="connsiteY119" fmla="*/ 1253640 h 1505139"/>
                <a:gd name="connsiteX120" fmla="*/ 507294 w 1034979"/>
                <a:gd name="connsiteY120" fmla="*/ 1247925 h 1505139"/>
                <a:gd name="connsiteX121" fmla="*/ 535869 w 1034979"/>
                <a:gd name="connsiteY121" fmla="*/ 1238400 h 1505139"/>
                <a:gd name="connsiteX122" fmla="*/ 541584 w 1034979"/>
                <a:gd name="connsiteY122" fmla="*/ 1236495 h 1505139"/>
                <a:gd name="connsiteX123" fmla="*/ 547299 w 1034979"/>
                <a:gd name="connsiteY123" fmla="*/ 1234590 h 1505139"/>
                <a:gd name="connsiteX124" fmla="*/ 554919 w 1034979"/>
                <a:gd name="connsiteY124" fmla="*/ 1232685 h 1505139"/>
                <a:gd name="connsiteX125" fmla="*/ 573969 w 1034979"/>
                <a:gd name="connsiteY125" fmla="*/ 1225065 h 1505139"/>
                <a:gd name="connsiteX126" fmla="*/ 585399 w 1034979"/>
                <a:gd name="connsiteY126" fmla="*/ 1221255 h 1505139"/>
                <a:gd name="connsiteX127" fmla="*/ 720654 w 1034979"/>
                <a:gd name="connsiteY127" fmla="*/ 1305075 h 1505139"/>
                <a:gd name="connsiteX128" fmla="*/ 733989 w 1034979"/>
                <a:gd name="connsiteY128" fmla="*/ 1314600 h 1505139"/>
                <a:gd name="connsiteX129" fmla="*/ 743514 w 1034979"/>
                <a:gd name="connsiteY129" fmla="*/ 1316505 h 1505139"/>
                <a:gd name="connsiteX130" fmla="*/ 749229 w 1034979"/>
                <a:gd name="connsiteY130" fmla="*/ 1318410 h 1505139"/>
                <a:gd name="connsiteX131" fmla="*/ 762564 w 1034979"/>
                <a:gd name="connsiteY131" fmla="*/ 1324125 h 1505139"/>
                <a:gd name="connsiteX132" fmla="*/ 777804 w 1034979"/>
                <a:gd name="connsiteY132" fmla="*/ 1322220 h 1505139"/>
                <a:gd name="connsiteX133" fmla="*/ 789234 w 1034979"/>
                <a:gd name="connsiteY133" fmla="*/ 1316505 h 1505139"/>
                <a:gd name="connsiteX134" fmla="*/ 794949 w 1034979"/>
                <a:gd name="connsiteY134" fmla="*/ 1314600 h 1505139"/>
                <a:gd name="connsiteX135" fmla="*/ 802569 w 1034979"/>
                <a:gd name="connsiteY135" fmla="*/ 1297455 h 1505139"/>
                <a:gd name="connsiteX136" fmla="*/ 800664 w 1034979"/>
                <a:gd name="connsiteY136" fmla="*/ 1272690 h 1505139"/>
                <a:gd name="connsiteX137" fmla="*/ 798759 w 1034979"/>
                <a:gd name="connsiteY137" fmla="*/ 1266975 h 1505139"/>
                <a:gd name="connsiteX138" fmla="*/ 796854 w 1034979"/>
                <a:gd name="connsiteY138" fmla="*/ 1259355 h 1505139"/>
                <a:gd name="connsiteX139" fmla="*/ 783519 w 1034979"/>
                <a:gd name="connsiteY139" fmla="*/ 1242210 h 1505139"/>
                <a:gd name="connsiteX140" fmla="*/ 773994 w 1034979"/>
                <a:gd name="connsiteY140" fmla="*/ 1236495 h 1505139"/>
                <a:gd name="connsiteX141" fmla="*/ 648264 w 1034979"/>
                <a:gd name="connsiteY141" fmla="*/ 1145055 h 1505139"/>
                <a:gd name="connsiteX142" fmla="*/ 644454 w 1034979"/>
                <a:gd name="connsiteY142" fmla="*/ 1127910 h 1505139"/>
                <a:gd name="connsiteX143" fmla="*/ 646359 w 1034979"/>
                <a:gd name="connsiteY143" fmla="*/ 1120290 h 1505139"/>
                <a:gd name="connsiteX144" fmla="*/ 650169 w 1034979"/>
                <a:gd name="connsiteY144" fmla="*/ 1103145 h 1505139"/>
                <a:gd name="connsiteX145" fmla="*/ 653979 w 1034979"/>
                <a:gd name="connsiteY145" fmla="*/ 1097430 h 1505139"/>
                <a:gd name="connsiteX146" fmla="*/ 655884 w 1034979"/>
                <a:gd name="connsiteY146" fmla="*/ 1091715 h 1505139"/>
                <a:gd name="connsiteX147" fmla="*/ 661599 w 1034979"/>
                <a:gd name="connsiteY147" fmla="*/ 1089810 h 1505139"/>
                <a:gd name="connsiteX148" fmla="*/ 671124 w 1034979"/>
                <a:gd name="connsiteY148" fmla="*/ 1078380 h 1505139"/>
                <a:gd name="connsiteX149" fmla="*/ 724464 w 1034979"/>
                <a:gd name="connsiteY149" fmla="*/ 1070760 h 1505139"/>
                <a:gd name="connsiteX150" fmla="*/ 842574 w 1034979"/>
                <a:gd name="connsiteY150" fmla="*/ 1072665 h 1505139"/>
                <a:gd name="connsiteX151" fmla="*/ 871149 w 1034979"/>
                <a:gd name="connsiteY151" fmla="*/ 1074570 h 1505139"/>
                <a:gd name="connsiteX152" fmla="*/ 899724 w 1034979"/>
                <a:gd name="connsiteY152" fmla="*/ 1080285 h 1505139"/>
                <a:gd name="connsiteX153" fmla="*/ 922584 w 1034979"/>
                <a:gd name="connsiteY153" fmla="*/ 1084095 h 1505139"/>
                <a:gd name="connsiteX154" fmla="*/ 951159 w 1034979"/>
                <a:gd name="connsiteY154" fmla="*/ 1089810 h 1505139"/>
                <a:gd name="connsiteX155" fmla="*/ 956874 w 1034979"/>
                <a:gd name="connsiteY155" fmla="*/ 1089810 h 1505139"/>
                <a:gd name="connsiteX156" fmla="*/ 1002594 w 1034979"/>
                <a:gd name="connsiteY156" fmla="*/ 1087905 h 1505139"/>
                <a:gd name="connsiteX157" fmla="*/ 1031169 w 1034979"/>
                <a:gd name="connsiteY157" fmla="*/ 1080285 h 1505139"/>
                <a:gd name="connsiteX158" fmla="*/ 1034979 w 1034979"/>
                <a:gd name="connsiteY158" fmla="*/ 1074570 h 1505139"/>
                <a:gd name="connsiteX159" fmla="*/ 1033074 w 1034979"/>
                <a:gd name="connsiteY159" fmla="*/ 1055520 h 1505139"/>
                <a:gd name="connsiteX160" fmla="*/ 1027359 w 1034979"/>
                <a:gd name="connsiteY160" fmla="*/ 1051710 h 1505139"/>
                <a:gd name="connsiteX161" fmla="*/ 1012119 w 1034979"/>
                <a:gd name="connsiteY161" fmla="*/ 1049805 h 1505139"/>
                <a:gd name="connsiteX162" fmla="*/ 1006404 w 1034979"/>
                <a:gd name="connsiteY162" fmla="*/ 1047900 h 1505139"/>
                <a:gd name="connsiteX163" fmla="*/ 998784 w 1034979"/>
                <a:gd name="connsiteY163" fmla="*/ 1045995 h 1505139"/>
                <a:gd name="connsiteX164" fmla="*/ 987354 w 1034979"/>
                <a:gd name="connsiteY164" fmla="*/ 1038375 h 1505139"/>
                <a:gd name="connsiteX165" fmla="*/ 975924 w 1034979"/>
                <a:gd name="connsiteY165" fmla="*/ 1034565 h 1505139"/>
                <a:gd name="connsiteX166" fmla="*/ 970209 w 1034979"/>
                <a:gd name="connsiteY166" fmla="*/ 1032660 h 1505139"/>
                <a:gd name="connsiteX167" fmla="*/ 962589 w 1034979"/>
                <a:gd name="connsiteY167" fmla="*/ 1030755 h 1505139"/>
                <a:gd name="connsiteX168" fmla="*/ 956874 w 1034979"/>
                <a:gd name="connsiteY168" fmla="*/ 1028850 h 1505139"/>
                <a:gd name="connsiteX169" fmla="*/ 935919 w 1034979"/>
                <a:gd name="connsiteY169" fmla="*/ 1023135 h 1505139"/>
                <a:gd name="connsiteX170" fmla="*/ 930204 w 1034979"/>
                <a:gd name="connsiteY170" fmla="*/ 1021230 h 1505139"/>
                <a:gd name="connsiteX171" fmla="*/ 825429 w 1034979"/>
                <a:gd name="connsiteY171" fmla="*/ 1023135 h 1505139"/>
                <a:gd name="connsiteX172" fmla="*/ 819714 w 1034979"/>
                <a:gd name="connsiteY172" fmla="*/ 1025040 h 1505139"/>
                <a:gd name="connsiteX173" fmla="*/ 730179 w 1034979"/>
                <a:gd name="connsiteY173" fmla="*/ 1026945 h 1505139"/>
                <a:gd name="connsiteX174" fmla="*/ 716844 w 1034979"/>
                <a:gd name="connsiteY174" fmla="*/ 1030755 h 1505139"/>
                <a:gd name="connsiteX175" fmla="*/ 695889 w 1034979"/>
                <a:gd name="connsiteY175" fmla="*/ 1032660 h 1505139"/>
                <a:gd name="connsiteX176" fmla="*/ 669219 w 1034979"/>
                <a:gd name="connsiteY176" fmla="*/ 1034565 h 1505139"/>
                <a:gd name="connsiteX177" fmla="*/ 669219 w 1034979"/>
                <a:gd name="connsiteY177" fmla="*/ 1034565 h 1505139"/>
                <a:gd name="connsiteX178" fmla="*/ 646359 w 1034979"/>
                <a:gd name="connsiteY178" fmla="*/ 1038375 h 1505139"/>
                <a:gd name="connsiteX179" fmla="*/ 642549 w 1034979"/>
                <a:gd name="connsiteY179" fmla="*/ 1026945 h 1505139"/>
                <a:gd name="connsiteX180" fmla="*/ 640644 w 1034979"/>
                <a:gd name="connsiteY180" fmla="*/ 1021230 h 1505139"/>
                <a:gd name="connsiteX181" fmla="*/ 642549 w 1034979"/>
                <a:gd name="connsiteY181" fmla="*/ 1004085 h 1505139"/>
                <a:gd name="connsiteX182" fmla="*/ 644454 w 1034979"/>
                <a:gd name="connsiteY182" fmla="*/ 998370 h 1505139"/>
                <a:gd name="connsiteX183" fmla="*/ 661599 w 1034979"/>
                <a:gd name="connsiteY183" fmla="*/ 988845 h 1505139"/>
                <a:gd name="connsiteX184" fmla="*/ 673029 w 1034979"/>
                <a:gd name="connsiteY184" fmla="*/ 981225 h 1505139"/>
                <a:gd name="connsiteX185" fmla="*/ 674934 w 1034979"/>
                <a:gd name="connsiteY185" fmla="*/ 975510 h 1505139"/>
                <a:gd name="connsiteX186" fmla="*/ 680649 w 1034979"/>
                <a:gd name="connsiteY186" fmla="*/ 973605 h 1505139"/>
                <a:gd name="connsiteX187" fmla="*/ 686364 w 1034979"/>
                <a:gd name="connsiteY187" fmla="*/ 969795 h 1505139"/>
                <a:gd name="connsiteX188" fmla="*/ 695889 w 1034979"/>
                <a:gd name="connsiteY188" fmla="*/ 960270 h 1505139"/>
                <a:gd name="connsiteX189" fmla="*/ 705414 w 1034979"/>
                <a:gd name="connsiteY189" fmla="*/ 948840 h 1505139"/>
                <a:gd name="connsiteX190" fmla="*/ 716844 w 1034979"/>
                <a:gd name="connsiteY190" fmla="*/ 941220 h 1505139"/>
                <a:gd name="connsiteX191" fmla="*/ 732084 w 1034979"/>
                <a:gd name="connsiteY191" fmla="*/ 927885 h 1505139"/>
                <a:gd name="connsiteX192" fmla="*/ 741609 w 1034979"/>
                <a:gd name="connsiteY192" fmla="*/ 916455 h 1505139"/>
                <a:gd name="connsiteX193" fmla="*/ 753039 w 1034979"/>
                <a:gd name="connsiteY193" fmla="*/ 906930 h 1505139"/>
                <a:gd name="connsiteX194" fmla="*/ 758754 w 1034979"/>
                <a:gd name="connsiteY194" fmla="*/ 895500 h 1505139"/>
                <a:gd name="connsiteX195" fmla="*/ 760659 w 1034979"/>
                <a:gd name="connsiteY195" fmla="*/ 889785 h 1505139"/>
                <a:gd name="connsiteX196" fmla="*/ 766374 w 1034979"/>
                <a:gd name="connsiteY196" fmla="*/ 878355 h 1505139"/>
                <a:gd name="connsiteX197" fmla="*/ 764469 w 1034979"/>
                <a:gd name="connsiteY197" fmla="*/ 863115 h 1505139"/>
                <a:gd name="connsiteX198" fmla="*/ 758754 w 1034979"/>
                <a:gd name="connsiteY198" fmla="*/ 861210 h 1505139"/>
                <a:gd name="connsiteX199" fmla="*/ 737799 w 1034979"/>
                <a:gd name="connsiteY199" fmla="*/ 863115 h 1505139"/>
                <a:gd name="connsiteX200" fmla="*/ 732084 w 1034979"/>
                <a:gd name="connsiteY200" fmla="*/ 866925 h 1505139"/>
                <a:gd name="connsiteX201" fmla="*/ 720654 w 1034979"/>
                <a:gd name="connsiteY201" fmla="*/ 870735 h 1505139"/>
                <a:gd name="connsiteX202" fmla="*/ 716844 w 1034979"/>
                <a:gd name="connsiteY202" fmla="*/ 876450 h 1505139"/>
                <a:gd name="connsiteX203" fmla="*/ 711129 w 1034979"/>
                <a:gd name="connsiteY203" fmla="*/ 878355 h 1505139"/>
                <a:gd name="connsiteX204" fmla="*/ 705414 w 1034979"/>
                <a:gd name="connsiteY204" fmla="*/ 882165 h 1505139"/>
                <a:gd name="connsiteX205" fmla="*/ 699699 w 1034979"/>
                <a:gd name="connsiteY205" fmla="*/ 887880 h 1505139"/>
                <a:gd name="connsiteX206" fmla="*/ 692079 w 1034979"/>
                <a:gd name="connsiteY206" fmla="*/ 891690 h 1505139"/>
                <a:gd name="connsiteX207" fmla="*/ 650169 w 1034979"/>
                <a:gd name="connsiteY207" fmla="*/ 920265 h 1505139"/>
                <a:gd name="connsiteX208" fmla="*/ 636834 w 1034979"/>
                <a:gd name="connsiteY208" fmla="*/ 931695 h 1505139"/>
                <a:gd name="connsiteX209" fmla="*/ 627309 w 1034979"/>
                <a:gd name="connsiteY209" fmla="*/ 948840 h 1505139"/>
                <a:gd name="connsiteX210" fmla="*/ 602544 w 1034979"/>
                <a:gd name="connsiteY210" fmla="*/ 954555 h 1505139"/>
                <a:gd name="connsiteX211" fmla="*/ 589209 w 1034979"/>
                <a:gd name="connsiteY211" fmla="*/ 958365 h 1505139"/>
                <a:gd name="connsiteX212" fmla="*/ 573969 w 1034979"/>
                <a:gd name="connsiteY212" fmla="*/ 956460 h 1505139"/>
                <a:gd name="connsiteX213" fmla="*/ 562539 w 1034979"/>
                <a:gd name="connsiteY213" fmla="*/ 952650 h 1505139"/>
                <a:gd name="connsiteX214" fmla="*/ 551109 w 1034979"/>
                <a:gd name="connsiteY214" fmla="*/ 948840 h 1505139"/>
                <a:gd name="connsiteX215" fmla="*/ 539679 w 1034979"/>
                <a:gd name="connsiteY215" fmla="*/ 945030 h 1505139"/>
                <a:gd name="connsiteX216" fmla="*/ 533964 w 1034979"/>
                <a:gd name="connsiteY216" fmla="*/ 943125 h 1505139"/>
                <a:gd name="connsiteX217" fmla="*/ 528249 w 1034979"/>
                <a:gd name="connsiteY217" fmla="*/ 939315 h 1505139"/>
                <a:gd name="connsiteX218" fmla="*/ 516819 w 1034979"/>
                <a:gd name="connsiteY218" fmla="*/ 933600 h 1505139"/>
                <a:gd name="connsiteX219" fmla="*/ 509199 w 1034979"/>
                <a:gd name="connsiteY219" fmla="*/ 922170 h 1505139"/>
                <a:gd name="connsiteX220" fmla="*/ 505389 w 1034979"/>
                <a:gd name="connsiteY220" fmla="*/ 901215 h 1505139"/>
                <a:gd name="connsiteX221" fmla="*/ 507294 w 1034979"/>
                <a:gd name="connsiteY221" fmla="*/ 836445 h 1505139"/>
                <a:gd name="connsiteX222" fmla="*/ 513009 w 1034979"/>
                <a:gd name="connsiteY222" fmla="*/ 823110 h 1505139"/>
                <a:gd name="connsiteX223" fmla="*/ 503484 w 1034979"/>
                <a:gd name="connsiteY223" fmla="*/ 346860 h 1505139"/>
                <a:gd name="connsiteX224" fmla="*/ 499674 w 1034979"/>
                <a:gd name="connsiteY224" fmla="*/ 55395 h 1505139"/>
                <a:gd name="connsiteX225" fmla="*/ 490149 w 1034979"/>
                <a:gd name="connsiteY225" fmla="*/ 28725 h 1505139"/>
                <a:gd name="connsiteX226" fmla="*/ 488244 w 1034979"/>
                <a:gd name="connsiteY226" fmla="*/ 23010 h 1505139"/>
                <a:gd name="connsiteX227" fmla="*/ 484434 w 1034979"/>
                <a:gd name="connsiteY227" fmla="*/ 17295 h 1505139"/>
                <a:gd name="connsiteX228" fmla="*/ 478719 w 1034979"/>
                <a:gd name="connsiteY228" fmla="*/ 5865 h 1505139"/>
                <a:gd name="connsiteX229" fmla="*/ 429189 w 1034979"/>
                <a:gd name="connsiteY229" fmla="*/ 150 h 1505139"/>
                <a:gd name="connsiteX230" fmla="*/ 419664 w 1034979"/>
                <a:gd name="connsiteY230" fmla="*/ 49680 h 1505139"/>
                <a:gd name="connsiteX231" fmla="*/ 423474 w 1034979"/>
                <a:gd name="connsiteY231" fmla="*/ 61110 h 1505139"/>
                <a:gd name="connsiteX232" fmla="*/ 425379 w 1034979"/>
                <a:gd name="connsiteY232" fmla="*/ 66825 h 1505139"/>
                <a:gd name="connsiteX233" fmla="*/ 425379 w 1034979"/>
                <a:gd name="connsiteY233" fmla="*/ 72540 h 1505139"/>
                <a:gd name="connsiteX234" fmla="*/ 429189 w 1034979"/>
                <a:gd name="connsiteY234" fmla="*/ 226845 h 1505139"/>
                <a:gd name="connsiteX235" fmla="*/ 440619 w 1034979"/>
                <a:gd name="connsiteY235" fmla="*/ 409725 h 1505139"/>
                <a:gd name="connsiteX236" fmla="*/ 425379 w 1034979"/>
                <a:gd name="connsiteY236" fmla="*/ 706905 h 1505139"/>
                <a:gd name="connsiteX237" fmla="*/ 417759 w 1034979"/>
                <a:gd name="connsiteY237" fmla="*/ 834540 h 1505139"/>
                <a:gd name="connsiteX238" fmla="*/ 413949 w 1034979"/>
                <a:gd name="connsiteY238" fmla="*/ 851685 h 1505139"/>
                <a:gd name="connsiteX239" fmla="*/ 417759 w 1034979"/>
                <a:gd name="connsiteY239" fmla="*/ 872640 h 1505139"/>
                <a:gd name="connsiteX240" fmla="*/ 421569 w 1034979"/>
                <a:gd name="connsiteY240" fmla="*/ 878355 h 1505139"/>
                <a:gd name="connsiteX241" fmla="*/ 425379 w 1034979"/>
                <a:gd name="connsiteY241" fmla="*/ 889785 h 1505139"/>
                <a:gd name="connsiteX242" fmla="*/ 423474 w 1034979"/>
                <a:gd name="connsiteY242" fmla="*/ 916455 h 1505139"/>
                <a:gd name="connsiteX243" fmla="*/ 417759 w 1034979"/>
                <a:gd name="connsiteY243" fmla="*/ 918360 h 1505139"/>
                <a:gd name="connsiteX244" fmla="*/ 412044 w 1034979"/>
                <a:gd name="connsiteY244" fmla="*/ 922170 h 1505139"/>
                <a:gd name="connsiteX245" fmla="*/ 421569 w 1034979"/>
                <a:gd name="connsiteY245" fmla="*/ 918360 h 1505139"/>
                <a:gd name="connsiteX0" fmla="*/ 421569 w 1034979"/>
                <a:gd name="connsiteY0" fmla="*/ 913977 h 1500756"/>
                <a:gd name="connsiteX1" fmla="*/ 421569 w 1034979"/>
                <a:gd name="connsiteY1" fmla="*/ 913977 h 1500756"/>
                <a:gd name="connsiteX2" fmla="*/ 394899 w 1034979"/>
                <a:gd name="connsiteY2" fmla="*/ 923502 h 1500756"/>
                <a:gd name="connsiteX3" fmla="*/ 387279 w 1034979"/>
                <a:gd name="connsiteY3" fmla="*/ 925407 h 1500756"/>
                <a:gd name="connsiteX4" fmla="*/ 356799 w 1034979"/>
                <a:gd name="connsiteY4" fmla="*/ 927312 h 1500756"/>
                <a:gd name="connsiteX5" fmla="*/ 351084 w 1034979"/>
                <a:gd name="connsiteY5" fmla="*/ 931122 h 1500756"/>
                <a:gd name="connsiteX6" fmla="*/ 339654 w 1034979"/>
                <a:gd name="connsiteY6" fmla="*/ 940647 h 1500756"/>
                <a:gd name="connsiteX7" fmla="*/ 328224 w 1034979"/>
                <a:gd name="connsiteY7" fmla="*/ 944457 h 1500756"/>
                <a:gd name="connsiteX8" fmla="*/ 312984 w 1034979"/>
                <a:gd name="connsiteY8" fmla="*/ 950172 h 1500756"/>
                <a:gd name="connsiteX9" fmla="*/ 265359 w 1034979"/>
                <a:gd name="connsiteY9" fmla="*/ 946362 h 1500756"/>
                <a:gd name="connsiteX10" fmla="*/ 253929 w 1034979"/>
                <a:gd name="connsiteY10" fmla="*/ 942552 h 1500756"/>
                <a:gd name="connsiteX11" fmla="*/ 242499 w 1034979"/>
                <a:gd name="connsiteY11" fmla="*/ 938742 h 1500756"/>
                <a:gd name="connsiteX12" fmla="*/ 236784 w 1034979"/>
                <a:gd name="connsiteY12" fmla="*/ 936837 h 1500756"/>
                <a:gd name="connsiteX13" fmla="*/ 231069 w 1034979"/>
                <a:gd name="connsiteY13" fmla="*/ 934932 h 1500756"/>
                <a:gd name="connsiteX14" fmla="*/ 219639 w 1034979"/>
                <a:gd name="connsiteY14" fmla="*/ 933027 h 1500756"/>
                <a:gd name="connsiteX15" fmla="*/ 213924 w 1034979"/>
                <a:gd name="connsiteY15" fmla="*/ 931122 h 1500756"/>
                <a:gd name="connsiteX16" fmla="*/ 206304 w 1034979"/>
                <a:gd name="connsiteY16" fmla="*/ 929217 h 1500756"/>
                <a:gd name="connsiteX17" fmla="*/ 194874 w 1034979"/>
                <a:gd name="connsiteY17" fmla="*/ 925407 h 1500756"/>
                <a:gd name="connsiteX18" fmla="*/ 189159 w 1034979"/>
                <a:gd name="connsiteY18" fmla="*/ 923502 h 1500756"/>
                <a:gd name="connsiteX19" fmla="*/ 181539 w 1034979"/>
                <a:gd name="connsiteY19" fmla="*/ 921597 h 1500756"/>
                <a:gd name="connsiteX20" fmla="*/ 170109 w 1034979"/>
                <a:gd name="connsiteY20" fmla="*/ 915882 h 1500756"/>
                <a:gd name="connsiteX21" fmla="*/ 164394 w 1034979"/>
                <a:gd name="connsiteY21" fmla="*/ 912072 h 1500756"/>
                <a:gd name="connsiteX22" fmla="*/ 156774 w 1034979"/>
                <a:gd name="connsiteY22" fmla="*/ 900642 h 1500756"/>
                <a:gd name="connsiteX23" fmla="*/ 145344 w 1034979"/>
                <a:gd name="connsiteY23" fmla="*/ 896832 h 1500756"/>
                <a:gd name="connsiteX24" fmla="*/ 139629 w 1034979"/>
                <a:gd name="connsiteY24" fmla="*/ 893022 h 1500756"/>
                <a:gd name="connsiteX25" fmla="*/ 133914 w 1034979"/>
                <a:gd name="connsiteY25" fmla="*/ 891117 h 1500756"/>
                <a:gd name="connsiteX26" fmla="*/ 116769 w 1034979"/>
                <a:gd name="connsiteY26" fmla="*/ 887307 h 1500756"/>
                <a:gd name="connsiteX27" fmla="*/ 111054 w 1034979"/>
                <a:gd name="connsiteY27" fmla="*/ 881592 h 1500756"/>
                <a:gd name="connsiteX28" fmla="*/ 101529 w 1034979"/>
                <a:gd name="connsiteY28" fmla="*/ 864447 h 1500756"/>
                <a:gd name="connsiteX29" fmla="*/ 84384 w 1034979"/>
                <a:gd name="connsiteY29" fmla="*/ 856827 h 1500756"/>
                <a:gd name="connsiteX30" fmla="*/ 78669 w 1034979"/>
                <a:gd name="connsiteY30" fmla="*/ 854922 h 1500756"/>
                <a:gd name="connsiteX31" fmla="*/ 59619 w 1034979"/>
                <a:gd name="connsiteY31" fmla="*/ 858732 h 1500756"/>
                <a:gd name="connsiteX32" fmla="*/ 53904 w 1034979"/>
                <a:gd name="connsiteY32" fmla="*/ 862542 h 1500756"/>
                <a:gd name="connsiteX33" fmla="*/ 50094 w 1034979"/>
                <a:gd name="connsiteY33" fmla="*/ 868257 h 1500756"/>
                <a:gd name="connsiteX34" fmla="*/ 46284 w 1034979"/>
                <a:gd name="connsiteY34" fmla="*/ 879687 h 1500756"/>
                <a:gd name="connsiteX35" fmla="*/ 50094 w 1034979"/>
                <a:gd name="connsiteY35" fmla="*/ 917787 h 1500756"/>
                <a:gd name="connsiteX36" fmla="*/ 53904 w 1034979"/>
                <a:gd name="connsiteY36" fmla="*/ 923502 h 1500756"/>
                <a:gd name="connsiteX37" fmla="*/ 59619 w 1034979"/>
                <a:gd name="connsiteY37" fmla="*/ 927312 h 1500756"/>
                <a:gd name="connsiteX38" fmla="*/ 63429 w 1034979"/>
                <a:gd name="connsiteY38" fmla="*/ 933027 h 1500756"/>
                <a:gd name="connsiteX39" fmla="*/ 80574 w 1034979"/>
                <a:gd name="connsiteY39" fmla="*/ 942552 h 1500756"/>
                <a:gd name="connsiteX40" fmla="*/ 103434 w 1034979"/>
                <a:gd name="connsiteY40" fmla="*/ 944457 h 1500756"/>
                <a:gd name="connsiteX41" fmla="*/ 124389 w 1034979"/>
                <a:gd name="connsiteY41" fmla="*/ 950172 h 1500756"/>
                <a:gd name="connsiteX42" fmla="*/ 130104 w 1034979"/>
                <a:gd name="connsiteY42" fmla="*/ 952077 h 1500756"/>
                <a:gd name="connsiteX43" fmla="*/ 135819 w 1034979"/>
                <a:gd name="connsiteY43" fmla="*/ 957792 h 1500756"/>
                <a:gd name="connsiteX44" fmla="*/ 143439 w 1034979"/>
                <a:gd name="connsiteY44" fmla="*/ 959697 h 1500756"/>
                <a:gd name="connsiteX45" fmla="*/ 166299 w 1034979"/>
                <a:gd name="connsiteY45" fmla="*/ 963507 h 1500756"/>
                <a:gd name="connsiteX46" fmla="*/ 191064 w 1034979"/>
                <a:gd name="connsiteY46" fmla="*/ 969222 h 1500756"/>
                <a:gd name="connsiteX47" fmla="*/ 208209 w 1034979"/>
                <a:gd name="connsiteY47" fmla="*/ 974937 h 1500756"/>
                <a:gd name="connsiteX48" fmla="*/ 213924 w 1034979"/>
                <a:gd name="connsiteY48" fmla="*/ 976842 h 1500756"/>
                <a:gd name="connsiteX49" fmla="*/ 229164 w 1034979"/>
                <a:gd name="connsiteY49" fmla="*/ 980652 h 1500756"/>
                <a:gd name="connsiteX50" fmla="*/ 248214 w 1034979"/>
                <a:gd name="connsiteY50" fmla="*/ 986367 h 1500756"/>
                <a:gd name="connsiteX51" fmla="*/ 253929 w 1034979"/>
                <a:gd name="connsiteY51" fmla="*/ 990177 h 1500756"/>
                <a:gd name="connsiteX52" fmla="*/ 267264 w 1034979"/>
                <a:gd name="connsiteY52" fmla="*/ 1005417 h 1500756"/>
                <a:gd name="connsiteX53" fmla="*/ 272979 w 1034979"/>
                <a:gd name="connsiteY53" fmla="*/ 1024467 h 1500756"/>
                <a:gd name="connsiteX54" fmla="*/ 274884 w 1034979"/>
                <a:gd name="connsiteY54" fmla="*/ 1030182 h 1500756"/>
                <a:gd name="connsiteX55" fmla="*/ 276789 w 1034979"/>
                <a:gd name="connsiteY55" fmla="*/ 1035897 h 1500756"/>
                <a:gd name="connsiteX56" fmla="*/ 278694 w 1034979"/>
                <a:gd name="connsiteY56" fmla="*/ 1060662 h 1500756"/>
                <a:gd name="connsiteX57" fmla="*/ 280599 w 1034979"/>
                <a:gd name="connsiteY57" fmla="*/ 1066377 h 1500756"/>
                <a:gd name="connsiteX58" fmla="*/ 278694 w 1034979"/>
                <a:gd name="connsiteY58" fmla="*/ 1085427 h 1500756"/>
                <a:gd name="connsiteX59" fmla="*/ 276789 w 1034979"/>
                <a:gd name="connsiteY59" fmla="*/ 1094952 h 1500756"/>
                <a:gd name="connsiteX60" fmla="*/ 263454 w 1034979"/>
                <a:gd name="connsiteY60" fmla="*/ 1108287 h 1500756"/>
                <a:gd name="connsiteX61" fmla="*/ 252024 w 1034979"/>
                <a:gd name="connsiteY61" fmla="*/ 1115907 h 1500756"/>
                <a:gd name="connsiteX62" fmla="*/ 240594 w 1034979"/>
                <a:gd name="connsiteY62" fmla="*/ 1119717 h 1500756"/>
                <a:gd name="connsiteX63" fmla="*/ 126294 w 1034979"/>
                <a:gd name="connsiteY63" fmla="*/ 1119717 h 1500756"/>
                <a:gd name="connsiteX64" fmla="*/ 120579 w 1034979"/>
                <a:gd name="connsiteY64" fmla="*/ 1121622 h 1500756"/>
                <a:gd name="connsiteX65" fmla="*/ 105339 w 1034979"/>
                <a:gd name="connsiteY65" fmla="*/ 1123527 h 1500756"/>
                <a:gd name="connsiteX66" fmla="*/ 88194 w 1034979"/>
                <a:gd name="connsiteY66" fmla="*/ 1129242 h 1500756"/>
                <a:gd name="connsiteX67" fmla="*/ 82479 w 1034979"/>
                <a:gd name="connsiteY67" fmla="*/ 1131147 h 1500756"/>
                <a:gd name="connsiteX68" fmla="*/ 76764 w 1034979"/>
                <a:gd name="connsiteY68" fmla="*/ 1134957 h 1500756"/>
                <a:gd name="connsiteX69" fmla="*/ 65334 w 1034979"/>
                <a:gd name="connsiteY69" fmla="*/ 1136862 h 1500756"/>
                <a:gd name="connsiteX70" fmla="*/ 27234 w 1034979"/>
                <a:gd name="connsiteY70" fmla="*/ 1138767 h 1500756"/>
                <a:gd name="connsiteX71" fmla="*/ 15804 w 1034979"/>
                <a:gd name="connsiteY71" fmla="*/ 1144482 h 1500756"/>
                <a:gd name="connsiteX72" fmla="*/ 6279 w 1034979"/>
                <a:gd name="connsiteY72" fmla="*/ 1154007 h 1500756"/>
                <a:gd name="connsiteX73" fmla="*/ 4374 w 1034979"/>
                <a:gd name="connsiteY73" fmla="*/ 1159722 h 1500756"/>
                <a:gd name="connsiteX74" fmla="*/ 564 w 1034979"/>
                <a:gd name="connsiteY74" fmla="*/ 1165437 h 1500756"/>
                <a:gd name="connsiteX75" fmla="*/ 6279 w 1034979"/>
                <a:gd name="connsiteY75" fmla="*/ 1197822 h 1500756"/>
                <a:gd name="connsiteX76" fmla="*/ 11994 w 1034979"/>
                <a:gd name="connsiteY76" fmla="*/ 1201632 h 1500756"/>
                <a:gd name="connsiteX77" fmla="*/ 17709 w 1034979"/>
                <a:gd name="connsiteY77" fmla="*/ 1203537 h 1500756"/>
                <a:gd name="connsiteX78" fmla="*/ 145344 w 1034979"/>
                <a:gd name="connsiteY78" fmla="*/ 1201632 h 1500756"/>
                <a:gd name="connsiteX79" fmla="*/ 152964 w 1034979"/>
                <a:gd name="connsiteY79" fmla="*/ 1199727 h 1500756"/>
                <a:gd name="connsiteX80" fmla="*/ 303459 w 1034979"/>
                <a:gd name="connsiteY80" fmla="*/ 1194012 h 1500756"/>
                <a:gd name="connsiteX81" fmla="*/ 318699 w 1034979"/>
                <a:gd name="connsiteY81" fmla="*/ 1201632 h 1500756"/>
                <a:gd name="connsiteX82" fmla="*/ 330129 w 1034979"/>
                <a:gd name="connsiteY82" fmla="*/ 1207347 h 1500756"/>
                <a:gd name="connsiteX83" fmla="*/ 333939 w 1034979"/>
                <a:gd name="connsiteY83" fmla="*/ 1213062 h 1500756"/>
                <a:gd name="connsiteX84" fmla="*/ 339654 w 1034979"/>
                <a:gd name="connsiteY84" fmla="*/ 1214967 h 1500756"/>
                <a:gd name="connsiteX85" fmla="*/ 351084 w 1034979"/>
                <a:gd name="connsiteY85" fmla="*/ 1222587 h 1500756"/>
                <a:gd name="connsiteX86" fmla="*/ 356799 w 1034979"/>
                <a:gd name="connsiteY86" fmla="*/ 1226397 h 1500756"/>
                <a:gd name="connsiteX87" fmla="*/ 360609 w 1034979"/>
                <a:gd name="connsiteY87" fmla="*/ 1232112 h 1500756"/>
                <a:gd name="connsiteX88" fmla="*/ 366324 w 1034979"/>
                <a:gd name="connsiteY88" fmla="*/ 1243542 h 1500756"/>
                <a:gd name="connsiteX89" fmla="*/ 362514 w 1034979"/>
                <a:gd name="connsiteY89" fmla="*/ 1270212 h 1500756"/>
                <a:gd name="connsiteX90" fmla="*/ 358704 w 1034979"/>
                <a:gd name="connsiteY90" fmla="*/ 1275927 h 1500756"/>
                <a:gd name="connsiteX91" fmla="*/ 356799 w 1034979"/>
                <a:gd name="connsiteY91" fmla="*/ 1281642 h 1500756"/>
                <a:gd name="connsiteX92" fmla="*/ 352989 w 1034979"/>
                <a:gd name="connsiteY92" fmla="*/ 1287357 h 1500756"/>
                <a:gd name="connsiteX93" fmla="*/ 351084 w 1034979"/>
                <a:gd name="connsiteY93" fmla="*/ 1293072 h 1500756"/>
                <a:gd name="connsiteX94" fmla="*/ 347274 w 1034979"/>
                <a:gd name="connsiteY94" fmla="*/ 1298787 h 1500756"/>
                <a:gd name="connsiteX95" fmla="*/ 330129 w 1034979"/>
                <a:gd name="connsiteY95" fmla="*/ 1365462 h 1500756"/>
                <a:gd name="connsiteX96" fmla="*/ 328224 w 1034979"/>
                <a:gd name="connsiteY96" fmla="*/ 1416897 h 1500756"/>
                <a:gd name="connsiteX97" fmla="*/ 330129 w 1034979"/>
                <a:gd name="connsiteY97" fmla="*/ 1441662 h 1500756"/>
                <a:gd name="connsiteX98" fmla="*/ 332034 w 1034979"/>
                <a:gd name="connsiteY98" fmla="*/ 1447377 h 1500756"/>
                <a:gd name="connsiteX99" fmla="*/ 335844 w 1034979"/>
                <a:gd name="connsiteY99" fmla="*/ 1451187 h 1500756"/>
                <a:gd name="connsiteX100" fmla="*/ 364419 w 1034979"/>
                <a:gd name="connsiteY100" fmla="*/ 1496907 h 1500756"/>
                <a:gd name="connsiteX101" fmla="*/ 387279 w 1034979"/>
                <a:gd name="connsiteY101" fmla="*/ 1498812 h 1500756"/>
                <a:gd name="connsiteX102" fmla="*/ 392994 w 1034979"/>
                <a:gd name="connsiteY102" fmla="*/ 1493097 h 1500756"/>
                <a:gd name="connsiteX103" fmla="*/ 394899 w 1034979"/>
                <a:gd name="connsiteY103" fmla="*/ 1481667 h 1500756"/>
                <a:gd name="connsiteX104" fmla="*/ 396804 w 1034979"/>
                <a:gd name="connsiteY104" fmla="*/ 1475952 h 1500756"/>
                <a:gd name="connsiteX105" fmla="*/ 398709 w 1034979"/>
                <a:gd name="connsiteY105" fmla="*/ 1458807 h 1500756"/>
                <a:gd name="connsiteX106" fmla="*/ 400614 w 1034979"/>
                <a:gd name="connsiteY106" fmla="*/ 1445472 h 1500756"/>
                <a:gd name="connsiteX107" fmla="*/ 404424 w 1034979"/>
                <a:gd name="connsiteY107" fmla="*/ 1388322 h 1500756"/>
                <a:gd name="connsiteX108" fmla="*/ 410139 w 1034979"/>
                <a:gd name="connsiteY108" fmla="*/ 1376892 h 1500756"/>
                <a:gd name="connsiteX109" fmla="*/ 413949 w 1034979"/>
                <a:gd name="connsiteY109" fmla="*/ 1363557 h 1500756"/>
                <a:gd name="connsiteX110" fmla="*/ 415854 w 1034979"/>
                <a:gd name="connsiteY110" fmla="*/ 1357842 h 1500756"/>
                <a:gd name="connsiteX111" fmla="*/ 417759 w 1034979"/>
                <a:gd name="connsiteY111" fmla="*/ 1344507 h 1500756"/>
                <a:gd name="connsiteX112" fmla="*/ 421569 w 1034979"/>
                <a:gd name="connsiteY112" fmla="*/ 1333077 h 1500756"/>
                <a:gd name="connsiteX113" fmla="*/ 427284 w 1034979"/>
                <a:gd name="connsiteY113" fmla="*/ 1319742 h 1500756"/>
                <a:gd name="connsiteX114" fmla="*/ 436809 w 1034979"/>
                <a:gd name="connsiteY114" fmla="*/ 1308312 h 1500756"/>
                <a:gd name="connsiteX115" fmla="*/ 450144 w 1034979"/>
                <a:gd name="connsiteY115" fmla="*/ 1293072 h 1500756"/>
                <a:gd name="connsiteX116" fmla="*/ 457764 w 1034979"/>
                <a:gd name="connsiteY116" fmla="*/ 1281642 h 1500756"/>
                <a:gd name="connsiteX117" fmla="*/ 461574 w 1034979"/>
                <a:gd name="connsiteY117" fmla="*/ 1270212 h 1500756"/>
                <a:gd name="connsiteX118" fmla="*/ 465384 w 1034979"/>
                <a:gd name="connsiteY118" fmla="*/ 1254972 h 1500756"/>
                <a:gd name="connsiteX119" fmla="*/ 467289 w 1034979"/>
                <a:gd name="connsiteY119" fmla="*/ 1249257 h 1500756"/>
                <a:gd name="connsiteX120" fmla="*/ 507294 w 1034979"/>
                <a:gd name="connsiteY120" fmla="*/ 1243542 h 1500756"/>
                <a:gd name="connsiteX121" fmla="*/ 535869 w 1034979"/>
                <a:gd name="connsiteY121" fmla="*/ 1234017 h 1500756"/>
                <a:gd name="connsiteX122" fmla="*/ 541584 w 1034979"/>
                <a:gd name="connsiteY122" fmla="*/ 1232112 h 1500756"/>
                <a:gd name="connsiteX123" fmla="*/ 547299 w 1034979"/>
                <a:gd name="connsiteY123" fmla="*/ 1230207 h 1500756"/>
                <a:gd name="connsiteX124" fmla="*/ 554919 w 1034979"/>
                <a:gd name="connsiteY124" fmla="*/ 1228302 h 1500756"/>
                <a:gd name="connsiteX125" fmla="*/ 573969 w 1034979"/>
                <a:gd name="connsiteY125" fmla="*/ 1220682 h 1500756"/>
                <a:gd name="connsiteX126" fmla="*/ 585399 w 1034979"/>
                <a:gd name="connsiteY126" fmla="*/ 1216872 h 1500756"/>
                <a:gd name="connsiteX127" fmla="*/ 720654 w 1034979"/>
                <a:gd name="connsiteY127" fmla="*/ 1300692 h 1500756"/>
                <a:gd name="connsiteX128" fmla="*/ 733989 w 1034979"/>
                <a:gd name="connsiteY128" fmla="*/ 1310217 h 1500756"/>
                <a:gd name="connsiteX129" fmla="*/ 743514 w 1034979"/>
                <a:gd name="connsiteY129" fmla="*/ 1312122 h 1500756"/>
                <a:gd name="connsiteX130" fmla="*/ 749229 w 1034979"/>
                <a:gd name="connsiteY130" fmla="*/ 1314027 h 1500756"/>
                <a:gd name="connsiteX131" fmla="*/ 762564 w 1034979"/>
                <a:gd name="connsiteY131" fmla="*/ 1319742 h 1500756"/>
                <a:gd name="connsiteX132" fmla="*/ 777804 w 1034979"/>
                <a:gd name="connsiteY132" fmla="*/ 1317837 h 1500756"/>
                <a:gd name="connsiteX133" fmla="*/ 789234 w 1034979"/>
                <a:gd name="connsiteY133" fmla="*/ 1312122 h 1500756"/>
                <a:gd name="connsiteX134" fmla="*/ 794949 w 1034979"/>
                <a:gd name="connsiteY134" fmla="*/ 1310217 h 1500756"/>
                <a:gd name="connsiteX135" fmla="*/ 802569 w 1034979"/>
                <a:gd name="connsiteY135" fmla="*/ 1293072 h 1500756"/>
                <a:gd name="connsiteX136" fmla="*/ 800664 w 1034979"/>
                <a:gd name="connsiteY136" fmla="*/ 1268307 h 1500756"/>
                <a:gd name="connsiteX137" fmla="*/ 798759 w 1034979"/>
                <a:gd name="connsiteY137" fmla="*/ 1262592 h 1500756"/>
                <a:gd name="connsiteX138" fmla="*/ 796854 w 1034979"/>
                <a:gd name="connsiteY138" fmla="*/ 1254972 h 1500756"/>
                <a:gd name="connsiteX139" fmla="*/ 783519 w 1034979"/>
                <a:gd name="connsiteY139" fmla="*/ 1237827 h 1500756"/>
                <a:gd name="connsiteX140" fmla="*/ 773994 w 1034979"/>
                <a:gd name="connsiteY140" fmla="*/ 1232112 h 1500756"/>
                <a:gd name="connsiteX141" fmla="*/ 648264 w 1034979"/>
                <a:gd name="connsiteY141" fmla="*/ 1140672 h 1500756"/>
                <a:gd name="connsiteX142" fmla="*/ 644454 w 1034979"/>
                <a:gd name="connsiteY142" fmla="*/ 1123527 h 1500756"/>
                <a:gd name="connsiteX143" fmla="*/ 646359 w 1034979"/>
                <a:gd name="connsiteY143" fmla="*/ 1115907 h 1500756"/>
                <a:gd name="connsiteX144" fmla="*/ 650169 w 1034979"/>
                <a:gd name="connsiteY144" fmla="*/ 1098762 h 1500756"/>
                <a:gd name="connsiteX145" fmla="*/ 653979 w 1034979"/>
                <a:gd name="connsiteY145" fmla="*/ 1093047 h 1500756"/>
                <a:gd name="connsiteX146" fmla="*/ 655884 w 1034979"/>
                <a:gd name="connsiteY146" fmla="*/ 1087332 h 1500756"/>
                <a:gd name="connsiteX147" fmla="*/ 661599 w 1034979"/>
                <a:gd name="connsiteY147" fmla="*/ 1085427 h 1500756"/>
                <a:gd name="connsiteX148" fmla="*/ 671124 w 1034979"/>
                <a:gd name="connsiteY148" fmla="*/ 1073997 h 1500756"/>
                <a:gd name="connsiteX149" fmla="*/ 724464 w 1034979"/>
                <a:gd name="connsiteY149" fmla="*/ 1066377 h 1500756"/>
                <a:gd name="connsiteX150" fmla="*/ 842574 w 1034979"/>
                <a:gd name="connsiteY150" fmla="*/ 1068282 h 1500756"/>
                <a:gd name="connsiteX151" fmla="*/ 871149 w 1034979"/>
                <a:gd name="connsiteY151" fmla="*/ 1070187 h 1500756"/>
                <a:gd name="connsiteX152" fmla="*/ 899724 w 1034979"/>
                <a:gd name="connsiteY152" fmla="*/ 1075902 h 1500756"/>
                <a:gd name="connsiteX153" fmla="*/ 922584 w 1034979"/>
                <a:gd name="connsiteY153" fmla="*/ 1079712 h 1500756"/>
                <a:gd name="connsiteX154" fmla="*/ 951159 w 1034979"/>
                <a:gd name="connsiteY154" fmla="*/ 1085427 h 1500756"/>
                <a:gd name="connsiteX155" fmla="*/ 956874 w 1034979"/>
                <a:gd name="connsiteY155" fmla="*/ 1085427 h 1500756"/>
                <a:gd name="connsiteX156" fmla="*/ 1002594 w 1034979"/>
                <a:gd name="connsiteY156" fmla="*/ 1083522 h 1500756"/>
                <a:gd name="connsiteX157" fmla="*/ 1031169 w 1034979"/>
                <a:gd name="connsiteY157" fmla="*/ 1075902 h 1500756"/>
                <a:gd name="connsiteX158" fmla="*/ 1034979 w 1034979"/>
                <a:gd name="connsiteY158" fmla="*/ 1070187 h 1500756"/>
                <a:gd name="connsiteX159" fmla="*/ 1033074 w 1034979"/>
                <a:gd name="connsiteY159" fmla="*/ 1051137 h 1500756"/>
                <a:gd name="connsiteX160" fmla="*/ 1027359 w 1034979"/>
                <a:gd name="connsiteY160" fmla="*/ 1047327 h 1500756"/>
                <a:gd name="connsiteX161" fmla="*/ 1012119 w 1034979"/>
                <a:gd name="connsiteY161" fmla="*/ 1045422 h 1500756"/>
                <a:gd name="connsiteX162" fmla="*/ 1006404 w 1034979"/>
                <a:gd name="connsiteY162" fmla="*/ 1043517 h 1500756"/>
                <a:gd name="connsiteX163" fmla="*/ 998784 w 1034979"/>
                <a:gd name="connsiteY163" fmla="*/ 1041612 h 1500756"/>
                <a:gd name="connsiteX164" fmla="*/ 987354 w 1034979"/>
                <a:gd name="connsiteY164" fmla="*/ 1033992 h 1500756"/>
                <a:gd name="connsiteX165" fmla="*/ 975924 w 1034979"/>
                <a:gd name="connsiteY165" fmla="*/ 1030182 h 1500756"/>
                <a:gd name="connsiteX166" fmla="*/ 970209 w 1034979"/>
                <a:gd name="connsiteY166" fmla="*/ 1028277 h 1500756"/>
                <a:gd name="connsiteX167" fmla="*/ 962589 w 1034979"/>
                <a:gd name="connsiteY167" fmla="*/ 1026372 h 1500756"/>
                <a:gd name="connsiteX168" fmla="*/ 956874 w 1034979"/>
                <a:gd name="connsiteY168" fmla="*/ 1024467 h 1500756"/>
                <a:gd name="connsiteX169" fmla="*/ 935919 w 1034979"/>
                <a:gd name="connsiteY169" fmla="*/ 1018752 h 1500756"/>
                <a:gd name="connsiteX170" fmla="*/ 930204 w 1034979"/>
                <a:gd name="connsiteY170" fmla="*/ 1016847 h 1500756"/>
                <a:gd name="connsiteX171" fmla="*/ 825429 w 1034979"/>
                <a:gd name="connsiteY171" fmla="*/ 1018752 h 1500756"/>
                <a:gd name="connsiteX172" fmla="*/ 819714 w 1034979"/>
                <a:gd name="connsiteY172" fmla="*/ 1020657 h 1500756"/>
                <a:gd name="connsiteX173" fmla="*/ 730179 w 1034979"/>
                <a:gd name="connsiteY173" fmla="*/ 1022562 h 1500756"/>
                <a:gd name="connsiteX174" fmla="*/ 716844 w 1034979"/>
                <a:gd name="connsiteY174" fmla="*/ 1026372 h 1500756"/>
                <a:gd name="connsiteX175" fmla="*/ 695889 w 1034979"/>
                <a:gd name="connsiteY175" fmla="*/ 1028277 h 1500756"/>
                <a:gd name="connsiteX176" fmla="*/ 669219 w 1034979"/>
                <a:gd name="connsiteY176" fmla="*/ 1030182 h 1500756"/>
                <a:gd name="connsiteX177" fmla="*/ 669219 w 1034979"/>
                <a:gd name="connsiteY177" fmla="*/ 1030182 h 1500756"/>
                <a:gd name="connsiteX178" fmla="*/ 646359 w 1034979"/>
                <a:gd name="connsiteY178" fmla="*/ 1033992 h 1500756"/>
                <a:gd name="connsiteX179" fmla="*/ 642549 w 1034979"/>
                <a:gd name="connsiteY179" fmla="*/ 1022562 h 1500756"/>
                <a:gd name="connsiteX180" fmla="*/ 640644 w 1034979"/>
                <a:gd name="connsiteY180" fmla="*/ 1016847 h 1500756"/>
                <a:gd name="connsiteX181" fmla="*/ 642549 w 1034979"/>
                <a:gd name="connsiteY181" fmla="*/ 999702 h 1500756"/>
                <a:gd name="connsiteX182" fmla="*/ 644454 w 1034979"/>
                <a:gd name="connsiteY182" fmla="*/ 993987 h 1500756"/>
                <a:gd name="connsiteX183" fmla="*/ 661599 w 1034979"/>
                <a:gd name="connsiteY183" fmla="*/ 984462 h 1500756"/>
                <a:gd name="connsiteX184" fmla="*/ 673029 w 1034979"/>
                <a:gd name="connsiteY184" fmla="*/ 976842 h 1500756"/>
                <a:gd name="connsiteX185" fmla="*/ 674934 w 1034979"/>
                <a:gd name="connsiteY185" fmla="*/ 971127 h 1500756"/>
                <a:gd name="connsiteX186" fmla="*/ 680649 w 1034979"/>
                <a:gd name="connsiteY186" fmla="*/ 969222 h 1500756"/>
                <a:gd name="connsiteX187" fmla="*/ 686364 w 1034979"/>
                <a:gd name="connsiteY187" fmla="*/ 965412 h 1500756"/>
                <a:gd name="connsiteX188" fmla="*/ 695889 w 1034979"/>
                <a:gd name="connsiteY188" fmla="*/ 955887 h 1500756"/>
                <a:gd name="connsiteX189" fmla="*/ 705414 w 1034979"/>
                <a:gd name="connsiteY189" fmla="*/ 944457 h 1500756"/>
                <a:gd name="connsiteX190" fmla="*/ 716844 w 1034979"/>
                <a:gd name="connsiteY190" fmla="*/ 936837 h 1500756"/>
                <a:gd name="connsiteX191" fmla="*/ 732084 w 1034979"/>
                <a:gd name="connsiteY191" fmla="*/ 923502 h 1500756"/>
                <a:gd name="connsiteX192" fmla="*/ 741609 w 1034979"/>
                <a:gd name="connsiteY192" fmla="*/ 912072 h 1500756"/>
                <a:gd name="connsiteX193" fmla="*/ 753039 w 1034979"/>
                <a:gd name="connsiteY193" fmla="*/ 902547 h 1500756"/>
                <a:gd name="connsiteX194" fmla="*/ 758754 w 1034979"/>
                <a:gd name="connsiteY194" fmla="*/ 891117 h 1500756"/>
                <a:gd name="connsiteX195" fmla="*/ 760659 w 1034979"/>
                <a:gd name="connsiteY195" fmla="*/ 885402 h 1500756"/>
                <a:gd name="connsiteX196" fmla="*/ 766374 w 1034979"/>
                <a:gd name="connsiteY196" fmla="*/ 873972 h 1500756"/>
                <a:gd name="connsiteX197" fmla="*/ 764469 w 1034979"/>
                <a:gd name="connsiteY197" fmla="*/ 858732 h 1500756"/>
                <a:gd name="connsiteX198" fmla="*/ 758754 w 1034979"/>
                <a:gd name="connsiteY198" fmla="*/ 856827 h 1500756"/>
                <a:gd name="connsiteX199" fmla="*/ 737799 w 1034979"/>
                <a:gd name="connsiteY199" fmla="*/ 858732 h 1500756"/>
                <a:gd name="connsiteX200" fmla="*/ 732084 w 1034979"/>
                <a:gd name="connsiteY200" fmla="*/ 862542 h 1500756"/>
                <a:gd name="connsiteX201" fmla="*/ 720654 w 1034979"/>
                <a:gd name="connsiteY201" fmla="*/ 866352 h 1500756"/>
                <a:gd name="connsiteX202" fmla="*/ 716844 w 1034979"/>
                <a:gd name="connsiteY202" fmla="*/ 872067 h 1500756"/>
                <a:gd name="connsiteX203" fmla="*/ 711129 w 1034979"/>
                <a:gd name="connsiteY203" fmla="*/ 873972 h 1500756"/>
                <a:gd name="connsiteX204" fmla="*/ 705414 w 1034979"/>
                <a:gd name="connsiteY204" fmla="*/ 877782 h 1500756"/>
                <a:gd name="connsiteX205" fmla="*/ 699699 w 1034979"/>
                <a:gd name="connsiteY205" fmla="*/ 883497 h 1500756"/>
                <a:gd name="connsiteX206" fmla="*/ 692079 w 1034979"/>
                <a:gd name="connsiteY206" fmla="*/ 887307 h 1500756"/>
                <a:gd name="connsiteX207" fmla="*/ 650169 w 1034979"/>
                <a:gd name="connsiteY207" fmla="*/ 915882 h 1500756"/>
                <a:gd name="connsiteX208" fmla="*/ 636834 w 1034979"/>
                <a:gd name="connsiteY208" fmla="*/ 927312 h 1500756"/>
                <a:gd name="connsiteX209" fmla="*/ 627309 w 1034979"/>
                <a:gd name="connsiteY209" fmla="*/ 944457 h 1500756"/>
                <a:gd name="connsiteX210" fmla="*/ 602544 w 1034979"/>
                <a:gd name="connsiteY210" fmla="*/ 950172 h 1500756"/>
                <a:gd name="connsiteX211" fmla="*/ 589209 w 1034979"/>
                <a:gd name="connsiteY211" fmla="*/ 953982 h 1500756"/>
                <a:gd name="connsiteX212" fmla="*/ 573969 w 1034979"/>
                <a:gd name="connsiteY212" fmla="*/ 952077 h 1500756"/>
                <a:gd name="connsiteX213" fmla="*/ 562539 w 1034979"/>
                <a:gd name="connsiteY213" fmla="*/ 948267 h 1500756"/>
                <a:gd name="connsiteX214" fmla="*/ 551109 w 1034979"/>
                <a:gd name="connsiteY214" fmla="*/ 944457 h 1500756"/>
                <a:gd name="connsiteX215" fmla="*/ 539679 w 1034979"/>
                <a:gd name="connsiteY215" fmla="*/ 940647 h 1500756"/>
                <a:gd name="connsiteX216" fmla="*/ 533964 w 1034979"/>
                <a:gd name="connsiteY216" fmla="*/ 938742 h 1500756"/>
                <a:gd name="connsiteX217" fmla="*/ 528249 w 1034979"/>
                <a:gd name="connsiteY217" fmla="*/ 934932 h 1500756"/>
                <a:gd name="connsiteX218" fmla="*/ 516819 w 1034979"/>
                <a:gd name="connsiteY218" fmla="*/ 929217 h 1500756"/>
                <a:gd name="connsiteX219" fmla="*/ 509199 w 1034979"/>
                <a:gd name="connsiteY219" fmla="*/ 917787 h 1500756"/>
                <a:gd name="connsiteX220" fmla="*/ 505389 w 1034979"/>
                <a:gd name="connsiteY220" fmla="*/ 896832 h 1500756"/>
                <a:gd name="connsiteX221" fmla="*/ 507294 w 1034979"/>
                <a:gd name="connsiteY221" fmla="*/ 832062 h 1500756"/>
                <a:gd name="connsiteX222" fmla="*/ 513009 w 1034979"/>
                <a:gd name="connsiteY222" fmla="*/ 818727 h 1500756"/>
                <a:gd name="connsiteX223" fmla="*/ 503484 w 1034979"/>
                <a:gd name="connsiteY223" fmla="*/ 342477 h 1500756"/>
                <a:gd name="connsiteX224" fmla="*/ 499674 w 1034979"/>
                <a:gd name="connsiteY224" fmla="*/ 51012 h 1500756"/>
                <a:gd name="connsiteX225" fmla="*/ 490149 w 1034979"/>
                <a:gd name="connsiteY225" fmla="*/ 24342 h 1500756"/>
                <a:gd name="connsiteX226" fmla="*/ 488244 w 1034979"/>
                <a:gd name="connsiteY226" fmla="*/ 18627 h 1500756"/>
                <a:gd name="connsiteX227" fmla="*/ 484434 w 1034979"/>
                <a:gd name="connsiteY227" fmla="*/ 12912 h 1500756"/>
                <a:gd name="connsiteX228" fmla="*/ 478719 w 1034979"/>
                <a:gd name="connsiteY228" fmla="*/ 1482 h 1500756"/>
                <a:gd name="connsiteX229" fmla="*/ 419664 w 1034979"/>
                <a:gd name="connsiteY229" fmla="*/ 45297 h 1500756"/>
                <a:gd name="connsiteX230" fmla="*/ 423474 w 1034979"/>
                <a:gd name="connsiteY230" fmla="*/ 56727 h 1500756"/>
                <a:gd name="connsiteX231" fmla="*/ 425379 w 1034979"/>
                <a:gd name="connsiteY231" fmla="*/ 62442 h 1500756"/>
                <a:gd name="connsiteX232" fmla="*/ 425379 w 1034979"/>
                <a:gd name="connsiteY232" fmla="*/ 68157 h 1500756"/>
                <a:gd name="connsiteX233" fmla="*/ 429189 w 1034979"/>
                <a:gd name="connsiteY233" fmla="*/ 222462 h 1500756"/>
                <a:gd name="connsiteX234" fmla="*/ 440619 w 1034979"/>
                <a:gd name="connsiteY234" fmla="*/ 405342 h 1500756"/>
                <a:gd name="connsiteX235" fmla="*/ 425379 w 1034979"/>
                <a:gd name="connsiteY235" fmla="*/ 702522 h 1500756"/>
                <a:gd name="connsiteX236" fmla="*/ 417759 w 1034979"/>
                <a:gd name="connsiteY236" fmla="*/ 830157 h 1500756"/>
                <a:gd name="connsiteX237" fmla="*/ 413949 w 1034979"/>
                <a:gd name="connsiteY237" fmla="*/ 847302 h 1500756"/>
                <a:gd name="connsiteX238" fmla="*/ 417759 w 1034979"/>
                <a:gd name="connsiteY238" fmla="*/ 868257 h 1500756"/>
                <a:gd name="connsiteX239" fmla="*/ 421569 w 1034979"/>
                <a:gd name="connsiteY239" fmla="*/ 873972 h 1500756"/>
                <a:gd name="connsiteX240" fmla="*/ 425379 w 1034979"/>
                <a:gd name="connsiteY240" fmla="*/ 885402 h 1500756"/>
                <a:gd name="connsiteX241" fmla="*/ 423474 w 1034979"/>
                <a:gd name="connsiteY241" fmla="*/ 912072 h 1500756"/>
                <a:gd name="connsiteX242" fmla="*/ 417759 w 1034979"/>
                <a:gd name="connsiteY242" fmla="*/ 913977 h 1500756"/>
                <a:gd name="connsiteX243" fmla="*/ 412044 w 1034979"/>
                <a:gd name="connsiteY243" fmla="*/ 917787 h 1500756"/>
                <a:gd name="connsiteX244" fmla="*/ 421569 w 1034979"/>
                <a:gd name="connsiteY244" fmla="*/ 913977 h 1500756"/>
                <a:gd name="connsiteX0" fmla="*/ 421569 w 1034979"/>
                <a:gd name="connsiteY0" fmla="*/ 902362 h 1489141"/>
                <a:gd name="connsiteX1" fmla="*/ 421569 w 1034979"/>
                <a:gd name="connsiteY1" fmla="*/ 902362 h 1489141"/>
                <a:gd name="connsiteX2" fmla="*/ 394899 w 1034979"/>
                <a:gd name="connsiteY2" fmla="*/ 911887 h 1489141"/>
                <a:gd name="connsiteX3" fmla="*/ 387279 w 1034979"/>
                <a:gd name="connsiteY3" fmla="*/ 913792 h 1489141"/>
                <a:gd name="connsiteX4" fmla="*/ 356799 w 1034979"/>
                <a:gd name="connsiteY4" fmla="*/ 915697 h 1489141"/>
                <a:gd name="connsiteX5" fmla="*/ 351084 w 1034979"/>
                <a:gd name="connsiteY5" fmla="*/ 919507 h 1489141"/>
                <a:gd name="connsiteX6" fmla="*/ 339654 w 1034979"/>
                <a:gd name="connsiteY6" fmla="*/ 929032 h 1489141"/>
                <a:gd name="connsiteX7" fmla="*/ 328224 w 1034979"/>
                <a:gd name="connsiteY7" fmla="*/ 932842 h 1489141"/>
                <a:gd name="connsiteX8" fmla="*/ 312984 w 1034979"/>
                <a:gd name="connsiteY8" fmla="*/ 938557 h 1489141"/>
                <a:gd name="connsiteX9" fmla="*/ 265359 w 1034979"/>
                <a:gd name="connsiteY9" fmla="*/ 934747 h 1489141"/>
                <a:gd name="connsiteX10" fmla="*/ 253929 w 1034979"/>
                <a:gd name="connsiteY10" fmla="*/ 930937 h 1489141"/>
                <a:gd name="connsiteX11" fmla="*/ 242499 w 1034979"/>
                <a:gd name="connsiteY11" fmla="*/ 927127 h 1489141"/>
                <a:gd name="connsiteX12" fmla="*/ 236784 w 1034979"/>
                <a:gd name="connsiteY12" fmla="*/ 925222 h 1489141"/>
                <a:gd name="connsiteX13" fmla="*/ 231069 w 1034979"/>
                <a:gd name="connsiteY13" fmla="*/ 923317 h 1489141"/>
                <a:gd name="connsiteX14" fmla="*/ 219639 w 1034979"/>
                <a:gd name="connsiteY14" fmla="*/ 921412 h 1489141"/>
                <a:gd name="connsiteX15" fmla="*/ 213924 w 1034979"/>
                <a:gd name="connsiteY15" fmla="*/ 919507 h 1489141"/>
                <a:gd name="connsiteX16" fmla="*/ 206304 w 1034979"/>
                <a:gd name="connsiteY16" fmla="*/ 917602 h 1489141"/>
                <a:gd name="connsiteX17" fmla="*/ 194874 w 1034979"/>
                <a:gd name="connsiteY17" fmla="*/ 913792 h 1489141"/>
                <a:gd name="connsiteX18" fmla="*/ 189159 w 1034979"/>
                <a:gd name="connsiteY18" fmla="*/ 911887 h 1489141"/>
                <a:gd name="connsiteX19" fmla="*/ 181539 w 1034979"/>
                <a:gd name="connsiteY19" fmla="*/ 909982 h 1489141"/>
                <a:gd name="connsiteX20" fmla="*/ 170109 w 1034979"/>
                <a:gd name="connsiteY20" fmla="*/ 904267 h 1489141"/>
                <a:gd name="connsiteX21" fmla="*/ 164394 w 1034979"/>
                <a:gd name="connsiteY21" fmla="*/ 900457 h 1489141"/>
                <a:gd name="connsiteX22" fmla="*/ 156774 w 1034979"/>
                <a:gd name="connsiteY22" fmla="*/ 889027 h 1489141"/>
                <a:gd name="connsiteX23" fmla="*/ 145344 w 1034979"/>
                <a:gd name="connsiteY23" fmla="*/ 885217 h 1489141"/>
                <a:gd name="connsiteX24" fmla="*/ 139629 w 1034979"/>
                <a:gd name="connsiteY24" fmla="*/ 881407 h 1489141"/>
                <a:gd name="connsiteX25" fmla="*/ 133914 w 1034979"/>
                <a:gd name="connsiteY25" fmla="*/ 879502 h 1489141"/>
                <a:gd name="connsiteX26" fmla="*/ 116769 w 1034979"/>
                <a:gd name="connsiteY26" fmla="*/ 875692 h 1489141"/>
                <a:gd name="connsiteX27" fmla="*/ 111054 w 1034979"/>
                <a:gd name="connsiteY27" fmla="*/ 869977 h 1489141"/>
                <a:gd name="connsiteX28" fmla="*/ 101529 w 1034979"/>
                <a:gd name="connsiteY28" fmla="*/ 852832 h 1489141"/>
                <a:gd name="connsiteX29" fmla="*/ 84384 w 1034979"/>
                <a:gd name="connsiteY29" fmla="*/ 845212 h 1489141"/>
                <a:gd name="connsiteX30" fmla="*/ 78669 w 1034979"/>
                <a:gd name="connsiteY30" fmla="*/ 843307 h 1489141"/>
                <a:gd name="connsiteX31" fmla="*/ 59619 w 1034979"/>
                <a:gd name="connsiteY31" fmla="*/ 847117 h 1489141"/>
                <a:gd name="connsiteX32" fmla="*/ 53904 w 1034979"/>
                <a:gd name="connsiteY32" fmla="*/ 850927 h 1489141"/>
                <a:gd name="connsiteX33" fmla="*/ 50094 w 1034979"/>
                <a:gd name="connsiteY33" fmla="*/ 856642 h 1489141"/>
                <a:gd name="connsiteX34" fmla="*/ 46284 w 1034979"/>
                <a:gd name="connsiteY34" fmla="*/ 868072 h 1489141"/>
                <a:gd name="connsiteX35" fmla="*/ 50094 w 1034979"/>
                <a:gd name="connsiteY35" fmla="*/ 906172 h 1489141"/>
                <a:gd name="connsiteX36" fmla="*/ 53904 w 1034979"/>
                <a:gd name="connsiteY36" fmla="*/ 911887 h 1489141"/>
                <a:gd name="connsiteX37" fmla="*/ 59619 w 1034979"/>
                <a:gd name="connsiteY37" fmla="*/ 915697 h 1489141"/>
                <a:gd name="connsiteX38" fmla="*/ 63429 w 1034979"/>
                <a:gd name="connsiteY38" fmla="*/ 921412 h 1489141"/>
                <a:gd name="connsiteX39" fmla="*/ 80574 w 1034979"/>
                <a:gd name="connsiteY39" fmla="*/ 930937 h 1489141"/>
                <a:gd name="connsiteX40" fmla="*/ 103434 w 1034979"/>
                <a:gd name="connsiteY40" fmla="*/ 932842 h 1489141"/>
                <a:gd name="connsiteX41" fmla="*/ 124389 w 1034979"/>
                <a:gd name="connsiteY41" fmla="*/ 938557 h 1489141"/>
                <a:gd name="connsiteX42" fmla="*/ 130104 w 1034979"/>
                <a:gd name="connsiteY42" fmla="*/ 940462 h 1489141"/>
                <a:gd name="connsiteX43" fmla="*/ 135819 w 1034979"/>
                <a:gd name="connsiteY43" fmla="*/ 946177 h 1489141"/>
                <a:gd name="connsiteX44" fmla="*/ 143439 w 1034979"/>
                <a:gd name="connsiteY44" fmla="*/ 948082 h 1489141"/>
                <a:gd name="connsiteX45" fmla="*/ 166299 w 1034979"/>
                <a:gd name="connsiteY45" fmla="*/ 951892 h 1489141"/>
                <a:gd name="connsiteX46" fmla="*/ 191064 w 1034979"/>
                <a:gd name="connsiteY46" fmla="*/ 957607 h 1489141"/>
                <a:gd name="connsiteX47" fmla="*/ 208209 w 1034979"/>
                <a:gd name="connsiteY47" fmla="*/ 963322 h 1489141"/>
                <a:gd name="connsiteX48" fmla="*/ 213924 w 1034979"/>
                <a:gd name="connsiteY48" fmla="*/ 965227 h 1489141"/>
                <a:gd name="connsiteX49" fmla="*/ 229164 w 1034979"/>
                <a:gd name="connsiteY49" fmla="*/ 969037 h 1489141"/>
                <a:gd name="connsiteX50" fmla="*/ 248214 w 1034979"/>
                <a:gd name="connsiteY50" fmla="*/ 974752 h 1489141"/>
                <a:gd name="connsiteX51" fmla="*/ 253929 w 1034979"/>
                <a:gd name="connsiteY51" fmla="*/ 978562 h 1489141"/>
                <a:gd name="connsiteX52" fmla="*/ 267264 w 1034979"/>
                <a:gd name="connsiteY52" fmla="*/ 993802 h 1489141"/>
                <a:gd name="connsiteX53" fmla="*/ 272979 w 1034979"/>
                <a:gd name="connsiteY53" fmla="*/ 1012852 h 1489141"/>
                <a:gd name="connsiteX54" fmla="*/ 274884 w 1034979"/>
                <a:gd name="connsiteY54" fmla="*/ 1018567 h 1489141"/>
                <a:gd name="connsiteX55" fmla="*/ 276789 w 1034979"/>
                <a:gd name="connsiteY55" fmla="*/ 1024282 h 1489141"/>
                <a:gd name="connsiteX56" fmla="*/ 278694 w 1034979"/>
                <a:gd name="connsiteY56" fmla="*/ 1049047 h 1489141"/>
                <a:gd name="connsiteX57" fmla="*/ 280599 w 1034979"/>
                <a:gd name="connsiteY57" fmla="*/ 1054762 h 1489141"/>
                <a:gd name="connsiteX58" fmla="*/ 278694 w 1034979"/>
                <a:gd name="connsiteY58" fmla="*/ 1073812 h 1489141"/>
                <a:gd name="connsiteX59" fmla="*/ 276789 w 1034979"/>
                <a:gd name="connsiteY59" fmla="*/ 1083337 h 1489141"/>
                <a:gd name="connsiteX60" fmla="*/ 263454 w 1034979"/>
                <a:gd name="connsiteY60" fmla="*/ 1096672 h 1489141"/>
                <a:gd name="connsiteX61" fmla="*/ 252024 w 1034979"/>
                <a:gd name="connsiteY61" fmla="*/ 1104292 h 1489141"/>
                <a:gd name="connsiteX62" fmla="*/ 240594 w 1034979"/>
                <a:gd name="connsiteY62" fmla="*/ 1108102 h 1489141"/>
                <a:gd name="connsiteX63" fmla="*/ 126294 w 1034979"/>
                <a:gd name="connsiteY63" fmla="*/ 1108102 h 1489141"/>
                <a:gd name="connsiteX64" fmla="*/ 120579 w 1034979"/>
                <a:gd name="connsiteY64" fmla="*/ 1110007 h 1489141"/>
                <a:gd name="connsiteX65" fmla="*/ 105339 w 1034979"/>
                <a:gd name="connsiteY65" fmla="*/ 1111912 h 1489141"/>
                <a:gd name="connsiteX66" fmla="*/ 88194 w 1034979"/>
                <a:gd name="connsiteY66" fmla="*/ 1117627 h 1489141"/>
                <a:gd name="connsiteX67" fmla="*/ 82479 w 1034979"/>
                <a:gd name="connsiteY67" fmla="*/ 1119532 h 1489141"/>
                <a:gd name="connsiteX68" fmla="*/ 76764 w 1034979"/>
                <a:gd name="connsiteY68" fmla="*/ 1123342 h 1489141"/>
                <a:gd name="connsiteX69" fmla="*/ 65334 w 1034979"/>
                <a:gd name="connsiteY69" fmla="*/ 1125247 h 1489141"/>
                <a:gd name="connsiteX70" fmla="*/ 27234 w 1034979"/>
                <a:gd name="connsiteY70" fmla="*/ 1127152 h 1489141"/>
                <a:gd name="connsiteX71" fmla="*/ 15804 w 1034979"/>
                <a:gd name="connsiteY71" fmla="*/ 1132867 h 1489141"/>
                <a:gd name="connsiteX72" fmla="*/ 6279 w 1034979"/>
                <a:gd name="connsiteY72" fmla="*/ 1142392 h 1489141"/>
                <a:gd name="connsiteX73" fmla="*/ 4374 w 1034979"/>
                <a:gd name="connsiteY73" fmla="*/ 1148107 h 1489141"/>
                <a:gd name="connsiteX74" fmla="*/ 564 w 1034979"/>
                <a:gd name="connsiteY74" fmla="*/ 1153822 h 1489141"/>
                <a:gd name="connsiteX75" fmla="*/ 6279 w 1034979"/>
                <a:gd name="connsiteY75" fmla="*/ 1186207 h 1489141"/>
                <a:gd name="connsiteX76" fmla="*/ 11994 w 1034979"/>
                <a:gd name="connsiteY76" fmla="*/ 1190017 h 1489141"/>
                <a:gd name="connsiteX77" fmla="*/ 17709 w 1034979"/>
                <a:gd name="connsiteY77" fmla="*/ 1191922 h 1489141"/>
                <a:gd name="connsiteX78" fmla="*/ 145344 w 1034979"/>
                <a:gd name="connsiteY78" fmla="*/ 1190017 h 1489141"/>
                <a:gd name="connsiteX79" fmla="*/ 152964 w 1034979"/>
                <a:gd name="connsiteY79" fmla="*/ 1188112 h 1489141"/>
                <a:gd name="connsiteX80" fmla="*/ 303459 w 1034979"/>
                <a:gd name="connsiteY80" fmla="*/ 1182397 h 1489141"/>
                <a:gd name="connsiteX81" fmla="*/ 318699 w 1034979"/>
                <a:gd name="connsiteY81" fmla="*/ 1190017 h 1489141"/>
                <a:gd name="connsiteX82" fmla="*/ 330129 w 1034979"/>
                <a:gd name="connsiteY82" fmla="*/ 1195732 h 1489141"/>
                <a:gd name="connsiteX83" fmla="*/ 333939 w 1034979"/>
                <a:gd name="connsiteY83" fmla="*/ 1201447 h 1489141"/>
                <a:gd name="connsiteX84" fmla="*/ 339654 w 1034979"/>
                <a:gd name="connsiteY84" fmla="*/ 1203352 h 1489141"/>
                <a:gd name="connsiteX85" fmla="*/ 351084 w 1034979"/>
                <a:gd name="connsiteY85" fmla="*/ 1210972 h 1489141"/>
                <a:gd name="connsiteX86" fmla="*/ 356799 w 1034979"/>
                <a:gd name="connsiteY86" fmla="*/ 1214782 h 1489141"/>
                <a:gd name="connsiteX87" fmla="*/ 360609 w 1034979"/>
                <a:gd name="connsiteY87" fmla="*/ 1220497 h 1489141"/>
                <a:gd name="connsiteX88" fmla="*/ 366324 w 1034979"/>
                <a:gd name="connsiteY88" fmla="*/ 1231927 h 1489141"/>
                <a:gd name="connsiteX89" fmla="*/ 362514 w 1034979"/>
                <a:gd name="connsiteY89" fmla="*/ 1258597 h 1489141"/>
                <a:gd name="connsiteX90" fmla="*/ 358704 w 1034979"/>
                <a:gd name="connsiteY90" fmla="*/ 1264312 h 1489141"/>
                <a:gd name="connsiteX91" fmla="*/ 356799 w 1034979"/>
                <a:gd name="connsiteY91" fmla="*/ 1270027 h 1489141"/>
                <a:gd name="connsiteX92" fmla="*/ 352989 w 1034979"/>
                <a:gd name="connsiteY92" fmla="*/ 1275742 h 1489141"/>
                <a:gd name="connsiteX93" fmla="*/ 351084 w 1034979"/>
                <a:gd name="connsiteY93" fmla="*/ 1281457 h 1489141"/>
                <a:gd name="connsiteX94" fmla="*/ 347274 w 1034979"/>
                <a:gd name="connsiteY94" fmla="*/ 1287172 h 1489141"/>
                <a:gd name="connsiteX95" fmla="*/ 330129 w 1034979"/>
                <a:gd name="connsiteY95" fmla="*/ 1353847 h 1489141"/>
                <a:gd name="connsiteX96" fmla="*/ 328224 w 1034979"/>
                <a:gd name="connsiteY96" fmla="*/ 1405282 h 1489141"/>
                <a:gd name="connsiteX97" fmla="*/ 330129 w 1034979"/>
                <a:gd name="connsiteY97" fmla="*/ 1430047 h 1489141"/>
                <a:gd name="connsiteX98" fmla="*/ 332034 w 1034979"/>
                <a:gd name="connsiteY98" fmla="*/ 1435762 h 1489141"/>
                <a:gd name="connsiteX99" fmla="*/ 335844 w 1034979"/>
                <a:gd name="connsiteY99" fmla="*/ 1439572 h 1489141"/>
                <a:gd name="connsiteX100" fmla="*/ 364419 w 1034979"/>
                <a:gd name="connsiteY100" fmla="*/ 1485292 h 1489141"/>
                <a:gd name="connsiteX101" fmla="*/ 387279 w 1034979"/>
                <a:gd name="connsiteY101" fmla="*/ 1487197 h 1489141"/>
                <a:gd name="connsiteX102" fmla="*/ 392994 w 1034979"/>
                <a:gd name="connsiteY102" fmla="*/ 1481482 h 1489141"/>
                <a:gd name="connsiteX103" fmla="*/ 394899 w 1034979"/>
                <a:gd name="connsiteY103" fmla="*/ 1470052 h 1489141"/>
                <a:gd name="connsiteX104" fmla="*/ 396804 w 1034979"/>
                <a:gd name="connsiteY104" fmla="*/ 1464337 h 1489141"/>
                <a:gd name="connsiteX105" fmla="*/ 398709 w 1034979"/>
                <a:gd name="connsiteY105" fmla="*/ 1447192 h 1489141"/>
                <a:gd name="connsiteX106" fmla="*/ 400614 w 1034979"/>
                <a:gd name="connsiteY106" fmla="*/ 1433857 h 1489141"/>
                <a:gd name="connsiteX107" fmla="*/ 404424 w 1034979"/>
                <a:gd name="connsiteY107" fmla="*/ 1376707 h 1489141"/>
                <a:gd name="connsiteX108" fmla="*/ 410139 w 1034979"/>
                <a:gd name="connsiteY108" fmla="*/ 1365277 h 1489141"/>
                <a:gd name="connsiteX109" fmla="*/ 413949 w 1034979"/>
                <a:gd name="connsiteY109" fmla="*/ 1351942 h 1489141"/>
                <a:gd name="connsiteX110" fmla="*/ 415854 w 1034979"/>
                <a:gd name="connsiteY110" fmla="*/ 1346227 h 1489141"/>
                <a:gd name="connsiteX111" fmla="*/ 417759 w 1034979"/>
                <a:gd name="connsiteY111" fmla="*/ 1332892 h 1489141"/>
                <a:gd name="connsiteX112" fmla="*/ 421569 w 1034979"/>
                <a:gd name="connsiteY112" fmla="*/ 1321462 h 1489141"/>
                <a:gd name="connsiteX113" fmla="*/ 427284 w 1034979"/>
                <a:gd name="connsiteY113" fmla="*/ 1308127 h 1489141"/>
                <a:gd name="connsiteX114" fmla="*/ 436809 w 1034979"/>
                <a:gd name="connsiteY114" fmla="*/ 1296697 h 1489141"/>
                <a:gd name="connsiteX115" fmla="*/ 450144 w 1034979"/>
                <a:gd name="connsiteY115" fmla="*/ 1281457 h 1489141"/>
                <a:gd name="connsiteX116" fmla="*/ 457764 w 1034979"/>
                <a:gd name="connsiteY116" fmla="*/ 1270027 h 1489141"/>
                <a:gd name="connsiteX117" fmla="*/ 461574 w 1034979"/>
                <a:gd name="connsiteY117" fmla="*/ 1258597 h 1489141"/>
                <a:gd name="connsiteX118" fmla="*/ 465384 w 1034979"/>
                <a:gd name="connsiteY118" fmla="*/ 1243357 h 1489141"/>
                <a:gd name="connsiteX119" fmla="*/ 467289 w 1034979"/>
                <a:gd name="connsiteY119" fmla="*/ 1237642 h 1489141"/>
                <a:gd name="connsiteX120" fmla="*/ 507294 w 1034979"/>
                <a:gd name="connsiteY120" fmla="*/ 1231927 h 1489141"/>
                <a:gd name="connsiteX121" fmla="*/ 535869 w 1034979"/>
                <a:gd name="connsiteY121" fmla="*/ 1222402 h 1489141"/>
                <a:gd name="connsiteX122" fmla="*/ 541584 w 1034979"/>
                <a:gd name="connsiteY122" fmla="*/ 1220497 h 1489141"/>
                <a:gd name="connsiteX123" fmla="*/ 547299 w 1034979"/>
                <a:gd name="connsiteY123" fmla="*/ 1218592 h 1489141"/>
                <a:gd name="connsiteX124" fmla="*/ 554919 w 1034979"/>
                <a:gd name="connsiteY124" fmla="*/ 1216687 h 1489141"/>
                <a:gd name="connsiteX125" fmla="*/ 573969 w 1034979"/>
                <a:gd name="connsiteY125" fmla="*/ 1209067 h 1489141"/>
                <a:gd name="connsiteX126" fmla="*/ 585399 w 1034979"/>
                <a:gd name="connsiteY126" fmla="*/ 1205257 h 1489141"/>
                <a:gd name="connsiteX127" fmla="*/ 720654 w 1034979"/>
                <a:gd name="connsiteY127" fmla="*/ 1289077 h 1489141"/>
                <a:gd name="connsiteX128" fmla="*/ 733989 w 1034979"/>
                <a:gd name="connsiteY128" fmla="*/ 1298602 h 1489141"/>
                <a:gd name="connsiteX129" fmla="*/ 743514 w 1034979"/>
                <a:gd name="connsiteY129" fmla="*/ 1300507 h 1489141"/>
                <a:gd name="connsiteX130" fmla="*/ 749229 w 1034979"/>
                <a:gd name="connsiteY130" fmla="*/ 1302412 h 1489141"/>
                <a:gd name="connsiteX131" fmla="*/ 762564 w 1034979"/>
                <a:gd name="connsiteY131" fmla="*/ 1308127 h 1489141"/>
                <a:gd name="connsiteX132" fmla="*/ 777804 w 1034979"/>
                <a:gd name="connsiteY132" fmla="*/ 1306222 h 1489141"/>
                <a:gd name="connsiteX133" fmla="*/ 789234 w 1034979"/>
                <a:gd name="connsiteY133" fmla="*/ 1300507 h 1489141"/>
                <a:gd name="connsiteX134" fmla="*/ 794949 w 1034979"/>
                <a:gd name="connsiteY134" fmla="*/ 1298602 h 1489141"/>
                <a:gd name="connsiteX135" fmla="*/ 802569 w 1034979"/>
                <a:gd name="connsiteY135" fmla="*/ 1281457 h 1489141"/>
                <a:gd name="connsiteX136" fmla="*/ 800664 w 1034979"/>
                <a:gd name="connsiteY136" fmla="*/ 1256692 h 1489141"/>
                <a:gd name="connsiteX137" fmla="*/ 798759 w 1034979"/>
                <a:gd name="connsiteY137" fmla="*/ 1250977 h 1489141"/>
                <a:gd name="connsiteX138" fmla="*/ 796854 w 1034979"/>
                <a:gd name="connsiteY138" fmla="*/ 1243357 h 1489141"/>
                <a:gd name="connsiteX139" fmla="*/ 783519 w 1034979"/>
                <a:gd name="connsiteY139" fmla="*/ 1226212 h 1489141"/>
                <a:gd name="connsiteX140" fmla="*/ 773994 w 1034979"/>
                <a:gd name="connsiteY140" fmla="*/ 1220497 h 1489141"/>
                <a:gd name="connsiteX141" fmla="*/ 648264 w 1034979"/>
                <a:gd name="connsiteY141" fmla="*/ 1129057 h 1489141"/>
                <a:gd name="connsiteX142" fmla="*/ 644454 w 1034979"/>
                <a:gd name="connsiteY142" fmla="*/ 1111912 h 1489141"/>
                <a:gd name="connsiteX143" fmla="*/ 646359 w 1034979"/>
                <a:gd name="connsiteY143" fmla="*/ 1104292 h 1489141"/>
                <a:gd name="connsiteX144" fmla="*/ 650169 w 1034979"/>
                <a:gd name="connsiteY144" fmla="*/ 1087147 h 1489141"/>
                <a:gd name="connsiteX145" fmla="*/ 653979 w 1034979"/>
                <a:gd name="connsiteY145" fmla="*/ 1081432 h 1489141"/>
                <a:gd name="connsiteX146" fmla="*/ 655884 w 1034979"/>
                <a:gd name="connsiteY146" fmla="*/ 1075717 h 1489141"/>
                <a:gd name="connsiteX147" fmla="*/ 661599 w 1034979"/>
                <a:gd name="connsiteY147" fmla="*/ 1073812 h 1489141"/>
                <a:gd name="connsiteX148" fmla="*/ 671124 w 1034979"/>
                <a:gd name="connsiteY148" fmla="*/ 1062382 h 1489141"/>
                <a:gd name="connsiteX149" fmla="*/ 724464 w 1034979"/>
                <a:gd name="connsiteY149" fmla="*/ 1054762 h 1489141"/>
                <a:gd name="connsiteX150" fmla="*/ 842574 w 1034979"/>
                <a:gd name="connsiteY150" fmla="*/ 1056667 h 1489141"/>
                <a:gd name="connsiteX151" fmla="*/ 871149 w 1034979"/>
                <a:gd name="connsiteY151" fmla="*/ 1058572 h 1489141"/>
                <a:gd name="connsiteX152" fmla="*/ 899724 w 1034979"/>
                <a:gd name="connsiteY152" fmla="*/ 1064287 h 1489141"/>
                <a:gd name="connsiteX153" fmla="*/ 922584 w 1034979"/>
                <a:gd name="connsiteY153" fmla="*/ 1068097 h 1489141"/>
                <a:gd name="connsiteX154" fmla="*/ 951159 w 1034979"/>
                <a:gd name="connsiteY154" fmla="*/ 1073812 h 1489141"/>
                <a:gd name="connsiteX155" fmla="*/ 956874 w 1034979"/>
                <a:gd name="connsiteY155" fmla="*/ 1073812 h 1489141"/>
                <a:gd name="connsiteX156" fmla="*/ 1002594 w 1034979"/>
                <a:gd name="connsiteY156" fmla="*/ 1071907 h 1489141"/>
                <a:gd name="connsiteX157" fmla="*/ 1031169 w 1034979"/>
                <a:gd name="connsiteY157" fmla="*/ 1064287 h 1489141"/>
                <a:gd name="connsiteX158" fmla="*/ 1034979 w 1034979"/>
                <a:gd name="connsiteY158" fmla="*/ 1058572 h 1489141"/>
                <a:gd name="connsiteX159" fmla="*/ 1033074 w 1034979"/>
                <a:gd name="connsiteY159" fmla="*/ 1039522 h 1489141"/>
                <a:gd name="connsiteX160" fmla="*/ 1027359 w 1034979"/>
                <a:gd name="connsiteY160" fmla="*/ 1035712 h 1489141"/>
                <a:gd name="connsiteX161" fmla="*/ 1012119 w 1034979"/>
                <a:gd name="connsiteY161" fmla="*/ 1033807 h 1489141"/>
                <a:gd name="connsiteX162" fmla="*/ 1006404 w 1034979"/>
                <a:gd name="connsiteY162" fmla="*/ 1031902 h 1489141"/>
                <a:gd name="connsiteX163" fmla="*/ 998784 w 1034979"/>
                <a:gd name="connsiteY163" fmla="*/ 1029997 h 1489141"/>
                <a:gd name="connsiteX164" fmla="*/ 987354 w 1034979"/>
                <a:gd name="connsiteY164" fmla="*/ 1022377 h 1489141"/>
                <a:gd name="connsiteX165" fmla="*/ 975924 w 1034979"/>
                <a:gd name="connsiteY165" fmla="*/ 1018567 h 1489141"/>
                <a:gd name="connsiteX166" fmla="*/ 970209 w 1034979"/>
                <a:gd name="connsiteY166" fmla="*/ 1016662 h 1489141"/>
                <a:gd name="connsiteX167" fmla="*/ 962589 w 1034979"/>
                <a:gd name="connsiteY167" fmla="*/ 1014757 h 1489141"/>
                <a:gd name="connsiteX168" fmla="*/ 956874 w 1034979"/>
                <a:gd name="connsiteY168" fmla="*/ 1012852 h 1489141"/>
                <a:gd name="connsiteX169" fmla="*/ 935919 w 1034979"/>
                <a:gd name="connsiteY169" fmla="*/ 1007137 h 1489141"/>
                <a:gd name="connsiteX170" fmla="*/ 930204 w 1034979"/>
                <a:gd name="connsiteY170" fmla="*/ 1005232 h 1489141"/>
                <a:gd name="connsiteX171" fmla="*/ 825429 w 1034979"/>
                <a:gd name="connsiteY171" fmla="*/ 1007137 h 1489141"/>
                <a:gd name="connsiteX172" fmla="*/ 819714 w 1034979"/>
                <a:gd name="connsiteY172" fmla="*/ 1009042 h 1489141"/>
                <a:gd name="connsiteX173" fmla="*/ 730179 w 1034979"/>
                <a:gd name="connsiteY173" fmla="*/ 1010947 h 1489141"/>
                <a:gd name="connsiteX174" fmla="*/ 716844 w 1034979"/>
                <a:gd name="connsiteY174" fmla="*/ 1014757 h 1489141"/>
                <a:gd name="connsiteX175" fmla="*/ 695889 w 1034979"/>
                <a:gd name="connsiteY175" fmla="*/ 1016662 h 1489141"/>
                <a:gd name="connsiteX176" fmla="*/ 669219 w 1034979"/>
                <a:gd name="connsiteY176" fmla="*/ 1018567 h 1489141"/>
                <a:gd name="connsiteX177" fmla="*/ 669219 w 1034979"/>
                <a:gd name="connsiteY177" fmla="*/ 1018567 h 1489141"/>
                <a:gd name="connsiteX178" fmla="*/ 646359 w 1034979"/>
                <a:gd name="connsiteY178" fmla="*/ 1022377 h 1489141"/>
                <a:gd name="connsiteX179" fmla="*/ 642549 w 1034979"/>
                <a:gd name="connsiteY179" fmla="*/ 1010947 h 1489141"/>
                <a:gd name="connsiteX180" fmla="*/ 640644 w 1034979"/>
                <a:gd name="connsiteY180" fmla="*/ 1005232 h 1489141"/>
                <a:gd name="connsiteX181" fmla="*/ 642549 w 1034979"/>
                <a:gd name="connsiteY181" fmla="*/ 988087 h 1489141"/>
                <a:gd name="connsiteX182" fmla="*/ 644454 w 1034979"/>
                <a:gd name="connsiteY182" fmla="*/ 982372 h 1489141"/>
                <a:gd name="connsiteX183" fmla="*/ 661599 w 1034979"/>
                <a:gd name="connsiteY183" fmla="*/ 972847 h 1489141"/>
                <a:gd name="connsiteX184" fmla="*/ 673029 w 1034979"/>
                <a:gd name="connsiteY184" fmla="*/ 965227 h 1489141"/>
                <a:gd name="connsiteX185" fmla="*/ 674934 w 1034979"/>
                <a:gd name="connsiteY185" fmla="*/ 959512 h 1489141"/>
                <a:gd name="connsiteX186" fmla="*/ 680649 w 1034979"/>
                <a:gd name="connsiteY186" fmla="*/ 957607 h 1489141"/>
                <a:gd name="connsiteX187" fmla="*/ 686364 w 1034979"/>
                <a:gd name="connsiteY187" fmla="*/ 953797 h 1489141"/>
                <a:gd name="connsiteX188" fmla="*/ 695889 w 1034979"/>
                <a:gd name="connsiteY188" fmla="*/ 944272 h 1489141"/>
                <a:gd name="connsiteX189" fmla="*/ 705414 w 1034979"/>
                <a:gd name="connsiteY189" fmla="*/ 932842 h 1489141"/>
                <a:gd name="connsiteX190" fmla="*/ 716844 w 1034979"/>
                <a:gd name="connsiteY190" fmla="*/ 925222 h 1489141"/>
                <a:gd name="connsiteX191" fmla="*/ 732084 w 1034979"/>
                <a:gd name="connsiteY191" fmla="*/ 911887 h 1489141"/>
                <a:gd name="connsiteX192" fmla="*/ 741609 w 1034979"/>
                <a:gd name="connsiteY192" fmla="*/ 900457 h 1489141"/>
                <a:gd name="connsiteX193" fmla="*/ 753039 w 1034979"/>
                <a:gd name="connsiteY193" fmla="*/ 890932 h 1489141"/>
                <a:gd name="connsiteX194" fmla="*/ 758754 w 1034979"/>
                <a:gd name="connsiteY194" fmla="*/ 879502 h 1489141"/>
                <a:gd name="connsiteX195" fmla="*/ 760659 w 1034979"/>
                <a:gd name="connsiteY195" fmla="*/ 873787 h 1489141"/>
                <a:gd name="connsiteX196" fmla="*/ 766374 w 1034979"/>
                <a:gd name="connsiteY196" fmla="*/ 862357 h 1489141"/>
                <a:gd name="connsiteX197" fmla="*/ 764469 w 1034979"/>
                <a:gd name="connsiteY197" fmla="*/ 847117 h 1489141"/>
                <a:gd name="connsiteX198" fmla="*/ 758754 w 1034979"/>
                <a:gd name="connsiteY198" fmla="*/ 845212 h 1489141"/>
                <a:gd name="connsiteX199" fmla="*/ 737799 w 1034979"/>
                <a:gd name="connsiteY199" fmla="*/ 847117 h 1489141"/>
                <a:gd name="connsiteX200" fmla="*/ 732084 w 1034979"/>
                <a:gd name="connsiteY200" fmla="*/ 850927 h 1489141"/>
                <a:gd name="connsiteX201" fmla="*/ 720654 w 1034979"/>
                <a:gd name="connsiteY201" fmla="*/ 854737 h 1489141"/>
                <a:gd name="connsiteX202" fmla="*/ 716844 w 1034979"/>
                <a:gd name="connsiteY202" fmla="*/ 860452 h 1489141"/>
                <a:gd name="connsiteX203" fmla="*/ 711129 w 1034979"/>
                <a:gd name="connsiteY203" fmla="*/ 862357 h 1489141"/>
                <a:gd name="connsiteX204" fmla="*/ 705414 w 1034979"/>
                <a:gd name="connsiteY204" fmla="*/ 866167 h 1489141"/>
                <a:gd name="connsiteX205" fmla="*/ 699699 w 1034979"/>
                <a:gd name="connsiteY205" fmla="*/ 871882 h 1489141"/>
                <a:gd name="connsiteX206" fmla="*/ 692079 w 1034979"/>
                <a:gd name="connsiteY206" fmla="*/ 875692 h 1489141"/>
                <a:gd name="connsiteX207" fmla="*/ 650169 w 1034979"/>
                <a:gd name="connsiteY207" fmla="*/ 904267 h 1489141"/>
                <a:gd name="connsiteX208" fmla="*/ 636834 w 1034979"/>
                <a:gd name="connsiteY208" fmla="*/ 915697 h 1489141"/>
                <a:gd name="connsiteX209" fmla="*/ 627309 w 1034979"/>
                <a:gd name="connsiteY209" fmla="*/ 932842 h 1489141"/>
                <a:gd name="connsiteX210" fmla="*/ 602544 w 1034979"/>
                <a:gd name="connsiteY210" fmla="*/ 938557 h 1489141"/>
                <a:gd name="connsiteX211" fmla="*/ 589209 w 1034979"/>
                <a:gd name="connsiteY211" fmla="*/ 942367 h 1489141"/>
                <a:gd name="connsiteX212" fmla="*/ 573969 w 1034979"/>
                <a:gd name="connsiteY212" fmla="*/ 940462 h 1489141"/>
                <a:gd name="connsiteX213" fmla="*/ 562539 w 1034979"/>
                <a:gd name="connsiteY213" fmla="*/ 936652 h 1489141"/>
                <a:gd name="connsiteX214" fmla="*/ 551109 w 1034979"/>
                <a:gd name="connsiteY214" fmla="*/ 932842 h 1489141"/>
                <a:gd name="connsiteX215" fmla="*/ 539679 w 1034979"/>
                <a:gd name="connsiteY215" fmla="*/ 929032 h 1489141"/>
                <a:gd name="connsiteX216" fmla="*/ 533964 w 1034979"/>
                <a:gd name="connsiteY216" fmla="*/ 927127 h 1489141"/>
                <a:gd name="connsiteX217" fmla="*/ 528249 w 1034979"/>
                <a:gd name="connsiteY217" fmla="*/ 923317 h 1489141"/>
                <a:gd name="connsiteX218" fmla="*/ 516819 w 1034979"/>
                <a:gd name="connsiteY218" fmla="*/ 917602 h 1489141"/>
                <a:gd name="connsiteX219" fmla="*/ 509199 w 1034979"/>
                <a:gd name="connsiteY219" fmla="*/ 906172 h 1489141"/>
                <a:gd name="connsiteX220" fmla="*/ 505389 w 1034979"/>
                <a:gd name="connsiteY220" fmla="*/ 885217 h 1489141"/>
                <a:gd name="connsiteX221" fmla="*/ 507294 w 1034979"/>
                <a:gd name="connsiteY221" fmla="*/ 820447 h 1489141"/>
                <a:gd name="connsiteX222" fmla="*/ 513009 w 1034979"/>
                <a:gd name="connsiteY222" fmla="*/ 807112 h 1489141"/>
                <a:gd name="connsiteX223" fmla="*/ 503484 w 1034979"/>
                <a:gd name="connsiteY223" fmla="*/ 330862 h 1489141"/>
                <a:gd name="connsiteX224" fmla="*/ 499674 w 1034979"/>
                <a:gd name="connsiteY224" fmla="*/ 39397 h 1489141"/>
                <a:gd name="connsiteX225" fmla="*/ 490149 w 1034979"/>
                <a:gd name="connsiteY225" fmla="*/ 12727 h 1489141"/>
                <a:gd name="connsiteX226" fmla="*/ 488244 w 1034979"/>
                <a:gd name="connsiteY226" fmla="*/ 7012 h 1489141"/>
                <a:gd name="connsiteX227" fmla="*/ 484434 w 1034979"/>
                <a:gd name="connsiteY227" fmla="*/ 1297 h 1489141"/>
                <a:gd name="connsiteX228" fmla="*/ 419664 w 1034979"/>
                <a:gd name="connsiteY228" fmla="*/ 33682 h 1489141"/>
                <a:gd name="connsiteX229" fmla="*/ 423474 w 1034979"/>
                <a:gd name="connsiteY229" fmla="*/ 45112 h 1489141"/>
                <a:gd name="connsiteX230" fmla="*/ 425379 w 1034979"/>
                <a:gd name="connsiteY230" fmla="*/ 50827 h 1489141"/>
                <a:gd name="connsiteX231" fmla="*/ 425379 w 1034979"/>
                <a:gd name="connsiteY231" fmla="*/ 56542 h 1489141"/>
                <a:gd name="connsiteX232" fmla="*/ 429189 w 1034979"/>
                <a:gd name="connsiteY232" fmla="*/ 210847 h 1489141"/>
                <a:gd name="connsiteX233" fmla="*/ 440619 w 1034979"/>
                <a:gd name="connsiteY233" fmla="*/ 393727 h 1489141"/>
                <a:gd name="connsiteX234" fmla="*/ 425379 w 1034979"/>
                <a:gd name="connsiteY234" fmla="*/ 690907 h 1489141"/>
                <a:gd name="connsiteX235" fmla="*/ 417759 w 1034979"/>
                <a:gd name="connsiteY235" fmla="*/ 818542 h 1489141"/>
                <a:gd name="connsiteX236" fmla="*/ 413949 w 1034979"/>
                <a:gd name="connsiteY236" fmla="*/ 835687 h 1489141"/>
                <a:gd name="connsiteX237" fmla="*/ 417759 w 1034979"/>
                <a:gd name="connsiteY237" fmla="*/ 856642 h 1489141"/>
                <a:gd name="connsiteX238" fmla="*/ 421569 w 1034979"/>
                <a:gd name="connsiteY238" fmla="*/ 862357 h 1489141"/>
                <a:gd name="connsiteX239" fmla="*/ 425379 w 1034979"/>
                <a:gd name="connsiteY239" fmla="*/ 873787 h 1489141"/>
                <a:gd name="connsiteX240" fmla="*/ 423474 w 1034979"/>
                <a:gd name="connsiteY240" fmla="*/ 900457 h 1489141"/>
                <a:gd name="connsiteX241" fmla="*/ 417759 w 1034979"/>
                <a:gd name="connsiteY241" fmla="*/ 902362 h 1489141"/>
                <a:gd name="connsiteX242" fmla="*/ 412044 w 1034979"/>
                <a:gd name="connsiteY242" fmla="*/ 906172 h 1489141"/>
                <a:gd name="connsiteX243" fmla="*/ 421569 w 1034979"/>
                <a:gd name="connsiteY243" fmla="*/ 902362 h 1489141"/>
                <a:gd name="connsiteX0" fmla="*/ 421569 w 1034979"/>
                <a:gd name="connsiteY0" fmla="*/ 902362 h 1489141"/>
                <a:gd name="connsiteX1" fmla="*/ 421569 w 1034979"/>
                <a:gd name="connsiteY1" fmla="*/ 902362 h 1489141"/>
                <a:gd name="connsiteX2" fmla="*/ 394899 w 1034979"/>
                <a:gd name="connsiteY2" fmla="*/ 911887 h 1489141"/>
                <a:gd name="connsiteX3" fmla="*/ 387279 w 1034979"/>
                <a:gd name="connsiteY3" fmla="*/ 913792 h 1489141"/>
                <a:gd name="connsiteX4" fmla="*/ 356799 w 1034979"/>
                <a:gd name="connsiteY4" fmla="*/ 915697 h 1489141"/>
                <a:gd name="connsiteX5" fmla="*/ 351084 w 1034979"/>
                <a:gd name="connsiteY5" fmla="*/ 919507 h 1489141"/>
                <a:gd name="connsiteX6" fmla="*/ 339654 w 1034979"/>
                <a:gd name="connsiteY6" fmla="*/ 929032 h 1489141"/>
                <a:gd name="connsiteX7" fmla="*/ 328224 w 1034979"/>
                <a:gd name="connsiteY7" fmla="*/ 932842 h 1489141"/>
                <a:gd name="connsiteX8" fmla="*/ 312984 w 1034979"/>
                <a:gd name="connsiteY8" fmla="*/ 938557 h 1489141"/>
                <a:gd name="connsiteX9" fmla="*/ 265359 w 1034979"/>
                <a:gd name="connsiteY9" fmla="*/ 934747 h 1489141"/>
                <a:gd name="connsiteX10" fmla="*/ 253929 w 1034979"/>
                <a:gd name="connsiteY10" fmla="*/ 930937 h 1489141"/>
                <a:gd name="connsiteX11" fmla="*/ 242499 w 1034979"/>
                <a:gd name="connsiteY11" fmla="*/ 927127 h 1489141"/>
                <a:gd name="connsiteX12" fmla="*/ 236784 w 1034979"/>
                <a:gd name="connsiteY12" fmla="*/ 925222 h 1489141"/>
                <a:gd name="connsiteX13" fmla="*/ 231069 w 1034979"/>
                <a:gd name="connsiteY13" fmla="*/ 923317 h 1489141"/>
                <a:gd name="connsiteX14" fmla="*/ 219639 w 1034979"/>
                <a:gd name="connsiteY14" fmla="*/ 921412 h 1489141"/>
                <a:gd name="connsiteX15" fmla="*/ 213924 w 1034979"/>
                <a:gd name="connsiteY15" fmla="*/ 919507 h 1489141"/>
                <a:gd name="connsiteX16" fmla="*/ 206304 w 1034979"/>
                <a:gd name="connsiteY16" fmla="*/ 917602 h 1489141"/>
                <a:gd name="connsiteX17" fmla="*/ 194874 w 1034979"/>
                <a:gd name="connsiteY17" fmla="*/ 913792 h 1489141"/>
                <a:gd name="connsiteX18" fmla="*/ 189159 w 1034979"/>
                <a:gd name="connsiteY18" fmla="*/ 911887 h 1489141"/>
                <a:gd name="connsiteX19" fmla="*/ 181539 w 1034979"/>
                <a:gd name="connsiteY19" fmla="*/ 909982 h 1489141"/>
                <a:gd name="connsiteX20" fmla="*/ 170109 w 1034979"/>
                <a:gd name="connsiteY20" fmla="*/ 904267 h 1489141"/>
                <a:gd name="connsiteX21" fmla="*/ 164394 w 1034979"/>
                <a:gd name="connsiteY21" fmla="*/ 900457 h 1489141"/>
                <a:gd name="connsiteX22" fmla="*/ 156774 w 1034979"/>
                <a:gd name="connsiteY22" fmla="*/ 889027 h 1489141"/>
                <a:gd name="connsiteX23" fmla="*/ 145344 w 1034979"/>
                <a:gd name="connsiteY23" fmla="*/ 885217 h 1489141"/>
                <a:gd name="connsiteX24" fmla="*/ 139629 w 1034979"/>
                <a:gd name="connsiteY24" fmla="*/ 881407 h 1489141"/>
                <a:gd name="connsiteX25" fmla="*/ 133914 w 1034979"/>
                <a:gd name="connsiteY25" fmla="*/ 879502 h 1489141"/>
                <a:gd name="connsiteX26" fmla="*/ 116769 w 1034979"/>
                <a:gd name="connsiteY26" fmla="*/ 875692 h 1489141"/>
                <a:gd name="connsiteX27" fmla="*/ 111054 w 1034979"/>
                <a:gd name="connsiteY27" fmla="*/ 869977 h 1489141"/>
                <a:gd name="connsiteX28" fmla="*/ 101529 w 1034979"/>
                <a:gd name="connsiteY28" fmla="*/ 852832 h 1489141"/>
                <a:gd name="connsiteX29" fmla="*/ 84384 w 1034979"/>
                <a:gd name="connsiteY29" fmla="*/ 845212 h 1489141"/>
                <a:gd name="connsiteX30" fmla="*/ 78669 w 1034979"/>
                <a:gd name="connsiteY30" fmla="*/ 843307 h 1489141"/>
                <a:gd name="connsiteX31" fmla="*/ 59619 w 1034979"/>
                <a:gd name="connsiteY31" fmla="*/ 847117 h 1489141"/>
                <a:gd name="connsiteX32" fmla="*/ 53904 w 1034979"/>
                <a:gd name="connsiteY32" fmla="*/ 850927 h 1489141"/>
                <a:gd name="connsiteX33" fmla="*/ 50094 w 1034979"/>
                <a:gd name="connsiteY33" fmla="*/ 856642 h 1489141"/>
                <a:gd name="connsiteX34" fmla="*/ 46284 w 1034979"/>
                <a:gd name="connsiteY34" fmla="*/ 868072 h 1489141"/>
                <a:gd name="connsiteX35" fmla="*/ 50094 w 1034979"/>
                <a:gd name="connsiteY35" fmla="*/ 906172 h 1489141"/>
                <a:gd name="connsiteX36" fmla="*/ 53904 w 1034979"/>
                <a:gd name="connsiteY36" fmla="*/ 911887 h 1489141"/>
                <a:gd name="connsiteX37" fmla="*/ 59619 w 1034979"/>
                <a:gd name="connsiteY37" fmla="*/ 915697 h 1489141"/>
                <a:gd name="connsiteX38" fmla="*/ 63429 w 1034979"/>
                <a:gd name="connsiteY38" fmla="*/ 921412 h 1489141"/>
                <a:gd name="connsiteX39" fmla="*/ 80574 w 1034979"/>
                <a:gd name="connsiteY39" fmla="*/ 930937 h 1489141"/>
                <a:gd name="connsiteX40" fmla="*/ 103434 w 1034979"/>
                <a:gd name="connsiteY40" fmla="*/ 932842 h 1489141"/>
                <a:gd name="connsiteX41" fmla="*/ 124389 w 1034979"/>
                <a:gd name="connsiteY41" fmla="*/ 938557 h 1489141"/>
                <a:gd name="connsiteX42" fmla="*/ 130104 w 1034979"/>
                <a:gd name="connsiteY42" fmla="*/ 940462 h 1489141"/>
                <a:gd name="connsiteX43" fmla="*/ 135819 w 1034979"/>
                <a:gd name="connsiteY43" fmla="*/ 946177 h 1489141"/>
                <a:gd name="connsiteX44" fmla="*/ 143439 w 1034979"/>
                <a:gd name="connsiteY44" fmla="*/ 948082 h 1489141"/>
                <a:gd name="connsiteX45" fmla="*/ 166299 w 1034979"/>
                <a:gd name="connsiteY45" fmla="*/ 951892 h 1489141"/>
                <a:gd name="connsiteX46" fmla="*/ 191064 w 1034979"/>
                <a:gd name="connsiteY46" fmla="*/ 957607 h 1489141"/>
                <a:gd name="connsiteX47" fmla="*/ 208209 w 1034979"/>
                <a:gd name="connsiteY47" fmla="*/ 963322 h 1489141"/>
                <a:gd name="connsiteX48" fmla="*/ 213924 w 1034979"/>
                <a:gd name="connsiteY48" fmla="*/ 965227 h 1489141"/>
                <a:gd name="connsiteX49" fmla="*/ 229164 w 1034979"/>
                <a:gd name="connsiteY49" fmla="*/ 969037 h 1489141"/>
                <a:gd name="connsiteX50" fmla="*/ 248214 w 1034979"/>
                <a:gd name="connsiteY50" fmla="*/ 974752 h 1489141"/>
                <a:gd name="connsiteX51" fmla="*/ 253929 w 1034979"/>
                <a:gd name="connsiteY51" fmla="*/ 978562 h 1489141"/>
                <a:gd name="connsiteX52" fmla="*/ 267264 w 1034979"/>
                <a:gd name="connsiteY52" fmla="*/ 993802 h 1489141"/>
                <a:gd name="connsiteX53" fmla="*/ 272979 w 1034979"/>
                <a:gd name="connsiteY53" fmla="*/ 1012852 h 1489141"/>
                <a:gd name="connsiteX54" fmla="*/ 274884 w 1034979"/>
                <a:gd name="connsiteY54" fmla="*/ 1018567 h 1489141"/>
                <a:gd name="connsiteX55" fmla="*/ 276789 w 1034979"/>
                <a:gd name="connsiteY55" fmla="*/ 1024282 h 1489141"/>
                <a:gd name="connsiteX56" fmla="*/ 278694 w 1034979"/>
                <a:gd name="connsiteY56" fmla="*/ 1049047 h 1489141"/>
                <a:gd name="connsiteX57" fmla="*/ 280599 w 1034979"/>
                <a:gd name="connsiteY57" fmla="*/ 1054762 h 1489141"/>
                <a:gd name="connsiteX58" fmla="*/ 278694 w 1034979"/>
                <a:gd name="connsiteY58" fmla="*/ 1073812 h 1489141"/>
                <a:gd name="connsiteX59" fmla="*/ 276789 w 1034979"/>
                <a:gd name="connsiteY59" fmla="*/ 1083337 h 1489141"/>
                <a:gd name="connsiteX60" fmla="*/ 263454 w 1034979"/>
                <a:gd name="connsiteY60" fmla="*/ 1096672 h 1489141"/>
                <a:gd name="connsiteX61" fmla="*/ 252024 w 1034979"/>
                <a:gd name="connsiteY61" fmla="*/ 1104292 h 1489141"/>
                <a:gd name="connsiteX62" fmla="*/ 240594 w 1034979"/>
                <a:gd name="connsiteY62" fmla="*/ 1108102 h 1489141"/>
                <a:gd name="connsiteX63" fmla="*/ 126294 w 1034979"/>
                <a:gd name="connsiteY63" fmla="*/ 1108102 h 1489141"/>
                <a:gd name="connsiteX64" fmla="*/ 120579 w 1034979"/>
                <a:gd name="connsiteY64" fmla="*/ 1110007 h 1489141"/>
                <a:gd name="connsiteX65" fmla="*/ 105339 w 1034979"/>
                <a:gd name="connsiteY65" fmla="*/ 1111912 h 1489141"/>
                <a:gd name="connsiteX66" fmla="*/ 88194 w 1034979"/>
                <a:gd name="connsiteY66" fmla="*/ 1117627 h 1489141"/>
                <a:gd name="connsiteX67" fmla="*/ 82479 w 1034979"/>
                <a:gd name="connsiteY67" fmla="*/ 1119532 h 1489141"/>
                <a:gd name="connsiteX68" fmla="*/ 76764 w 1034979"/>
                <a:gd name="connsiteY68" fmla="*/ 1123342 h 1489141"/>
                <a:gd name="connsiteX69" fmla="*/ 65334 w 1034979"/>
                <a:gd name="connsiteY69" fmla="*/ 1125247 h 1489141"/>
                <a:gd name="connsiteX70" fmla="*/ 27234 w 1034979"/>
                <a:gd name="connsiteY70" fmla="*/ 1127152 h 1489141"/>
                <a:gd name="connsiteX71" fmla="*/ 15804 w 1034979"/>
                <a:gd name="connsiteY71" fmla="*/ 1132867 h 1489141"/>
                <a:gd name="connsiteX72" fmla="*/ 6279 w 1034979"/>
                <a:gd name="connsiteY72" fmla="*/ 1142392 h 1489141"/>
                <a:gd name="connsiteX73" fmla="*/ 4374 w 1034979"/>
                <a:gd name="connsiteY73" fmla="*/ 1148107 h 1489141"/>
                <a:gd name="connsiteX74" fmla="*/ 564 w 1034979"/>
                <a:gd name="connsiteY74" fmla="*/ 1153822 h 1489141"/>
                <a:gd name="connsiteX75" fmla="*/ 6279 w 1034979"/>
                <a:gd name="connsiteY75" fmla="*/ 1186207 h 1489141"/>
                <a:gd name="connsiteX76" fmla="*/ 11994 w 1034979"/>
                <a:gd name="connsiteY76" fmla="*/ 1190017 h 1489141"/>
                <a:gd name="connsiteX77" fmla="*/ 17709 w 1034979"/>
                <a:gd name="connsiteY77" fmla="*/ 1191922 h 1489141"/>
                <a:gd name="connsiteX78" fmla="*/ 145344 w 1034979"/>
                <a:gd name="connsiteY78" fmla="*/ 1190017 h 1489141"/>
                <a:gd name="connsiteX79" fmla="*/ 152964 w 1034979"/>
                <a:gd name="connsiteY79" fmla="*/ 1188112 h 1489141"/>
                <a:gd name="connsiteX80" fmla="*/ 303459 w 1034979"/>
                <a:gd name="connsiteY80" fmla="*/ 1182397 h 1489141"/>
                <a:gd name="connsiteX81" fmla="*/ 318699 w 1034979"/>
                <a:gd name="connsiteY81" fmla="*/ 1190017 h 1489141"/>
                <a:gd name="connsiteX82" fmla="*/ 330129 w 1034979"/>
                <a:gd name="connsiteY82" fmla="*/ 1195732 h 1489141"/>
                <a:gd name="connsiteX83" fmla="*/ 333939 w 1034979"/>
                <a:gd name="connsiteY83" fmla="*/ 1201447 h 1489141"/>
                <a:gd name="connsiteX84" fmla="*/ 339654 w 1034979"/>
                <a:gd name="connsiteY84" fmla="*/ 1203352 h 1489141"/>
                <a:gd name="connsiteX85" fmla="*/ 351084 w 1034979"/>
                <a:gd name="connsiteY85" fmla="*/ 1210972 h 1489141"/>
                <a:gd name="connsiteX86" fmla="*/ 356799 w 1034979"/>
                <a:gd name="connsiteY86" fmla="*/ 1214782 h 1489141"/>
                <a:gd name="connsiteX87" fmla="*/ 360609 w 1034979"/>
                <a:gd name="connsiteY87" fmla="*/ 1220497 h 1489141"/>
                <a:gd name="connsiteX88" fmla="*/ 366324 w 1034979"/>
                <a:gd name="connsiteY88" fmla="*/ 1231927 h 1489141"/>
                <a:gd name="connsiteX89" fmla="*/ 362514 w 1034979"/>
                <a:gd name="connsiteY89" fmla="*/ 1258597 h 1489141"/>
                <a:gd name="connsiteX90" fmla="*/ 358704 w 1034979"/>
                <a:gd name="connsiteY90" fmla="*/ 1264312 h 1489141"/>
                <a:gd name="connsiteX91" fmla="*/ 356799 w 1034979"/>
                <a:gd name="connsiteY91" fmla="*/ 1270027 h 1489141"/>
                <a:gd name="connsiteX92" fmla="*/ 352989 w 1034979"/>
                <a:gd name="connsiteY92" fmla="*/ 1275742 h 1489141"/>
                <a:gd name="connsiteX93" fmla="*/ 351084 w 1034979"/>
                <a:gd name="connsiteY93" fmla="*/ 1281457 h 1489141"/>
                <a:gd name="connsiteX94" fmla="*/ 347274 w 1034979"/>
                <a:gd name="connsiteY94" fmla="*/ 1287172 h 1489141"/>
                <a:gd name="connsiteX95" fmla="*/ 330129 w 1034979"/>
                <a:gd name="connsiteY95" fmla="*/ 1353847 h 1489141"/>
                <a:gd name="connsiteX96" fmla="*/ 328224 w 1034979"/>
                <a:gd name="connsiteY96" fmla="*/ 1405282 h 1489141"/>
                <a:gd name="connsiteX97" fmla="*/ 330129 w 1034979"/>
                <a:gd name="connsiteY97" fmla="*/ 1430047 h 1489141"/>
                <a:gd name="connsiteX98" fmla="*/ 332034 w 1034979"/>
                <a:gd name="connsiteY98" fmla="*/ 1435762 h 1489141"/>
                <a:gd name="connsiteX99" fmla="*/ 335844 w 1034979"/>
                <a:gd name="connsiteY99" fmla="*/ 1439572 h 1489141"/>
                <a:gd name="connsiteX100" fmla="*/ 364419 w 1034979"/>
                <a:gd name="connsiteY100" fmla="*/ 1485292 h 1489141"/>
                <a:gd name="connsiteX101" fmla="*/ 387279 w 1034979"/>
                <a:gd name="connsiteY101" fmla="*/ 1487197 h 1489141"/>
                <a:gd name="connsiteX102" fmla="*/ 392994 w 1034979"/>
                <a:gd name="connsiteY102" fmla="*/ 1481482 h 1489141"/>
                <a:gd name="connsiteX103" fmla="*/ 394899 w 1034979"/>
                <a:gd name="connsiteY103" fmla="*/ 1470052 h 1489141"/>
                <a:gd name="connsiteX104" fmla="*/ 396804 w 1034979"/>
                <a:gd name="connsiteY104" fmla="*/ 1464337 h 1489141"/>
                <a:gd name="connsiteX105" fmla="*/ 398709 w 1034979"/>
                <a:gd name="connsiteY105" fmla="*/ 1447192 h 1489141"/>
                <a:gd name="connsiteX106" fmla="*/ 400614 w 1034979"/>
                <a:gd name="connsiteY106" fmla="*/ 1433857 h 1489141"/>
                <a:gd name="connsiteX107" fmla="*/ 404424 w 1034979"/>
                <a:gd name="connsiteY107" fmla="*/ 1376707 h 1489141"/>
                <a:gd name="connsiteX108" fmla="*/ 410139 w 1034979"/>
                <a:gd name="connsiteY108" fmla="*/ 1365277 h 1489141"/>
                <a:gd name="connsiteX109" fmla="*/ 413949 w 1034979"/>
                <a:gd name="connsiteY109" fmla="*/ 1351942 h 1489141"/>
                <a:gd name="connsiteX110" fmla="*/ 415854 w 1034979"/>
                <a:gd name="connsiteY110" fmla="*/ 1346227 h 1489141"/>
                <a:gd name="connsiteX111" fmla="*/ 417759 w 1034979"/>
                <a:gd name="connsiteY111" fmla="*/ 1332892 h 1489141"/>
                <a:gd name="connsiteX112" fmla="*/ 421569 w 1034979"/>
                <a:gd name="connsiteY112" fmla="*/ 1321462 h 1489141"/>
                <a:gd name="connsiteX113" fmla="*/ 427284 w 1034979"/>
                <a:gd name="connsiteY113" fmla="*/ 1308127 h 1489141"/>
                <a:gd name="connsiteX114" fmla="*/ 436809 w 1034979"/>
                <a:gd name="connsiteY114" fmla="*/ 1296697 h 1489141"/>
                <a:gd name="connsiteX115" fmla="*/ 450144 w 1034979"/>
                <a:gd name="connsiteY115" fmla="*/ 1281457 h 1489141"/>
                <a:gd name="connsiteX116" fmla="*/ 457764 w 1034979"/>
                <a:gd name="connsiteY116" fmla="*/ 1270027 h 1489141"/>
                <a:gd name="connsiteX117" fmla="*/ 461574 w 1034979"/>
                <a:gd name="connsiteY117" fmla="*/ 1258597 h 1489141"/>
                <a:gd name="connsiteX118" fmla="*/ 465384 w 1034979"/>
                <a:gd name="connsiteY118" fmla="*/ 1243357 h 1489141"/>
                <a:gd name="connsiteX119" fmla="*/ 467289 w 1034979"/>
                <a:gd name="connsiteY119" fmla="*/ 1237642 h 1489141"/>
                <a:gd name="connsiteX120" fmla="*/ 507294 w 1034979"/>
                <a:gd name="connsiteY120" fmla="*/ 1231927 h 1489141"/>
                <a:gd name="connsiteX121" fmla="*/ 535869 w 1034979"/>
                <a:gd name="connsiteY121" fmla="*/ 1222402 h 1489141"/>
                <a:gd name="connsiteX122" fmla="*/ 541584 w 1034979"/>
                <a:gd name="connsiteY122" fmla="*/ 1220497 h 1489141"/>
                <a:gd name="connsiteX123" fmla="*/ 547299 w 1034979"/>
                <a:gd name="connsiteY123" fmla="*/ 1218592 h 1489141"/>
                <a:gd name="connsiteX124" fmla="*/ 554919 w 1034979"/>
                <a:gd name="connsiteY124" fmla="*/ 1216687 h 1489141"/>
                <a:gd name="connsiteX125" fmla="*/ 573969 w 1034979"/>
                <a:gd name="connsiteY125" fmla="*/ 1209067 h 1489141"/>
                <a:gd name="connsiteX126" fmla="*/ 585399 w 1034979"/>
                <a:gd name="connsiteY126" fmla="*/ 1205257 h 1489141"/>
                <a:gd name="connsiteX127" fmla="*/ 720654 w 1034979"/>
                <a:gd name="connsiteY127" fmla="*/ 1289077 h 1489141"/>
                <a:gd name="connsiteX128" fmla="*/ 733989 w 1034979"/>
                <a:gd name="connsiteY128" fmla="*/ 1298602 h 1489141"/>
                <a:gd name="connsiteX129" fmla="*/ 743514 w 1034979"/>
                <a:gd name="connsiteY129" fmla="*/ 1300507 h 1489141"/>
                <a:gd name="connsiteX130" fmla="*/ 749229 w 1034979"/>
                <a:gd name="connsiteY130" fmla="*/ 1302412 h 1489141"/>
                <a:gd name="connsiteX131" fmla="*/ 762564 w 1034979"/>
                <a:gd name="connsiteY131" fmla="*/ 1308127 h 1489141"/>
                <a:gd name="connsiteX132" fmla="*/ 777804 w 1034979"/>
                <a:gd name="connsiteY132" fmla="*/ 1306222 h 1489141"/>
                <a:gd name="connsiteX133" fmla="*/ 789234 w 1034979"/>
                <a:gd name="connsiteY133" fmla="*/ 1300507 h 1489141"/>
                <a:gd name="connsiteX134" fmla="*/ 794949 w 1034979"/>
                <a:gd name="connsiteY134" fmla="*/ 1298602 h 1489141"/>
                <a:gd name="connsiteX135" fmla="*/ 802569 w 1034979"/>
                <a:gd name="connsiteY135" fmla="*/ 1281457 h 1489141"/>
                <a:gd name="connsiteX136" fmla="*/ 800664 w 1034979"/>
                <a:gd name="connsiteY136" fmla="*/ 1256692 h 1489141"/>
                <a:gd name="connsiteX137" fmla="*/ 798759 w 1034979"/>
                <a:gd name="connsiteY137" fmla="*/ 1250977 h 1489141"/>
                <a:gd name="connsiteX138" fmla="*/ 796854 w 1034979"/>
                <a:gd name="connsiteY138" fmla="*/ 1243357 h 1489141"/>
                <a:gd name="connsiteX139" fmla="*/ 783519 w 1034979"/>
                <a:gd name="connsiteY139" fmla="*/ 1226212 h 1489141"/>
                <a:gd name="connsiteX140" fmla="*/ 773994 w 1034979"/>
                <a:gd name="connsiteY140" fmla="*/ 1220497 h 1489141"/>
                <a:gd name="connsiteX141" fmla="*/ 648264 w 1034979"/>
                <a:gd name="connsiteY141" fmla="*/ 1129057 h 1489141"/>
                <a:gd name="connsiteX142" fmla="*/ 644454 w 1034979"/>
                <a:gd name="connsiteY142" fmla="*/ 1111912 h 1489141"/>
                <a:gd name="connsiteX143" fmla="*/ 646359 w 1034979"/>
                <a:gd name="connsiteY143" fmla="*/ 1104292 h 1489141"/>
                <a:gd name="connsiteX144" fmla="*/ 650169 w 1034979"/>
                <a:gd name="connsiteY144" fmla="*/ 1087147 h 1489141"/>
                <a:gd name="connsiteX145" fmla="*/ 653979 w 1034979"/>
                <a:gd name="connsiteY145" fmla="*/ 1081432 h 1489141"/>
                <a:gd name="connsiteX146" fmla="*/ 655884 w 1034979"/>
                <a:gd name="connsiteY146" fmla="*/ 1075717 h 1489141"/>
                <a:gd name="connsiteX147" fmla="*/ 661599 w 1034979"/>
                <a:gd name="connsiteY147" fmla="*/ 1073812 h 1489141"/>
                <a:gd name="connsiteX148" fmla="*/ 671124 w 1034979"/>
                <a:gd name="connsiteY148" fmla="*/ 1062382 h 1489141"/>
                <a:gd name="connsiteX149" fmla="*/ 724464 w 1034979"/>
                <a:gd name="connsiteY149" fmla="*/ 1054762 h 1489141"/>
                <a:gd name="connsiteX150" fmla="*/ 842574 w 1034979"/>
                <a:gd name="connsiteY150" fmla="*/ 1056667 h 1489141"/>
                <a:gd name="connsiteX151" fmla="*/ 871149 w 1034979"/>
                <a:gd name="connsiteY151" fmla="*/ 1058572 h 1489141"/>
                <a:gd name="connsiteX152" fmla="*/ 899724 w 1034979"/>
                <a:gd name="connsiteY152" fmla="*/ 1064287 h 1489141"/>
                <a:gd name="connsiteX153" fmla="*/ 922584 w 1034979"/>
                <a:gd name="connsiteY153" fmla="*/ 1068097 h 1489141"/>
                <a:gd name="connsiteX154" fmla="*/ 951159 w 1034979"/>
                <a:gd name="connsiteY154" fmla="*/ 1073812 h 1489141"/>
                <a:gd name="connsiteX155" fmla="*/ 956874 w 1034979"/>
                <a:gd name="connsiteY155" fmla="*/ 1073812 h 1489141"/>
                <a:gd name="connsiteX156" fmla="*/ 1002594 w 1034979"/>
                <a:gd name="connsiteY156" fmla="*/ 1071907 h 1489141"/>
                <a:gd name="connsiteX157" fmla="*/ 1031169 w 1034979"/>
                <a:gd name="connsiteY157" fmla="*/ 1064287 h 1489141"/>
                <a:gd name="connsiteX158" fmla="*/ 1034979 w 1034979"/>
                <a:gd name="connsiteY158" fmla="*/ 1058572 h 1489141"/>
                <a:gd name="connsiteX159" fmla="*/ 1033074 w 1034979"/>
                <a:gd name="connsiteY159" fmla="*/ 1039522 h 1489141"/>
                <a:gd name="connsiteX160" fmla="*/ 1027359 w 1034979"/>
                <a:gd name="connsiteY160" fmla="*/ 1035712 h 1489141"/>
                <a:gd name="connsiteX161" fmla="*/ 1012119 w 1034979"/>
                <a:gd name="connsiteY161" fmla="*/ 1033807 h 1489141"/>
                <a:gd name="connsiteX162" fmla="*/ 1006404 w 1034979"/>
                <a:gd name="connsiteY162" fmla="*/ 1031902 h 1489141"/>
                <a:gd name="connsiteX163" fmla="*/ 998784 w 1034979"/>
                <a:gd name="connsiteY163" fmla="*/ 1029997 h 1489141"/>
                <a:gd name="connsiteX164" fmla="*/ 987354 w 1034979"/>
                <a:gd name="connsiteY164" fmla="*/ 1022377 h 1489141"/>
                <a:gd name="connsiteX165" fmla="*/ 975924 w 1034979"/>
                <a:gd name="connsiteY165" fmla="*/ 1018567 h 1489141"/>
                <a:gd name="connsiteX166" fmla="*/ 970209 w 1034979"/>
                <a:gd name="connsiteY166" fmla="*/ 1016662 h 1489141"/>
                <a:gd name="connsiteX167" fmla="*/ 962589 w 1034979"/>
                <a:gd name="connsiteY167" fmla="*/ 1014757 h 1489141"/>
                <a:gd name="connsiteX168" fmla="*/ 956874 w 1034979"/>
                <a:gd name="connsiteY168" fmla="*/ 1012852 h 1489141"/>
                <a:gd name="connsiteX169" fmla="*/ 935919 w 1034979"/>
                <a:gd name="connsiteY169" fmla="*/ 1007137 h 1489141"/>
                <a:gd name="connsiteX170" fmla="*/ 930204 w 1034979"/>
                <a:gd name="connsiteY170" fmla="*/ 1005232 h 1489141"/>
                <a:gd name="connsiteX171" fmla="*/ 825429 w 1034979"/>
                <a:gd name="connsiteY171" fmla="*/ 1007137 h 1489141"/>
                <a:gd name="connsiteX172" fmla="*/ 819714 w 1034979"/>
                <a:gd name="connsiteY172" fmla="*/ 1009042 h 1489141"/>
                <a:gd name="connsiteX173" fmla="*/ 730179 w 1034979"/>
                <a:gd name="connsiteY173" fmla="*/ 1010947 h 1489141"/>
                <a:gd name="connsiteX174" fmla="*/ 716844 w 1034979"/>
                <a:gd name="connsiteY174" fmla="*/ 1014757 h 1489141"/>
                <a:gd name="connsiteX175" fmla="*/ 695889 w 1034979"/>
                <a:gd name="connsiteY175" fmla="*/ 1016662 h 1489141"/>
                <a:gd name="connsiteX176" fmla="*/ 669219 w 1034979"/>
                <a:gd name="connsiteY176" fmla="*/ 1018567 h 1489141"/>
                <a:gd name="connsiteX177" fmla="*/ 669219 w 1034979"/>
                <a:gd name="connsiteY177" fmla="*/ 1018567 h 1489141"/>
                <a:gd name="connsiteX178" fmla="*/ 646359 w 1034979"/>
                <a:gd name="connsiteY178" fmla="*/ 1022377 h 1489141"/>
                <a:gd name="connsiteX179" fmla="*/ 642549 w 1034979"/>
                <a:gd name="connsiteY179" fmla="*/ 1010947 h 1489141"/>
                <a:gd name="connsiteX180" fmla="*/ 640644 w 1034979"/>
                <a:gd name="connsiteY180" fmla="*/ 1005232 h 1489141"/>
                <a:gd name="connsiteX181" fmla="*/ 642549 w 1034979"/>
                <a:gd name="connsiteY181" fmla="*/ 988087 h 1489141"/>
                <a:gd name="connsiteX182" fmla="*/ 644454 w 1034979"/>
                <a:gd name="connsiteY182" fmla="*/ 982372 h 1489141"/>
                <a:gd name="connsiteX183" fmla="*/ 661599 w 1034979"/>
                <a:gd name="connsiteY183" fmla="*/ 972847 h 1489141"/>
                <a:gd name="connsiteX184" fmla="*/ 673029 w 1034979"/>
                <a:gd name="connsiteY184" fmla="*/ 965227 h 1489141"/>
                <a:gd name="connsiteX185" fmla="*/ 674934 w 1034979"/>
                <a:gd name="connsiteY185" fmla="*/ 959512 h 1489141"/>
                <a:gd name="connsiteX186" fmla="*/ 680649 w 1034979"/>
                <a:gd name="connsiteY186" fmla="*/ 957607 h 1489141"/>
                <a:gd name="connsiteX187" fmla="*/ 686364 w 1034979"/>
                <a:gd name="connsiteY187" fmla="*/ 953797 h 1489141"/>
                <a:gd name="connsiteX188" fmla="*/ 695889 w 1034979"/>
                <a:gd name="connsiteY188" fmla="*/ 944272 h 1489141"/>
                <a:gd name="connsiteX189" fmla="*/ 705414 w 1034979"/>
                <a:gd name="connsiteY189" fmla="*/ 932842 h 1489141"/>
                <a:gd name="connsiteX190" fmla="*/ 716844 w 1034979"/>
                <a:gd name="connsiteY190" fmla="*/ 925222 h 1489141"/>
                <a:gd name="connsiteX191" fmla="*/ 732084 w 1034979"/>
                <a:gd name="connsiteY191" fmla="*/ 911887 h 1489141"/>
                <a:gd name="connsiteX192" fmla="*/ 741609 w 1034979"/>
                <a:gd name="connsiteY192" fmla="*/ 900457 h 1489141"/>
                <a:gd name="connsiteX193" fmla="*/ 753039 w 1034979"/>
                <a:gd name="connsiteY193" fmla="*/ 890932 h 1489141"/>
                <a:gd name="connsiteX194" fmla="*/ 758754 w 1034979"/>
                <a:gd name="connsiteY194" fmla="*/ 879502 h 1489141"/>
                <a:gd name="connsiteX195" fmla="*/ 760659 w 1034979"/>
                <a:gd name="connsiteY195" fmla="*/ 873787 h 1489141"/>
                <a:gd name="connsiteX196" fmla="*/ 766374 w 1034979"/>
                <a:gd name="connsiteY196" fmla="*/ 862357 h 1489141"/>
                <a:gd name="connsiteX197" fmla="*/ 764469 w 1034979"/>
                <a:gd name="connsiteY197" fmla="*/ 847117 h 1489141"/>
                <a:gd name="connsiteX198" fmla="*/ 758754 w 1034979"/>
                <a:gd name="connsiteY198" fmla="*/ 845212 h 1489141"/>
                <a:gd name="connsiteX199" fmla="*/ 737799 w 1034979"/>
                <a:gd name="connsiteY199" fmla="*/ 847117 h 1489141"/>
                <a:gd name="connsiteX200" fmla="*/ 732084 w 1034979"/>
                <a:gd name="connsiteY200" fmla="*/ 850927 h 1489141"/>
                <a:gd name="connsiteX201" fmla="*/ 720654 w 1034979"/>
                <a:gd name="connsiteY201" fmla="*/ 854737 h 1489141"/>
                <a:gd name="connsiteX202" fmla="*/ 716844 w 1034979"/>
                <a:gd name="connsiteY202" fmla="*/ 860452 h 1489141"/>
                <a:gd name="connsiteX203" fmla="*/ 711129 w 1034979"/>
                <a:gd name="connsiteY203" fmla="*/ 862357 h 1489141"/>
                <a:gd name="connsiteX204" fmla="*/ 705414 w 1034979"/>
                <a:gd name="connsiteY204" fmla="*/ 866167 h 1489141"/>
                <a:gd name="connsiteX205" fmla="*/ 699699 w 1034979"/>
                <a:gd name="connsiteY205" fmla="*/ 871882 h 1489141"/>
                <a:gd name="connsiteX206" fmla="*/ 692079 w 1034979"/>
                <a:gd name="connsiteY206" fmla="*/ 875692 h 1489141"/>
                <a:gd name="connsiteX207" fmla="*/ 650169 w 1034979"/>
                <a:gd name="connsiteY207" fmla="*/ 904267 h 1489141"/>
                <a:gd name="connsiteX208" fmla="*/ 636834 w 1034979"/>
                <a:gd name="connsiteY208" fmla="*/ 915697 h 1489141"/>
                <a:gd name="connsiteX209" fmla="*/ 627309 w 1034979"/>
                <a:gd name="connsiteY209" fmla="*/ 932842 h 1489141"/>
                <a:gd name="connsiteX210" fmla="*/ 602544 w 1034979"/>
                <a:gd name="connsiteY210" fmla="*/ 938557 h 1489141"/>
                <a:gd name="connsiteX211" fmla="*/ 589209 w 1034979"/>
                <a:gd name="connsiteY211" fmla="*/ 942367 h 1489141"/>
                <a:gd name="connsiteX212" fmla="*/ 573969 w 1034979"/>
                <a:gd name="connsiteY212" fmla="*/ 940462 h 1489141"/>
                <a:gd name="connsiteX213" fmla="*/ 562539 w 1034979"/>
                <a:gd name="connsiteY213" fmla="*/ 936652 h 1489141"/>
                <a:gd name="connsiteX214" fmla="*/ 551109 w 1034979"/>
                <a:gd name="connsiteY214" fmla="*/ 932842 h 1489141"/>
                <a:gd name="connsiteX215" fmla="*/ 539679 w 1034979"/>
                <a:gd name="connsiteY215" fmla="*/ 929032 h 1489141"/>
                <a:gd name="connsiteX216" fmla="*/ 533964 w 1034979"/>
                <a:gd name="connsiteY216" fmla="*/ 927127 h 1489141"/>
                <a:gd name="connsiteX217" fmla="*/ 528249 w 1034979"/>
                <a:gd name="connsiteY217" fmla="*/ 923317 h 1489141"/>
                <a:gd name="connsiteX218" fmla="*/ 516819 w 1034979"/>
                <a:gd name="connsiteY218" fmla="*/ 917602 h 1489141"/>
                <a:gd name="connsiteX219" fmla="*/ 509199 w 1034979"/>
                <a:gd name="connsiteY219" fmla="*/ 906172 h 1489141"/>
                <a:gd name="connsiteX220" fmla="*/ 505389 w 1034979"/>
                <a:gd name="connsiteY220" fmla="*/ 885217 h 1489141"/>
                <a:gd name="connsiteX221" fmla="*/ 507294 w 1034979"/>
                <a:gd name="connsiteY221" fmla="*/ 820447 h 1489141"/>
                <a:gd name="connsiteX222" fmla="*/ 513009 w 1034979"/>
                <a:gd name="connsiteY222" fmla="*/ 807112 h 1489141"/>
                <a:gd name="connsiteX223" fmla="*/ 503484 w 1034979"/>
                <a:gd name="connsiteY223" fmla="*/ 330862 h 1489141"/>
                <a:gd name="connsiteX224" fmla="*/ 499674 w 1034979"/>
                <a:gd name="connsiteY224" fmla="*/ 39397 h 1489141"/>
                <a:gd name="connsiteX225" fmla="*/ 490149 w 1034979"/>
                <a:gd name="connsiteY225" fmla="*/ 12727 h 1489141"/>
                <a:gd name="connsiteX226" fmla="*/ 488244 w 1034979"/>
                <a:gd name="connsiteY226" fmla="*/ 7012 h 1489141"/>
                <a:gd name="connsiteX227" fmla="*/ 484434 w 1034979"/>
                <a:gd name="connsiteY227" fmla="*/ 1297 h 1489141"/>
                <a:gd name="connsiteX228" fmla="*/ 419664 w 1034979"/>
                <a:gd name="connsiteY228" fmla="*/ 33682 h 1489141"/>
                <a:gd name="connsiteX229" fmla="*/ 423474 w 1034979"/>
                <a:gd name="connsiteY229" fmla="*/ 45112 h 1489141"/>
                <a:gd name="connsiteX230" fmla="*/ 425379 w 1034979"/>
                <a:gd name="connsiteY230" fmla="*/ 50827 h 1489141"/>
                <a:gd name="connsiteX231" fmla="*/ 429189 w 1034979"/>
                <a:gd name="connsiteY231" fmla="*/ 210847 h 1489141"/>
                <a:gd name="connsiteX232" fmla="*/ 440619 w 1034979"/>
                <a:gd name="connsiteY232" fmla="*/ 393727 h 1489141"/>
                <a:gd name="connsiteX233" fmla="*/ 425379 w 1034979"/>
                <a:gd name="connsiteY233" fmla="*/ 690907 h 1489141"/>
                <a:gd name="connsiteX234" fmla="*/ 417759 w 1034979"/>
                <a:gd name="connsiteY234" fmla="*/ 818542 h 1489141"/>
                <a:gd name="connsiteX235" fmla="*/ 413949 w 1034979"/>
                <a:gd name="connsiteY235" fmla="*/ 835687 h 1489141"/>
                <a:gd name="connsiteX236" fmla="*/ 417759 w 1034979"/>
                <a:gd name="connsiteY236" fmla="*/ 856642 h 1489141"/>
                <a:gd name="connsiteX237" fmla="*/ 421569 w 1034979"/>
                <a:gd name="connsiteY237" fmla="*/ 862357 h 1489141"/>
                <a:gd name="connsiteX238" fmla="*/ 425379 w 1034979"/>
                <a:gd name="connsiteY238" fmla="*/ 873787 h 1489141"/>
                <a:gd name="connsiteX239" fmla="*/ 423474 w 1034979"/>
                <a:gd name="connsiteY239" fmla="*/ 900457 h 1489141"/>
                <a:gd name="connsiteX240" fmla="*/ 417759 w 1034979"/>
                <a:gd name="connsiteY240" fmla="*/ 902362 h 1489141"/>
                <a:gd name="connsiteX241" fmla="*/ 412044 w 1034979"/>
                <a:gd name="connsiteY241" fmla="*/ 906172 h 1489141"/>
                <a:gd name="connsiteX242" fmla="*/ 421569 w 1034979"/>
                <a:gd name="connsiteY242" fmla="*/ 902362 h 1489141"/>
                <a:gd name="connsiteX0" fmla="*/ 421569 w 1034979"/>
                <a:gd name="connsiteY0" fmla="*/ 902362 h 1489141"/>
                <a:gd name="connsiteX1" fmla="*/ 421569 w 1034979"/>
                <a:gd name="connsiteY1" fmla="*/ 902362 h 1489141"/>
                <a:gd name="connsiteX2" fmla="*/ 394899 w 1034979"/>
                <a:gd name="connsiteY2" fmla="*/ 911887 h 1489141"/>
                <a:gd name="connsiteX3" fmla="*/ 387279 w 1034979"/>
                <a:gd name="connsiteY3" fmla="*/ 913792 h 1489141"/>
                <a:gd name="connsiteX4" fmla="*/ 356799 w 1034979"/>
                <a:gd name="connsiteY4" fmla="*/ 915697 h 1489141"/>
                <a:gd name="connsiteX5" fmla="*/ 351084 w 1034979"/>
                <a:gd name="connsiteY5" fmla="*/ 919507 h 1489141"/>
                <a:gd name="connsiteX6" fmla="*/ 339654 w 1034979"/>
                <a:gd name="connsiteY6" fmla="*/ 929032 h 1489141"/>
                <a:gd name="connsiteX7" fmla="*/ 328224 w 1034979"/>
                <a:gd name="connsiteY7" fmla="*/ 932842 h 1489141"/>
                <a:gd name="connsiteX8" fmla="*/ 312984 w 1034979"/>
                <a:gd name="connsiteY8" fmla="*/ 938557 h 1489141"/>
                <a:gd name="connsiteX9" fmla="*/ 265359 w 1034979"/>
                <a:gd name="connsiteY9" fmla="*/ 934747 h 1489141"/>
                <a:gd name="connsiteX10" fmla="*/ 253929 w 1034979"/>
                <a:gd name="connsiteY10" fmla="*/ 930937 h 1489141"/>
                <a:gd name="connsiteX11" fmla="*/ 242499 w 1034979"/>
                <a:gd name="connsiteY11" fmla="*/ 927127 h 1489141"/>
                <a:gd name="connsiteX12" fmla="*/ 236784 w 1034979"/>
                <a:gd name="connsiteY12" fmla="*/ 925222 h 1489141"/>
                <a:gd name="connsiteX13" fmla="*/ 231069 w 1034979"/>
                <a:gd name="connsiteY13" fmla="*/ 923317 h 1489141"/>
                <a:gd name="connsiteX14" fmla="*/ 219639 w 1034979"/>
                <a:gd name="connsiteY14" fmla="*/ 921412 h 1489141"/>
                <a:gd name="connsiteX15" fmla="*/ 213924 w 1034979"/>
                <a:gd name="connsiteY15" fmla="*/ 919507 h 1489141"/>
                <a:gd name="connsiteX16" fmla="*/ 206304 w 1034979"/>
                <a:gd name="connsiteY16" fmla="*/ 917602 h 1489141"/>
                <a:gd name="connsiteX17" fmla="*/ 194874 w 1034979"/>
                <a:gd name="connsiteY17" fmla="*/ 913792 h 1489141"/>
                <a:gd name="connsiteX18" fmla="*/ 189159 w 1034979"/>
                <a:gd name="connsiteY18" fmla="*/ 911887 h 1489141"/>
                <a:gd name="connsiteX19" fmla="*/ 181539 w 1034979"/>
                <a:gd name="connsiteY19" fmla="*/ 909982 h 1489141"/>
                <a:gd name="connsiteX20" fmla="*/ 170109 w 1034979"/>
                <a:gd name="connsiteY20" fmla="*/ 904267 h 1489141"/>
                <a:gd name="connsiteX21" fmla="*/ 164394 w 1034979"/>
                <a:gd name="connsiteY21" fmla="*/ 900457 h 1489141"/>
                <a:gd name="connsiteX22" fmla="*/ 156774 w 1034979"/>
                <a:gd name="connsiteY22" fmla="*/ 889027 h 1489141"/>
                <a:gd name="connsiteX23" fmla="*/ 145344 w 1034979"/>
                <a:gd name="connsiteY23" fmla="*/ 885217 h 1489141"/>
                <a:gd name="connsiteX24" fmla="*/ 139629 w 1034979"/>
                <a:gd name="connsiteY24" fmla="*/ 881407 h 1489141"/>
                <a:gd name="connsiteX25" fmla="*/ 133914 w 1034979"/>
                <a:gd name="connsiteY25" fmla="*/ 879502 h 1489141"/>
                <a:gd name="connsiteX26" fmla="*/ 116769 w 1034979"/>
                <a:gd name="connsiteY26" fmla="*/ 875692 h 1489141"/>
                <a:gd name="connsiteX27" fmla="*/ 111054 w 1034979"/>
                <a:gd name="connsiteY27" fmla="*/ 869977 h 1489141"/>
                <a:gd name="connsiteX28" fmla="*/ 101529 w 1034979"/>
                <a:gd name="connsiteY28" fmla="*/ 852832 h 1489141"/>
                <a:gd name="connsiteX29" fmla="*/ 84384 w 1034979"/>
                <a:gd name="connsiteY29" fmla="*/ 845212 h 1489141"/>
                <a:gd name="connsiteX30" fmla="*/ 78669 w 1034979"/>
                <a:gd name="connsiteY30" fmla="*/ 843307 h 1489141"/>
                <a:gd name="connsiteX31" fmla="*/ 59619 w 1034979"/>
                <a:gd name="connsiteY31" fmla="*/ 847117 h 1489141"/>
                <a:gd name="connsiteX32" fmla="*/ 53904 w 1034979"/>
                <a:gd name="connsiteY32" fmla="*/ 850927 h 1489141"/>
                <a:gd name="connsiteX33" fmla="*/ 50094 w 1034979"/>
                <a:gd name="connsiteY33" fmla="*/ 856642 h 1489141"/>
                <a:gd name="connsiteX34" fmla="*/ 46284 w 1034979"/>
                <a:gd name="connsiteY34" fmla="*/ 868072 h 1489141"/>
                <a:gd name="connsiteX35" fmla="*/ 50094 w 1034979"/>
                <a:gd name="connsiteY35" fmla="*/ 906172 h 1489141"/>
                <a:gd name="connsiteX36" fmla="*/ 53904 w 1034979"/>
                <a:gd name="connsiteY36" fmla="*/ 911887 h 1489141"/>
                <a:gd name="connsiteX37" fmla="*/ 59619 w 1034979"/>
                <a:gd name="connsiteY37" fmla="*/ 915697 h 1489141"/>
                <a:gd name="connsiteX38" fmla="*/ 63429 w 1034979"/>
                <a:gd name="connsiteY38" fmla="*/ 921412 h 1489141"/>
                <a:gd name="connsiteX39" fmla="*/ 80574 w 1034979"/>
                <a:gd name="connsiteY39" fmla="*/ 930937 h 1489141"/>
                <a:gd name="connsiteX40" fmla="*/ 103434 w 1034979"/>
                <a:gd name="connsiteY40" fmla="*/ 932842 h 1489141"/>
                <a:gd name="connsiteX41" fmla="*/ 124389 w 1034979"/>
                <a:gd name="connsiteY41" fmla="*/ 938557 h 1489141"/>
                <a:gd name="connsiteX42" fmla="*/ 130104 w 1034979"/>
                <a:gd name="connsiteY42" fmla="*/ 940462 h 1489141"/>
                <a:gd name="connsiteX43" fmla="*/ 135819 w 1034979"/>
                <a:gd name="connsiteY43" fmla="*/ 946177 h 1489141"/>
                <a:gd name="connsiteX44" fmla="*/ 143439 w 1034979"/>
                <a:gd name="connsiteY44" fmla="*/ 948082 h 1489141"/>
                <a:gd name="connsiteX45" fmla="*/ 166299 w 1034979"/>
                <a:gd name="connsiteY45" fmla="*/ 951892 h 1489141"/>
                <a:gd name="connsiteX46" fmla="*/ 191064 w 1034979"/>
                <a:gd name="connsiteY46" fmla="*/ 957607 h 1489141"/>
                <a:gd name="connsiteX47" fmla="*/ 208209 w 1034979"/>
                <a:gd name="connsiteY47" fmla="*/ 963322 h 1489141"/>
                <a:gd name="connsiteX48" fmla="*/ 213924 w 1034979"/>
                <a:gd name="connsiteY48" fmla="*/ 965227 h 1489141"/>
                <a:gd name="connsiteX49" fmla="*/ 229164 w 1034979"/>
                <a:gd name="connsiteY49" fmla="*/ 969037 h 1489141"/>
                <a:gd name="connsiteX50" fmla="*/ 248214 w 1034979"/>
                <a:gd name="connsiteY50" fmla="*/ 974752 h 1489141"/>
                <a:gd name="connsiteX51" fmla="*/ 253929 w 1034979"/>
                <a:gd name="connsiteY51" fmla="*/ 978562 h 1489141"/>
                <a:gd name="connsiteX52" fmla="*/ 267264 w 1034979"/>
                <a:gd name="connsiteY52" fmla="*/ 993802 h 1489141"/>
                <a:gd name="connsiteX53" fmla="*/ 272979 w 1034979"/>
                <a:gd name="connsiteY53" fmla="*/ 1012852 h 1489141"/>
                <a:gd name="connsiteX54" fmla="*/ 274884 w 1034979"/>
                <a:gd name="connsiteY54" fmla="*/ 1018567 h 1489141"/>
                <a:gd name="connsiteX55" fmla="*/ 276789 w 1034979"/>
                <a:gd name="connsiteY55" fmla="*/ 1024282 h 1489141"/>
                <a:gd name="connsiteX56" fmla="*/ 278694 w 1034979"/>
                <a:gd name="connsiteY56" fmla="*/ 1049047 h 1489141"/>
                <a:gd name="connsiteX57" fmla="*/ 280599 w 1034979"/>
                <a:gd name="connsiteY57" fmla="*/ 1054762 h 1489141"/>
                <a:gd name="connsiteX58" fmla="*/ 278694 w 1034979"/>
                <a:gd name="connsiteY58" fmla="*/ 1073812 h 1489141"/>
                <a:gd name="connsiteX59" fmla="*/ 276789 w 1034979"/>
                <a:gd name="connsiteY59" fmla="*/ 1083337 h 1489141"/>
                <a:gd name="connsiteX60" fmla="*/ 263454 w 1034979"/>
                <a:gd name="connsiteY60" fmla="*/ 1096672 h 1489141"/>
                <a:gd name="connsiteX61" fmla="*/ 252024 w 1034979"/>
                <a:gd name="connsiteY61" fmla="*/ 1104292 h 1489141"/>
                <a:gd name="connsiteX62" fmla="*/ 240594 w 1034979"/>
                <a:gd name="connsiteY62" fmla="*/ 1108102 h 1489141"/>
                <a:gd name="connsiteX63" fmla="*/ 126294 w 1034979"/>
                <a:gd name="connsiteY63" fmla="*/ 1108102 h 1489141"/>
                <a:gd name="connsiteX64" fmla="*/ 120579 w 1034979"/>
                <a:gd name="connsiteY64" fmla="*/ 1110007 h 1489141"/>
                <a:gd name="connsiteX65" fmla="*/ 105339 w 1034979"/>
                <a:gd name="connsiteY65" fmla="*/ 1111912 h 1489141"/>
                <a:gd name="connsiteX66" fmla="*/ 88194 w 1034979"/>
                <a:gd name="connsiteY66" fmla="*/ 1117627 h 1489141"/>
                <a:gd name="connsiteX67" fmla="*/ 82479 w 1034979"/>
                <a:gd name="connsiteY67" fmla="*/ 1119532 h 1489141"/>
                <a:gd name="connsiteX68" fmla="*/ 76764 w 1034979"/>
                <a:gd name="connsiteY68" fmla="*/ 1123342 h 1489141"/>
                <a:gd name="connsiteX69" fmla="*/ 65334 w 1034979"/>
                <a:gd name="connsiteY69" fmla="*/ 1125247 h 1489141"/>
                <a:gd name="connsiteX70" fmla="*/ 27234 w 1034979"/>
                <a:gd name="connsiteY70" fmla="*/ 1127152 h 1489141"/>
                <a:gd name="connsiteX71" fmla="*/ 15804 w 1034979"/>
                <a:gd name="connsiteY71" fmla="*/ 1132867 h 1489141"/>
                <a:gd name="connsiteX72" fmla="*/ 6279 w 1034979"/>
                <a:gd name="connsiteY72" fmla="*/ 1142392 h 1489141"/>
                <a:gd name="connsiteX73" fmla="*/ 4374 w 1034979"/>
                <a:gd name="connsiteY73" fmla="*/ 1148107 h 1489141"/>
                <a:gd name="connsiteX74" fmla="*/ 564 w 1034979"/>
                <a:gd name="connsiteY74" fmla="*/ 1153822 h 1489141"/>
                <a:gd name="connsiteX75" fmla="*/ 6279 w 1034979"/>
                <a:gd name="connsiteY75" fmla="*/ 1186207 h 1489141"/>
                <a:gd name="connsiteX76" fmla="*/ 11994 w 1034979"/>
                <a:gd name="connsiteY76" fmla="*/ 1190017 h 1489141"/>
                <a:gd name="connsiteX77" fmla="*/ 17709 w 1034979"/>
                <a:gd name="connsiteY77" fmla="*/ 1191922 h 1489141"/>
                <a:gd name="connsiteX78" fmla="*/ 145344 w 1034979"/>
                <a:gd name="connsiteY78" fmla="*/ 1190017 h 1489141"/>
                <a:gd name="connsiteX79" fmla="*/ 152964 w 1034979"/>
                <a:gd name="connsiteY79" fmla="*/ 1188112 h 1489141"/>
                <a:gd name="connsiteX80" fmla="*/ 303459 w 1034979"/>
                <a:gd name="connsiteY80" fmla="*/ 1182397 h 1489141"/>
                <a:gd name="connsiteX81" fmla="*/ 318699 w 1034979"/>
                <a:gd name="connsiteY81" fmla="*/ 1190017 h 1489141"/>
                <a:gd name="connsiteX82" fmla="*/ 330129 w 1034979"/>
                <a:gd name="connsiteY82" fmla="*/ 1195732 h 1489141"/>
                <a:gd name="connsiteX83" fmla="*/ 333939 w 1034979"/>
                <a:gd name="connsiteY83" fmla="*/ 1201447 h 1489141"/>
                <a:gd name="connsiteX84" fmla="*/ 339654 w 1034979"/>
                <a:gd name="connsiteY84" fmla="*/ 1203352 h 1489141"/>
                <a:gd name="connsiteX85" fmla="*/ 351084 w 1034979"/>
                <a:gd name="connsiteY85" fmla="*/ 1210972 h 1489141"/>
                <a:gd name="connsiteX86" fmla="*/ 356799 w 1034979"/>
                <a:gd name="connsiteY86" fmla="*/ 1214782 h 1489141"/>
                <a:gd name="connsiteX87" fmla="*/ 360609 w 1034979"/>
                <a:gd name="connsiteY87" fmla="*/ 1220497 h 1489141"/>
                <a:gd name="connsiteX88" fmla="*/ 366324 w 1034979"/>
                <a:gd name="connsiteY88" fmla="*/ 1231927 h 1489141"/>
                <a:gd name="connsiteX89" fmla="*/ 362514 w 1034979"/>
                <a:gd name="connsiteY89" fmla="*/ 1258597 h 1489141"/>
                <a:gd name="connsiteX90" fmla="*/ 358704 w 1034979"/>
                <a:gd name="connsiteY90" fmla="*/ 1264312 h 1489141"/>
                <a:gd name="connsiteX91" fmla="*/ 356799 w 1034979"/>
                <a:gd name="connsiteY91" fmla="*/ 1270027 h 1489141"/>
                <a:gd name="connsiteX92" fmla="*/ 352989 w 1034979"/>
                <a:gd name="connsiteY92" fmla="*/ 1275742 h 1489141"/>
                <a:gd name="connsiteX93" fmla="*/ 351084 w 1034979"/>
                <a:gd name="connsiteY93" fmla="*/ 1281457 h 1489141"/>
                <a:gd name="connsiteX94" fmla="*/ 347274 w 1034979"/>
                <a:gd name="connsiteY94" fmla="*/ 1287172 h 1489141"/>
                <a:gd name="connsiteX95" fmla="*/ 330129 w 1034979"/>
                <a:gd name="connsiteY95" fmla="*/ 1353847 h 1489141"/>
                <a:gd name="connsiteX96" fmla="*/ 328224 w 1034979"/>
                <a:gd name="connsiteY96" fmla="*/ 1405282 h 1489141"/>
                <a:gd name="connsiteX97" fmla="*/ 330129 w 1034979"/>
                <a:gd name="connsiteY97" fmla="*/ 1430047 h 1489141"/>
                <a:gd name="connsiteX98" fmla="*/ 332034 w 1034979"/>
                <a:gd name="connsiteY98" fmla="*/ 1435762 h 1489141"/>
                <a:gd name="connsiteX99" fmla="*/ 335844 w 1034979"/>
                <a:gd name="connsiteY99" fmla="*/ 1439572 h 1489141"/>
                <a:gd name="connsiteX100" fmla="*/ 364419 w 1034979"/>
                <a:gd name="connsiteY100" fmla="*/ 1485292 h 1489141"/>
                <a:gd name="connsiteX101" fmla="*/ 387279 w 1034979"/>
                <a:gd name="connsiteY101" fmla="*/ 1487197 h 1489141"/>
                <a:gd name="connsiteX102" fmla="*/ 392994 w 1034979"/>
                <a:gd name="connsiteY102" fmla="*/ 1481482 h 1489141"/>
                <a:gd name="connsiteX103" fmla="*/ 394899 w 1034979"/>
                <a:gd name="connsiteY103" fmla="*/ 1470052 h 1489141"/>
                <a:gd name="connsiteX104" fmla="*/ 396804 w 1034979"/>
                <a:gd name="connsiteY104" fmla="*/ 1464337 h 1489141"/>
                <a:gd name="connsiteX105" fmla="*/ 398709 w 1034979"/>
                <a:gd name="connsiteY105" fmla="*/ 1447192 h 1489141"/>
                <a:gd name="connsiteX106" fmla="*/ 400614 w 1034979"/>
                <a:gd name="connsiteY106" fmla="*/ 1433857 h 1489141"/>
                <a:gd name="connsiteX107" fmla="*/ 404424 w 1034979"/>
                <a:gd name="connsiteY107" fmla="*/ 1376707 h 1489141"/>
                <a:gd name="connsiteX108" fmla="*/ 410139 w 1034979"/>
                <a:gd name="connsiteY108" fmla="*/ 1365277 h 1489141"/>
                <a:gd name="connsiteX109" fmla="*/ 413949 w 1034979"/>
                <a:gd name="connsiteY109" fmla="*/ 1351942 h 1489141"/>
                <a:gd name="connsiteX110" fmla="*/ 415854 w 1034979"/>
                <a:gd name="connsiteY110" fmla="*/ 1346227 h 1489141"/>
                <a:gd name="connsiteX111" fmla="*/ 417759 w 1034979"/>
                <a:gd name="connsiteY111" fmla="*/ 1332892 h 1489141"/>
                <a:gd name="connsiteX112" fmla="*/ 421569 w 1034979"/>
                <a:gd name="connsiteY112" fmla="*/ 1321462 h 1489141"/>
                <a:gd name="connsiteX113" fmla="*/ 427284 w 1034979"/>
                <a:gd name="connsiteY113" fmla="*/ 1308127 h 1489141"/>
                <a:gd name="connsiteX114" fmla="*/ 436809 w 1034979"/>
                <a:gd name="connsiteY114" fmla="*/ 1296697 h 1489141"/>
                <a:gd name="connsiteX115" fmla="*/ 450144 w 1034979"/>
                <a:gd name="connsiteY115" fmla="*/ 1281457 h 1489141"/>
                <a:gd name="connsiteX116" fmla="*/ 457764 w 1034979"/>
                <a:gd name="connsiteY116" fmla="*/ 1270027 h 1489141"/>
                <a:gd name="connsiteX117" fmla="*/ 461574 w 1034979"/>
                <a:gd name="connsiteY117" fmla="*/ 1258597 h 1489141"/>
                <a:gd name="connsiteX118" fmla="*/ 465384 w 1034979"/>
                <a:gd name="connsiteY118" fmla="*/ 1243357 h 1489141"/>
                <a:gd name="connsiteX119" fmla="*/ 467289 w 1034979"/>
                <a:gd name="connsiteY119" fmla="*/ 1237642 h 1489141"/>
                <a:gd name="connsiteX120" fmla="*/ 507294 w 1034979"/>
                <a:gd name="connsiteY120" fmla="*/ 1231927 h 1489141"/>
                <a:gd name="connsiteX121" fmla="*/ 535869 w 1034979"/>
                <a:gd name="connsiteY121" fmla="*/ 1222402 h 1489141"/>
                <a:gd name="connsiteX122" fmla="*/ 541584 w 1034979"/>
                <a:gd name="connsiteY122" fmla="*/ 1220497 h 1489141"/>
                <a:gd name="connsiteX123" fmla="*/ 547299 w 1034979"/>
                <a:gd name="connsiteY123" fmla="*/ 1218592 h 1489141"/>
                <a:gd name="connsiteX124" fmla="*/ 554919 w 1034979"/>
                <a:gd name="connsiteY124" fmla="*/ 1216687 h 1489141"/>
                <a:gd name="connsiteX125" fmla="*/ 573969 w 1034979"/>
                <a:gd name="connsiteY125" fmla="*/ 1209067 h 1489141"/>
                <a:gd name="connsiteX126" fmla="*/ 585399 w 1034979"/>
                <a:gd name="connsiteY126" fmla="*/ 1205257 h 1489141"/>
                <a:gd name="connsiteX127" fmla="*/ 720654 w 1034979"/>
                <a:gd name="connsiteY127" fmla="*/ 1289077 h 1489141"/>
                <a:gd name="connsiteX128" fmla="*/ 733989 w 1034979"/>
                <a:gd name="connsiteY128" fmla="*/ 1298602 h 1489141"/>
                <a:gd name="connsiteX129" fmla="*/ 743514 w 1034979"/>
                <a:gd name="connsiteY129" fmla="*/ 1300507 h 1489141"/>
                <a:gd name="connsiteX130" fmla="*/ 749229 w 1034979"/>
                <a:gd name="connsiteY130" fmla="*/ 1302412 h 1489141"/>
                <a:gd name="connsiteX131" fmla="*/ 762564 w 1034979"/>
                <a:gd name="connsiteY131" fmla="*/ 1308127 h 1489141"/>
                <a:gd name="connsiteX132" fmla="*/ 777804 w 1034979"/>
                <a:gd name="connsiteY132" fmla="*/ 1306222 h 1489141"/>
                <a:gd name="connsiteX133" fmla="*/ 789234 w 1034979"/>
                <a:gd name="connsiteY133" fmla="*/ 1300507 h 1489141"/>
                <a:gd name="connsiteX134" fmla="*/ 794949 w 1034979"/>
                <a:gd name="connsiteY134" fmla="*/ 1298602 h 1489141"/>
                <a:gd name="connsiteX135" fmla="*/ 802569 w 1034979"/>
                <a:gd name="connsiteY135" fmla="*/ 1281457 h 1489141"/>
                <a:gd name="connsiteX136" fmla="*/ 800664 w 1034979"/>
                <a:gd name="connsiteY136" fmla="*/ 1256692 h 1489141"/>
                <a:gd name="connsiteX137" fmla="*/ 798759 w 1034979"/>
                <a:gd name="connsiteY137" fmla="*/ 1250977 h 1489141"/>
                <a:gd name="connsiteX138" fmla="*/ 796854 w 1034979"/>
                <a:gd name="connsiteY138" fmla="*/ 1243357 h 1489141"/>
                <a:gd name="connsiteX139" fmla="*/ 783519 w 1034979"/>
                <a:gd name="connsiteY139" fmla="*/ 1226212 h 1489141"/>
                <a:gd name="connsiteX140" fmla="*/ 773994 w 1034979"/>
                <a:gd name="connsiteY140" fmla="*/ 1220497 h 1489141"/>
                <a:gd name="connsiteX141" fmla="*/ 648264 w 1034979"/>
                <a:gd name="connsiteY141" fmla="*/ 1129057 h 1489141"/>
                <a:gd name="connsiteX142" fmla="*/ 644454 w 1034979"/>
                <a:gd name="connsiteY142" fmla="*/ 1111912 h 1489141"/>
                <a:gd name="connsiteX143" fmla="*/ 646359 w 1034979"/>
                <a:gd name="connsiteY143" fmla="*/ 1104292 h 1489141"/>
                <a:gd name="connsiteX144" fmla="*/ 650169 w 1034979"/>
                <a:gd name="connsiteY144" fmla="*/ 1087147 h 1489141"/>
                <a:gd name="connsiteX145" fmla="*/ 653979 w 1034979"/>
                <a:gd name="connsiteY145" fmla="*/ 1081432 h 1489141"/>
                <a:gd name="connsiteX146" fmla="*/ 655884 w 1034979"/>
                <a:gd name="connsiteY146" fmla="*/ 1075717 h 1489141"/>
                <a:gd name="connsiteX147" fmla="*/ 661599 w 1034979"/>
                <a:gd name="connsiteY147" fmla="*/ 1073812 h 1489141"/>
                <a:gd name="connsiteX148" fmla="*/ 671124 w 1034979"/>
                <a:gd name="connsiteY148" fmla="*/ 1062382 h 1489141"/>
                <a:gd name="connsiteX149" fmla="*/ 724464 w 1034979"/>
                <a:gd name="connsiteY149" fmla="*/ 1054762 h 1489141"/>
                <a:gd name="connsiteX150" fmla="*/ 842574 w 1034979"/>
                <a:gd name="connsiteY150" fmla="*/ 1056667 h 1489141"/>
                <a:gd name="connsiteX151" fmla="*/ 871149 w 1034979"/>
                <a:gd name="connsiteY151" fmla="*/ 1058572 h 1489141"/>
                <a:gd name="connsiteX152" fmla="*/ 899724 w 1034979"/>
                <a:gd name="connsiteY152" fmla="*/ 1064287 h 1489141"/>
                <a:gd name="connsiteX153" fmla="*/ 922584 w 1034979"/>
                <a:gd name="connsiteY153" fmla="*/ 1068097 h 1489141"/>
                <a:gd name="connsiteX154" fmla="*/ 951159 w 1034979"/>
                <a:gd name="connsiteY154" fmla="*/ 1073812 h 1489141"/>
                <a:gd name="connsiteX155" fmla="*/ 956874 w 1034979"/>
                <a:gd name="connsiteY155" fmla="*/ 1073812 h 1489141"/>
                <a:gd name="connsiteX156" fmla="*/ 1002594 w 1034979"/>
                <a:gd name="connsiteY156" fmla="*/ 1071907 h 1489141"/>
                <a:gd name="connsiteX157" fmla="*/ 1031169 w 1034979"/>
                <a:gd name="connsiteY157" fmla="*/ 1064287 h 1489141"/>
                <a:gd name="connsiteX158" fmla="*/ 1034979 w 1034979"/>
                <a:gd name="connsiteY158" fmla="*/ 1058572 h 1489141"/>
                <a:gd name="connsiteX159" fmla="*/ 1033074 w 1034979"/>
                <a:gd name="connsiteY159" fmla="*/ 1039522 h 1489141"/>
                <a:gd name="connsiteX160" fmla="*/ 1027359 w 1034979"/>
                <a:gd name="connsiteY160" fmla="*/ 1035712 h 1489141"/>
                <a:gd name="connsiteX161" fmla="*/ 1012119 w 1034979"/>
                <a:gd name="connsiteY161" fmla="*/ 1033807 h 1489141"/>
                <a:gd name="connsiteX162" fmla="*/ 1006404 w 1034979"/>
                <a:gd name="connsiteY162" fmla="*/ 1031902 h 1489141"/>
                <a:gd name="connsiteX163" fmla="*/ 998784 w 1034979"/>
                <a:gd name="connsiteY163" fmla="*/ 1029997 h 1489141"/>
                <a:gd name="connsiteX164" fmla="*/ 987354 w 1034979"/>
                <a:gd name="connsiteY164" fmla="*/ 1022377 h 1489141"/>
                <a:gd name="connsiteX165" fmla="*/ 975924 w 1034979"/>
                <a:gd name="connsiteY165" fmla="*/ 1018567 h 1489141"/>
                <a:gd name="connsiteX166" fmla="*/ 970209 w 1034979"/>
                <a:gd name="connsiteY166" fmla="*/ 1016662 h 1489141"/>
                <a:gd name="connsiteX167" fmla="*/ 962589 w 1034979"/>
                <a:gd name="connsiteY167" fmla="*/ 1014757 h 1489141"/>
                <a:gd name="connsiteX168" fmla="*/ 956874 w 1034979"/>
                <a:gd name="connsiteY168" fmla="*/ 1012852 h 1489141"/>
                <a:gd name="connsiteX169" fmla="*/ 935919 w 1034979"/>
                <a:gd name="connsiteY169" fmla="*/ 1007137 h 1489141"/>
                <a:gd name="connsiteX170" fmla="*/ 930204 w 1034979"/>
                <a:gd name="connsiteY170" fmla="*/ 1005232 h 1489141"/>
                <a:gd name="connsiteX171" fmla="*/ 825429 w 1034979"/>
                <a:gd name="connsiteY171" fmla="*/ 1007137 h 1489141"/>
                <a:gd name="connsiteX172" fmla="*/ 819714 w 1034979"/>
                <a:gd name="connsiteY172" fmla="*/ 1009042 h 1489141"/>
                <a:gd name="connsiteX173" fmla="*/ 730179 w 1034979"/>
                <a:gd name="connsiteY173" fmla="*/ 1010947 h 1489141"/>
                <a:gd name="connsiteX174" fmla="*/ 716844 w 1034979"/>
                <a:gd name="connsiteY174" fmla="*/ 1014757 h 1489141"/>
                <a:gd name="connsiteX175" fmla="*/ 695889 w 1034979"/>
                <a:gd name="connsiteY175" fmla="*/ 1016662 h 1489141"/>
                <a:gd name="connsiteX176" fmla="*/ 669219 w 1034979"/>
                <a:gd name="connsiteY176" fmla="*/ 1018567 h 1489141"/>
                <a:gd name="connsiteX177" fmla="*/ 669219 w 1034979"/>
                <a:gd name="connsiteY177" fmla="*/ 1018567 h 1489141"/>
                <a:gd name="connsiteX178" fmla="*/ 646359 w 1034979"/>
                <a:gd name="connsiteY178" fmla="*/ 1022377 h 1489141"/>
                <a:gd name="connsiteX179" fmla="*/ 642549 w 1034979"/>
                <a:gd name="connsiteY179" fmla="*/ 1010947 h 1489141"/>
                <a:gd name="connsiteX180" fmla="*/ 640644 w 1034979"/>
                <a:gd name="connsiteY180" fmla="*/ 1005232 h 1489141"/>
                <a:gd name="connsiteX181" fmla="*/ 642549 w 1034979"/>
                <a:gd name="connsiteY181" fmla="*/ 988087 h 1489141"/>
                <a:gd name="connsiteX182" fmla="*/ 644454 w 1034979"/>
                <a:gd name="connsiteY182" fmla="*/ 982372 h 1489141"/>
                <a:gd name="connsiteX183" fmla="*/ 661599 w 1034979"/>
                <a:gd name="connsiteY183" fmla="*/ 972847 h 1489141"/>
                <a:gd name="connsiteX184" fmla="*/ 673029 w 1034979"/>
                <a:gd name="connsiteY184" fmla="*/ 965227 h 1489141"/>
                <a:gd name="connsiteX185" fmla="*/ 674934 w 1034979"/>
                <a:gd name="connsiteY185" fmla="*/ 959512 h 1489141"/>
                <a:gd name="connsiteX186" fmla="*/ 680649 w 1034979"/>
                <a:gd name="connsiteY186" fmla="*/ 957607 h 1489141"/>
                <a:gd name="connsiteX187" fmla="*/ 686364 w 1034979"/>
                <a:gd name="connsiteY187" fmla="*/ 953797 h 1489141"/>
                <a:gd name="connsiteX188" fmla="*/ 695889 w 1034979"/>
                <a:gd name="connsiteY188" fmla="*/ 944272 h 1489141"/>
                <a:gd name="connsiteX189" fmla="*/ 705414 w 1034979"/>
                <a:gd name="connsiteY189" fmla="*/ 932842 h 1489141"/>
                <a:gd name="connsiteX190" fmla="*/ 716844 w 1034979"/>
                <a:gd name="connsiteY190" fmla="*/ 925222 h 1489141"/>
                <a:gd name="connsiteX191" fmla="*/ 732084 w 1034979"/>
                <a:gd name="connsiteY191" fmla="*/ 911887 h 1489141"/>
                <a:gd name="connsiteX192" fmla="*/ 741609 w 1034979"/>
                <a:gd name="connsiteY192" fmla="*/ 900457 h 1489141"/>
                <a:gd name="connsiteX193" fmla="*/ 753039 w 1034979"/>
                <a:gd name="connsiteY193" fmla="*/ 890932 h 1489141"/>
                <a:gd name="connsiteX194" fmla="*/ 758754 w 1034979"/>
                <a:gd name="connsiteY194" fmla="*/ 879502 h 1489141"/>
                <a:gd name="connsiteX195" fmla="*/ 760659 w 1034979"/>
                <a:gd name="connsiteY195" fmla="*/ 873787 h 1489141"/>
                <a:gd name="connsiteX196" fmla="*/ 766374 w 1034979"/>
                <a:gd name="connsiteY196" fmla="*/ 862357 h 1489141"/>
                <a:gd name="connsiteX197" fmla="*/ 764469 w 1034979"/>
                <a:gd name="connsiteY197" fmla="*/ 847117 h 1489141"/>
                <a:gd name="connsiteX198" fmla="*/ 758754 w 1034979"/>
                <a:gd name="connsiteY198" fmla="*/ 845212 h 1489141"/>
                <a:gd name="connsiteX199" fmla="*/ 737799 w 1034979"/>
                <a:gd name="connsiteY199" fmla="*/ 847117 h 1489141"/>
                <a:gd name="connsiteX200" fmla="*/ 732084 w 1034979"/>
                <a:gd name="connsiteY200" fmla="*/ 850927 h 1489141"/>
                <a:gd name="connsiteX201" fmla="*/ 720654 w 1034979"/>
                <a:gd name="connsiteY201" fmla="*/ 854737 h 1489141"/>
                <a:gd name="connsiteX202" fmla="*/ 716844 w 1034979"/>
                <a:gd name="connsiteY202" fmla="*/ 860452 h 1489141"/>
                <a:gd name="connsiteX203" fmla="*/ 711129 w 1034979"/>
                <a:gd name="connsiteY203" fmla="*/ 862357 h 1489141"/>
                <a:gd name="connsiteX204" fmla="*/ 705414 w 1034979"/>
                <a:gd name="connsiteY204" fmla="*/ 866167 h 1489141"/>
                <a:gd name="connsiteX205" fmla="*/ 699699 w 1034979"/>
                <a:gd name="connsiteY205" fmla="*/ 871882 h 1489141"/>
                <a:gd name="connsiteX206" fmla="*/ 692079 w 1034979"/>
                <a:gd name="connsiteY206" fmla="*/ 875692 h 1489141"/>
                <a:gd name="connsiteX207" fmla="*/ 650169 w 1034979"/>
                <a:gd name="connsiteY207" fmla="*/ 904267 h 1489141"/>
                <a:gd name="connsiteX208" fmla="*/ 636834 w 1034979"/>
                <a:gd name="connsiteY208" fmla="*/ 915697 h 1489141"/>
                <a:gd name="connsiteX209" fmla="*/ 627309 w 1034979"/>
                <a:gd name="connsiteY209" fmla="*/ 932842 h 1489141"/>
                <a:gd name="connsiteX210" fmla="*/ 602544 w 1034979"/>
                <a:gd name="connsiteY210" fmla="*/ 938557 h 1489141"/>
                <a:gd name="connsiteX211" fmla="*/ 589209 w 1034979"/>
                <a:gd name="connsiteY211" fmla="*/ 942367 h 1489141"/>
                <a:gd name="connsiteX212" fmla="*/ 573969 w 1034979"/>
                <a:gd name="connsiteY212" fmla="*/ 940462 h 1489141"/>
                <a:gd name="connsiteX213" fmla="*/ 562539 w 1034979"/>
                <a:gd name="connsiteY213" fmla="*/ 936652 h 1489141"/>
                <a:gd name="connsiteX214" fmla="*/ 551109 w 1034979"/>
                <a:gd name="connsiteY214" fmla="*/ 932842 h 1489141"/>
                <a:gd name="connsiteX215" fmla="*/ 539679 w 1034979"/>
                <a:gd name="connsiteY215" fmla="*/ 929032 h 1489141"/>
                <a:gd name="connsiteX216" fmla="*/ 533964 w 1034979"/>
                <a:gd name="connsiteY216" fmla="*/ 927127 h 1489141"/>
                <a:gd name="connsiteX217" fmla="*/ 528249 w 1034979"/>
                <a:gd name="connsiteY217" fmla="*/ 923317 h 1489141"/>
                <a:gd name="connsiteX218" fmla="*/ 516819 w 1034979"/>
                <a:gd name="connsiteY218" fmla="*/ 917602 h 1489141"/>
                <a:gd name="connsiteX219" fmla="*/ 509199 w 1034979"/>
                <a:gd name="connsiteY219" fmla="*/ 906172 h 1489141"/>
                <a:gd name="connsiteX220" fmla="*/ 505389 w 1034979"/>
                <a:gd name="connsiteY220" fmla="*/ 885217 h 1489141"/>
                <a:gd name="connsiteX221" fmla="*/ 507294 w 1034979"/>
                <a:gd name="connsiteY221" fmla="*/ 820447 h 1489141"/>
                <a:gd name="connsiteX222" fmla="*/ 513009 w 1034979"/>
                <a:gd name="connsiteY222" fmla="*/ 807112 h 1489141"/>
                <a:gd name="connsiteX223" fmla="*/ 503484 w 1034979"/>
                <a:gd name="connsiteY223" fmla="*/ 330862 h 1489141"/>
                <a:gd name="connsiteX224" fmla="*/ 499674 w 1034979"/>
                <a:gd name="connsiteY224" fmla="*/ 39397 h 1489141"/>
                <a:gd name="connsiteX225" fmla="*/ 490149 w 1034979"/>
                <a:gd name="connsiteY225" fmla="*/ 12727 h 1489141"/>
                <a:gd name="connsiteX226" fmla="*/ 488244 w 1034979"/>
                <a:gd name="connsiteY226" fmla="*/ 7012 h 1489141"/>
                <a:gd name="connsiteX227" fmla="*/ 484434 w 1034979"/>
                <a:gd name="connsiteY227" fmla="*/ 1297 h 1489141"/>
                <a:gd name="connsiteX228" fmla="*/ 419664 w 1034979"/>
                <a:gd name="connsiteY228" fmla="*/ 33682 h 1489141"/>
                <a:gd name="connsiteX229" fmla="*/ 423474 w 1034979"/>
                <a:gd name="connsiteY229" fmla="*/ 45112 h 1489141"/>
                <a:gd name="connsiteX230" fmla="*/ 425379 w 1034979"/>
                <a:gd name="connsiteY230" fmla="*/ 50827 h 1489141"/>
                <a:gd name="connsiteX231" fmla="*/ 429189 w 1034979"/>
                <a:gd name="connsiteY231" fmla="*/ 210847 h 1489141"/>
                <a:gd name="connsiteX232" fmla="*/ 440619 w 1034979"/>
                <a:gd name="connsiteY232" fmla="*/ 393727 h 1489141"/>
                <a:gd name="connsiteX233" fmla="*/ 425379 w 1034979"/>
                <a:gd name="connsiteY233" fmla="*/ 690907 h 1489141"/>
                <a:gd name="connsiteX234" fmla="*/ 417759 w 1034979"/>
                <a:gd name="connsiteY234" fmla="*/ 818542 h 1489141"/>
                <a:gd name="connsiteX235" fmla="*/ 413949 w 1034979"/>
                <a:gd name="connsiteY235" fmla="*/ 835687 h 1489141"/>
                <a:gd name="connsiteX236" fmla="*/ 417759 w 1034979"/>
                <a:gd name="connsiteY236" fmla="*/ 856642 h 1489141"/>
                <a:gd name="connsiteX237" fmla="*/ 421569 w 1034979"/>
                <a:gd name="connsiteY237" fmla="*/ 862357 h 1489141"/>
                <a:gd name="connsiteX238" fmla="*/ 425379 w 1034979"/>
                <a:gd name="connsiteY238" fmla="*/ 873787 h 1489141"/>
                <a:gd name="connsiteX239" fmla="*/ 423474 w 1034979"/>
                <a:gd name="connsiteY239" fmla="*/ 900457 h 1489141"/>
                <a:gd name="connsiteX240" fmla="*/ 417759 w 1034979"/>
                <a:gd name="connsiteY240" fmla="*/ 902362 h 1489141"/>
                <a:gd name="connsiteX241" fmla="*/ 412044 w 1034979"/>
                <a:gd name="connsiteY241" fmla="*/ 906172 h 1489141"/>
                <a:gd name="connsiteX242" fmla="*/ 421569 w 1034979"/>
                <a:gd name="connsiteY242" fmla="*/ 902362 h 1489141"/>
                <a:gd name="connsiteX0" fmla="*/ 421569 w 1034979"/>
                <a:gd name="connsiteY0" fmla="*/ 902362 h 1489141"/>
                <a:gd name="connsiteX1" fmla="*/ 421569 w 1034979"/>
                <a:gd name="connsiteY1" fmla="*/ 902362 h 1489141"/>
                <a:gd name="connsiteX2" fmla="*/ 394899 w 1034979"/>
                <a:gd name="connsiteY2" fmla="*/ 911887 h 1489141"/>
                <a:gd name="connsiteX3" fmla="*/ 387279 w 1034979"/>
                <a:gd name="connsiteY3" fmla="*/ 913792 h 1489141"/>
                <a:gd name="connsiteX4" fmla="*/ 356799 w 1034979"/>
                <a:gd name="connsiteY4" fmla="*/ 915697 h 1489141"/>
                <a:gd name="connsiteX5" fmla="*/ 351084 w 1034979"/>
                <a:gd name="connsiteY5" fmla="*/ 919507 h 1489141"/>
                <a:gd name="connsiteX6" fmla="*/ 339654 w 1034979"/>
                <a:gd name="connsiteY6" fmla="*/ 929032 h 1489141"/>
                <a:gd name="connsiteX7" fmla="*/ 328224 w 1034979"/>
                <a:gd name="connsiteY7" fmla="*/ 932842 h 1489141"/>
                <a:gd name="connsiteX8" fmla="*/ 312984 w 1034979"/>
                <a:gd name="connsiteY8" fmla="*/ 938557 h 1489141"/>
                <a:gd name="connsiteX9" fmla="*/ 265359 w 1034979"/>
                <a:gd name="connsiteY9" fmla="*/ 934747 h 1489141"/>
                <a:gd name="connsiteX10" fmla="*/ 253929 w 1034979"/>
                <a:gd name="connsiteY10" fmla="*/ 930937 h 1489141"/>
                <a:gd name="connsiteX11" fmla="*/ 242499 w 1034979"/>
                <a:gd name="connsiteY11" fmla="*/ 927127 h 1489141"/>
                <a:gd name="connsiteX12" fmla="*/ 236784 w 1034979"/>
                <a:gd name="connsiteY12" fmla="*/ 925222 h 1489141"/>
                <a:gd name="connsiteX13" fmla="*/ 231069 w 1034979"/>
                <a:gd name="connsiteY13" fmla="*/ 923317 h 1489141"/>
                <a:gd name="connsiteX14" fmla="*/ 219639 w 1034979"/>
                <a:gd name="connsiteY14" fmla="*/ 921412 h 1489141"/>
                <a:gd name="connsiteX15" fmla="*/ 213924 w 1034979"/>
                <a:gd name="connsiteY15" fmla="*/ 919507 h 1489141"/>
                <a:gd name="connsiteX16" fmla="*/ 206304 w 1034979"/>
                <a:gd name="connsiteY16" fmla="*/ 917602 h 1489141"/>
                <a:gd name="connsiteX17" fmla="*/ 194874 w 1034979"/>
                <a:gd name="connsiteY17" fmla="*/ 913792 h 1489141"/>
                <a:gd name="connsiteX18" fmla="*/ 189159 w 1034979"/>
                <a:gd name="connsiteY18" fmla="*/ 911887 h 1489141"/>
                <a:gd name="connsiteX19" fmla="*/ 181539 w 1034979"/>
                <a:gd name="connsiteY19" fmla="*/ 909982 h 1489141"/>
                <a:gd name="connsiteX20" fmla="*/ 170109 w 1034979"/>
                <a:gd name="connsiteY20" fmla="*/ 904267 h 1489141"/>
                <a:gd name="connsiteX21" fmla="*/ 164394 w 1034979"/>
                <a:gd name="connsiteY21" fmla="*/ 900457 h 1489141"/>
                <a:gd name="connsiteX22" fmla="*/ 156774 w 1034979"/>
                <a:gd name="connsiteY22" fmla="*/ 889027 h 1489141"/>
                <a:gd name="connsiteX23" fmla="*/ 145344 w 1034979"/>
                <a:gd name="connsiteY23" fmla="*/ 885217 h 1489141"/>
                <a:gd name="connsiteX24" fmla="*/ 139629 w 1034979"/>
                <a:gd name="connsiteY24" fmla="*/ 881407 h 1489141"/>
                <a:gd name="connsiteX25" fmla="*/ 133914 w 1034979"/>
                <a:gd name="connsiteY25" fmla="*/ 879502 h 1489141"/>
                <a:gd name="connsiteX26" fmla="*/ 116769 w 1034979"/>
                <a:gd name="connsiteY26" fmla="*/ 875692 h 1489141"/>
                <a:gd name="connsiteX27" fmla="*/ 111054 w 1034979"/>
                <a:gd name="connsiteY27" fmla="*/ 869977 h 1489141"/>
                <a:gd name="connsiteX28" fmla="*/ 101529 w 1034979"/>
                <a:gd name="connsiteY28" fmla="*/ 852832 h 1489141"/>
                <a:gd name="connsiteX29" fmla="*/ 84384 w 1034979"/>
                <a:gd name="connsiteY29" fmla="*/ 845212 h 1489141"/>
                <a:gd name="connsiteX30" fmla="*/ 78669 w 1034979"/>
                <a:gd name="connsiteY30" fmla="*/ 843307 h 1489141"/>
                <a:gd name="connsiteX31" fmla="*/ 59619 w 1034979"/>
                <a:gd name="connsiteY31" fmla="*/ 847117 h 1489141"/>
                <a:gd name="connsiteX32" fmla="*/ 53904 w 1034979"/>
                <a:gd name="connsiteY32" fmla="*/ 850927 h 1489141"/>
                <a:gd name="connsiteX33" fmla="*/ 50094 w 1034979"/>
                <a:gd name="connsiteY33" fmla="*/ 856642 h 1489141"/>
                <a:gd name="connsiteX34" fmla="*/ 46284 w 1034979"/>
                <a:gd name="connsiteY34" fmla="*/ 868072 h 1489141"/>
                <a:gd name="connsiteX35" fmla="*/ 50094 w 1034979"/>
                <a:gd name="connsiteY35" fmla="*/ 906172 h 1489141"/>
                <a:gd name="connsiteX36" fmla="*/ 53904 w 1034979"/>
                <a:gd name="connsiteY36" fmla="*/ 911887 h 1489141"/>
                <a:gd name="connsiteX37" fmla="*/ 59619 w 1034979"/>
                <a:gd name="connsiteY37" fmla="*/ 915697 h 1489141"/>
                <a:gd name="connsiteX38" fmla="*/ 63429 w 1034979"/>
                <a:gd name="connsiteY38" fmla="*/ 921412 h 1489141"/>
                <a:gd name="connsiteX39" fmla="*/ 80574 w 1034979"/>
                <a:gd name="connsiteY39" fmla="*/ 930937 h 1489141"/>
                <a:gd name="connsiteX40" fmla="*/ 103434 w 1034979"/>
                <a:gd name="connsiteY40" fmla="*/ 932842 h 1489141"/>
                <a:gd name="connsiteX41" fmla="*/ 124389 w 1034979"/>
                <a:gd name="connsiteY41" fmla="*/ 938557 h 1489141"/>
                <a:gd name="connsiteX42" fmla="*/ 130104 w 1034979"/>
                <a:gd name="connsiteY42" fmla="*/ 940462 h 1489141"/>
                <a:gd name="connsiteX43" fmla="*/ 135819 w 1034979"/>
                <a:gd name="connsiteY43" fmla="*/ 946177 h 1489141"/>
                <a:gd name="connsiteX44" fmla="*/ 143439 w 1034979"/>
                <a:gd name="connsiteY44" fmla="*/ 948082 h 1489141"/>
                <a:gd name="connsiteX45" fmla="*/ 166299 w 1034979"/>
                <a:gd name="connsiteY45" fmla="*/ 951892 h 1489141"/>
                <a:gd name="connsiteX46" fmla="*/ 191064 w 1034979"/>
                <a:gd name="connsiteY46" fmla="*/ 957607 h 1489141"/>
                <a:gd name="connsiteX47" fmla="*/ 208209 w 1034979"/>
                <a:gd name="connsiteY47" fmla="*/ 963322 h 1489141"/>
                <a:gd name="connsiteX48" fmla="*/ 213924 w 1034979"/>
                <a:gd name="connsiteY48" fmla="*/ 965227 h 1489141"/>
                <a:gd name="connsiteX49" fmla="*/ 229164 w 1034979"/>
                <a:gd name="connsiteY49" fmla="*/ 969037 h 1489141"/>
                <a:gd name="connsiteX50" fmla="*/ 248214 w 1034979"/>
                <a:gd name="connsiteY50" fmla="*/ 974752 h 1489141"/>
                <a:gd name="connsiteX51" fmla="*/ 253929 w 1034979"/>
                <a:gd name="connsiteY51" fmla="*/ 978562 h 1489141"/>
                <a:gd name="connsiteX52" fmla="*/ 267264 w 1034979"/>
                <a:gd name="connsiteY52" fmla="*/ 993802 h 1489141"/>
                <a:gd name="connsiteX53" fmla="*/ 272979 w 1034979"/>
                <a:gd name="connsiteY53" fmla="*/ 1012852 h 1489141"/>
                <a:gd name="connsiteX54" fmla="*/ 274884 w 1034979"/>
                <a:gd name="connsiteY54" fmla="*/ 1018567 h 1489141"/>
                <a:gd name="connsiteX55" fmla="*/ 276789 w 1034979"/>
                <a:gd name="connsiteY55" fmla="*/ 1024282 h 1489141"/>
                <a:gd name="connsiteX56" fmla="*/ 278694 w 1034979"/>
                <a:gd name="connsiteY56" fmla="*/ 1049047 h 1489141"/>
                <a:gd name="connsiteX57" fmla="*/ 280599 w 1034979"/>
                <a:gd name="connsiteY57" fmla="*/ 1054762 h 1489141"/>
                <a:gd name="connsiteX58" fmla="*/ 278694 w 1034979"/>
                <a:gd name="connsiteY58" fmla="*/ 1073812 h 1489141"/>
                <a:gd name="connsiteX59" fmla="*/ 276789 w 1034979"/>
                <a:gd name="connsiteY59" fmla="*/ 1083337 h 1489141"/>
                <a:gd name="connsiteX60" fmla="*/ 263454 w 1034979"/>
                <a:gd name="connsiteY60" fmla="*/ 1096672 h 1489141"/>
                <a:gd name="connsiteX61" fmla="*/ 252024 w 1034979"/>
                <a:gd name="connsiteY61" fmla="*/ 1104292 h 1489141"/>
                <a:gd name="connsiteX62" fmla="*/ 240594 w 1034979"/>
                <a:gd name="connsiteY62" fmla="*/ 1108102 h 1489141"/>
                <a:gd name="connsiteX63" fmla="*/ 126294 w 1034979"/>
                <a:gd name="connsiteY63" fmla="*/ 1108102 h 1489141"/>
                <a:gd name="connsiteX64" fmla="*/ 120579 w 1034979"/>
                <a:gd name="connsiteY64" fmla="*/ 1110007 h 1489141"/>
                <a:gd name="connsiteX65" fmla="*/ 105339 w 1034979"/>
                <a:gd name="connsiteY65" fmla="*/ 1111912 h 1489141"/>
                <a:gd name="connsiteX66" fmla="*/ 88194 w 1034979"/>
                <a:gd name="connsiteY66" fmla="*/ 1117627 h 1489141"/>
                <a:gd name="connsiteX67" fmla="*/ 82479 w 1034979"/>
                <a:gd name="connsiteY67" fmla="*/ 1119532 h 1489141"/>
                <a:gd name="connsiteX68" fmla="*/ 76764 w 1034979"/>
                <a:gd name="connsiteY68" fmla="*/ 1123342 h 1489141"/>
                <a:gd name="connsiteX69" fmla="*/ 65334 w 1034979"/>
                <a:gd name="connsiteY69" fmla="*/ 1125247 h 1489141"/>
                <a:gd name="connsiteX70" fmla="*/ 27234 w 1034979"/>
                <a:gd name="connsiteY70" fmla="*/ 1127152 h 1489141"/>
                <a:gd name="connsiteX71" fmla="*/ 15804 w 1034979"/>
                <a:gd name="connsiteY71" fmla="*/ 1132867 h 1489141"/>
                <a:gd name="connsiteX72" fmla="*/ 6279 w 1034979"/>
                <a:gd name="connsiteY72" fmla="*/ 1142392 h 1489141"/>
                <a:gd name="connsiteX73" fmla="*/ 4374 w 1034979"/>
                <a:gd name="connsiteY73" fmla="*/ 1148107 h 1489141"/>
                <a:gd name="connsiteX74" fmla="*/ 564 w 1034979"/>
                <a:gd name="connsiteY74" fmla="*/ 1153822 h 1489141"/>
                <a:gd name="connsiteX75" fmla="*/ 6279 w 1034979"/>
                <a:gd name="connsiteY75" fmla="*/ 1186207 h 1489141"/>
                <a:gd name="connsiteX76" fmla="*/ 11994 w 1034979"/>
                <a:gd name="connsiteY76" fmla="*/ 1190017 h 1489141"/>
                <a:gd name="connsiteX77" fmla="*/ 17709 w 1034979"/>
                <a:gd name="connsiteY77" fmla="*/ 1191922 h 1489141"/>
                <a:gd name="connsiteX78" fmla="*/ 145344 w 1034979"/>
                <a:gd name="connsiteY78" fmla="*/ 1190017 h 1489141"/>
                <a:gd name="connsiteX79" fmla="*/ 152964 w 1034979"/>
                <a:gd name="connsiteY79" fmla="*/ 1188112 h 1489141"/>
                <a:gd name="connsiteX80" fmla="*/ 303459 w 1034979"/>
                <a:gd name="connsiteY80" fmla="*/ 1182397 h 1489141"/>
                <a:gd name="connsiteX81" fmla="*/ 318699 w 1034979"/>
                <a:gd name="connsiteY81" fmla="*/ 1190017 h 1489141"/>
                <a:gd name="connsiteX82" fmla="*/ 330129 w 1034979"/>
                <a:gd name="connsiteY82" fmla="*/ 1195732 h 1489141"/>
                <a:gd name="connsiteX83" fmla="*/ 333939 w 1034979"/>
                <a:gd name="connsiteY83" fmla="*/ 1201447 h 1489141"/>
                <a:gd name="connsiteX84" fmla="*/ 339654 w 1034979"/>
                <a:gd name="connsiteY84" fmla="*/ 1203352 h 1489141"/>
                <a:gd name="connsiteX85" fmla="*/ 351084 w 1034979"/>
                <a:gd name="connsiteY85" fmla="*/ 1210972 h 1489141"/>
                <a:gd name="connsiteX86" fmla="*/ 356799 w 1034979"/>
                <a:gd name="connsiteY86" fmla="*/ 1214782 h 1489141"/>
                <a:gd name="connsiteX87" fmla="*/ 360609 w 1034979"/>
                <a:gd name="connsiteY87" fmla="*/ 1220497 h 1489141"/>
                <a:gd name="connsiteX88" fmla="*/ 366324 w 1034979"/>
                <a:gd name="connsiteY88" fmla="*/ 1231927 h 1489141"/>
                <a:gd name="connsiteX89" fmla="*/ 362514 w 1034979"/>
                <a:gd name="connsiteY89" fmla="*/ 1258597 h 1489141"/>
                <a:gd name="connsiteX90" fmla="*/ 358704 w 1034979"/>
                <a:gd name="connsiteY90" fmla="*/ 1264312 h 1489141"/>
                <a:gd name="connsiteX91" fmla="*/ 356799 w 1034979"/>
                <a:gd name="connsiteY91" fmla="*/ 1270027 h 1489141"/>
                <a:gd name="connsiteX92" fmla="*/ 352989 w 1034979"/>
                <a:gd name="connsiteY92" fmla="*/ 1275742 h 1489141"/>
                <a:gd name="connsiteX93" fmla="*/ 351084 w 1034979"/>
                <a:gd name="connsiteY93" fmla="*/ 1281457 h 1489141"/>
                <a:gd name="connsiteX94" fmla="*/ 347274 w 1034979"/>
                <a:gd name="connsiteY94" fmla="*/ 1287172 h 1489141"/>
                <a:gd name="connsiteX95" fmla="*/ 330129 w 1034979"/>
                <a:gd name="connsiteY95" fmla="*/ 1353847 h 1489141"/>
                <a:gd name="connsiteX96" fmla="*/ 328224 w 1034979"/>
                <a:gd name="connsiteY96" fmla="*/ 1405282 h 1489141"/>
                <a:gd name="connsiteX97" fmla="*/ 330129 w 1034979"/>
                <a:gd name="connsiteY97" fmla="*/ 1430047 h 1489141"/>
                <a:gd name="connsiteX98" fmla="*/ 332034 w 1034979"/>
                <a:gd name="connsiteY98" fmla="*/ 1435762 h 1489141"/>
                <a:gd name="connsiteX99" fmla="*/ 335844 w 1034979"/>
                <a:gd name="connsiteY99" fmla="*/ 1439572 h 1489141"/>
                <a:gd name="connsiteX100" fmla="*/ 364419 w 1034979"/>
                <a:gd name="connsiteY100" fmla="*/ 1485292 h 1489141"/>
                <a:gd name="connsiteX101" fmla="*/ 387279 w 1034979"/>
                <a:gd name="connsiteY101" fmla="*/ 1487197 h 1489141"/>
                <a:gd name="connsiteX102" fmla="*/ 392994 w 1034979"/>
                <a:gd name="connsiteY102" fmla="*/ 1481482 h 1489141"/>
                <a:gd name="connsiteX103" fmla="*/ 394899 w 1034979"/>
                <a:gd name="connsiteY103" fmla="*/ 1470052 h 1489141"/>
                <a:gd name="connsiteX104" fmla="*/ 396804 w 1034979"/>
                <a:gd name="connsiteY104" fmla="*/ 1464337 h 1489141"/>
                <a:gd name="connsiteX105" fmla="*/ 398709 w 1034979"/>
                <a:gd name="connsiteY105" fmla="*/ 1447192 h 1489141"/>
                <a:gd name="connsiteX106" fmla="*/ 400614 w 1034979"/>
                <a:gd name="connsiteY106" fmla="*/ 1433857 h 1489141"/>
                <a:gd name="connsiteX107" fmla="*/ 404424 w 1034979"/>
                <a:gd name="connsiteY107" fmla="*/ 1376707 h 1489141"/>
                <a:gd name="connsiteX108" fmla="*/ 410139 w 1034979"/>
                <a:gd name="connsiteY108" fmla="*/ 1365277 h 1489141"/>
                <a:gd name="connsiteX109" fmla="*/ 413949 w 1034979"/>
                <a:gd name="connsiteY109" fmla="*/ 1351942 h 1489141"/>
                <a:gd name="connsiteX110" fmla="*/ 415854 w 1034979"/>
                <a:gd name="connsiteY110" fmla="*/ 1346227 h 1489141"/>
                <a:gd name="connsiteX111" fmla="*/ 417759 w 1034979"/>
                <a:gd name="connsiteY111" fmla="*/ 1332892 h 1489141"/>
                <a:gd name="connsiteX112" fmla="*/ 421569 w 1034979"/>
                <a:gd name="connsiteY112" fmla="*/ 1321462 h 1489141"/>
                <a:gd name="connsiteX113" fmla="*/ 427284 w 1034979"/>
                <a:gd name="connsiteY113" fmla="*/ 1308127 h 1489141"/>
                <a:gd name="connsiteX114" fmla="*/ 436809 w 1034979"/>
                <a:gd name="connsiteY114" fmla="*/ 1296697 h 1489141"/>
                <a:gd name="connsiteX115" fmla="*/ 450144 w 1034979"/>
                <a:gd name="connsiteY115" fmla="*/ 1281457 h 1489141"/>
                <a:gd name="connsiteX116" fmla="*/ 457764 w 1034979"/>
                <a:gd name="connsiteY116" fmla="*/ 1270027 h 1489141"/>
                <a:gd name="connsiteX117" fmla="*/ 461574 w 1034979"/>
                <a:gd name="connsiteY117" fmla="*/ 1258597 h 1489141"/>
                <a:gd name="connsiteX118" fmla="*/ 465384 w 1034979"/>
                <a:gd name="connsiteY118" fmla="*/ 1243357 h 1489141"/>
                <a:gd name="connsiteX119" fmla="*/ 467289 w 1034979"/>
                <a:gd name="connsiteY119" fmla="*/ 1237642 h 1489141"/>
                <a:gd name="connsiteX120" fmla="*/ 507294 w 1034979"/>
                <a:gd name="connsiteY120" fmla="*/ 1231927 h 1489141"/>
                <a:gd name="connsiteX121" fmla="*/ 535869 w 1034979"/>
                <a:gd name="connsiteY121" fmla="*/ 1222402 h 1489141"/>
                <a:gd name="connsiteX122" fmla="*/ 541584 w 1034979"/>
                <a:gd name="connsiteY122" fmla="*/ 1220497 h 1489141"/>
                <a:gd name="connsiteX123" fmla="*/ 547299 w 1034979"/>
                <a:gd name="connsiteY123" fmla="*/ 1218592 h 1489141"/>
                <a:gd name="connsiteX124" fmla="*/ 554919 w 1034979"/>
                <a:gd name="connsiteY124" fmla="*/ 1216687 h 1489141"/>
                <a:gd name="connsiteX125" fmla="*/ 573969 w 1034979"/>
                <a:gd name="connsiteY125" fmla="*/ 1209067 h 1489141"/>
                <a:gd name="connsiteX126" fmla="*/ 585399 w 1034979"/>
                <a:gd name="connsiteY126" fmla="*/ 1205257 h 1489141"/>
                <a:gd name="connsiteX127" fmla="*/ 720654 w 1034979"/>
                <a:gd name="connsiteY127" fmla="*/ 1289077 h 1489141"/>
                <a:gd name="connsiteX128" fmla="*/ 733989 w 1034979"/>
                <a:gd name="connsiteY128" fmla="*/ 1298602 h 1489141"/>
                <a:gd name="connsiteX129" fmla="*/ 743514 w 1034979"/>
                <a:gd name="connsiteY129" fmla="*/ 1300507 h 1489141"/>
                <a:gd name="connsiteX130" fmla="*/ 749229 w 1034979"/>
                <a:gd name="connsiteY130" fmla="*/ 1302412 h 1489141"/>
                <a:gd name="connsiteX131" fmla="*/ 762564 w 1034979"/>
                <a:gd name="connsiteY131" fmla="*/ 1308127 h 1489141"/>
                <a:gd name="connsiteX132" fmla="*/ 777804 w 1034979"/>
                <a:gd name="connsiteY132" fmla="*/ 1306222 h 1489141"/>
                <a:gd name="connsiteX133" fmla="*/ 789234 w 1034979"/>
                <a:gd name="connsiteY133" fmla="*/ 1300507 h 1489141"/>
                <a:gd name="connsiteX134" fmla="*/ 794949 w 1034979"/>
                <a:gd name="connsiteY134" fmla="*/ 1298602 h 1489141"/>
                <a:gd name="connsiteX135" fmla="*/ 802569 w 1034979"/>
                <a:gd name="connsiteY135" fmla="*/ 1281457 h 1489141"/>
                <a:gd name="connsiteX136" fmla="*/ 800664 w 1034979"/>
                <a:gd name="connsiteY136" fmla="*/ 1256692 h 1489141"/>
                <a:gd name="connsiteX137" fmla="*/ 798759 w 1034979"/>
                <a:gd name="connsiteY137" fmla="*/ 1250977 h 1489141"/>
                <a:gd name="connsiteX138" fmla="*/ 796854 w 1034979"/>
                <a:gd name="connsiteY138" fmla="*/ 1243357 h 1489141"/>
                <a:gd name="connsiteX139" fmla="*/ 783519 w 1034979"/>
                <a:gd name="connsiteY139" fmla="*/ 1226212 h 1489141"/>
                <a:gd name="connsiteX140" fmla="*/ 773994 w 1034979"/>
                <a:gd name="connsiteY140" fmla="*/ 1220497 h 1489141"/>
                <a:gd name="connsiteX141" fmla="*/ 648264 w 1034979"/>
                <a:gd name="connsiteY141" fmla="*/ 1129057 h 1489141"/>
                <a:gd name="connsiteX142" fmla="*/ 644454 w 1034979"/>
                <a:gd name="connsiteY142" fmla="*/ 1111912 h 1489141"/>
                <a:gd name="connsiteX143" fmla="*/ 646359 w 1034979"/>
                <a:gd name="connsiteY143" fmla="*/ 1104292 h 1489141"/>
                <a:gd name="connsiteX144" fmla="*/ 650169 w 1034979"/>
                <a:gd name="connsiteY144" fmla="*/ 1087147 h 1489141"/>
                <a:gd name="connsiteX145" fmla="*/ 653979 w 1034979"/>
                <a:gd name="connsiteY145" fmla="*/ 1081432 h 1489141"/>
                <a:gd name="connsiteX146" fmla="*/ 655884 w 1034979"/>
                <a:gd name="connsiteY146" fmla="*/ 1075717 h 1489141"/>
                <a:gd name="connsiteX147" fmla="*/ 661599 w 1034979"/>
                <a:gd name="connsiteY147" fmla="*/ 1073812 h 1489141"/>
                <a:gd name="connsiteX148" fmla="*/ 671124 w 1034979"/>
                <a:gd name="connsiteY148" fmla="*/ 1062382 h 1489141"/>
                <a:gd name="connsiteX149" fmla="*/ 724464 w 1034979"/>
                <a:gd name="connsiteY149" fmla="*/ 1054762 h 1489141"/>
                <a:gd name="connsiteX150" fmla="*/ 842574 w 1034979"/>
                <a:gd name="connsiteY150" fmla="*/ 1056667 h 1489141"/>
                <a:gd name="connsiteX151" fmla="*/ 871149 w 1034979"/>
                <a:gd name="connsiteY151" fmla="*/ 1058572 h 1489141"/>
                <a:gd name="connsiteX152" fmla="*/ 899724 w 1034979"/>
                <a:gd name="connsiteY152" fmla="*/ 1064287 h 1489141"/>
                <a:gd name="connsiteX153" fmla="*/ 922584 w 1034979"/>
                <a:gd name="connsiteY153" fmla="*/ 1068097 h 1489141"/>
                <a:gd name="connsiteX154" fmla="*/ 951159 w 1034979"/>
                <a:gd name="connsiteY154" fmla="*/ 1073812 h 1489141"/>
                <a:gd name="connsiteX155" fmla="*/ 956874 w 1034979"/>
                <a:gd name="connsiteY155" fmla="*/ 1073812 h 1489141"/>
                <a:gd name="connsiteX156" fmla="*/ 1002594 w 1034979"/>
                <a:gd name="connsiteY156" fmla="*/ 1071907 h 1489141"/>
                <a:gd name="connsiteX157" fmla="*/ 1031169 w 1034979"/>
                <a:gd name="connsiteY157" fmla="*/ 1064287 h 1489141"/>
                <a:gd name="connsiteX158" fmla="*/ 1034979 w 1034979"/>
                <a:gd name="connsiteY158" fmla="*/ 1058572 h 1489141"/>
                <a:gd name="connsiteX159" fmla="*/ 1033074 w 1034979"/>
                <a:gd name="connsiteY159" fmla="*/ 1039522 h 1489141"/>
                <a:gd name="connsiteX160" fmla="*/ 1027359 w 1034979"/>
                <a:gd name="connsiteY160" fmla="*/ 1035712 h 1489141"/>
                <a:gd name="connsiteX161" fmla="*/ 1012119 w 1034979"/>
                <a:gd name="connsiteY161" fmla="*/ 1033807 h 1489141"/>
                <a:gd name="connsiteX162" fmla="*/ 1006404 w 1034979"/>
                <a:gd name="connsiteY162" fmla="*/ 1031902 h 1489141"/>
                <a:gd name="connsiteX163" fmla="*/ 998784 w 1034979"/>
                <a:gd name="connsiteY163" fmla="*/ 1029997 h 1489141"/>
                <a:gd name="connsiteX164" fmla="*/ 987354 w 1034979"/>
                <a:gd name="connsiteY164" fmla="*/ 1022377 h 1489141"/>
                <a:gd name="connsiteX165" fmla="*/ 975924 w 1034979"/>
                <a:gd name="connsiteY165" fmla="*/ 1018567 h 1489141"/>
                <a:gd name="connsiteX166" fmla="*/ 970209 w 1034979"/>
                <a:gd name="connsiteY166" fmla="*/ 1016662 h 1489141"/>
                <a:gd name="connsiteX167" fmla="*/ 962589 w 1034979"/>
                <a:gd name="connsiteY167" fmla="*/ 1014757 h 1489141"/>
                <a:gd name="connsiteX168" fmla="*/ 956874 w 1034979"/>
                <a:gd name="connsiteY168" fmla="*/ 1012852 h 1489141"/>
                <a:gd name="connsiteX169" fmla="*/ 935919 w 1034979"/>
                <a:gd name="connsiteY169" fmla="*/ 1007137 h 1489141"/>
                <a:gd name="connsiteX170" fmla="*/ 930204 w 1034979"/>
                <a:gd name="connsiteY170" fmla="*/ 1005232 h 1489141"/>
                <a:gd name="connsiteX171" fmla="*/ 825429 w 1034979"/>
                <a:gd name="connsiteY171" fmla="*/ 1007137 h 1489141"/>
                <a:gd name="connsiteX172" fmla="*/ 819714 w 1034979"/>
                <a:gd name="connsiteY172" fmla="*/ 1009042 h 1489141"/>
                <a:gd name="connsiteX173" fmla="*/ 730179 w 1034979"/>
                <a:gd name="connsiteY173" fmla="*/ 1010947 h 1489141"/>
                <a:gd name="connsiteX174" fmla="*/ 716844 w 1034979"/>
                <a:gd name="connsiteY174" fmla="*/ 1014757 h 1489141"/>
                <a:gd name="connsiteX175" fmla="*/ 695889 w 1034979"/>
                <a:gd name="connsiteY175" fmla="*/ 1016662 h 1489141"/>
                <a:gd name="connsiteX176" fmla="*/ 669219 w 1034979"/>
                <a:gd name="connsiteY176" fmla="*/ 1018567 h 1489141"/>
                <a:gd name="connsiteX177" fmla="*/ 669219 w 1034979"/>
                <a:gd name="connsiteY177" fmla="*/ 1018567 h 1489141"/>
                <a:gd name="connsiteX178" fmla="*/ 646359 w 1034979"/>
                <a:gd name="connsiteY178" fmla="*/ 1022377 h 1489141"/>
                <a:gd name="connsiteX179" fmla="*/ 642549 w 1034979"/>
                <a:gd name="connsiteY179" fmla="*/ 1010947 h 1489141"/>
                <a:gd name="connsiteX180" fmla="*/ 640644 w 1034979"/>
                <a:gd name="connsiteY180" fmla="*/ 1005232 h 1489141"/>
                <a:gd name="connsiteX181" fmla="*/ 642549 w 1034979"/>
                <a:gd name="connsiteY181" fmla="*/ 988087 h 1489141"/>
                <a:gd name="connsiteX182" fmla="*/ 644454 w 1034979"/>
                <a:gd name="connsiteY182" fmla="*/ 982372 h 1489141"/>
                <a:gd name="connsiteX183" fmla="*/ 661599 w 1034979"/>
                <a:gd name="connsiteY183" fmla="*/ 972847 h 1489141"/>
                <a:gd name="connsiteX184" fmla="*/ 673029 w 1034979"/>
                <a:gd name="connsiteY184" fmla="*/ 965227 h 1489141"/>
                <a:gd name="connsiteX185" fmla="*/ 674934 w 1034979"/>
                <a:gd name="connsiteY185" fmla="*/ 959512 h 1489141"/>
                <a:gd name="connsiteX186" fmla="*/ 680649 w 1034979"/>
                <a:gd name="connsiteY186" fmla="*/ 957607 h 1489141"/>
                <a:gd name="connsiteX187" fmla="*/ 686364 w 1034979"/>
                <a:gd name="connsiteY187" fmla="*/ 953797 h 1489141"/>
                <a:gd name="connsiteX188" fmla="*/ 695889 w 1034979"/>
                <a:gd name="connsiteY188" fmla="*/ 944272 h 1489141"/>
                <a:gd name="connsiteX189" fmla="*/ 705414 w 1034979"/>
                <a:gd name="connsiteY189" fmla="*/ 932842 h 1489141"/>
                <a:gd name="connsiteX190" fmla="*/ 716844 w 1034979"/>
                <a:gd name="connsiteY190" fmla="*/ 925222 h 1489141"/>
                <a:gd name="connsiteX191" fmla="*/ 732084 w 1034979"/>
                <a:gd name="connsiteY191" fmla="*/ 911887 h 1489141"/>
                <a:gd name="connsiteX192" fmla="*/ 741609 w 1034979"/>
                <a:gd name="connsiteY192" fmla="*/ 900457 h 1489141"/>
                <a:gd name="connsiteX193" fmla="*/ 753039 w 1034979"/>
                <a:gd name="connsiteY193" fmla="*/ 890932 h 1489141"/>
                <a:gd name="connsiteX194" fmla="*/ 758754 w 1034979"/>
                <a:gd name="connsiteY194" fmla="*/ 879502 h 1489141"/>
                <a:gd name="connsiteX195" fmla="*/ 760659 w 1034979"/>
                <a:gd name="connsiteY195" fmla="*/ 873787 h 1489141"/>
                <a:gd name="connsiteX196" fmla="*/ 766374 w 1034979"/>
                <a:gd name="connsiteY196" fmla="*/ 862357 h 1489141"/>
                <a:gd name="connsiteX197" fmla="*/ 764469 w 1034979"/>
                <a:gd name="connsiteY197" fmla="*/ 847117 h 1489141"/>
                <a:gd name="connsiteX198" fmla="*/ 758754 w 1034979"/>
                <a:gd name="connsiteY198" fmla="*/ 845212 h 1489141"/>
                <a:gd name="connsiteX199" fmla="*/ 737799 w 1034979"/>
                <a:gd name="connsiteY199" fmla="*/ 847117 h 1489141"/>
                <a:gd name="connsiteX200" fmla="*/ 732084 w 1034979"/>
                <a:gd name="connsiteY200" fmla="*/ 850927 h 1489141"/>
                <a:gd name="connsiteX201" fmla="*/ 720654 w 1034979"/>
                <a:gd name="connsiteY201" fmla="*/ 854737 h 1489141"/>
                <a:gd name="connsiteX202" fmla="*/ 716844 w 1034979"/>
                <a:gd name="connsiteY202" fmla="*/ 860452 h 1489141"/>
                <a:gd name="connsiteX203" fmla="*/ 711129 w 1034979"/>
                <a:gd name="connsiteY203" fmla="*/ 862357 h 1489141"/>
                <a:gd name="connsiteX204" fmla="*/ 705414 w 1034979"/>
                <a:gd name="connsiteY204" fmla="*/ 866167 h 1489141"/>
                <a:gd name="connsiteX205" fmla="*/ 699699 w 1034979"/>
                <a:gd name="connsiteY205" fmla="*/ 871882 h 1489141"/>
                <a:gd name="connsiteX206" fmla="*/ 692079 w 1034979"/>
                <a:gd name="connsiteY206" fmla="*/ 875692 h 1489141"/>
                <a:gd name="connsiteX207" fmla="*/ 650169 w 1034979"/>
                <a:gd name="connsiteY207" fmla="*/ 904267 h 1489141"/>
                <a:gd name="connsiteX208" fmla="*/ 636834 w 1034979"/>
                <a:gd name="connsiteY208" fmla="*/ 915697 h 1489141"/>
                <a:gd name="connsiteX209" fmla="*/ 627309 w 1034979"/>
                <a:gd name="connsiteY209" fmla="*/ 932842 h 1489141"/>
                <a:gd name="connsiteX210" fmla="*/ 602544 w 1034979"/>
                <a:gd name="connsiteY210" fmla="*/ 938557 h 1489141"/>
                <a:gd name="connsiteX211" fmla="*/ 589209 w 1034979"/>
                <a:gd name="connsiteY211" fmla="*/ 942367 h 1489141"/>
                <a:gd name="connsiteX212" fmla="*/ 573969 w 1034979"/>
                <a:gd name="connsiteY212" fmla="*/ 940462 h 1489141"/>
                <a:gd name="connsiteX213" fmla="*/ 562539 w 1034979"/>
                <a:gd name="connsiteY213" fmla="*/ 936652 h 1489141"/>
                <a:gd name="connsiteX214" fmla="*/ 551109 w 1034979"/>
                <a:gd name="connsiteY214" fmla="*/ 932842 h 1489141"/>
                <a:gd name="connsiteX215" fmla="*/ 539679 w 1034979"/>
                <a:gd name="connsiteY215" fmla="*/ 929032 h 1489141"/>
                <a:gd name="connsiteX216" fmla="*/ 533964 w 1034979"/>
                <a:gd name="connsiteY216" fmla="*/ 927127 h 1489141"/>
                <a:gd name="connsiteX217" fmla="*/ 528249 w 1034979"/>
                <a:gd name="connsiteY217" fmla="*/ 923317 h 1489141"/>
                <a:gd name="connsiteX218" fmla="*/ 516819 w 1034979"/>
                <a:gd name="connsiteY218" fmla="*/ 917602 h 1489141"/>
                <a:gd name="connsiteX219" fmla="*/ 509199 w 1034979"/>
                <a:gd name="connsiteY219" fmla="*/ 906172 h 1489141"/>
                <a:gd name="connsiteX220" fmla="*/ 505389 w 1034979"/>
                <a:gd name="connsiteY220" fmla="*/ 885217 h 1489141"/>
                <a:gd name="connsiteX221" fmla="*/ 507294 w 1034979"/>
                <a:gd name="connsiteY221" fmla="*/ 820447 h 1489141"/>
                <a:gd name="connsiteX222" fmla="*/ 513009 w 1034979"/>
                <a:gd name="connsiteY222" fmla="*/ 807112 h 1489141"/>
                <a:gd name="connsiteX223" fmla="*/ 503484 w 1034979"/>
                <a:gd name="connsiteY223" fmla="*/ 330862 h 1489141"/>
                <a:gd name="connsiteX224" fmla="*/ 499674 w 1034979"/>
                <a:gd name="connsiteY224" fmla="*/ 39397 h 1489141"/>
                <a:gd name="connsiteX225" fmla="*/ 490149 w 1034979"/>
                <a:gd name="connsiteY225" fmla="*/ 12727 h 1489141"/>
                <a:gd name="connsiteX226" fmla="*/ 488244 w 1034979"/>
                <a:gd name="connsiteY226" fmla="*/ 7012 h 1489141"/>
                <a:gd name="connsiteX227" fmla="*/ 484434 w 1034979"/>
                <a:gd name="connsiteY227" fmla="*/ 1297 h 1489141"/>
                <a:gd name="connsiteX228" fmla="*/ 419664 w 1034979"/>
                <a:gd name="connsiteY228" fmla="*/ 33682 h 1489141"/>
                <a:gd name="connsiteX229" fmla="*/ 423474 w 1034979"/>
                <a:gd name="connsiteY229" fmla="*/ 45112 h 1489141"/>
                <a:gd name="connsiteX230" fmla="*/ 429189 w 1034979"/>
                <a:gd name="connsiteY230" fmla="*/ 210847 h 1489141"/>
                <a:gd name="connsiteX231" fmla="*/ 440619 w 1034979"/>
                <a:gd name="connsiteY231" fmla="*/ 393727 h 1489141"/>
                <a:gd name="connsiteX232" fmla="*/ 425379 w 1034979"/>
                <a:gd name="connsiteY232" fmla="*/ 690907 h 1489141"/>
                <a:gd name="connsiteX233" fmla="*/ 417759 w 1034979"/>
                <a:gd name="connsiteY233" fmla="*/ 818542 h 1489141"/>
                <a:gd name="connsiteX234" fmla="*/ 413949 w 1034979"/>
                <a:gd name="connsiteY234" fmla="*/ 835687 h 1489141"/>
                <a:gd name="connsiteX235" fmla="*/ 417759 w 1034979"/>
                <a:gd name="connsiteY235" fmla="*/ 856642 h 1489141"/>
                <a:gd name="connsiteX236" fmla="*/ 421569 w 1034979"/>
                <a:gd name="connsiteY236" fmla="*/ 862357 h 1489141"/>
                <a:gd name="connsiteX237" fmla="*/ 425379 w 1034979"/>
                <a:gd name="connsiteY237" fmla="*/ 873787 h 1489141"/>
                <a:gd name="connsiteX238" fmla="*/ 423474 w 1034979"/>
                <a:gd name="connsiteY238" fmla="*/ 900457 h 1489141"/>
                <a:gd name="connsiteX239" fmla="*/ 417759 w 1034979"/>
                <a:gd name="connsiteY239" fmla="*/ 902362 h 1489141"/>
                <a:gd name="connsiteX240" fmla="*/ 412044 w 1034979"/>
                <a:gd name="connsiteY240" fmla="*/ 906172 h 1489141"/>
                <a:gd name="connsiteX241" fmla="*/ 421569 w 1034979"/>
                <a:gd name="connsiteY241" fmla="*/ 902362 h 1489141"/>
                <a:gd name="connsiteX0" fmla="*/ 421569 w 1034979"/>
                <a:gd name="connsiteY0" fmla="*/ 902362 h 1489141"/>
                <a:gd name="connsiteX1" fmla="*/ 421569 w 1034979"/>
                <a:gd name="connsiteY1" fmla="*/ 902362 h 1489141"/>
                <a:gd name="connsiteX2" fmla="*/ 394899 w 1034979"/>
                <a:gd name="connsiteY2" fmla="*/ 911887 h 1489141"/>
                <a:gd name="connsiteX3" fmla="*/ 387279 w 1034979"/>
                <a:gd name="connsiteY3" fmla="*/ 913792 h 1489141"/>
                <a:gd name="connsiteX4" fmla="*/ 356799 w 1034979"/>
                <a:gd name="connsiteY4" fmla="*/ 915697 h 1489141"/>
                <a:gd name="connsiteX5" fmla="*/ 351084 w 1034979"/>
                <a:gd name="connsiteY5" fmla="*/ 919507 h 1489141"/>
                <a:gd name="connsiteX6" fmla="*/ 339654 w 1034979"/>
                <a:gd name="connsiteY6" fmla="*/ 929032 h 1489141"/>
                <a:gd name="connsiteX7" fmla="*/ 328224 w 1034979"/>
                <a:gd name="connsiteY7" fmla="*/ 932842 h 1489141"/>
                <a:gd name="connsiteX8" fmla="*/ 312984 w 1034979"/>
                <a:gd name="connsiteY8" fmla="*/ 938557 h 1489141"/>
                <a:gd name="connsiteX9" fmla="*/ 265359 w 1034979"/>
                <a:gd name="connsiteY9" fmla="*/ 934747 h 1489141"/>
                <a:gd name="connsiteX10" fmla="*/ 253929 w 1034979"/>
                <a:gd name="connsiteY10" fmla="*/ 930937 h 1489141"/>
                <a:gd name="connsiteX11" fmla="*/ 242499 w 1034979"/>
                <a:gd name="connsiteY11" fmla="*/ 927127 h 1489141"/>
                <a:gd name="connsiteX12" fmla="*/ 236784 w 1034979"/>
                <a:gd name="connsiteY12" fmla="*/ 925222 h 1489141"/>
                <a:gd name="connsiteX13" fmla="*/ 231069 w 1034979"/>
                <a:gd name="connsiteY13" fmla="*/ 923317 h 1489141"/>
                <a:gd name="connsiteX14" fmla="*/ 219639 w 1034979"/>
                <a:gd name="connsiteY14" fmla="*/ 921412 h 1489141"/>
                <a:gd name="connsiteX15" fmla="*/ 213924 w 1034979"/>
                <a:gd name="connsiteY15" fmla="*/ 919507 h 1489141"/>
                <a:gd name="connsiteX16" fmla="*/ 206304 w 1034979"/>
                <a:gd name="connsiteY16" fmla="*/ 917602 h 1489141"/>
                <a:gd name="connsiteX17" fmla="*/ 194874 w 1034979"/>
                <a:gd name="connsiteY17" fmla="*/ 913792 h 1489141"/>
                <a:gd name="connsiteX18" fmla="*/ 189159 w 1034979"/>
                <a:gd name="connsiteY18" fmla="*/ 911887 h 1489141"/>
                <a:gd name="connsiteX19" fmla="*/ 181539 w 1034979"/>
                <a:gd name="connsiteY19" fmla="*/ 909982 h 1489141"/>
                <a:gd name="connsiteX20" fmla="*/ 170109 w 1034979"/>
                <a:gd name="connsiteY20" fmla="*/ 904267 h 1489141"/>
                <a:gd name="connsiteX21" fmla="*/ 164394 w 1034979"/>
                <a:gd name="connsiteY21" fmla="*/ 900457 h 1489141"/>
                <a:gd name="connsiteX22" fmla="*/ 156774 w 1034979"/>
                <a:gd name="connsiteY22" fmla="*/ 889027 h 1489141"/>
                <a:gd name="connsiteX23" fmla="*/ 145344 w 1034979"/>
                <a:gd name="connsiteY23" fmla="*/ 885217 h 1489141"/>
                <a:gd name="connsiteX24" fmla="*/ 139629 w 1034979"/>
                <a:gd name="connsiteY24" fmla="*/ 881407 h 1489141"/>
                <a:gd name="connsiteX25" fmla="*/ 133914 w 1034979"/>
                <a:gd name="connsiteY25" fmla="*/ 879502 h 1489141"/>
                <a:gd name="connsiteX26" fmla="*/ 116769 w 1034979"/>
                <a:gd name="connsiteY26" fmla="*/ 875692 h 1489141"/>
                <a:gd name="connsiteX27" fmla="*/ 111054 w 1034979"/>
                <a:gd name="connsiteY27" fmla="*/ 869977 h 1489141"/>
                <a:gd name="connsiteX28" fmla="*/ 101529 w 1034979"/>
                <a:gd name="connsiteY28" fmla="*/ 852832 h 1489141"/>
                <a:gd name="connsiteX29" fmla="*/ 84384 w 1034979"/>
                <a:gd name="connsiteY29" fmla="*/ 845212 h 1489141"/>
                <a:gd name="connsiteX30" fmla="*/ 78669 w 1034979"/>
                <a:gd name="connsiteY30" fmla="*/ 843307 h 1489141"/>
                <a:gd name="connsiteX31" fmla="*/ 59619 w 1034979"/>
                <a:gd name="connsiteY31" fmla="*/ 847117 h 1489141"/>
                <a:gd name="connsiteX32" fmla="*/ 53904 w 1034979"/>
                <a:gd name="connsiteY32" fmla="*/ 850927 h 1489141"/>
                <a:gd name="connsiteX33" fmla="*/ 50094 w 1034979"/>
                <a:gd name="connsiteY33" fmla="*/ 856642 h 1489141"/>
                <a:gd name="connsiteX34" fmla="*/ 46284 w 1034979"/>
                <a:gd name="connsiteY34" fmla="*/ 868072 h 1489141"/>
                <a:gd name="connsiteX35" fmla="*/ 50094 w 1034979"/>
                <a:gd name="connsiteY35" fmla="*/ 906172 h 1489141"/>
                <a:gd name="connsiteX36" fmla="*/ 53904 w 1034979"/>
                <a:gd name="connsiteY36" fmla="*/ 911887 h 1489141"/>
                <a:gd name="connsiteX37" fmla="*/ 59619 w 1034979"/>
                <a:gd name="connsiteY37" fmla="*/ 915697 h 1489141"/>
                <a:gd name="connsiteX38" fmla="*/ 63429 w 1034979"/>
                <a:gd name="connsiteY38" fmla="*/ 921412 h 1489141"/>
                <a:gd name="connsiteX39" fmla="*/ 80574 w 1034979"/>
                <a:gd name="connsiteY39" fmla="*/ 930937 h 1489141"/>
                <a:gd name="connsiteX40" fmla="*/ 103434 w 1034979"/>
                <a:gd name="connsiteY40" fmla="*/ 932842 h 1489141"/>
                <a:gd name="connsiteX41" fmla="*/ 124389 w 1034979"/>
                <a:gd name="connsiteY41" fmla="*/ 938557 h 1489141"/>
                <a:gd name="connsiteX42" fmla="*/ 130104 w 1034979"/>
                <a:gd name="connsiteY42" fmla="*/ 940462 h 1489141"/>
                <a:gd name="connsiteX43" fmla="*/ 135819 w 1034979"/>
                <a:gd name="connsiteY43" fmla="*/ 946177 h 1489141"/>
                <a:gd name="connsiteX44" fmla="*/ 143439 w 1034979"/>
                <a:gd name="connsiteY44" fmla="*/ 948082 h 1489141"/>
                <a:gd name="connsiteX45" fmla="*/ 166299 w 1034979"/>
                <a:gd name="connsiteY45" fmla="*/ 951892 h 1489141"/>
                <a:gd name="connsiteX46" fmla="*/ 191064 w 1034979"/>
                <a:gd name="connsiteY46" fmla="*/ 957607 h 1489141"/>
                <a:gd name="connsiteX47" fmla="*/ 208209 w 1034979"/>
                <a:gd name="connsiteY47" fmla="*/ 963322 h 1489141"/>
                <a:gd name="connsiteX48" fmla="*/ 213924 w 1034979"/>
                <a:gd name="connsiteY48" fmla="*/ 965227 h 1489141"/>
                <a:gd name="connsiteX49" fmla="*/ 229164 w 1034979"/>
                <a:gd name="connsiteY49" fmla="*/ 969037 h 1489141"/>
                <a:gd name="connsiteX50" fmla="*/ 248214 w 1034979"/>
                <a:gd name="connsiteY50" fmla="*/ 974752 h 1489141"/>
                <a:gd name="connsiteX51" fmla="*/ 253929 w 1034979"/>
                <a:gd name="connsiteY51" fmla="*/ 978562 h 1489141"/>
                <a:gd name="connsiteX52" fmla="*/ 267264 w 1034979"/>
                <a:gd name="connsiteY52" fmla="*/ 993802 h 1489141"/>
                <a:gd name="connsiteX53" fmla="*/ 272979 w 1034979"/>
                <a:gd name="connsiteY53" fmla="*/ 1012852 h 1489141"/>
                <a:gd name="connsiteX54" fmla="*/ 274884 w 1034979"/>
                <a:gd name="connsiteY54" fmla="*/ 1018567 h 1489141"/>
                <a:gd name="connsiteX55" fmla="*/ 276789 w 1034979"/>
                <a:gd name="connsiteY55" fmla="*/ 1024282 h 1489141"/>
                <a:gd name="connsiteX56" fmla="*/ 278694 w 1034979"/>
                <a:gd name="connsiteY56" fmla="*/ 1049047 h 1489141"/>
                <a:gd name="connsiteX57" fmla="*/ 280599 w 1034979"/>
                <a:gd name="connsiteY57" fmla="*/ 1054762 h 1489141"/>
                <a:gd name="connsiteX58" fmla="*/ 278694 w 1034979"/>
                <a:gd name="connsiteY58" fmla="*/ 1073812 h 1489141"/>
                <a:gd name="connsiteX59" fmla="*/ 276789 w 1034979"/>
                <a:gd name="connsiteY59" fmla="*/ 1083337 h 1489141"/>
                <a:gd name="connsiteX60" fmla="*/ 263454 w 1034979"/>
                <a:gd name="connsiteY60" fmla="*/ 1096672 h 1489141"/>
                <a:gd name="connsiteX61" fmla="*/ 252024 w 1034979"/>
                <a:gd name="connsiteY61" fmla="*/ 1104292 h 1489141"/>
                <a:gd name="connsiteX62" fmla="*/ 240594 w 1034979"/>
                <a:gd name="connsiteY62" fmla="*/ 1108102 h 1489141"/>
                <a:gd name="connsiteX63" fmla="*/ 126294 w 1034979"/>
                <a:gd name="connsiteY63" fmla="*/ 1108102 h 1489141"/>
                <a:gd name="connsiteX64" fmla="*/ 120579 w 1034979"/>
                <a:gd name="connsiteY64" fmla="*/ 1110007 h 1489141"/>
                <a:gd name="connsiteX65" fmla="*/ 105339 w 1034979"/>
                <a:gd name="connsiteY65" fmla="*/ 1111912 h 1489141"/>
                <a:gd name="connsiteX66" fmla="*/ 88194 w 1034979"/>
                <a:gd name="connsiteY66" fmla="*/ 1117627 h 1489141"/>
                <a:gd name="connsiteX67" fmla="*/ 82479 w 1034979"/>
                <a:gd name="connsiteY67" fmla="*/ 1119532 h 1489141"/>
                <a:gd name="connsiteX68" fmla="*/ 76764 w 1034979"/>
                <a:gd name="connsiteY68" fmla="*/ 1123342 h 1489141"/>
                <a:gd name="connsiteX69" fmla="*/ 65334 w 1034979"/>
                <a:gd name="connsiteY69" fmla="*/ 1125247 h 1489141"/>
                <a:gd name="connsiteX70" fmla="*/ 27234 w 1034979"/>
                <a:gd name="connsiteY70" fmla="*/ 1127152 h 1489141"/>
                <a:gd name="connsiteX71" fmla="*/ 15804 w 1034979"/>
                <a:gd name="connsiteY71" fmla="*/ 1132867 h 1489141"/>
                <a:gd name="connsiteX72" fmla="*/ 6279 w 1034979"/>
                <a:gd name="connsiteY72" fmla="*/ 1142392 h 1489141"/>
                <a:gd name="connsiteX73" fmla="*/ 4374 w 1034979"/>
                <a:gd name="connsiteY73" fmla="*/ 1148107 h 1489141"/>
                <a:gd name="connsiteX74" fmla="*/ 564 w 1034979"/>
                <a:gd name="connsiteY74" fmla="*/ 1153822 h 1489141"/>
                <a:gd name="connsiteX75" fmla="*/ 6279 w 1034979"/>
                <a:gd name="connsiteY75" fmla="*/ 1186207 h 1489141"/>
                <a:gd name="connsiteX76" fmla="*/ 11994 w 1034979"/>
                <a:gd name="connsiteY76" fmla="*/ 1190017 h 1489141"/>
                <a:gd name="connsiteX77" fmla="*/ 17709 w 1034979"/>
                <a:gd name="connsiteY77" fmla="*/ 1191922 h 1489141"/>
                <a:gd name="connsiteX78" fmla="*/ 145344 w 1034979"/>
                <a:gd name="connsiteY78" fmla="*/ 1190017 h 1489141"/>
                <a:gd name="connsiteX79" fmla="*/ 152964 w 1034979"/>
                <a:gd name="connsiteY79" fmla="*/ 1188112 h 1489141"/>
                <a:gd name="connsiteX80" fmla="*/ 303459 w 1034979"/>
                <a:gd name="connsiteY80" fmla="*/ 1182397 h 1489141"/>
                <a:gd name="connsiteX81" fmla="*/ 318699 w 1034979"/>
                <a:gd name="connsiteY81" fmla="*/ 1190017 h 1489141"/>
                <a:gd name="connsiteX82" fmla="*/ 330129 w 1034979"/>
                <a:gd name="connsiteY82" fmla="*/ 1195732 h 1489141"/>
                <a:gd name="connsiteX83" fmla="*/ 333939 w 1034979"/>
                <a:gd name="connsiteY83" fmla="*/ 1201447 h 1489141"/>
                <a:gd name="connsiteX84" fmla="*/ 339654 w 1034979"/>
                <a:gd name="connsiteY84" fmla="*/ 1203352 h 1489141"/>
                <a:gd name="connsiteX85" fmla="*/ 351084 w 1034979"/>
                <a:gd name="connsiteY85" fmla="*/ 1210972 h 1489141"/>
                <a:gd name="connsiteX86" fmla="*/ 356799 w 1034979"/>
                <a:gd name="connsiteY86" fmla="*/ 1214782 h 1489141"/>
                <a:gd name="connsiteX87" fmla="*/ 360609 w 1034979"/>
                <a:gd name="connsiteY87" fmla="*/ 1220497 h 1489141"/>
                <a:gd name="connsiteX88" fmla="*/ 366324 w 1034979"/>
                <a:gd name="connsiteY88" fmla="*/ 1231927 h 1489141"/>
                <a:gd name="connsiteX89" fmla="*/ 362514 w 1034979"/>
                <a:gd name="connsiteY89" fmla="*/ 1258597 h 1489141"/>
                <a:gd name="connsiteX90" fmla="*/ 358704 w 1034979"/>
                <a:gd name="connsiteY90" fmla="*/ 1264312 h 1489141"/>
                <a:gd name="connsiteX91" fmla="*/ 356799 w 1034979"/>
                <a:gd name="connsiteY91" fmla="*/ 1270027 h 1489141"/>
                <a:gd name="connsiteX92" fmla="*/ 352989 w 1034979"/>
                <a:gd name="connsiteY92" fmla="*/ 1275742 h 1489141"/>
                <a:gd name="connsiteX93" fmla="*/ 351084 w 1034979"/>
                <a:gd name="connsiteY93" fmla="*/ 1281457 h 1489141"/>
                <a:gd name="connsiteX94" fmla="*/ 347274 w 1034979"/>
                <a:gd name="connsiteY94" fmla="*/ 1287172 h 1489141"/>
                <a:gd name="connsiteX95" fmla="*/ 330129 w 1034979"/>
                <a:gd name="connsiteY95" fmla="*/ 1353847 h 1489141"/>
                <a:gd name="connsiteX96" fmla="*/ 328224 w 1034979"/>
                <a:gd name="connsiteY96" fmla="*/ 1405282 h 1489141"/>
                <a:gd name="connsiteX97" fmla="*/ 330129 w 1034979"/>
                <a:gd name="connsiteY97" fmla="*/ 1430047 h 1489141"/>
                <a:gd name="connsiteX98" fmla="*/ 332034 w 1034979"/>
                <a:gd name="connsiteY98" fmla="*/ 1435762 h 1489141"/>
                <a:gd name="connsiteX99" fmla="*/ 335844 w 1034979"/>
                <a:gd name="connsiteY99" fmla="*/ 1439572 h 1489141"/>
                <a:gd name="connsiteX100" fmla="*/ 364419 w 1034979"/>
                <a:gd name="connsiteY100" fmla="*/ 1485292 h 1489141"/>
                <a:gd name="connsiteX101" fmla="*/ 387279 w 1034979"/>
                <a:gd name="connsiteY101" fmla="*/ 1487197 h 1489141"/>
                <a:gd name="connsiteX102" fmla="*/ 392994 w 1034979"/>
                <a:gd name="connsiteY102" fmla="*/ 1481482 h 1489141"/>
                <a:gd name="connsiteX103" fmla="*/ 394899 w 1034979"/>
                <a:gd name="connsiteY103" fmla="*/ 1470052 h 1489141"/>
                <a:gd name="connsiteX104" fmla="*/ 396804 w 1034979"/>
                <a:gd name="connsiteY104" fmla="*/ 1464337 h 1489141"/>
                <a:gd name="connsiteX105" fmla="*/ 398709 w 1034979"/>
                <a:gd name="connsiteY105" fmla="*/ 1447192 h 1489141"/>
                <a:gd name="connsiteX106" fmla="*/ 400614 w 1034979"/>
                <a:gd name="connsiteY106" fmla="*/ 1433857 h 1489141"/>
                <a:gd name="connsiteX107" fmla="*/ 404424 w 1034979"/>
                <a:gd name="connsiteY107" fmla="*/ 1376707 h 1489141"/>
                <a:gd name="connsiteX108" fmla="*/ 410139 w 1034979"/>
                <a:gd name="connsiteY108" fmla="*/ 1365277 h 1489141"/>
                <a:gd name="connsiteX109" fmla="*/ 413949 w 1034979"/>
                <a:gd name="connsiteY109" fmla="*/ 1351942 h 1489141"/>
                <a:gd name="connsiteX110" fmla="*/ 415854 w 1034979"/>
                <a:gd name="connsiteY110" fmla="*/ 1346227 h 1489141"/>
                <a:gd name="connsiteX111" fmla="*/ 417759 w 1034979"/>
                <a:gd name="connsiteY111" fmla="*/ 1332892 h 1489141"/>
                <a:gd name="connsiteX112" fmla="*/ 421569 w 1034979"/>
                <a:gd name="connsiteY112" fmla="*/ 1321462 h 1489141"/>
                <a:gd name="connsiteX113" fmla="*/ 427284 w 1034979"/>
                <a:gd name="connsiteY113" fmla="*/ 1308127 h 1489141"/>
                <a:gd name="connsiteX114" fmla="*/ 436809 w 1034979"/>
                <a:gd name="connsiteY114" fmla="*/ 1296697 h 1489141"/>
                <a:gd name="connsiteX115" fmla="*/ 450144 w 1034979"/>
                <a:gd name="connsiteY115" fmla="*/ 1281457 h 1489141"/>
                <a:gd name="connsiteX116" fmla="*/ 457764 w 1034979"/>
                <a:gd name="connsiteY116" fmla="*/ 1270027 h 1489141"/>
                <a:gd name="connsiteX117" fmla="*/ 461574 w 1034979"/>
                <a:gd name="connsiteY117" fmla="*/ 1258597 h 1489141"/>
                <a:gd name="connsiteX118" fmla="*/ 465384 w 1034979"/>
                <a:gd name="connsiteY118" fmla="*/ 1243357 h 1489141"/>
                <a:gd name="connsiteX119" fmla="*/ 467289 w 1034979"/>
                <a:gd name="connsiteY119" fmla="*/ 1237642 h 1489141"/>
                <a:gd name="connsiteX120" fmla="*/ 507294 w 1034979"/>
                <a:gd name="connsiteY120" fmla="*/ 1231927 h 1489141"/>
                <a:gd name="connsiteX121" fmla="*/ 535869 w 1034979"/>
                <a:gd name="connsiteY121" fmla="*/ 1222402 h 1489141"/>
                <a:gd name="connsiteX122" fmla="*/ 541584 w 1034979"/>
                <a:gd name="connsiteY122" fmla="*/ 1220497 h 1489141"/>
                <a:gd name="connsiteX123" fmla="*/ 547299 w 1034979"/>
                <a:gd name="connsiteY123" fmla="*/ 1218592 h 1489141"/>
                <a:gd name="connsiteX124" fmla="*/ 554919 w 1034979"/>
                <a:gd name="connsiteY124" fmla="*/ 1216687 h 1489141"/>
                <a:gd name="connsiteX125" fmla="*/ 573969 w 1034979"/>
                <a:gd name="connsiteY125" fmla="*/ 1209067 h 1489141"/>
                <a:gd name="connsiteX126" fmla="*/ 585399 w 1034979"/>
                <a:gd name="connsiteY126" fmla="*/ 1205257 h 1489141"/>
                <a:gd name="connsiteX127" fmla="*/ 720654 w 1034979"/>
                <a:gd name="connsiteY127" fmla="*/ 1289077 h 1489141"/>
                <a:gd name="connsiteX128" fmla="*/ 733989 w 1034979"/>
                <a:gd name="connsiteY128" fmla="*/ 1298602 h 1489141"/>
                <a:gd name="connsiteX129" fmla="*/ 743514 w 1034979"/>
                <a:gd name="connsiteY129" fmla="*/ 1300507 h 1489141"/>
                <a:gd name="connsiteX130" fmla="*/ 749229 w 1034979"/>
                <a:gd name="connsiteY130" fmla="*/ 1302412 h 1489141"/>
                <a:gd name="connsiteX131" fmla="*/ 762564 w 1034979"/>
                <a:gd name="connsiteY131" fmla="*/ 1308127 h 1489141"/>
                <a:gd name="connsiteX132" fmla="*/ 777804 w 1034979"/>
                <a:gd name="connsiteY132" fmla="*/ 1306222 h 1489141"/>
                <a:gd name="connsiteX133" fmla="*/ 789234 w 1034979"/>
                <a:gd name="connsiteY133" fmla="*/ 1300507 h 1489141"/>
                <a:gd name="connsiteX134" fmla="*/ 794949 w 1034979"/>
                <a:gd name="connsiteY134" fmla="*/ 1298602 h 1489141"/>
                <a:gd name="connsiteX135" fmla="*/ 802569 w 1034979"/>
                <a:gd name="connsiteY135" fmla="*/ 1281457 h 1489141"/>
                <a:gd name="connsiteX136" fmla="*/ 800664 w 1034979"/>
                <a:gd name="connsiteY136" fmla="*/ 1256692 h 1489141"/>
                <a:gd name="connsiteX137" fmla="*/ 798759 w 1034979"/>
                <a:gd name="connsiteY137" fmla="*/ 1250977 h 1489141"/>
                <a:gd name="connsiteX138" fmla="*/ 796854 w 1034979"/>
                <a:gd name="connsiteY138" fmla="*/ 1243357 h 1489141"/>
                <a:gd name="connsiteX139" fmla="*/ 783519 w 1034979"/>
                <a:gd name="connsiteY139" fmla="*/ 1226212 h 1489141"/>
                <a:gd name="connsiteX140" fmla="*/ 773994 w 1034979"/>
                <a:gd name="connsiteY140" fmla="*/ 1220497 h 1489141"/>
                <a:gd name="connsiteX141" fmla="*/ 648264 w 1034979"/>
                <a:gd name="connsiteY141" fmla="*/ 1129057 h 1489141"/>
                <a:gd name="connsiteX142" fmla="*/ 644454 w 1034979"/>
                <a:gd name="connsiteY142" fmla="*/ 1111912 h 1489141"/>
                <a:gd name="connsiteX143" fmla="*/ 646359 w 1034979"/>
                <a:gd name="connsiteY143" fmla="*/ 1104292 h 1489141"/>
                <a:gd name="connsiteX144" fmla="*/ 650169 w 1034979"/>
                <a:gd name="connsiteY144" fmla="*/ 1087147 h 1489141"/>
                <a:gd name="connsiteX145" fmla="*/ 653979 w 1034979"/>
                <a:gd name="connsiteY145" fmla="*/ 1081432 h 1489141"/>
                <a:gd name="connsiteX146" fmla="*/ 655884 w 1034979"/>
                <a:gd name="connsiteY146" fmla="*/ 1075717 h 1489141"/>
                <a:gd name="connsiteX147" fmla="*/ 661599 w 1034979"/>
                <a:gd name="connsiteY147" fmla="*/ 1073812 h 1489141"/>
                <a:gd name="connsiteX148" fmla="*/ 671124 w 1034979"/>
                <a:gd name="connsiteY148" fmla="*/ 1062382 h 1489141"/>
                <a:gd name="connsiteX149" fmla="*/ 724464 w 1034979"/>
                <a:gd name="connsiteY149" fmla="*/ 1054762 h 1489141"/>
                <a:gd name="connsiteX150" fmla="*/ 842574 w 1034979"/>
                <a:gd name="connsiteY150" fmla="*/ 1056667 h 1489141"/>
                <a:gd name="connsiteX151" fmla="*/ 871149 w 1034979"/>
                <a:gd name="connsiteY151" fmla="*/ 1058572 h 1489141"/>
                <a:gd name="connsiteX152" fmla="*/ 899724 w 1034979"/>
                <a:gd name="connsiteY152" fmla="*/ 1064287 h 1489141"/>
                <a:gd name="connsiteX153" fmla="*/ 922584 w 1034979"/>
                <a:gd name="connsiteY153" fmla="*/ 1068097 h 1489141"/>
                <a:gd name="connsiteX154" fmla="*/ 951159 w 1034979"/>
                <a:gd name="connsiteY154" fmla="*/ 1073812 h 1489141"/>
                <a:gd name="connsiteX155" fmla="*/ 956874 w 1034979"/>
                <a:gd name="connsiteY155" fmla="*/ 1073812 h 1489141"/>
                <a:gd name="connsiteX156" fmla="*/ 1002594 w 1034979"/>
                <a:gd name="connsiteY156" fmla="*/ 1071907 h 1489141"/>
                <a:gd name="connsiteX157" fmla="*/ 1031169 w 1034979"/>
                <a:gd name="connsiteY157" fmla="*/ 1064287 h 1489141"/>
                <a:gd name="connsiteX158" fmla="*/ 1034979 w 1034979"/>
                <a:gd name="connsiteY158" fmla="*/ 1058572 h 1489141"/>
                <a:gd name="connsiteX159" fmla="*/ 1033074 w 1034979"/>
                <a:gd name="connsiteY159" fmla="*/ 1039522 h 1489141"/>
                <a:gd name="connsiteX160" fmla="*/ 1027359 w 1034979"/>
                <a:gd name="connsiteY160" fmla="*/ 1035712 h 1489141"/>
                <a:gd name="connsiteX161" fmla="*/ 1012119 w 1034979"/>
                <a:gd name="connsiteY161" fmla="*/ 1033807 h 1489141"/>
                <a:gd name="connsiteX162" fmla="*/ 1006404 w 1034979"/>
                <a:gd name="connsiteY162" fmla="*/ 1031902 h 1489141"/>
                <a:gd name="connsiteX163" fmla="*/ 998784 w 1034979"/>
                <a:gd name="connsiteY163" fmla="*/ 1029997 h 1489141"/>
                <a:gd name="connsiteX164" fmla="*/ 987354 w 1034979"/>
                <a:gd name="connsiteY164" fmla="*/ 1022377 h 1489141"/>
                <a:gd name="connsiteX165" fmla="*/ 975924 w 1034979"/>
                <a:gd name="connsiteY165" fmla="*/ 1018567 h 1489141"/>
                <a:gd name="connsiteX166" fmla="*/ 970209 w 1034979"/>
                <a:gd name="connsiteY166" fmla="*/ 1016662 h 1489141"/>
                <a:gd name="connsiteX167" fmla="*/ 962589 w 1034979"/>
                <a:gd name="connsiteY167" fmla="*/ 1014757 h 1489141"/>
                <a:gd name="connsiteX168" fmla="*/ 956874 w 1034979"/>
                <a:gd name="connsiteY168" fmla="*/ 1012852 h 1489141"/>
                <a:gd name="connsiteX169" fmla="*/ 935919 w 1034979"/>
                <a:gd name="connsiteY169" fmla="*/ 1007137 h 1489141"/>
                <a:gd name="connsiteX170" fmla="*/ 930204 w 1034979"/>
                <a:gd name="connsiteY170" fmla="*/ 1005232 h 1489141"/>
                <a:gd name="connsiteX171" fmla="*/ 825429 w 1034979"/>
                <a:gd name="connsiteY171" fmla="*/ 1007137 h 1489141"/>
                <a:gd name="connsiteX172" fmla="*/ 819714 w 1034979"/>
                <a:gd name="connsiteY172" fmla="*/ 1009042 h 1489141"/>
                <a:gd name="connsiteX173" fmla="*/ 730179 w 1034979"/>
                <a:gd name="connsiteY173" fmla="*/ 1010947 h 1489141"/>
                <a:gd name="connsiteX174" fmla="*/ 716844 w 1034979"/>
                <a:gd name="connsiteY174" fmla="*/ 1014757 h 1489141"/>
                <a:gd name="connsiteX175" fmla="*/ 695889 w 1034979"/>
                <a:gd name="connsiteY175" fmla="*/ 1016662 h 1489141"/>
                <a:gd name="connsiteX176" fmla="*/ 669219 w 1034979"/>
                <a:gd name="connsiteY176" fmla="*/ 1018567 h 1489141"/>
                <a:gd name="connsiteX177" fmla="*/ 669219 w 1034979"/>
                <a:gd name="connsiteY177" fmla="*/ 1018567 h 1489141"/>
                <a:gd name="connsiteX178" fmla="*/ 646359 w 1034979"/>
                <a:gd name="connsiteY178" fmla="*/ 1022377 h 1489141"/>
                <a:gd name="connsiteX179" fmla="*/ 642549 w 1034979"/>
                <a:gd name="connsiteY179" fmla="*/ 1010947 h 1489141"/>
                <a:gd name="connsiteX180" fmla="*/ 640644 w 1034979"/>
                <a:gd name="connsiteY180" fmla="*/ 1005232 h 1489141"/>
                <a:gd name="connsiteX181" fmla="*/ 642549 w 1034979"/>
                <a:gd name="connsiteY181" fmla="*/ 988087 h 1489141"/>
                <a:gd name="connsiteX182" fmla="*/ 644454 w 1034979"/>
                <a:gd name="connsiteY182" fmla="*/ 982372 h 1489141"/>
                <a:gd name="connsiteX183" fmla="*/ 661599 w 1034979"/>
                <a:gd name="connsiteY183" fmla="*/ 972847 h 1489141"/>
                <a:gd name="connsiteX184" fmla="*/ 673029 w 1034979"/>
                <a:gd name="connsiteY184" fmla="*/ 965227 h 1489141"/>
                <a:gd name="connsiteX185" fmla="*/ 674934 w 1034979"/>
                <a:gd name="connsiteY185" fmla="*/ 959512 h 1489141"/>
                <a:gd name="connsiteX186" fmla="*/ 680649 w 1034979"/>
                <a:gd name="connsiteY186" fmla="*/ 957607 h 1489141"/>
                <a:gd name="connsiteX187" fmla="*/ 686364 w 1034979"/>
                <a:gd name="connsiteY187" fmla="*/ 953797 h 1489141"/>
                <a:gd name="connsiteX188" fmla="*/ 695889 w 1034979"/>
                <a:gd name="connsiteY188" fmla="*/ 944272 h 1489141"/>
                <a:gd name="connsiteX189" fmla="*/ 705414 w 1034979"/>
                <a:gd name="connsiteY189" fmla="*/ 932842 h 1489141"/>
                <a:gd name="connsiteX190" fmla="*/ 716844 w 1034979"/>
                <a:gd name="connsiteY190" fmla="*/ 925222 h 1489141"/>
                <a:gd name="connsiteX191" fmla="*/ 732084 w 1034979"/>
                <a:gd name="connsiteY191" fmla="*/ 911887 h 1489141"/>
                <a:gd name="connsiteX192" fmla="*/ 741609 w 1034979"/>
                <a:gd name="connsiteY192" fmla="*/ 900457 h 1489141"/>
                <a:gd name="connsiteX193" fmla="*/ 753039 w 1034979"/>
                <a:gd name="connsiteY193" fmla="*/ 890932 h 1489141"/>
                <a:gd name="connsiteX194" fmla="*/ 758754 w 1034979"/>
                <a:gd name="connsiteY194" fmla="*/ 879502 h 1489141"/>
                <a:gd name="connsiteX195" fmla="*/ 760659 w 1034979"/>
                <a:gd name="connsiteY195" fmla="*/ 873787 h 1489141"/>
                <a:gd name="connsiteX196" fmla="*/ 766374 w 1034979"/>
                <a:gd name="connsiteY196" fmla="*/ 862357 h 1489141"/>
                <a:gd name="connsiteX197" fmla="*/ 764469 w 1034979"/>
                <a:gd name="connsiteY197" fmla="*/ 847117 h 1489141"/>
                <a:gd name="connsiteX198" fmla="*/ 758754 w 1034979"/>
                <a:gd name="connsiteY198" fmla="*/ 845212 h 1489141"/>
                <a:gd name="connsiteX199" fmla="*/ 737799 w 1034979"/>
                <a:gd name="connsiteY199" fmla="*/ 847117 h 1489141"/>
                <a:gd name="connsiteX200" fmla="*/ 732084 w 1034979"/>
                <a:gd name="connsiteY200" fmla="*/ 850927 h 1489141"/>
                <a:gd name="connsiteX201" fmla="*/ 720654 w 1034979"/>
                <a:gd name="connsiteY201" fmla="*/ 854737 h 1489141"/>
                <a:gd name="connsiteX202" fmla="*/ 716844 w 1034979"/>
                <a:gd name="connsiteY202" fmla="*/ 860452 h 1489141"/>
                <a:gd name="connsiteX203" fmla="*/ 711129 w 1034979"/>
                <a:gd name="connsiteY203" fmla="*/ 862357 h 1489141"/>
                <a:gd name="connsiteX204" fmla="*/ 705414 w 1034979"/>
                <a:gd name="connsiteY204" fmla="*/ 866167 h 1489141"/>
                <a:gd name="connsiteX205" fmla="*/ 699699 w 1034979"/>
                <a:gd name="connsiteY205" fmla="*/ 871882 h 1489141"/>
                <a:gd name="connsiteX206" fmla="*/ 692079 w 1034979"/>
                <a:gd name="connsiteY206" fmla="*/ 875692 h 1489141"/>
                <a:gd name="connsiteX207" fmla="*/ 650169 w 1034979"/>
                <a:gd name="connsiteY207" fmla="*/ 904267 h 1489141"/>
                <a:gd name="connsiteX208" fmla="*/ 636834 w 1034979"/>
                <a:gd name="connsiteY208" fmla="*/ 915697 h 1489141"/>
                <a:gd name="connsiteX209" fmla="*/ 627309 w 1034979"/>
                <a:gd name="connsiteY209" fmla="*/ 932842 h 1489141"/>
                <a:gd name="connsiteX210" fmla="*/ 602544 w 1034979"/>
                <a:gd name="connsiteY210" fmla="*/ 938557 h 1489141"/>
                <a:gd name="connsiteX211" fmla="*/ 589209 w 1034979"/>
                <a:gd name="connsiteY211" fmla="*/ 942367 h 1489141"/>
                <a:gd name="connsiteX212" fmla="*/ 573969 w 1034979"/>
                <a:gd name="connsiteY212" fmla="*/ 940462 h 1489141"/>
                <a:gd name="connsiteX213" fmla="*/ 562539 w 1034979"/>
                <a:gd name="connsiteY213" fmla="*/ 936652 h 1489141"/>
                <a:gd name="connsiteX214" fmla="*/ 551109 w 1034979"/>
                <a:gd name="connsiteY214" fmla="*/ 932842 h 1489141"/>
                <a:gd name="connsiteX215" fmla="*/ 539679 w 1034979"/>
                <a:gd name="connsiteY215" fmla="*/ 929032 h 1489141"/>
                <a:gd name="connsiteX216" fmla="*/ 533964 w 1034979"/>
                <a:gd name="connsiteY216" fmla="*/ 927127 h 1489141"/>
                <a:gd name="connsiteX217" fmla="*/ 528249 w 1034979"/>
                <a:gd name="connsiteY217" fmla="*/ 923317 h 1489141"/>
                <a:gd name="connsiteX218" fmla="*/ 516819 w 1034979"/>
                <a:gd name="connsiteY218" fmla="*/ 917602 h 1489141"/>
                <a:gd name="connsiteX219" fmla="*/ 509199 w 1034979"/>
                <a:gd name="connsiteY219" fmla="*/ 906172 h 1489141"/>
                <a:gd name="connsiteX220" fmla="*/ 505389 w 1034979"/>
                <a:gd name="connsiteY220" fmla="*/ 885217 h 1489141"/>
                <a:gd name="connsiteX221" fmla="*/ 507294 w 1034979"/>
                <a:gd name="connsiteY221" fmla="*/ 820447 h 1489141"/>
                <a:gd name="connsiteX222" fmla="*/ 513009 w 1034979"/>
                <a:gd name="connsiteY222" fmla="*/ 807112 h 1489141"/>
                <a:gd name="connsiteX223" fmla="*/ 503484 w 1034979"/>
                <a:gd name="connsiteY223" fmla="*/ 330862 h 1489141"/>
                <a:gd name="connsiteX224" fmla="*/ 490149 w 1034979"/>
                <a:gd name="connsiteY224" fmla="*/ 12727 h 1489141"/>
                <a:gd name="connsiteX225" fmla="*/ 488244 w 1034979"/>
                <a:gd name="connsiteY225" fmla="*/ 7012 h 1489141"/>
                <a:gd name="connsiteX226" fmla="*/ 484434 w 1034979"/>
                <a:gd name="connsiteY226" fmla="*/ 1297 h 1489141"/>
                <a:gd name="connsiteX227" fmla="*/ 419664 w 1034979"/>
                <a:gd name="connsiteY227" fmla="*/ 33682 h 1489141"/>
                <a:gd name="connsiteX228" fmla="*/ 423474 w 1034979"/>
                <a:gd name="connsiteY228" fmla="*/ 45112 h 1489141"/>
                <a:gd name="connsiteX229" fmla="*/ 429189 w 1034979"/>
                <a:gd name="connsiteY229" fmla="*/ 210847 h 1489141"/>
                <a:gd name="connsiteX230" fmla="*/ 440619 w 1034979"/>
                <a:gd name="connsiteY230" fmla="*/ 393727 h 1489141"/>
                <a:gd name="connsiteX231" fmla="*/ 425379 w 1034979"/>
                <a:gd name="connsiteY231" fmla="*/ 690907 h 1489141"/>
                <a:gd name="connsiteX232" fmla="*/ 417759 w 1034979"/>
                <a:gd name="connsiteY232" fmla="*/ 818542 h 1489141"/>
                <a:gd name="connsiteX233" fmla="*/ 413949 w 1034979"/>
                <a:gd name="connsiteY233" fmla="*/ 835687 h 1489141"/>
                <a:gd name="connsiteX234" fmla="*/ 417759 w 1034979"/>
                <a:gd name="connsiteY234" fmla="*/ 856642 h 1489141"/>
                <a:gd name="connsiteX235" fmla="*/ 421569 w 1034979"/>
                <a:gd name="connsiteY235" fmla="*/ 862357 h 1489141"/>
                <a:gd name="connsiteX236" fmla="*/ 425379 w 1034979"/>
                <a:gd name="connsiteY236" fmla="*/ 873787 h 1489141"/>
                <a:gd name="connsiteX237" fmla="*/ 423474 w 1034979"/>
                <a:gd name="connsiteY237" fmla="*/ 900457 h 1489141"/>
                <a:gd name="connsiteX238" fmla="*/ 417759 w 1034979"/>
                <a:gd name="connsiteY238" fmla="*/ 902362 h 1489141"/>
                <a:gd name="connsiteX239" fmla="*/ 412044 w 1034979"/>
                <a:gd name="connsiteY239" fmla="*/ 906172 h 1489141"/>
                <a:gd name="connsiteX240" fmla="*/ 421569 w 1034979"/>
                <a:gd name="connsiteY240" fmla="*/ 902362 h 1489141"/>
                <a:gd name="connsiteX0" fmla="*/ 421569 w 1034979"/>
                <a:gd name="connsiteY0" fmla="*/ 896283 h 1483062"/>
                <a:gd name="connsiteX1" fmla="*/ 421569 w 1034979"/>
                <a:gd name="connsiteY1" fmla="*/ 896283 h 1483062"/>
                <a:gd name="connsiteX2" fmla="*/ 394899 w 1034979"/>
                <a:gd name="connsiteY2" fmla="*/ 905808 h 1483062"/>
                <a:gd name="connsiteX3" fmla="*/ 387279 w 1034979"/>
                <a:gd name="connsiteY3" fmla="*/ 907713 h 1483062"/>
                <a:gd name="connsiteX4" fmla="*/ 356799 w 1034979"/>
                <a:gd name="connsiteY4" fmla="*/ 909618 h 1483062"/>
                <a:gd name="connsiteX5" fmla="*/ 351084 w 1034979"/>
                <a:gd name="connsiteY5" fmla="*/ 913428 h 1483062"/>
                <a:gd name="connsiteX6" fmla="*/ 339654 w 1034979"/>
                <a:gd name="connsiteY6" fmla="*/ 922953 h 1483062"/>
                <a:gd name="connsiteX7" fmla="*/ 328224 w 1034979"/>
                <a:gd name="connsiteY7" fmla="*/ 926763 h 1483062"/>
                <a:gd name="connsiteX8" fmla="*/ 312984 w 1034979"/>
                <a:gd name="connsiteY8" fmla="*/ 932478 h 1483062"/>
                <a:gd name="connsiteX9" fmla="*/ 265359 w 1034979"/>
                <a:gd name="connsiteY9" fmla="*/ 928668 h 1483062"/>
                <a:gd name="connsiteX10" fmla="*/ 253929 w 1034979"/>
                <a:gd name="connsiteY10" fmla="*/ 924858 h 1483062"/>
                <a:gd name="connsiteX11" fmla="*/ 242499 w 1034979"/>
                <a:gd name="connsiteY11" fmla="*/ 921048 h 1483062"/>
                <a:gd name="connsiteX12" fmla="*/ 236784 w 1034979"/>
                <a:gd name="connsiteY12" fmla="*/ 919143 h 1483062"/>
                <a:gd name="connsiteX13" fmla="*/ 231069 w 1034979"/>
                <a:gd name="connsiteY13" fmla="*/ 917238 h 1483062"/>
                <a:gd name="connsiteX14" fmla="*/ 219639 w 1034979"/>
                <a:gd name="connsiteY14" fmla="*/ 915333 h 1483062"/>
                <a:gd name="connsiteX15" fmla="*/ 213924 w 1034979"/>
                <a:gd name="connsiteY15" fmla="*/ 913428 h 1483062"/>
                <a:gd name="connsiteX16" fmla="*/ 206304 w 1034979"/>
                <a:gd name="connsiteY16" fmla="*/ 911523 h 1483062"/>
                <a:gd name="connsiteX17" fmla="*/ 194874 w 1034979"/>
                <a:gd name="connsiteY17" fmla="*/ 907713 h 1483062"/>
                <a:gd name="connsiteX18" fmla="*/ 189159 w 1034979"/>
                <a:gd name="connsiteY18" fmla="*/ 905808 h 1483062"/>
                <a:gd name="connsiteX19" fmla="*/ 181539 w 1034979"/>
                <a:gd name="connsiteY19" fmla="*/ 903903 h 1483062"/>
                <a:gd name="connsiteX20" fmla="*/ 170109 w 1034979"/>
                <a:gd name="connsiteY20" fmla="*/ 898188 h 1483062"/>
                <a:gd name="connsiteX21" fmla="*/ 164394 w 1034979"/>
                <a:gd name="connsiteY21" fmla="*/ 894378 h 1483062"/>
                <a:gd name="connsiteX22" fmla="*/ 156774 w 1034979"/>
                <a:gd name="connsiteY22" fmla="*/ 882948 h 1483062"/>
                <a:gd name="connsiteX23" fmla="*/ 145344 w 1034979"/>
                <a:gd name="connsiteY23" fmla="*/ 879138 h 1483062"/>
                <a:gd name="connsiteX24" fmla="*/ 139629 w 1034979"/>
                <a:gd name="connsiteY24" fmla="*/ 875328 h 1483062"/>
                <a:gd name="connsiteX25" fmla="*/ 133914 w 1034979"/>
                <a:gd name="connsiteY25" fmla="*/ 873423 h 1483062"/>
                <a:gd name="connsiteX26" fmla="*/ 116769 w 1034979"/>
                <a:gd name="connsiteY26" fmla="*/ 869613 h 1483062"/>
                <a:gd name="connsiteX27" fmla="*/ 111054 w 1034979"/>
                <a:gd name="connsiteY27" fmla="*/ 863898 h 1483062"/>
                <a:gd name="connsiteX28" fmla="*/ 101529 w 1034979"/>
                <a:gd name="connsiteY28" fmla="*/ 846753 h 1483062"/>
                <a:gd name="connsiteX29" fmla="*/ 84384 w 1034979"/>
                <a:gd name="connsiteY29" fmla="*/ 839133 h 1483062"/>
                <a:gd name="connsiteX30" fmla="*/ 78669 w 1034979"/>
                <a:gd name="connsiteY30" fmla="*/ 837228 h 1483062"/>
                <a:gd name="connsiteX31" fmla="*/ 59619 w 1034979"/>
                <a:gd name="connsiteY31" fmla="*/ 841038 h 1483062"/>
                <a:gd name="connsiteX32" fmla="*/ 53904 w 1034979"/>
                <a:gd name="connsiteY32" fmla="*/ 844848 h 1483062"/>
                <a:gd name="connsiteX33" fmla="*/ 50094 w 1034979"/>
                <a:gd name="connsiteY33" fmla="*/ 850563 h 1483062"/>
                <a:gd name="connsiteX34" fmla="*/ 46284 w 1034979"/>
                <a:gd name="connsiteY34" fmla="*/ 861993 h 1483062"/>
                <a:gd name="connsiteX35" fmla="*/ 50094 w 1034979"/>
                <a:gd name="connsiteY35" fmla="*/ 900093 h 1483062"/>
                <a:gd name="connsiteX36" fmla="*/ 53904 w 1034979"/>
                <a:gd name="connsiteY36" fmla="*/ 905808 h 1483062"/>
                <a:gd name="connsiteX37" fmla="*/ 59619 w 1034979"/>
                <a:gd name="connsiteY37" fmla="*/ 909618 h 1483062"/>
                <a:gd name="connsiteX38" fmla="*/ 63429 w 1034979"/>
                <a:gd name="connsiteY38" fmla="*/ 915333 h 1483062"/>
                <a:gd name="connsiteX39" fmla="*/ 80574 w 1034979"/>
                <a:gd name="connsiteY39" fmla="*/ 924858 h 1483062"/>
                <a:gd name="connsiteX40" fmla="*/ 103434 w 1034979"/>
                <a:gd name="connsiteY40" fmla="*/ 926763 h 1483062"/>
                <a:gd name="connsiteX41" fmla="*/ 124389 w 1034979"/>
                <a:gd name="connsiteY41" fmla="*/ 932478 h 1483062"/>
                <a:gd name="connsiteX42" fmla="*/ 130104 w 1034979"/>
                <a:gd name="connsiteY42" fmla="*/ 934383 h 1483062"/>
                <a:gd name="connsiteX43" fmla="*/ 135819 w 1034979"/>
                <a:gd name="connsiteY43" fmla="*/ 940098 h 1483062"/>
                <a:gd name="connsiteX44" fmla="*/ 143439 w 1034979"/>
                <a:gd name="connsiteY44" fmla="*/ 942003 h 1483062"/>
                <a:gd name="connsiteX45" fmla="*/ 166299 w 1034979"/>
                <a:gd name="connsiteY45" fmla="*/ 945813 h 1483062"/>
                <a:gd name="connsiteX46" fmla="*/ 191064 w 1034979"/>
                <a:gd name="connsiteY46" fmla="*/ 951528 h 1483062"/>
                <a:gd name="connsiteX47" fmla="*/ 208209 w 1034979"/>
                <a:gd name="connsiteY47" fmla="*/ 957243 h 1483062"/>
                <a:gd name="connsiteX48" fmla="*/ 213924 w 1034979"/>
                <a:gd name="connsiteY48" fmla="*/ 959148 h 1483062"/>
                <a:gd name="connsiteX49" fmla="*/ 229164 w 1034979"/>
                <a:gd name="connsiteY49" fmla="*/ 962958 h 1483062"/>
                <a:gd name="connsiteX50" fmla="*/ 248214 w 1034979"/>
                <a:gd name="connsiteY50" fmla="*/ 968673 h 1483062"/>
                <a:gd name="connsiteX51" fmla="*/ 253929 w 1034979"/>
                <a:gd name="connsiteY51" fmla="*/ 972483 h 1483062"/>
                <a:gd name="connsiteX52" fmla="*/ 267264 w 1034979"/>
                <a:gd name="connsiteY52" fmla="*/ 987723 h 1483062"/>
                <a:gd name="connsiteX53" fmla="*/ 272979 w 1034979"/>
                <a:gd name="connsiteY53" fmla="*/ 1006773 h 1483062"/>
                <a:gd name="connsiteX54" fmla="*/ 274884 w 1034979"/>
                <a:gd name="connsiteY54" fmla="*/ 1012488 h 1483062"/>
                <a:gd name="connsiteX55" fmla="*/ 276789 w 1034979"/>
                <a:gd name="connsiteY55" fmla="*/ 1018203 h 1483062"/>
                <a:gd name="connsiteX56" fmla="*/ 278694 w 1034979"/>
                <a:gd name="connsiteY56" fmla="*/ 1042968 h 1483062"/>
                <a:gd name="connsiteX57" fmla="*/ 280599 w 1034979"/>
                <a:gd name="connsiteY57" fmla="*/ 1048683 h 1483062"/>
                <a:gd name="connsiteX58" fmla="*/ 278694 w 1034979"/>
                <a:gd name="connsiteY58" fmla="*/ 1067733 h 1483062"/>
                <a:gd name="connsiteX59" fmla="*/ 276789 w 1034979"/>
                <a:gd name="connsiteY59" fmla="*/ 1077258 h 1483062"/>
                <a:gd name="connsiteX60" fmla="*/ 263454 w 1034979"/>
                <a:gd name="connsiteY60" fmla="*/ 1090593 h 1483062"/>
                <a:gd name="connsiteX61" fmla="*/ 252024 w 1034979"/>
                <a:gd name="connsiteY61" fmla="*/ 1098213 h 1483062"/>
                <a:gd name="connsiteX62" fmla="*/ 240594 w 1034979"/>
                <a:gd name="connsiteY62" fmla="*/ 1102023 h 1483062"/>
                <a:gd name="connsiteX63" fmla="*/ 126294 w 1034979"/>
                <a:gd name="connsiteY63" fmla="*/ 1102023 h 1483062"/>
                <a:gd name="connsiteX64" fmla="*/ 120579 w 1034979"/>
                <a:gd name="connsiteY64" fmla="*/ 1103928 h 1483062"/>
                <a:gd name="connsiteX65" fmla="*/ 105339 w 1034979"/>
                <a:gd name="connsiteY65" fmla="*/ 1105833 h 1483062"/>
                <a:gd name="connsiteX66" fmla="*/ 88194 w 1034979"/>
                <a:gd name="connsiteY66" fmla="*/ 1111548 h 1483062"/>
                <a:gd name="connsiteX67" fmla="*/ 82479 w 1034979"/>
                <a:gd name="connsiteY67" fmla="*/ 1113453 h 1483062"/>
                <a:gd name="connsiteX68" fmla="*/ 76764 w 1034979"/>
                <a:gd name="connsiteY68" fmla="*/ 1117263 h 1483062"/>
                <a:gd name="connsiteX69" fmla="*/ 65334 w 1034979"/>
                <a:gd name="connsiteY69" fmla="*/ 1119168 h 1483062"/>
                <a:gd name="connsiteX70" fmla="*/ 27234 w 1034979"/>
                <a:gd name="connsiteY70" fmla="*/ 1121073 h 1483062"/>
                <a:gd name="connsiteX71" fmla="*/ 15804 w 1034979"/>
                <a:gd name="connsiteY71" fmla="*/ 1126788 h 1483062"/>
                <a:gd name="connsiteX72" fmla="*/ 6279 w 1034979"/>
                <a:gd name="connsiteY72" fmla="*/ 1136313 h 1483062"/>
                <a:gd name="connsiteX73" fmla="*/ 4374 w 1034979"/>
                <a:gd name="connsiteY73" fmla="*/ 1142028 h 1483062"/>
                <a:gd name="connsiteX74" fmla="*/ 564 w 1034979"/>
                <a:gd name="connsiteY74" fmla="*/ 1147743 h 1483062"/>
                <a:gd name="connsiteX75" fmla="*/ 6279 w 1034979"/>
                <a:gd name="connsiteY75" fmla="*/ 1180128 h 1483062"/>
                <a:gd name="connsiteX76" fmla="*/ 11994 w 1034979"/>
                <a:gd name="connsiteY76" fmla="*/ 1183938 h 1483062"/>
                <a:gd name="connsiteX77" fmla="*/ 17709 w 1034979"/>
                <a:gd name="connsiteY77" fmla="*/ 1185843 h 1483062"/>
                <a:gd name="connsiteX78" fmla="*/ 145344 w 1034979"/>
                <a:gd name="connsiteY78" fmla="*/ 1183938 h 1483062"/>
                <a:gd name="connsiteX79" fmla="*/ 152964 w 1034979"/>
                <a:gd name="connsiteY79" fmla="*/ 1182033 h 1483062"/>
                <a:gd name="connsiteX80" fmla="*/ 303459 w 1034979"/>
                <a:gd name="connsiteY80" fmla="*/ 1176318 h 1483062"/>
                <a:gd name="connsiteX81" fmla="*/ 318699 w 1034979"/>
                <a:gd name="connsiteY81" fmla="*/ 1183938 h 1483062"/>
                <a:gd name="connsiteX82" fmla="*/ 330129 w 1034979"/>
                <a:gd name="connsiteY82" fmla="*/ 1189653 h 1483062"/>
                <a:gd name="connsiteX83" fmla="*/ 333939 w 1034979"/>
                <a:gd name="connsiteY83" fmla="*/ 1195368 h 1483062"/>
                <a:gd name="connsiteX84" fmla="*/ 339654 w 1034979"/>
                <a:gd name="connsiteY84" fmla="*/ 1197273 h 1483062"/>
                <a:gd name="connsiteX85" fmla="*/ 351084 w 1034979"/>
                <a:gd name="connsiteY85" fmla="*/ 1204893 h 1483062"/>
                <a:gd name="connsiteX86" fmla="*/ 356799 w 1034979"/>
                <a:gd name="connsiteY86" fmla="*/ 1208703 h 1483062"/>
                <a:gd name="connsiteX87" fmla="*/ 360609 w 1034979"/>
                <a:gd name="connsiteY87" fmla="*/ 1214418 h 1483062"/>
                <a:gd name="connsiteX88" fmla="*/ 366324 w 1034979"/>
                <a:gd name="connsiteY88" fmla="*/ 1225848 h 1483062"/>
                <a:gd name="connsiteX89" fmla="*/ 362514 w 1034979"/>
                <a:gd name="connsiteY89" fmla="*/ 1252518 h 1483062"/>
                <a:gd name="connsiteX90" fmla="*/ 358704 w 1034979"/>
                <a:gd name="connsiteY90" fmla="*/ 1258233 h 1483062"/>
                <a:gd name="connsiteX91" fmla="*/ 356799 w 1034979"/>
                <a:gd name="connsiteY91" fmla="*/ 1263948 h 1483062"/>
                <a:gd name="connsiteX92" fmla="*/ 352989 w 1034979"/>
                <a:gd name="connsiteY92" fmla="*/ 1269663 h 1483062"/>
                <a:gd name="connsiteX93" fmla="*/ 351084 w 1034979"/>
                <a:gd name="connsiteY93" fmla="*/ 1275378 h 1483062"/>
                <a:gd name="connsiteX94" fmla="*/ 347274 w 1034979"/>
                <a:gd name="connsiteY94" fmla="*/ 1281093 h 1483062"/>
                <a:gd name="connsiteX95" fmla="*/ 330129 w 1034979"/>
                <a:gd name="connsiteY95" fmla="*/ 1347768 h 1483062"/>
                <a:gd name="connsiteX96" fmla="*/ 328224 w 1034979"/>
                <a:gd name="connsiteY96" fmla="*/ 1399203 h 1483062"/>
                <a:gd name="connsiteX97" fmla="*/ 330129 w 1034979"/>
                <a:gd name="connsiteY97" fmla="*/ 1423968 h 1483062"/>
                <a:gd name="connsiteX98" fmla="*/ 332034 w 1034979"/>
                <a:gd name="connsiteY98" fmla="*/ 1429683 h 1483062"/>
                <a:gd name="connsiteX99" fmla="*/ 335844 w 1034979"/>
                <a:gd name="connsiteY99" fmla="*/ 1433493 h 1483062"/>
                <a:gd name="connsiteX100" fmla="*/ 364419 w 1034979"/>
                <a:gd name="connsiteY100" fmla="*/ 1479213 h 1483062"/>
                <a:gd name="connsiteX101" fmla="*/ 387279 w 1034979"/>
                <a:gd name="connsiteY101" fmla="*/ 1481118 h 1483062"/>
                <a:gd name="connsiteX102" fmla="*/ 392994 w 1034979"/>
                <a:gd name="connsiteY102" fmla="*/ 1475403 h 1483062"/>
                <a:gd name="connsiteX103" fmla="*/ 394899 w 1034979"/>
                <a:gd name="connsiteY103" fmla="*/ 1463973 h 1483062"/>
                <a:gd name="connsiteX104" fmla="*/ 396804 w 1034979"/>
                <a:gd name="connsiteY104" fmla="*/ 1458258 h 1483062"/>
                <a:gd name="connsiteX105" fmla="*/ 398709 w 1034979"/>
                <a:gd name="connsiteY105" fmla="*/ 1441113 h 1483062"/>
                <a:gd name="connsiteX106" fmla="*/ 400614 w 1034979"/>
                <a:gd name="connsiteY106" fmla="*/ 1427778 h 1483062"/>
                <a:gd name="connsiteX107" fmla="*/ 404424 w 1034979"/>
                <a:gd name="connsiteY107" fmla="*/ 1370628 h 1483062"/>
                <a:gd name="connsiteX108" fmla="*/ 410139 w 1034979"/>
                <a:gd name="connsiteY108" fmla="*/ 1359198 h 1483062"/>
                <a:gd name="connsiteX109" fmla="*/ 413949 w 1034979"/>
                <a:gd name="connsiteY109" fmla="*/ 1345863 h 1483062"/>
                <a:gd name="connsiteX110" fmla="*/ 415854 w 1034979"/>
                <a:gd name="connsiteY110" fmla="*/ 1340148 h 1483062"/>
                <a:gd name="connsiteX111" fmla="*/ 417759 w 1034979"/>
                <a:gd name="connsiteY111" fmla="*/ 1326813 h 1483062"/>
                <a:gd name="connsiteX112" fmla="*/ 421569 w 1034979"/>
                <a:gd name="connsiteY112" fmla="*/ 1315383 h 1483062"/>
                <a:gd name="connsiteX113" fmla="*/ 427284 w 1034979"/>
                <a:gd name="connsiteY113" fmla="*/ 1302048 h 1483062"/>
                <a:gd name="connsiteX114" fmla="*/ 436809 w 1034979"/>
                <a:gd name="connsiteY114" fmla="*/ 1290618 h 1483062"/>
                <a:gd name="connsiteX115" fmla="*/ 450144 w 1034979"/>
                <a:gd name="connsiteY115" fmla="*/ 1275378 h 1483062"/>
                <a:gd name="connsiteX116" fmla="*/ 457764 w 1034979"/>
                <a:gd name="connsiteY116" fmla="*/ 1263948 h 1483062"/>
                <a:gd name="connsiteX117" fmla="*/ 461574 w 1034979"/>
                <a:gd name="connsiteY117" fmla="*/ 1252518 h 1483062"/>
                <a:gd name="connsiteX118" fmla="*/ 465384 w 1034979"/>
                <a:gd name="connsiteY118" fmla="*/ 1237278 h 1483062"/>
                <a:gd name="connsiteX119" fmla="*/ 467289 w 1034979"/>
                <a:gd name="connsiteY119" fmla="*/ 1231563 h 1483062"/>
                <a:gd name="connsiteX120" fmla="*/ 507294 w 1034979"/>
                <a:gd name="connsiteY120" fmla="*/ 1225848 h 1483062"/>
                <a:gd name="connsiteX121" fmla="*/ 535869 w 1034979"/>
                <a:gd name="connsiteY121" fmla="*/ 1216323 h 1483062"/>
                <a:gd name="connsiteX122" fmla="*/ 541584 w 1034979"/>
                <a:gd name="connsiteY122" fmla="*/ 1214418 h 1483062"/>
                <a:gd name="connsiteX123" fmla="*/ 547299 w 1034979"/>
                <a:gd name="connsiteY123" fmla="*/ 1212513 h 1483062"/>
                <a:gd name="connsiteX124" fmla="*/ 554919 w 1034979"/>
                <a:gd name="connsiteY124" fmla="*/ 1210608 h 1483062"/>
                <a:gd name="connsiteX125" fmla="*/ 573969 w 1034979"/>
                <a:gd name="connsiteY125" fmla="*/ 1202988 h 1483062"/>
                <a:gd name="connsiteX126" fmla="*/ 585399 w 1034979"/>
                <a:gd name="connsiteY126" fmla="*/ 1199178 h 1483062"/>
                <a:gd name="connsiteX127" fmla="*/ 720654 w 1034979"/>
                <a:gd name="connsiteY127" fmla="*/ 1282998 h 1483062"/>
                <a:gd name="connsiteX128" fmla="*/ 733989 w 1034979"/>
                <a:gd name="connsiteY128" fmla="*/ 1292523 h 1483062"/>
                <a:gd name="connsiteX129" fmla="*/ 743514 w 1034979"/>
                <a:gd name="connsiteY129" fmla="*/ 1294428 h 1483062"/>
                <a:gd name="connsiteX130" fmla="*/ 749229 w 1034979"/>
                <a:gd name="connsiteY130" fmla="*/ 1296333 h 1483062"/>
                <a:gd name="connsiteX131" fmla="*/ 762564 w 1034979"/>
                <a:gd name="connsiteY131" fmla="*/ 1302048 h 1483062"/>
                <a:gd name="connsiteX132" fmla="*/ 777804 w 1034979"/>
                <a:gd name="connsiteY132" fmla="*/ 1300143 h 1483062"/>
                <a:gd name="connsiteX133" fmla="*/ 789234 w 1034979"/>
                <a:gd name="connsiteY133" fmla="*/ 1294428 h 1483062"/>
                <a:gd name="connsiteX134" fmla="*/ 794949 w 1034979"/>
                <a:gd name="connsiteY134" fmla="*/ 1292523 h 1483062"/>
                <a:gd name="connsiteX135" fmla="*/ 802569 w 1034979"/>
                <a:gd name="connsiteY135" fmla="*/ 1275378 h 1483062"/>
                <a:gd name="connsiteX136" fmla="*/ 800664 w 1034979"/>
                <a:gd name="connsiteY136" fmla="*/ 1250613 h 1483062"/>
                <a:gd name="connsiteX137" fmla="*/ 798759 w 1034979"/>
                <a:gd name="connsiteY137" fmla="*/ 1244898 h 1483062"/>
                <a:gd name="connsiteX138" fmla="*/ 796854 w 1034979"/>
                <a:gd name="connsiteY138" fmla="*/ 1237278 h 1483062"/>
                <a:gd name="connsiteX139" fmla="*/ 783519 w 1034979"/>
                <a:gd name="connsiteY139" fmla="*/ 1220133 h 1483062"/>
                <a:gd name="connsiteX140" fmla="*/ 773994 w 1034979"/>
                <a:gd name="connsiteY140" fmla="*/ 1214418 h 1483062"/>
                <a:gd name="connsiteX141" fmla="*/ 648264 w 1034979"/>
                <a:gd name="connsiteY141" fmla="*/ 1122978 h 1483062"/>
                <a:gd name="connsiteX142" fmla="*/ 644454 w 1034979"/>
                <a:gd name="connsiteY142" fmla="*/ 1105833 h 1483062"/>
                <a:gd name="connsiteX143" fmla="*/ 646359 w 1034979"/>
                <a:gd name="connsiteY143" fmla="*/ 1098213 h 1483062"/>
                <a:gd name="connsiteX144" fmla="*/ 650169 w 1034979"/>
                <a:gd name="connsiteY144" fmla="*/ 1081068 h 1483062"/>
                <a:gd name="connsiteX145" fmla="*/ 653979 w 1034979"/>
                <a:gd name="connsiteY145" fmla="*/ 1075353 h 1483062"/>
                <a:gd name="connsiteX146" fmla="*/ 655884 w 1034979"/>
                <a:gd name="connsiteY146" fmla="*/ 1069638 h 1483062"/>
                <a:gd name="connsiteX147" fmla="*/ 661599 w 1034979"/>
                <a:gd name="connsiteY147" fmla="*/ 1067733 h 1483062"/>
                <a:gd name="connsiteX148" fmla="*/ 671124 w 1034979"/>
                <a:gd name="connsiteY148" fmla="*/ 1056303 h 1483062"/>
                <a:gd name="connsiteX149" fmla="*/ 724464 w 1034979"/>
                <a:gd name="connsiteY149" fmla="*/ 1048683 h 1483062"/>
                <a:gd name="connsiteX150" fmla="*/ 842574 w 1034979"/>
                <a:gd name="connsiteY150" fmla="*/ 1050588 h 1483062"/>
                <a:gd name="connsiteX151" fmla="*/ 871149 w 1034979"/>
                <a:gd name="connsiteY151" fmla="*/ 1052493 h 1483062"/>
                <a:gd name="connsiteX152" fmla="*/ 899724 w 1034979"/>
                <a:gd name="connsiteY152" fmla="*/ 1058208 h 1483062"/>
                <a:gd name="connsiteX153" fmla="*/ 922584 w 1034979"/>
                <a:gd name="connsiteY153" fmla="*/ 1062018 h 1483062"/>
                <a:gd name="connsiteX154" fmla="*/ 951159 w 1034979"/>
                <a:gd name="connsiteY154" fmla="*/ 1067733 h 1483062"/>
                <a:gd name="connsiteX155" fmla="*/ 956874 w 1034979"/>
                <a:gd name="connsiteY155" fmla="*/ 1067733 h 1483062"/>
                <a:gd name="connsiteX156" fmla="*/ 1002594 w 1034979"/>
                <a:gd name="connsiteY156" fmla="*/ 1065828 h 1483062"/>
                <a:gd name="connsiteX157" fmla="*/ 1031169 w 1034979"/>
                <a:gd name="connsiteY157" fmla="*/ 1058208 h 1483062"/>
                <a:gd name="connsiteX158" fmla="*/ 1034979 w 1034979"/>
                <a:gd name="connsiteY158" fmla="*/ 1052493 h 1483062"/>
                <a:gd name="connsiteX159" fmla="*/ 1033074 w 1034979"/>
                <a:gd name="connsiteY159" fmla="*/ 1033443 h 1483062"/>
                <a:gd name="connsiteX160" fmla="*/ 1027359 w 1034979"/>
                <a:gd name="connsiteY160" fmla="*/ 1029633 h 1483062"/>
                <a:gd name="connsiteX161" fmla="*/ 1012119 w 1034979"/>
                <a:gd name="connsiteY161" fmla="*/ 1027728 h 1483062"/>
                <a:gd name="connsiteX162" fmla="*/ 1006404 w 1034979"/>
                <a:gd name="connsiteY162" fmla="*/ 1025823 h 1483062"/>
                <a:gd name="connsiteX163" fmla="*/ 998784 w 1034979"/>
                <a:gd name="connsiteY163" fmla="*/ 1023918 h 1483062"/>
                <a:gd name="connsiteX164" fmla="*/ 987354 w 1034979"/>
                <a:gd name="connsiteY164" fmla="*/ 1016298 h 1483062"/>
                <a:gd name="connsiteX165" fmla="*/ 975924 w 1034979"/>
                <a:gd name="connsiteY165" fmla="*/ 1012488 h 1483062"/>
                <a:gd name="connsiteX166" fmla="*/ 970209 w 1034979"/>
                <a:gd name="connsiteY166" fmla="*/ 1010583 h 1483062"/>
                <a:gd name="connsiteX167" fmla="*/ 962589 w 1034979"/>
                <a:gd name="connsiteY167" fmla="*/ 1008678 h 1483062"/>
                <a:gd name="connsiteX168" fmla="*/ 956874 w 1034979"/>
                <a:gd name="connsiteY168" fmla="*/ 1006773 h 1483062"/>
                <a:gd name="connsiteX169" fmla="*/ 935919 w 1034979"/>
                <a:gd name="connsiteY169" fmla="*/ 1001058 h 1483062"/>
                <a:gd name="connsiteX170" fmla="*/ 930204 w 1034979"/>
                <a:gd name="connsiteY170" fmla="*/ 999153 h 1483062"/>
                <a:gd name="connsiteX171" fmla="*/ 825429 w 1034979"/>
                <a:gd name="connsiteY171" fmla="*/ 1001058 h 1483062"/>
                <a:gd name="connsiteX172" fmla="*/ 819714 w 1034979"/>
                <a:gd name="connsiteY172" fmla="*/ 1002963 h 1483062"/>
                <a:gd name="connsiteX173" fmla="*/ 730179 w 1034979"/>
                <a:gd name="connsiteY173" fmla="*/ 1004868 h 1483062"/>
                <a:gd name="connsiteX174" fmla="*/ 716844 w 1034979"/>
                <a:gd name="connsiteY174" fmla="*/ 1008678 h 1483062"/>
                <a:gd name="connsiteX175" fmla="*/ 695889 w 1034979"/>
                <a:gd name="connsiteY175" fmla="*/ 1010583 h 1483062"/>
                <a:gd name="connsiteX176" fmla="*/ 669219 w 1034979"/>
                <a:gd name="connsiteY176" fmla="*/ 1012488 h 1483062"/>
                <a:gd name="connsiteX177" fmla="*/ 669219 w 1034979"/>
                <a:gd name="connsiteY177" fmla="*/ 1012488 h 1483062"/>
                <a:gd name="connsiteX178" fmla="*/ 646359 w 1034979"/>
                <a:gd name="connsiteY178" fmla="*/ 1016298 h 1483062"/>
                <a:gd name="connsiteX179" fmla="*/ 642549 w 1034979"/>
                <a:gd name="connsiteY179" fmla="*/ 1004868 h 1483062"/>
                <a:gd name="connsiteX180" fmla="*/ 640644 w 1034979"/>
                <a:gd name="connsiteY180" fmla="*/ 999153 h 1483062"/>
                <a:gd name="connsiteX181" fmla="*/ 642549 w 1034979"/>
                <a:gd name="connsiteY181" fmla="*/ 982008 h 1483062"/>
                <a:gd name="connsiteX182" fmla="*/ 644454 w 1034979"/>
                <a:gd name="connsiteY182" fmla="*/ 976293 h 1483062"/>
                <a:gd name="connsiteX183" fmla="*/ 661599 w 1034979"/>
                <a:gd name="connsiteY183" fmla="*/ 966768 h 1483062"/>
                <a:gd name="connsiteX184" fmla="*/ 673029 w 1034979"/>
                <a:gd name="connsiteY184" fmla="*/ 959148 h 1483062"/>
                <a:gd name="connsiteX185" fmla="*/ 674934 w 1034979"/>
                <a:gd name="connsiteY185" fmla="*/ 953433 h 1483062"/>
                <a:gd name="connsiteX186" fmla="*/ 680649 w 1034979"/>
                <a:gd name="connsiteY186" fmla="*/ 951528 h 1483062"/>
                <a:gd name="connsiteX187" fmla="*/ 686364 w 1034979"/>
                <a:gd name="connsiteY187" fmla="*/ 947718 h 1483062"/>
                <a:gd name="connsiteX188" fmla="*/ 695889 w 1034979"/>
                <a:gd name="connsiteY188" fmla="*/ 938193 h 1483062"/>
                <a:gd name="connsiteX189" fmla="*/ 705414 w 1034979"/>
                <a:gd name="connsiteY189" fmla="*/ 926763 h 1483062"/>
                <a:gd name="connsiteX190" fmla="*/ 716844 w 1034979"/>
                <a:gd name="connsiteY190" fmla="*/ 919143 h 1483062"/>
                <a:gd name="connsiteX191" fmla="*/ 732084 w 1034979"/>
                <a:gd name="connsiteY191" fmla="*/ 905808 h 1483062"/>
                <a:gd name="connsiteX192" fmla="*/ 741609 w 1034979"/>
                <a:gd name="connsiteY192" fmla="*/ 894378 h 1483062"/>
                <a:gd name="connsiteX193" fmla="*/ 753039 w 1034979"/>
                <a:gd name="connsiteY193" fmla="*/ 884853 h 1483062"/>
                <a:gd name="connsiteX194" fmla="*/ 758754 w 1034979"/>
                <a:gd name="connsiteY194" fmla="*/ 873423 h 1483062"/>
                <a:gd name="connsiteX195" fmla="*/ 760659 w 1034979"/>
                <a:gd name="connsiteY195" fmla="*/ 867708 h 1483062"/>
                <a:gd name="connsiteX196" fmla="*/ 766374 w 1034979"/>
                <a:gd name="connsiteY196" fmla="*/ 856278 h 1483062"/>
                <a:gd name="connsiteX197" fmla="*/ 764469 w 1034979"/>
                <a:gd name="connsiteY197" fmla="*/ 841038 h 1483062"/>
                <a:gd name="connsiteX198" fmla="*/ 758754 w 1034979"/>
                <a:gd name="connsiteY198" fmla="*/ 839133 h 1483062"/>
                <a:gd name="connsiteX199" fmla="*/ 737799 w 1034979"/>
                <a:gd name="connsiteY199" fmla="*/ 841038 h 1483062"/>
                <a:gd name="connsiteX200" fmla="*/ 732084 w 1034979"/>
                <a:gd name="connsiteY200" fmla="*/ 844848 h 1483062"/>
                <a:gd name="connsiteX201" fmla="*/ 720654 w 1034979"/>
                <a:gd name="connsiteY201" fmla="*/ 848658 h 1483062"/>
                <a:gd name="connsiteX202" fmla="*/ 716844 w 1034979"/>
                <a:gd name="connsiteY202" fmla="*/ 854373 h 1483062"/>
                <a:gd name="connsiteX203" fmla="*/ 711129 w 1034979"/>
                <a:gd name="connsiteY203" fmla="*/ 856278 h 1483062"/>
                <a:gd name="connsiteX204" fmla="*/ 705414 w 1034979"/>
                <a:gd name="connsiteY204" fmla="*/ 860088 h 1483062"/>
                <a:gd name="connsiteX205" fmla="*/ 699699 w 1034979"/>
                <a:gd name="connsiteY205" fmla="*/ 865803 h 1483062"/>
                <a:gd name="connsiteX206" fmla="*/ 692079 w 1034979"/>
                <a:gd name="connsiteY206" fmla="*/ 869613 h 1483062"/>
                <a:gd name="connsiteX207" fmla="*/ 650169 w 1034979"/>
                <a:gd name="connsiteY207" fmla="*/ 898188 h 1483062"/>
                <a:gd name="connsiteX208" fmla="*/ 636834 w 1034979"/>
                <a:gd name="connsiteY208" fmla="*/ 909618 h 1483062"/>
                <a:gd name="connsiteX209" fmla="*/ 627309 w 1034979"/>
                <a:gd name="connsiteY209" fmla="*/ 926763 h 1483062"/>
                <a:gd name="connsiteX210" fmla="*/ 602544 w 1034979"/>
                <a:gd name="connsiteY210" fmla="*/ 932478 h 1483062"/>
                <a:gd name="connsiteX211" fmla="*/ 589209 w 1034979"/>
                <a:gd name="connsiteY211" fmla="*/ 936288 h 1483062"/>
                <a:gd name="connsiteX212" fmla="*/ 573969 w 1034979"/>
                <a:gd name="connsiteY212" fmla="*/ 934383 h 1483062"/>
                <a:gd name="connsiteX213" fmla="*/ 562539 w 1034979"/>
                <a:gd name="connsiteY213" fmla="*/ 930573 h 1483062"/>
                <a:gd name="connsiteX214" fmla="*/ 551109 w 1034979"/>
                <a:gd name="connsiteY214" fmla="*/ 926763 h 1483062"/>
                <a:gd name="connsiteX215" fmla="*/ 539679 w 1034979"/>
                <a:gd name="connsiteY215" fmla="*/ 922953 h 1483062"/>
                <a:gd name="connsiteX216" fmla="*/ 533964 w 1034979"/>
                <a:gd name="connsiteY216" fmla="*/ 921048 h 1483062"/>
                <a:gd name="connsiteX217" fmla="*/ 528249 w 1034979"/>
                <a:gd name="connsiteY217" fmla="*/ 917238 h 1483062"/>
                <a:gd name="connsiteX218" fmla="*/ 516819 w 1034979"/>
                <a:gd name="connsiteY218" fmla="*/ 911523 h 1483062"/>
                <a:gd name="connsiteX219" fmla="*/ 509199 w 1034979"/>
                <a:gd name="connsiteY219" fmla="*/ 900093 h 1483062"/>
                <a:gd name="connsiteX220" fmla="*/ 505389 w 1034979"/>
                <a:gd name="connsiteY220" fmla="*/ 879138 h 1483062"/>
                <a:gd name="connsiteX221" fmla="*/ 507294 w 1034979"/>
                <a:gd name="connsiteY221" fmla="*/ 814368 h 1483062"/>
                <a:gd name="connsiteX222" fmla="*/ 513009 w 1034979"/>
                <a:gd name="connsiteY222" fmla="*/ 801033 h 1483062"/>
                <a:gd name="connsiteX223" fmla="*/ 503484 w 1034979"/>
                <a:gd name="connsiteY223" fmla="*/ 324783 h 1483062"/>
                <a:gd name="connsiteX224" fmla="*/ 490149 w 1034979"/>
                <a:gd name="connsiteY224" fmla="*/ 6648 h 1483062"/>
                <a:gd name="connsiteX225" fmla="*/ 488244 w 1034979"/>
                <a:gd name="connsiteY225" fmla="*/ 933 h 1483062"/>
                <a:gd name="connsiteX226" fmla="*/ 419664 w 1034979"/>
                <a:gd name="connsiteY226" fmla="*/ 27603 h 1483062"/>
                <a:gd name="connsiteX227" fmla="*/ 423474 w 1034979"/>
                <a:gd name="connsiteY227" fmla="*/ 39033 h 1483062"/>
                <a:gd name="connsiteX228" fmla="*/ 429189 w 1034979"/>
                <a:gd name="connsiteY228" fmla="*/ 204768 h 1483062"/>
                <a:gd name="connsiteX229" fmla="*/ 440619 w 1034979"/>
                <a:gd name="connsiteY229" fmla="*/ 387648 h 1483062"/>
                <a:gd name="connsiteX230" fmla="*/ 425379 w 1034979"/>
                <a:gd name="connsiteY230" fmla="*/ 684828 h 1483062"/>
                <a:gd name="connsiteX231" fmla="*/ 417759 w 1034979"/>
                <a:gd name="connsiteY231" fmla="*/ 812463 h 1483062"/>
                <a:gd name="connsiteX232" fmla="*/ 413949 w 1034979"/>
                <a:gd name="connsiteY232" fmla="*/ 829608 h 1483062"/>
                <a:gd name="connsiteX233" fmla="*/ 417759 w 1034979"/>
                <a:gd name="connsiteY233" fmla="*/ 850563 h 1483062"/>
                <a:gd name="connsiteX234" fmla="*/ 421569 w 1034979"/>
                <a:gd name="connsiteY234" fmla="*/ 856278 h 1483062"/>
                <a:gd name="connsiteX235" fmla="*/ 425379 w 1034979"/>
                <a:gd name="connsiteY235" fmla="*/ 867708 h 1483062"/>
                <a:gd name="connsiteX236" fmla="*/ 423474 w 1034979"/>
                <a:gd name="connsiteY236" fmla="*/ 894378 h 1483062"/>
                <a:gd name="connsiteX237" fmla="*/ 417759 w 1034979"/>
                <a:gd name="connsiteY237" fmla="*/ 896283 h 1483062"/>
                <a:gd name="connsiteX238" fmla="*/ 412044 w 1034979"/>
                <a:gd name="connsiteY238" fmla="*/ 900093 h 1483062"/>
                <a:gd name="connsiteX239" fmla="*/ 421569 w 1034979"/>
                <a:gd name="connsiteY239" fmla="*/ 896283 h 1483062"/>
                <a:gd name="connsiteX0" fmla="*/ 421569 w 1034979"/>
                <a:gd name="connsiteY0" fmla="*/ 896283 h 1483062"/>
                <a:gd name="connsiteX1" fmla="*/ 421569 w 1034979"/>
                <a:gd name="connsiteY1" fmla="*/ 896283 h 1483062"/>
                <a:gd name="connsiteX2" fmla="*/ 394899 w 1034979"/>
                <a:gd name="connsiteY2" fmla="*/ 905808 h 1483062"/>
                <a:gd name="connsiteX3" fmla="*/ 387279 w 1034979"/>
                <a:gd name="connsiteY3" fmla="*/ 907713 h 1483062"/>
                <a:gd name="connsiteX4" fmla="*/ 356799 w 1034979"/>
                <a:gd name="connsiteY4" fmla="*/ 909618 h 1483062"/>
                <a:gd name="connsiteX5" fmla="*/ 351084 w 1034979"/>
                <a:gd name="connsiteY5" fmla="*/ 913428 h 1483062"/>
                <a:gd name="connsiteX6" fmla="*/ 339654 w 1034979"/>
                <a:gd name="connsiteY6" fmla="*/ 922953 h 1483062"/>
                <a:gd name="connsiteX7" fmla="*/ 328224 w 1034979"/>
                <a:gd name="connsiteY7" fmla="*/ 926763 h 1483062"/>
                <a:gd name="connsiteX8" fmla="*/ 312984 w 1034979"/>
                <a:gd name="connsiteY8" fmla="*/ 932478 h 1483062"/>
                <a:gd name="connsiteX9" fmla="*/ 265359 w 1034979"/>
                <a:gd name="connsiteY9" fmla="*/ 928668 h 1483062"/>
                <a:gd name="connsiteX10" fmla="*/ 253929 w 1034979"/>
                <a:gd name="connsiteY10" fmla="*/ 924858 h 1483062"/>
                <a:gd name="connsiteX11" fmla="*/ 242499 w 1034979"/>
                <a:gd name="connsiteY11" fmla="*/ 921048 h 1483062"/>
                <a:gd name="connsiteX12" fmla="*/ 236784 w 1034979"/>
                <a:gd name="connsiteY12" fmla="*/ 919143 h 1483062"/>
                <a:gd name="connsiteX13" fmla="*/ 231069 w 1034979"/>
                <a:gd name="connsiteY13" fmla="*/ 917238 h 1483062"/>
                <a:gd name="connsiteX14" fmla="*/ 219639 w 1034979"/>
                <a:gd name="connsiteY14" fmla="*/ 915333 h 1483062"/>
                <a:gd name="connsiteX15" fmla="*/ 213924 w 1034979"/>
                <a:gd name="connsiteY15" fmla="*/ 913428 h 1483062"/>
                <a:gd name="connsiteX16" fmla="*/ 206304 w 1034979"/>
                <a:gd name="connsiteY16" fmla="*/ 911523 h 1483062"/>
                <a:gd name="connsiteX17" fmla="*/ 194874 w 1034979"/>
                <a:gd name="connsiteY17" fmla="*/ 907713 h 1483062"/>
                <a:gd name="connsiteX18" fmla="*/ 189159 w 1034979"/>
                <a:gd name="connsiteY18" fmla="*/ 905808 h 1483062"/>
                <a:gd name="connsiteX19" fmla="*/ 181539 w 1034979"/>
                <a:gd name="connsiteY19" fmla="*/ 903903 h 1483062"/>
                <a:gd name="connsiteX20" fmla="*/ 170109 w 1034979"/>
                <a:gd name="connsiteY20" fmla="*/ 898188 h 1483062"/>
                <a:gd name="connsiteX21" fmla="*/ 164394 w 1034979"/>
                <a:gd name="connsiteY21" fmla="*/ 894378 h 1483062"/>
                <a:gd name="connsiteX22" fmla="*/ 156774 w 1034979"/>
                <a:gd name="connsiteY22" fmla="*/ 882948 h 1483062"/>
                <a:gd name="connsiteX23" fmla="*/ 145344 w 1034979"/>
                <a:gd name="connsiteY23" fmla="*/ 879138 h 1483062"/>
                <a:gd name="connsiteX24" fmla="*/ 139629 w 1034979"/>
                <a:gd name="connsiteY24" fmla="*/ 875328 h 1483062"/>
                <a:gd name="connsiteX25" fmla="*/ 133914 w 1034979"/>
                <a:gd name="connsiteY25" fmla="*/ 873423 h 1483062"/>
                <a:gd name="connsiteX26" fmla="*/ 116769 w 1034979"/>
                <a:gd name="connsiteY26" fmla="*/ 869613 h 1483062"/>
                <a:gd name="connsiteX27" fmla="*/ 111054 w 1034979"/>
                <a:gd name="connsiteY27" fmla="*/ 863898 h 1483062"/>
                <a:gd name="connsiteX28" fmla="*/ 101529 w 1034979"/>
                <a:gd name="connsiteY28" fmla="*/ 846753 h 1483062"/>
                <a:gd name="connsiteX29" fmla="*/ 84384 w 1034979"/>
                <a:gd name="connsiteY29" fmla="*/ 839133 h 1483062"/>
                <a:gd name="connsiteX30" fmla="*/ 78669 w 1034979"/>
                <a:gd name="connsiteY30" fmla="*/ 837228 h 1483062"/>
                <a:gd name="connsiteX31" fmla="*/ 59619 w 1034979"/>
                <a:gd name="connsiteY31" fmla="*/ 841038 h 1483062"/>
                <a:gd name="connsiteX32" fmla="*/ 53904 w 1034979"/>
                <a:gd name="connsiteY32" fmla="*/ 844848 h 1483062"/>
                <a:gd name="connsiteX33" fmla="*/ 50094 w 1034979"/>
                <a:gd name="connsiteY33" fmla="*/ 850563 h 1483062"/>
                <a:gd name="connsiteX34" fmla="*/ 46284 w 1034979"/>
                <a:gd name="connsiteY34" fmla="*/ 861993 h 1483062"/>
                <a:gd name="connsiteX35" fmla="*/ 50094 w 1034979"/>
                <a:gd name="connsiteY35" fmla="*/ 900093 h 1483062"/>
                <a:gd name="connsiteX36" fmla="*/ 53904 w 1034979"/>
                <a:gd name="connsiteY36" fmla="*/ 905808 h 1483062"/>
                <a:gd name="connsiteX37" fmla="*/ 59619 w 1034979"/>
                <a:gd name="connsiteY37" fmla="*/ 909618 h 1483062"/>
                <a:gd name="connsiteX38" fmla="*/ 63429 w 1034979"/>
                <a:gd name="connsiteY38" fmla="*/ 915333 h 1483062"/>
                <a:gd name="connsiteX39" fmla="*/ 80574 w 1034979"/>
                <a:gd name="connsiteY39" fmla="*/ 924858 h 1483062"/>
                <a:gd name="connsiteX40" fmla="*/ 103434 w 1034979"/>
                <a:gd name="connsiteY40" fmla="*/ 926763 h 1483062"/>
                <a:gd name="connsiteX41" fmla="*/ 124389 w 1034979"/>
                <a:gd name="connsiteY41" fmla="*/ 932478 h 1483062"/>
                <a:gd name="connsiteX42" fmla="*/ 130104 w 1034979"/>
                <a:gd name="connsiteY42" fmla="*/ 934383 h 1483062"/>
                <a:gd name="connsiteX43" fmla="*/ 135819 w 1034979"/>
                <a:gd name="connsiteY43" fmla="*/ 940098 h 1483062"/>
                <a:gd name="connsiteX44" fmla="*/ 143439 w 1034979"/>
                <a:gd name="connsiteY44" fmla="*/ 942003 h 1483062"/>
                <a:gd name="connsiteX45" fmla="*/ 166299 w 1034979"/>
                <a:gd name="connsiteY45" fmla="*/ 945813 h 1483062"/>
                <a:gd name="connsiteX46" fmla="*/ 191064 w 1034979"/>
                <a:gd name="connsiteY46" fmla="*/ 951528 h 1483062"/>
                <a:gd name="connsiteX47" fmla="*/ 208209 w 1034979"/>
                <a:gd name="connsiteY47" fmla="*/ 957243 h 1483062"/>
                <a:gd name="connsiteX48" fmla="*/ 213924 w 1034979"/>
                <a:gd name="connsiteY48" fmla="*/ 959148 h 1483062"/>
                <a:gd name="connsiteX49" fmla="*/ 229164 w 1034979"/>
                <a:gd name="connsiteY49" fmla="*/ 962958 h 1483062"/>
                <a:gd name="connsiteX50" fmla="*/ 248214 w 1034979"/>
                <a:gd name="connsiteY50" fmla="*/ 968673 h 1483062"/>
                <a:gd name="connsiteX51" fmla="*/ 253929 w 1034979"/>
                <a:gd name="connsiteY51" fmla="*/ 972483 h 1483062"/>
                <a:gd name="connsiteX52" fmla="*/ 267264 w 1034979"/>
                <a:gd name="connsiteY52" fmla="*/ 987723 h 1483062"/>
                <a:gd name="connsiteX53" fmla="*/ 272979 w 1034979"/>
                <a:gd name="connsiteY53" fmla="*/ 1006773 h 1483062"/>
                <a:gd name="connsiteX54" fmla="*/ 274884 w 1034979"/>
                <a:gd name="connsiteY54" fmla="*/ 1012488 h 1483062"/>
                <a:gd name="connsiteX55" fmla="*/ 276789 w 1034979"/>
                <a:gd name="connsiteY55" fmla="*/ 1018203 h 1483062"/>
                <a:gd name="connsiteX56" fmla="*/ 278694 w 1034979"/>
                <a:gd name="connsiteY56" fmla="*/ 1042968 h 1483062"/>
                <a:gd name="connsiteX57" fmla="*/ 280599 w 1034979"/>
                <a:gd name="connsiteY57" fmla="*/ 1048683 h 1483062"/>
                <a:gd name="connsiteX58" fmla="*/ 278694 w 1034979"/>
                <a:gd name="connsiteY58" fmla="*/ 1067733 h 1483062"/>
                <a:gd name="connsiteX59" fmla="*/ 276789 w 1034979"/>
                <a:gd name="connsiteY59" fmla="*/ 1077258 h 1483062"/>
                <a:gd name="connsiteX60" fmla="*/ 263454 w 1034979"/>
                <a:gd name="connsiteY60" fmla="*/ 1090593 h 1483062"/>
                <a:gd name="connsiteX61" fmla="*/ 252024 w 1034979"/>
                <a:gd name="connsiteY61" fmla="*/ 1098213 h 1483062"/>
                <a:gd name="connsiteX62" fmla="*/ 240594 w 1034979"/>
                <a:gd name="connsiteY62" fmla="*/ 1102023 h 1483062"/>
                <a:gd name="connsiteX63" fmla="*/ 126294 w 1034979"/>
                <a:gd name="connsiteY63" fmla="*/ 1102023 h 1483062"/>
                <a:gd name="connsiteX64" fmla="*/ 120579 w 1034979"/>
                <a:gd name="connsiteY64" fmla="*/ 1103928 h 1483062"/>
                <a:gd name="connsiteX65" fmla="*/ 105339 w 1034979"/>
                <a:gd name="connsiteY65" fmla="*/ 1105833 h 1483062"/>
                <a:gd name="connsiteX66" fmla="*/ 88194 w 1034979"/>
                <a:gd name="connsiteY66" fmla="*/ 1111548 h 1483062"/>
                <a:gd name="connsiteX67" fmla="*/ 82479 w 1034979"/>
                <a:gd name="connsiteY67" fmla="*/ 1113453 h 1483062"/>
                <a:gd name="connsiteX68" fmla="*/ 76764 w 1034979"/>
                <a:gd name="connsiteY68" fmla="*/ 1117263 h 1483062"/>
                <a:gd name="connsiteX69" fmla="*/ 65334 w 1034979"/>
                <a:gd name="connsiteY69" fmla="*/ 1119168 h 1483062"/>
                <a:gd name="connsiteX70" fmla="*/ 27234 w 1034979"/>
                <a:gd name="connsiteY70" fmla="*/ 1121073 h 1483062"/>
                <a:gd name="connsiteX71" fmla="*/ 15804 w 1034979"/>
                <a:gd name="connsiteY71" fmla="*/ 1126788 h 1483062"/>
                <a:gd name="connsiteX72" fmla="*/ 6279 w 1034979"/>
                <a:gd name="connsiteY72" fmla="*/ 1136313 h 1483062"/>
                <a:gd name="connsiteX73" fmla="*/ 4374 w 1034979"/>
                <a:gd name="connsiteY73" fmla="*/ 1142028 h 1483062"/>
                <a:gd name="connsiteX74" fmla="*/ 564 w 1034979"/>
                <a:gd name="connsiteY74" fmla="*/ 1147743 h 1483062"/>
                <a:gd name="connsiteX75" fmla="*/ 6279 w 1034979"/>
                <a:gd name="connsiteY75" fmla="*/ 1180128 h 1483062"/>
                <a:gd name="connsiteX76" fmla="*/ 11994 w 1034979"/>
                <a:gd name="connsiteY76" fmla="*/ 1183938 h 1483062"/>
                <a:gd name="connsiteX77" fmla="*/ 17709 w 1034979"/>
                <a:gd name="connsiteY77" fmla="*/ 1185843 h 1483062"/>
                <a:gd name="connsiteX78" fmla="*/ 145344 w 1034979"/>
                <a:gd name="connsiteY78" fmla="*/ 1183938 h 1483062"/>
                <a:gd name="connsiteX79" fmla="*/ 152964 w 1034979"/>
                <a:gd name="connsiteY79" fmla="*/ 1182033 h 1483062"/>
                <a:gd name="connsiteX80" fmla="*/ 303459 w 1034979"/>
                <a:gd name="connsiteY80" fmla="*/ 1176318 h 1483062"/>
                <a:gd name="connsiteX81" fmla="*/ 318699 w 1034979"/>
                <a:gd name="connsiteY81" fmla="*/ 1183938 h 1483062"/>
                <a:gd name="connsiteX82" fmla="*/ 330129 w 1034979"/>
                <a:gd name="connsiteY82" fmla="*/ 1189653 h 1483062"/>
                <a:gd name="connsiteX83" fmla="*/ 333939 w 1034979"/>
                <a:gd name="connsiteY83" fmla="*/ 1195368 h 1483062"/>
                <a:gd name="connsiteX84" fmla="*/ 339654 w 1034979"/>
                <a:gd name="connsiteY84" fmla="*/ 1197273 h 1483062"/>
                <a:gd name="connsiteX85" fmla="*/ 351084 w 1034979"/>
                <a:gd name="connsiteY85" fmla="*/ 1204893 h 1483062"/>
                <a:gd name="connsiteX86" fmla="*/ 356799 w 1034979"/>
                <a:gd name="connsiteY86" fmla="*/ 1208703 h 1483062"/>
                <a:gd name="connsiteX87" fmla="*/ 360609 w 1034979"/>
                <a:gd name="connsiteY87" fmla="*/ 1214418 h 1483062"/>
                <a:gd name="connsiteX88" fmla="*/ 366324 w 1034979"/>
                <a:gd name="connsiteY88" fmla="*/ 1225848 h 1483062"/>
                <a:gd name="connsiteX89" fmla="*/ 362514 w 1034979"/>
                <a:gd name="connsiteY89" fmla="*/ 1252518 h 1483062"/>
                <a:gd name="connsiteX90" fmla="*/ 358704 w 1034979"/>
                <a:gd name="connsiteY90" fmla="*/ 1258233 h 1483062"/>
                <a:gd name="connsiteX91" fmla="*/ 356799 w 1034979"/>
                <a:gd name="connsiteY91" fmla="*/ 1263948 h 1483062"/>
                <a:gd name="connsiteX92" fmla="*/ 352989 w 1034979"/>
                <a:gd name="connsiteY92" fmla="*/ 1269663 h 1483062"/>
                <a:gd name="connsiteX93" fmla="*/ 351084 w 1034979"/>
                <a:gd name="connsiteY93" fmla="*/ 1275378 h 1483062"/>
                <a:gd name="connsiteX94" fmla="*/ 347274 w 1034979"/>
                <a:gd name="connsiteY94" fmla="*/ 1281093 h 1483062"/>
                <a:gd name="connsiteX95" fmla="*/ 330129 w 1034979"/>
                <a:gd name="connsiteY95" fmla="*/ 1347768 h 1483062"/>
                <a:gd name="connsiteX96" fmla="*/ 328224 w 1034979"/>
                <a:gd name="connsiteY96" fmla="*/ 1399203 h 1483062"/>
                <a:gd name="connsiteX97" fmla="*/ 330129 w 1034979"/>
                <a:gd name="connsiteY97" fmla="*/ 1423968 h 1483062"/>
                <a:gd name="connsiteX98" fmla="*/ 332034 w 1034979"/>
                <a:gd name="connsiteY98" fmla="*/ 1429683 h 1483062"/>
                <a:gd name="connsiteX99" fmla="*/ 335844 w 1034979"/>
                <a:gd name="connsiteY99" fmla="*/ 1433493 h 1483062"/>
                <a:gd name="connsiteX100" fmla="*/ 364419 w 1034979"/>
                <a:gd name="connsiteY100" fmla="*/ 1479213 h 1483062"/>
                <a:gd name="connsiteX101" fmla="*/ 387279 w 1034979"/>
                <a:gd name="connsiteY101" fmla="*/ 1481118 h 1483062"/>
                <a:gd name="connsiteX102" fmla="*/ 392994 w 1034979"/>
                <a:gd name="connsiteY102" fmla="*/ 1475403 h 1483062"/>
                <a:gd name="connsiteX103" fmla="*/ 394899 w 1034979"/>
                <a:gd name="connsiteY103" fmla="*/ 1463973 h 1483062"/>
                <a:gd name="connsiteX104" fmla="*/ 396804 w 1034979"/>
                <a:gd name="connsiteY104" fmla="*/ 1458258 h 1483062"/>
                <a:gd name="connsiteX105" fmla="*/ 398709 w 1034979"/>
                <a:gd name="connsiteY105" fmla="*/ 1441113 h 1483062"/>
                <a:gd name="connsiteX106" fmla="*/ 400614 w 1034979"/>
                <a:gd name="connsiteY106" fmla="*/ 1427778 h 1483062"/>
                <a:gd name="connsiteX107" fmla="*/ 404424 w 1034979"/>
                <a:gd name="connsiteY107" fmla="*/ 1370628 h 1483062"/>
                <a:gd name="connsiteX108" fmla="*/ 410139 w 1034979"/>
                <a:gd name="connsiteY108" fmla="*/ 1359198 h 1483062"/>
                <a:gd name="connsiteX109" fmla="*/ 413949 w 1034979"/>
                <a:gd name="connsiteY109" fmla="*/ 1345863 h 1483062"/>
                <a:gd name="connsiteX110" fmla="*/ 415854 w 1034979"/>
                <a:gd name="connsiteY110" fmla="*/ 1340148 h 1483062"/>
                <a:gd name="connsiteX111" fmla="*/ 417759 w 1034979"/>
                <a:gd name="connsiteY111" fmla="*/ 1326813 h 1483062"/>
                <a:gd name="connsiteX112" fmla="*/ 421569 w 1034979"/>
                <a:gd name="connsiteY112" fmla="*/ 1315383 h 1483062"/>
                <a:gd name="connsiteX113" fmla="*/ 427284 w 1034979"/>
                <a:gd name="connsiteY113" fmla="*/ 1302048 h 1483062"/>
                <a:gd name="connsiteX114" fmla="*/ 436809 w 1034979"/>
                <a:gd name="connsiteY114" fmla="*/ 1290618 h 1483062"/>
                <a:gd name="connsiteX115" fmla="*/ 450144 w 1034979"/>
                <a:gd name="connsiteY115" fmla="*/ 1275378 h 1483062"/>
                <a:gd name="connsiteX116" fmla="*/ 457764 w 1034979"/>
                <a:gd name="connsiteY116" fmla="*/ 1263948 h 1483062"/>
                <a:gd name="connsiteX117" fmla="*/ 461574 w 1034979"/>
                <a:gd name="connsiteY117" fmla="*/ 1252518 h 1483062"/>
                <a:gd name="connsiteX118" fmla="*/ 465384 w 1034979"/>
                <a:gd name="connsiteY118" fmla="*/ 1237278 h 1483062"/>
                <a:gd name="connsiteX119" fmla="*/ 467289 w 1034979"/>
                <a:gd name="connsiteY119" fmla="*/ 1231563 h 1483062"/>
                <a:gd name="connsiteX120" fmla="*/ 507294 w 1034979"/>
                <a:gd name="connsiteY120" fmla="*/ 1225848 h 1483062"/>
                <a:gd name="connsiteX121" fmla="*/ 535869 w 1034979"/>
                <a:gd name="connsiteY121" fmla="*/ 1216323 h 1483062"/>
                <a:gd name="connsiteX122" fmla="*/ 541584 w 1034979"/>
                <a:gd name="connsiteY122" fmla="*/ 1214418 h 1483062"/>
                <a:gd name="connsiteX123" fmla="*/ 547299 w 1034979"/>
                <a:gd name="connsiteY123" fmla="*/ 1212513 h 1483062"/>
                <a:gd name="connsiteX124" fmla="*/ 554919 w 1034979"/>
                <a:gd name="connsiteY124" fmla="*/ 1210608 h 1483062"/>
                <a:gd name="connsiteX125" fmla="*/ 573969 w 1034979"/>
                <a:gd name="connsiteY125" fmla="*/ 1202988 h 1483062"/>
                <a:gd name="connsiteX126" fmla="*/ 585399 w 1034979"/>
                <a:gd name="connsiteY126" fmla="*/ 1199178 h 1483062"/>
                <a:gd name="connsiteX127" fmla="*/ 720654 w 1034979"/>
                <a:gd name="connsiteY127" fmla="*/ 1282998 h 1483062"/>
                <a:gd name="connsiteX128" fmla="*/ 733989 w 1034979"/>
                <a:gd name="connsiteY128" fmla="*/ 1292523 h 1483062"/>
                <a:gd name="connsiteX129" fmla="*/ 743514 w 1034979"/>
                <a:gd name="connsiteY129" fmla="*/ 1294428 h 1483062"/>
                <a:gd name="connsiteX130" fmla="*/ 749229 w 1034979"/>
                <a:gd name="connsiteY130" fmla="*/ 1296333 h 1483062"/>
                <a:gd name="connsiteX131" fmla="*/ 762564 w 1034979"/>
                <a:gd name="connsiteY131" fmla="*/ 1302048 h 1483062"/>
                <a:gd name="connsiteX132" fmla="*/ 777804 w 1034979"/>
                <a:gd name="connsiteY132" fmla="*/ 1300143 h 1483062"/>
                <a:gd name="connsiteX133" fmla="*/ 789234 w 1034979"/>
                <a:gd name="connsiteY133" fmla="*/ 1294428 h 1483062"/>
                <a:gd name="connsiteX134" fmla="*/ 794949 w 1034979"/>
                <a:gd name="connsiteY134" fmla="*/ 1292523 h 1483062"/>
                <a:gd name="connsiteX135" fmla="*/ 802569 w 1034979"/>
                <a:gd name="connsiteY135" fmla="*/ 1275378 h 1483062"/>
                <a:gd name="connsiteX136" fmla="*/ 800664 w 1034979"/>
                <a:gd name="connsiteY136" fmla="*/ 1250613 h 1483062"/>
                <a:gd name="connsiteX137" fmla="*/ 798759 w 1034979"/>
                <a:gd name="connsiteY137" fmla="*/ 1244898 h 1483062"/>
                <a:gd name="connsiteX138" fmla="*/ 796854 w 1034979"/>
                <a:gd name="connsiteY138" fmla="*/ 1237278 h 1483062"/>
                <a:gd name="connsiteX139" fmla="*/ 783519 w 1034979"/>
                <a:gd name="connsiteY139" fmla="*/ 1220133 h 1483062"/>
                <a:gd name="connsiteX140" fmla="*/ 773994 w 1034979"/>
                <a:gd name="connsiteY140" fmla="*/ 1214418 h 1483062"/>
                <a:gd name="connsiteX141" fmla="*/ 648264 w 1034979"/>
                <a:gd name="connsiteY141" fmla="*/ 1122978 h 1483062"/>
                <a:gd name="connsiteX142" fmla="*/ 644454 w 1034979"/>
                <a:gd name="connsiteY142" fmla="*/ 1105833 h 1483062"/>
                <a:gd name="connsiteX143" fmla="*/ 646359 w 1034979"/>
                <a:gd name="connsiteY143" fmla="*/ 1098213 h 1483062"/>
                <a:gd name="connsiteX144" fmla="*/ 650169 w 1034979"/>
                <a:gd name="connsiteY144" fmla="*/ 1081068 h 1483062"/>
                <a:gd name="connsiteX145" fmla="*/ 653979 w 1034979"/>
                <a:gd name="connsiteY145" fmla="*/ 1075353 h 1483062"/>
                <a:gd name="connsiteX146" fmla="*/ 655884 w 1034979"/>
                <a:gd name="connsiteY146" fmla="*/ 1069638 h 1483062"/>
                <a:gd name="connsiteX147" fmla="*/ 661599 w 1034979"/>
                <a:gd name="connsiteY147" fmla="*/ 1067733 h 1483062"/>
                <a:gd name="connsiteX148" fmla="*/ 671124 w 1034979"/>
                <a:gd name="connsiteY148" fmla="*/ 1056303 h 1483062"/>
                <a:gd name="connsiteX149" fmla="*/ 724464 w 1034979"/>
                <a:gd name="connsiteY149" fmla="*/ 1048683 h 1483062"/>
                <a:gd name="connsiteX150" fmla="*/ 842574 w 1034979"/>
                <a:gd name="connsiteY150" fmla="*/ 1050588 h 1483062"/>
                <a:gd name="connsiteX151" fmla="*/ 871149 w 1034979"/>
                <a:gd name="connsiteY151" fmla="*/ 1052493 h 1483062"/>
                <a:gd name="connsiteX152" fmla="*/ 899724 w 1034979"/>
                <a:gd name="connsiteY152" fmla="*/ 1058208 h 1483062"/>
                <a:gd name="connsiteX153" fmla="*/ 922584 w 1034979"/>
                <a:gd name="connsiteY153" fmla="*/ 1062018 h 1483062"/>
                <a:gd name="connsiteX154" fmla="*/ 951159 w 1034979"/>
                <a:gd name="connsiteY154" fmla="*/ 1067733 h 1483062"/>
                <a:gd name="connsiteX155" fmla="*/ 956874 w 1034979"/>
                <a:gd name="connsiteY155" fmla="*/ 1067733 h 1483062"/>
                <a:gd name="connsiteX156" fmla="*/ 1002594 w 1034979"/>
                <a:gd name="connsiteY156" fmla="*/ 1065828 h 1483062"/>
                <a:gd name="connsiteX157" fmla="*/ 1031169 w 1034979"/>
                <a:gd name="connsiteY157" fmla="*/ 1058208 h 1483062"/>
                <a:gd name="connsiteX158" fmla="*/ 1034979 w 1034979"/>
                <a:gd name="connsiteY158" fmla="*/ 1052493 h 1483062"/>
                <a:gd name="connsiteX159" fmla="*/ 1033074 w 1034979"/>
                <a:gd name="connsiteY159" fmla="*/ 1033443 h 1483062"/>
                <a:gd name="connsiteX160" fmla="*/ 1027359 w 1034979"/>
                <a:gd name="connsiteY160" fmla="*/ 1029633 h 1483062"/>
                <a:gd name="connsiteX161" fmla="*/ 1012119 w 1034979"/>
                <a:gd name="connsiteY161" fmla="*/ 1027728 h 1483062"/>
                <a:gd name="connsiteX162" fmla="*/ 1006404 w 1034979"/>
                <a:gd name="connsiteY162" fmla="*/ 1025823 h 1483062"/>
                <a:gd name="connsiteX163" fmla="*/ 998784 w 1034979"/>
                <a:gd name="connsiteY163" fmla="*/ 1023918 h 1483062"/>
                <a:gd name="connsiteX164" fmla="*/ 987354 w 1034979"/>
                <a:gd name="connsiteY164" fmla="*/ 1016298 h 1483062"/>
                <a:gd name="connsiteX165" fmla="*/ 975924 w 1034979"/>
                <a:gd name="connsiteY165" fmla="*/ 1012488 h 1483062"/>
                <a:gd name="connsiteX166" fmla="*/ 970209 w 1034979"/>
                <a:gd name="connsiteY166" fmla="*/ 1010583 h 1483062"/>
                <a:gd name="connsiteX167" fmla="*/ 962589 w 1034979"/>
                <a:gd name="connsiteY167" fmla="*/ 1008678 h 1483062"/>
                <a:gd name="connsiteX168" fmla="*/ 956874 w 1034979"/>
                <a:gd name="connsiteY168" fmla="*/ 1006773 h 1483062"/>
                <a:gd name="connsiteX169" fmla="*/ 935919 w 1034979"/>
                <a:gd name="connsiteY169" fmla="*/ 1001058 h 1483062"/>
                <a:gd name="connsiteX170" fmla="*/ 930204 w 1034979"/>
                <a:gd name="connsiteY170" fmla="*/ 999153 h 1483062"/>
                <a:gd name="connsiteX171" fmla="*/ 825429 w 1034979"/>
                <a:gd name="connsiteY171" fmla="*/ 1001058 h 1483062"/>
                <a:gd name="connsiteX172" fmla="*/ 819714 w 1034979"/>
                <a:gd name="connsiteY172" fmla="*/ 1002963 h 1483062"/>
                <a:gd name="connsiteX173" fmla="*/ 730179 w 1034979"/>
                <a:gd name="connsiteY173" fmla="*/ 1004868 h 1483062"/>
                <a:gd name="connsiteX174" fmla="*/ 716844 w 1034979"/>
                <a:gd name="connsiteY174" fmla="*/ 1008678 h 1483062"/>
                <a:gd name="connsiteX175" fmla="*/ 695889 w 1034979"/>
                <a:gd name="connsiteY175" fmla="*/ 1010583 h 1483062"/>
                <a:gd name="connsiteX176" fmla="*/ 669219 w 1034979"/>
                <a:gd name="connsiteY176" fmla="*/ 1012488 h 1483062"/>
                <a:gd name="connsiteX177" fmla="*/ 669219 w 1034979"/>
                <a:gd name="connsiteY177" fmla="*/ 1012488 h 1483062"/>
                <a:gd name="connsiteX178" fmla="*/ 646359 w 1034979"/>
                <a:gd name="connsiteY178" fmla="*/ 1016298 h 1483062"/>
                <a:gd name="connsiteX179" fmla="*/ 642549 w 1034979"/>
                <a:gd name="connsiteY179" fmla="*/ 1004868 h 1483062"/>
                <a:gd name="connsiteX180" fmla="*/ 640644 w 1034979"/>
                <a:gd name="connsiteY180" fmla="*/ 999153 h 1483062"/>
                <a:gd name="connsiteX181" fmla="*/ 642549 w 1034979"/>
                <a:gd name="connsiteY181" fmla="*/ 982008 h 1483062"/>
                <a:gd name="connsiteX182" fmla="*/ 644454 w 1034979"/>
                <a:gd name="connsiteY182" fmla="*/ 976293 h 1483062"/>
                <a:gd name="connsiteX183" fmla="*/ 661599 w 1034979"/>
                <a:gd name="connsiteY183" fmla="*/ 966768 h 1483062"/>
                <a:gd name="connsiteX184" fmla="*/ 673029 w 1034979"/>
                <a:gd name="connsiteY184" fmla="*/ 959148 h 1483062"/>
                <a:gd name="connsiteX185" fmla="*/ 674934 w 1034979"/>
                <a:gd name="connsiteY185" fmla="*/ 953433 h 1483062"/>
                <a:gd name="connsiteX186" fmla="*/ 680649 w 1034979"/>
                <a:gd name="connsiteY186" fmla="*/ 951528 h 1483062"/>
                <a:gd name="connsiteX187" fmla="*/ 686364 w 1034979"/>
                <a:gd name="connsiteY187" fmla="*/ 947718 h 1483062"/>
                <a:gd name="connsiteX188" fmla="*/ 695889 w 1034979"/>
                <a:gd name="connsiteY188" fmla="*/ 938193 h 1483062"/>
                <a:gd name="connsiteX189" fmla="*/ 705414 w 1034979"/>
                <a:gd name="connsiteY189" fmla="*/ 926763 h 1483062"/>
                <a:gd name="connsiteX190" fmla="*/ 716844 w 1034979"/>
                <a:gd name="connsiteY190" fmla="*/ 919143 h 1483062"/>
                <a:gd name="connsiteX191" fmla="*/ 732084 w 1034979"/>
                <a:gd name="connsiteY191" fmla="*/ 905808 h 1483062"/>
                <a:gd name="connsiteX192" fmla="*/ 741609 w 1034979"/>
                <a:gd name="connsiteY192" fmla="*/ 894378 h 1483062"/>
                <a:gd name="connsiteX193" fmla="*/ 753039 w 1034979"/>
                <a:gd name="connsiteY193" fmla="*/ 884853 h 1483062"/>
                <a:gd name="connsiteX194" fmla="*/ 758754 w 1034979"/>
                <a:gd name="connsiteY194" fmla="*/ 873423 h 1483062"/>
                <a:gd name="connsiteX195" fmla="*/ 760659 w 1034979"/>
                <a:gd name="connsiteY195" fmla="*/ 867708 h 1483062"/>
                <a:gd name="connsiteX196" fmla="*/ 766374 w 1034979"/>
                <a:gd name="connsiteY196" fmla="*/ 856278 h 1483062"/>
                <a:gd name="connsiteX197" fmla="*/ 764469 w 1034979"/>
                <a:gd name="connsiteY197" fmla="*/ 841038 h 1483062"/>
                <a:gd name="connsiteX198" fmla="*/ 758754 w 1034979"/>
                <a:gd name="connsiteY198" fmla="*/ 839133 h 1483062"/>
                <a:gd name="connsiteX199" fmla="*/ 737799 w 1034979"/>
                <a:gd name="connsiteY199" fmla="*/ 841038 h 1483062"/>
                <a:gd name="connsiteX200" fmla="*/ 732084 w 1034979"/>
                <a:gd name="connsiteY200" fmla="*/ 844848 h 1483062"/>
                <a:gd name="connsiteX201" fmla="*/ 720654 w 1034979"/>
                <a:gd name="connsiteY201" fmla="*/ 848658 h 1483062"/>
                <a:gd name="connsiteX202" fmla="*/ 716844 w 1034979"/>
                <a:gd name="connsiteY202" fmla="*/ 854373 h 1483062"/>
                <a:gd name="connsiteX203" fmla="*/ 711129 w 1034979"/>
                <a:gd name="connsiteY203" fmla="*/ 856278 h 1483062"/>
                <a:gd name="connsiteX204" fmla="*/ 705414 w 1034979"/>
                <a:gd name="connsiteY204" fmla="*/ 860088 h 1483062"/>
                <a:gd name="connsiteX205" fmla="*/ 699699 w 1034979"/>
                <a:gd name="connsiteY205" fmla="*/ 865803 h 1483062"/>
                <a:gd name="connsiteX206" fmla="*/ 692079 w 1034979"/>
                <a:gd name="connsiteY206" fmla="*/ 869613 h 1483062"/>
                <a:gd name="connsiteX207" fmla="*/ 650169 w 1034979"/>
                <a:gd name="connsiteY207" fmla="*/ 898188 h 1483062"/>
                <a:gd name="connsiteX208" fmla="*/ 636834 w 1034979"/>
                <a:gd name="connsiteY208" fmla="*/ 909618 h 1483062"/>
                <a:gd name="connsiteX209" fmla="*/ 627309 w 1034979"/>
                <a:gd name="connsiteY209" fmla="*/ 926763 h 1483062"/>
                <a:gd name="connsiteX210" fmla="*/ 602544 w 1034979"/>
                <a:gd name="connsiteY210" fmla="*/ 932478 h 1483062"/>
                <a:gd name="connsiteX211" fmla="*/ 589209 w 1034979"/>
                <a:gd name="connsiteY211" fmla="*/ 936288 h 1483062"/>
                <a:gd name="connsiteX212" fmla="*/ 573969 w 1034979"/>
                <a:gd name="connsiteY212" fmla="*/ 934383 h 1483062"/>
                <a:gd name="connsiteX213" fmla="*/ 562539 w 1034979"/>
                <a:gd name="connsiteY213" fmla="*/ 930573 h 1483062"/>
                <a:gd name="connsiteX214" fmla="*/ 551109 w 1034979"/>
                <a:gd name="connsiteY214" fmla="*/ 926763 h 1483062"/>
                <a:gd name="connsiteX215" fmla="*/ 539679 w 1034979"/>
                <a:gd name="connsiteY215" fmla="*/ 922953 h 1483062"/>
                <a:gd name="connsiteX216" fmla="*/ 533964 w 1034979"/>
                <a:gd name="connsiteY216" fmla="*/ 921048 h 1483062"/>
                <a:gd name="connsiteX217" fmla="*/ 528249 w 1034979"/>
                <a:gd name="connsiteY217" fmla="*/ 917238 h 1483062"/>
                <a:gd name="connsiteX218" fmla="*/ 516819 w 1034979"/>
                <a:gd name="connsiteY218" fmla="*/ 911523 h 1483062"/>
                <a:gd name="connsiteX219" fmla="*/ 509199 w 1034979"/>
                <a:gd name="connsiteY219" fmla="*/ 900093 h 1483062"/>
                <a:gd name="connsiteX220" fmla="*/ 505389 w 1034979"/>
                <a:gd name="connsiteY220" fmla="*/ 879138 h 1483062"/>
                <a:gd name="connsiteX221" fmla="*/ 507294 w 1034979"/>
                <a:gd name="connsiteY221" fmla="*/ 814368 h 1483062"/>
                <a:gd name="connsiteX222" fmla="*/ 513009 w 1034979"/>
                <a:gd name="connsiteY222" fmla="*/ 801033 h 1483062"/>
                <a:gd name="connsiteX223" fmla="*/ 503484 w 1034979"/>
                <a:gd name="connsiteY223" fmla="*/ 324783 h 1483062"/>
                <a:gd name="connsiteX224" fmla="*/ 490149 w 1034979"/>
                <a:gd name="connsiteY224" fmla="*/ 6648 h 1483062"/>
                <a:gd name="connsiteX225" fmla="*/ 488244 w 1034979"/>
                <a:gd name="connsiteY225" fmla="*/ 933 h 1483062"/>
                <a:gd name="connsiteX226" fmla="*/ 419664 w 1034979"/>
                <a:gd name="connsiteY226" fmla="*/ 27603 h 1483062"/>
                <a:gd name="connsiteX227" fmla="*/ 429189 w 1034979"/>
                <a:gd name="connsiteY227" fmla="*/ 204768 h 1483062"/>
                <a:gd name="connsiteX228" fmla="*/ 440619 w 1034979"/>
                <a:gd name="connsiteY228" fmla="*/ 387648 h 1483062"/>
                <a:gd name="connsiteX229" fmla="*/ 425379 w 1034979"/>
                <a:gd name="connsiteY229" fmla="*/ 684828 h 1483062"/>
                <a:gd name="connsiteX230" fmla="*/ 417759 w 1034979"/>
                <a:gd name="connsiteY230" fmla="*/ 812463 h 1483062"/>
                <a:gd name="connsiteX231" fmla="*/ 413949 w 1034979"/>
                <a:gd name="connsiteY231" fmla="*/ 829608 h 1483062"/>
                <a:gd name="connsiteX232" fmla="*/ 417759 w 1034979"/>
                <a:gd name="connsiteY232" fmla="*/ 850563 h 1483062"/>
                <a:gd name="connsiteX233" fmla="*/ 421569 w 1034979"/>
                <a:gd name="connsiteY233" fmla="*/ 856278 h 1483062"/>
                <a:gd name="connsiteX234" fmla="*/ 425379 w 1034979"/>
                <a:gd name="connsiteY234" fmla="*/ 867708 h 1483062"/>
                <a:gd name="connsiteX235" fmla="*/ 423474 w 1034979"/>
                <a:gd name="connsiteY235" fmla="*/ 894378 h 1483062"/>
                <a:gd name="connsiteX236" fmla="*/ 417759 w 1034979"/>
                <a:gd name="connsiteY236" fmla="*/ 896283 h 1483062"/>
                <a:gd name="connsiteX237" fmla="*/ 412044 w 1034979"/>
                <a:gd name="connsiteY237" fmla="*/ 900093 h 1483062"/>
                <a:gd name="connsiteX238" fmla="*/ 421569 w 1034979"/>
                <a:gd name="connsiteY238" fmla="*/ 896283 h 1483062"/>
                <a:gd name="connsiteX0" fmla="*/ 421569 w 1034979"/>
                <a:gd name="connsiteY0" fmla="*/ 913591 h 1500370"/>
                <a:gd name="connsiteX1" fmla="*/ 421569 w 1034979"/>
                <a:gd name="connsiteY1" fmla="*/ 913591 h 1500370"/>
                <a:gd name="connsiteX2" fmla="*/ 394899 w 1034979"/>
                <a:gd name="connsiteY2" fmla="*/ 923116 h 1500370"/>
                <a:gd name="connsiteX3" fmla="*/ 387279 w 1034979"/>
                <a:gd name="connsiteY3" fmla="*/ 925021 h 1500370"/>
                <a:gd name="connsiteX4" fmla="*/ 356799 w 1034979"/>
                <a:gd name="connsiteY4" fmla="*/ 926926 h 1500370"/>
                <a:gd name="connsiteX5" fmla="*/ 351084 w 1034979"/>
                <a:gd name="connsiteY5" fmla="*/ 930736 h 1500370"/>
                <a:gd name="connsiteX6" fmla="*/ 339654 w 1034979"/>
                <a:gd name="connsiteY6" fmla="*/ 940261 h 1500370"/>
                <a:gd name="connsiteX7" fmla="*/ 328224 w 1034979"/>
                <a:gd name="connsiteY7" fmla="*/ 944071 h 1500370"/>
                <a:gd name="connsiteX8" fmla="*/ 312984 w 1034979"/>
                <a:gd name="connsiteY8" fmla="*/ 949786 h 1500370"/>
                <a:gd name="connsiteX9" fmla="*/ 265359 w 1034979"/>
                <a:gd name="connsiteY9" fmla="*/ 945976 h 1500370"/>
                <a:gd name="connsiteX10" fmla="*/ 253929 w 1034979"/>
                <a:gd name="connsiteY10" fmla="*/ 942166 h 1500370"/>
                <a:gd name="connsiteX11" fmla="*/ 242499 w 1034979"/>
                <a:gd name="connsiteY11" fmla="*/ 938356 h 1500370"/>
                <a:gd name="connsiteX12" fmla="*/ 236784 w 1034979"/>
                <a:gd name="connsiteY12" fmla="*/ 936451 h 1500370"/>
                <a:gd name="connsiteX13" fmla="*/ 231069 w 1034979"/>
                <a:gd name="connsiteY13" fmla="*/ 934546 h 1500370"/>
                <a:gd name="connsiteX14" fmla="*/ 219639 w 1034979"/>
                <a:gd name="connsiteY14" fmla="*/ 932641 h 1500370"/>
                <a:gd name="connsiteX15" fmla="*/ 213924 w 1034979"/>
                <a:gd name="connsiteY15" fmla="*/ 930736 h 1500370"/>
                <a:gd name="connsiteX16" fmla="*/ 206304 w 1034979"/>
                <a:gd name="connsiteY16" fmla="*/ 928831 h 1500370"/>
                <a:gd name="connsiteX17" fmla="*/ 194874 w 1034979"/>
                <a:gd name="connsiteY17" fmla="*/ 925021 h 1500370"/>
                <a:gd name="connsiteX18" fmla="*/ 189159 w 1034979"/>
                <a:gd name="connsiteY18" fmla="*/ 923116 h 1500370"/>
                <a:gd name="connsiteX19" fmla="*/ 181539 w 1034979"/>
                <a:gd name="connsiteY19" fmla="*/ 921211 h 1500370"/>
                <a:gd name="connsiteX20" fmla="*/ 170109 w 1034979"/>
                <a:gd name="connsiteY20" fmla="*/ 915496 h 1500370"/>
                <a:gd name="connsiteX21" fmla="*/ 164394 w 1034979"/>
                <a:gd name="connsiteY21" fmla="*/ 911686 h 1500370"/>
                <a:gd name="connsiteX22" fmla="*/ 156774 w 1034979"/>
                <a:gd name="connsiteY22" fmla="*/ 900256 h 1500370"/>
                <a:gd name="connsiteX23" fmla="*/ 145344 w 1034979"/>
                <a:gd name="connsiteY23" fmla="*/ 896446 h 1500370"/>
                <a:gd name="connsiteX24" fmla="*/ 139629 w 1034979"/>
                <a:gd name="connsiteY24" fmla="*/ 892636 h 1500370"/>
                <a:gd name="connsiteX25" fmla="*/ 133914 w 1034979"/>
                <a:gd name="connsiteY25" fmla="*/ 890731 h 1500370"/>
                <a:gd name="connsiteX26" fmla="*/ 116769 w 1034979"/>
                <a:gd name="connsiteY26" fmla="*/ 886921 h 1500370"/>
                <a:gd name="connsiteX27" fmla="*/ 111054 w 1034979"/>
                <a:gd name="connsiteY27" fmla="*/ 881206 h 1500370"/>
                <a:gd name="connsiteX28" fmla="*/ 101529 w 1034979"/>
                <a:gd name="connsiteY28" fmla="*/ 864061 h 1500370"/>
                <a:gd name="connsiteX29" fmla="*/ 84384 w 1034979"/>
                <a:gd name="connsiteY29" fmla="*/ 856441 h 1500370"/>
                <a:gd name="connsiteX30" fmla="*/ 78669 w 1034979"/>
                <a:gd name="connsiteY30" fmla="*/ 854536 h 1500370"/>
                <a:gd name="connsiteX31" fmla="*/ 59619 w 1034979"/>
                <a:gd name="connsiteY31" fmla="*/ 858346 h 1500370"/>
                <a:gd name="connsiteX32" fmla="*/ 53904 w 1034979"/>
                <a:gd name="connsiteY32" fmla="*/ 862156 h 1500370"/>
                <a:gd name="connsiteX33" fmla="*/ 50094 w 1034979"/>
                <a:gd name="connsiteY33" fmla="*/ 867871 h 1500370"/>
                <a:gd name="connsiteX34" fmla="*/ 46284 w 1034979"/>
                <a:gd name="connsiteY34" fmla="*/ 879301 h 1500370"/>
                <a:gd name="connsiteX35" fmla="*/ 50094 w 1034979"/>
                <a:gd name="connsiteY35" fmla="*/ 917401 h 1500370"/>
                <a:gd name="connsiteX36" fmla="*/ 53904 w 1034979"/>
                <a:gd name="connsiteY36" fmla="*/ 923116 h 1500370"/>
                <a:gd name="connsiteX37" fmla="*/ 59619 w 1034979"/>
                <a:gd name="connsiteY37" fmla="*/ 926926 h 1500370"/>
                <a:gd name="connsiteX38" fmla="*/ 63429 w 1034979"/>
                <a:gd name="connsiteY38" fmla="*/ 932641 h 1500370"/>
                <a:gd name="connsiteX39" fmla="*/ 80574 w 1034979"/>
                <a:gd name="connsiteY39" fmla="*/ 942166 h 1500370"/>
                <a:gd name="connsiteX40" fmla="*/ 103434 w 1034979"/>
                <a:gd name="connsiteY40" fmla="*/ 944071 h 1500370"/>
                <a:gd name="connsiteX41" fmla="*/ 124389 w 1034979"/>
                <a:gd name="connsiteY41" fmla="*/ 949786 h 1500370"/>
                <a:gd name="connsiteX42" fmla="*/ 130104 w 1034979"/>
                <a:gd name="connsiteY42" fmla="*/ 951691 h 1500370"/>
                <a:gd name="connsiteX43" fmla="*/ 135819 w 1034979"/>
                <a:gd name="connsiteY43" fmla="*/ 957406 h 1500370"/>
                <a:gd name="connsiteX44" fmla="*/ 143439 w 1034979"/>
                <a:gd name="connsiteY44" fmla="*/ 959311 h 1500370"/>
                <a:gd name="connsiteX45" fmla="*/ 166299 w 1034979"/>
                <a:gd name="connsiteY45" fmla="*/ 963121 h 1500370"/>
                <a:gd name="connsiteX46" fmla="*/ 191064 w 1034979"/>
                <a:gd name="connsiteY46" fmla="*/ 968836 h 1500370"/>
                <a:gd name="connsiteX47" fmla="*/ 208209 w 1034979"/>
                <a:gd name="connsiteY47" fmla="*/ 974551 h 1500370"/>
                <a:gd name="connsiteX48" fmla="*/ 213924 w 1034979"/>
                <a:gd name="connsiteY48" fmla="*/ 976456 h 1500370"/>
                <a:gd name="connsiteX49" fmla="*/ 229164 w 1034979"/>
                <a:gd name="connsiteY49" fmla="*/ 980266 h 1500370"/>
                <a:gd name="connsiteX50" fmla="*/ 248214 w 1034979"/>
                <a:gd name="connsiteY50" fmla="*/ 985981 h 1500370"/>
                <a:gd name="connsiteX51" fmla="*/ 253929 w 1034979"/>
                <a:gd name="connsiteY51" fmla="*/ 989791 h 1500370"/>
                <a:gd name="connsiteX52" fmla="*/ 267264 w 1034979"/>
                <a:gd name="connsiteY52" fmla="*/ 1005031 h 1500370"/>
                <a:gd name="connsiteX53" fmla="*/ 272979 w 1034979"/>
                <a:gd name="connsiteY53" fmla="*/ 1024081 h 1500370"/>
                <a:gd name="connsiteX54" fmla="*/ 274884 w 1034979"/>
                <a:gd name="connsiteY54" fmla="*/ 1029796 h 1500370"/>
                <a:gd name="connsiteX55" fmla="*/ 276789 w 1034979"/>
                <a:gd name="connsiteY55" fmla="*/ 1035511 h 1500370"/>
                <a:gd name="connsiteX56" fmla="*/ 278694 w 1034979"/>
                <a:gd name="connsiteY56" fmla="*/ 1060276 h 1500370"/>
                <a:gd name="connsiteX57" fmla="*/ 280599 w 1034979"/>
                <a:gd name="connsiteY57" fmla="*/ 1065991 h 1500370"/>
                <a:gd name="connsiteX58" fmla="*/ 278694 w 1034979"/>
                <a:gd name="connsiteY58" fmla="*/ 1085041 h 1500370"/>
                <a:gd name="connsiteX59" fmla="*/ 276789 w 1034979"/>
                <a:gd name="connsiteY59" fmla="*/ 1094566 h 1500370"/>
                <a:gd name="connsiteX60" fmla="*/ 263454 w 1034979"/>
                <a:gd name="connsiteY60" fmla="*/ 1107901 h 1500370"/>
                <a:gd name="connsiteX61" fmla="*/ 252024 w 1034979"/>
                <a:gd name="connsiteY61" fmla="*/ 1115521 h 1500370"/>
                <a:gd name="connsiteX62" fmla="*/ 240594 w 1034979"/>
                <a:gd name="connsiteY62" fmla="*/ 1119331 h 1500370"/>
                <a:gd name="connsiteX63" fmla="*/ 126294 w 1034979"/>
                <a:gd name="connsiteY63" fmla="*/ 1119331 h 1500370"/>
                <a:gd name="connsiteX64" fmla="*/ 120579 w 1034979"/>
                <a:gd name="connsiteY64" fmla="*/ 1121236 h 1500370"/>
                <a:gd name="connsiteX65" fmla="*/ 105339 w 1034979"/>
                <a:gd name="connsiteY65" fmla="*/ 1123141 h 1500370"/>
                <a:gd name="connsiteX66" fmla="*/ 88194 w 1034979"/>
                <a:gd name="connsiteY66" fmla="*/ 1128856 h 1500370"/>
                <a:gd name="connsiteX67" fmla="*/ 82479 w 1034979"/>
                <a:gd name="connsiteY67" fmla="*/ 1130761 h 1500370"/>
                <a:gd name="connsiteX68" fmla="*/ 76764 w 1034979"/>
                <a:gd name="connsiteY68" fmla="*/ 1134571 h 1500370"/>
                <a:gd name="connsiteX69" fmla="*/ 65334 w 1034979"/>
                <a:gd name="connsiteY69" fmla="*/ 1136476 h 1500370"/>
                <a:gd name="connsiteX70" fmla="*/ 27234 w 1034979"/>
                <a:gd name="connsiteY70" fmla="*/ 1138381 h 1500370"/>
                <a:gd name="connsiteX71" fmla="*/ 15804 w 1034979"/>
                <a:gd name="connsiteY71" fmla="*/ 1144096 h 1500370"/>
                <a:gd name="connsiteX72" fmla="*/ 6279 w 1034979"/>
                <a:gd name="connsiteY72" fmla="*/ 1153621 h 1500370"/>
                <a:gd name="connsiteX73" fmla="*/ 4374 w 1034979"/>
                <a:gd name="connsiteY73" fmla="*/ 1159336 h 1500370"/>
                <a:gd name="connsiteX74" fmla="*/ 564 w 1034979"/>
                <a:gd name="connsiteY74" fmla="*/ 1165051 h 1500370"/>
                <a:gd name="connsiteX75" fmla="*/ 6279 w 1034979"/>
                <a:gd name="connsiteY75" fmla="*/ 1197436 h 1500370"/>
                <a:gd name="connsiteX76" fmla="*/ 11994 w 1034979"/>
                <a:gd name="connsiteY76" fmla="*/ 1201246 h 1500370"/>
                <a:gd name="connsiteX77" fmla="*/ 17709 w 1034979"/>
                <a:gd name="connsiteY77" fmla="*/ 1203151 h 1500370"/>
                <a:gd name="connsiteX78" fmla="*/ 145344 w 1034979"/>
                <a:gd name="connsiteY78" fmla="*/ 1201246 h 1500370"/>
                <a:gd name="connsiteX79" fmla="*/ 152964 w 1034979"/>
                <a:gd name="connsiteY79" fmla="*/ 1199341 h 1500370"/>
                <a:gd name="connsiteX80" fmla="*/ 303459 w 1034979"/>
                <a:gd name="connsiteY80" fmla="*/ 1193626 h 1500370"/>
                <a:gd name="connsiteX81" fmla="*/ 318699 w 1034979"/>
                <a:gd name="connsiteY81" fmla="*/ 1201246 h 1500370"/>
                <a:gd name="connsiteX82" fmla="*/ 330129 w 1034979"/>
                <a:gd name="connsiteY82" fmla="*/ 1206961 h 1500370"/>
                <a:gd name="connsiteX83" fmla="*/ 333939 w 1034979"/>
                <a:gd name="connsiteY83" fmla="*/ 1212676 h 1500370"/>
                <a:gd name="connsiteX84" fmla="*/ 339654 w 1034979"/>
                <a:gd name="connsiteY84" fmla="*/ 1214581 h 1500370"/>
                <a:gd name="connsiteX85" fmla="*/ 351084 w 1034979"/>
                <a:gd name="connsiteY85" fmla="*/ 1222201 h 1500370"/>
                <a:gd name="connsiteX86" fmla="*/ 356799 w 1034979"/>
                <a:gd name="connsiteY86" fmla="*/ 1226011 h 1500370"/>
                <a:gd name="connsiteX87" fmla="*/ 360609 w 1034979"/>
                <a:gd name="connsiteY87" fmla="*/ 1231726 h 1500370"/>
                <a:gd name="connsiteX88" fmla="*/ 366324 w 1034979"/>
                <a:gd name="connsiteY88" fmla="*/ 1243156 h 1500370"/>
                <a:gd name="connsiteX89" fmla="*/ 362514 w 1034979"/>
                <a:gd name="connsiteY89" fmla="*/ 1269826 h 1500370"/>
                <a:gd name="connsiteX90" fmla="*/ 358704 w 1034979"/>
                <a:gd name="connsiteY90" fmla="*/ 1275541 h 1500370"/>
                <a:gd name="connsiteX91" fmla="*/ 356799 w 1034979"/>
                <a:gd name="connsiteY91" fmla="*/ 1281256 h 1500370"/>
                <a:gd name="connsiteX92" fmla="*/ 352989 w 1034979"/>
                <a:gd name="connsiteY92" fmla="*/ 1286971 h 1500370"/>
                <a:gd name="connsiteX93" fmla="*/ 351084 w 1034979"/>
                <a:gd name="connsiteY93" fmla="*/ 1292686 h 1500370"/>
                <a:gd name="connsiteX94" fmla="*/ 347274 w 1034979"/>
                <a:gd name="connsiteY94" fmla="*/ 1298401 h 1500370"/>
                <a:gd name="connsiteX95" fmla="*/ 330129 w 1034979"/>
                <a:gd name="connsiteY95" fmla="*/ 1365076 h 1500370"/>
                <a:gd name="connsiteX96" fmla="*/ 328224 w 1034979"/>
                <a:gd name="connsiteY96" fmla="*/ 1416511 h 1500370"/>
                <a:gd name="connsiteX97" fmla="*/ 330129 w 1034979"/>
                <a:gd name="connsiteY97" fmla="*/ 1441276 h 1500370"/>
                <a:gd name="connsiteX98" fmla="*/ 332034 w 1034979"/>
                <a:gd name="connsiteY98" fmla="*/ 1446991 h 1500370"/>
                <a:gd name="connsiteX99" fmla="*/ 335844 w 1034979"/>
                <a:gd name="connsiteY99" fmla="*/ 1450801 h 1500370"/>
                <a:gd name="connsiteX100" fmla="*/ 364419 w 1034979"/>
                <a:gd name="connsiteY100" fmla="*/ 1496521 h 1500370"/>
                <a:gd name="connsiteX101" fmla="*/ 387279 w 1034979"/>
                <a:gd name="connsiteY101" fmla="*/ 1498426 h 1500370"/>
                <a:gd name="connsiteX102" fmla="*/ 392994 w 1034979"/>
                <a:gd name="connsiteY102" fmla="*/ 1492711 h 1500370"/>
                <a:gd name="connsiteX103" fmla="*/ 394899 w 1034979"/>
                <a:gd name="connsiteY103" fmla="*/ 1481281 h 1500370"/>
                <a:gd name="connsiteX104" fmla="*/ 396804 w 1034979"/>
                <a:gd name="connsiteY104" fmla="*/ 1475566 h 1500370"/>
                <a:gd name="connsiteX105" fmla="*/ 398709 w 1034979"/>
                <a:gd name="connsiteY105" fmla="*/ 1458421 h 1500370"/>
                <a:gd name="connsiteX106" fmla="*/ 400614 w 1034979"/>
                <a:gd name="connsiteY106" fmla="*/ 1445086 h 1500370"/>
                <a:gd name="connsiteX107" fmla="*/ 404424 w 1034979"/>
                <a:gd name="connsiteY107" fmla="*/ 1387936 h 1500370"/>
                <a:gd name="connsiteX108" fmla="*/ 410139 w 1034979"/>
                <a:gd name="connsiteY108" fmla="*/ 1376506 h 1500370"/>
                <a:gd name="connsiteX109" fmla="*/ 413949 w 1034979"/>
                <a:gd name="connsiteY109" fmla="*/ 1363171 h 1500370"/>
                <a:gd name="connsiteX110" fmla="*/ 415854 w 1034979"/>
                <a:gd name="connsiteY110" fmla="*/ 1357456 h 1500370"/>
                <a:gd name="connsiteX111" fmla="*/ 417759 w 1034979"/>
                <a:gd name="connsiteY111" fmla="*/ 1344121 h 1500370"/>
                <a:gd name="connsiteX112" fmla="*/ 421569 w 1034979"/>
                <a:gd name="connsiteY112" fmla="*/ 1332691 h 1500370"/>
                <a:gd name="connsiteX113" fmla="*/ 427284 w 1034979"/>
                <a:gd name="connsiteY113" fmla="*/ 1319356 h 1500370"/>
                <a:gd name="connsiteX114" fmla="*/ 436809 w 1034979"/>
                <a:gd name="connsiteY114" fmla="*/ 1307926 h 1500370"/>
                <a:gd name="connsiteX115" fmla="*/ 450144 w 1034979"/>
                <a:gd name="connsiteY115" fmla="*/ 1292686 h 1500370"/>
                <a:gd name="connsiteX116" fmla="*/ 457764 w 1034979"/>
                <a:gd name="connsiteY116" fmla="*/ 1281256 h 1500370"/>
                <a:gd name="connsiteX117" fmla="*/ 461574 w 1034979"/>
                <a:gd name="connsiteY117" fmla="*/ 1269826 h 1500370"/>
                <a:gd name="connsiteX118" fmla="*/ 465384 w 1034979"/>
                <a:gd name="connsiteY118" fmla="*/ 1254586 h 1500370"/>
                <a:gd name="connsiteX119" fmla="*/ 467289 w 1034979"/>
                <a:gd name="connsiteY119" fmla="*/ 1248871 h 1500370"/>
                <a:gd name="connsiteX120" fmla="*/ 507294 w 1034979"/>
                <a:gd name="connsiteY120" fmla="*/ 1243156 h 1500370"/>
                <a:gd name="connsiteX121" fmla="*/ 535869 w 1034979"/>
                <a:gd name="connsiteY121" fmla="*/ 1233631 h 1500370"/>
                <a:gd name="connsiteX122" fmla="*/ 541584 w 1034979"/>
                <a:gd name="connsiteY122" fmla="*/ 1231726 h 1500370"/>
                <a:gd name="connsiteX123" fmla="*/ 547299 w 1034979"/>
                <a:gd name="connsiteY123" fmla="*/ 1229821 h 1500370"/>
                <a:gd name="connsiteX124" fmla="*/ 554919 w 1034979"/>
                <a:gd name="connsiteY124" fmla="*/ 1227916 h 1500370"/>
                <a:gd name="connsiteX125" fmla="*/ 573969 w 1034979"/>
                <a:gd name="connsiteY125" fmla="*/ 1220296 h 1500370"/>
                <a:gd name="connsiteX126" fmla="*/ 585399 w 1034979"/>
                <a:gd name="connsiteY126" fmla="*/ 1216486 h 1500370"/>
                <a:gd name="connsiteX127" fmla="*/ 720654 w 1034979"/>
                <a:gd name="connsiteY127" fmla="*/ 1300306 h 1500370"/>
                <a:gd name="connsiteX128" fmla="*/ 733989 w 1034979"/>
                <a:gd name="connsiteY128" fmla="*/ 1309831 h 1500370"/>
                <a:gd name="connsiteX129" fmla="*/ 743514 w 1034979"/>
                <a:gd name="connsiteY129" fmla="*/ 1311736 h 1500370"/>
                <a:gd name="connsiteX130" fmla="*/ 749229 w 1034979"/>
                <a:gd name="connsiteY130" fmla="*/ 1313641 h 1500370"/>
                <a:gd name="connsiteX131" fmla="*/ 762564 w 1034979"/>
                <a:gd name="connsiteY131" fmla="*/ 1319356 h 1500370"/>
                <a:gd name="connsiteX132" fmla="*/ 777804 w 1034979"/>
                <a:gd name="connsiteY132" fmla="*/ 1317451 h 1500370"/>
                <a:gd name="connsiteX133" fmla="*/ 789234 w 1034979"/>
                <a:gd name="connsiteY133" fmla="*/ 1311736 h 1500370"/>
                <a:gd name="connsiteX134" fmla="*/ 794949 w 1034979"/>
                <a:gd name="connsiteY134" fmla="*/ 1309831 h 1500370"/>
                <a:gd name="connsiteX135" fmla="*/ 802569 w 1034979"/>
                <a:gd name="connsiteY135" fmla="*/ 1292686 h 1500370"/>
                <a:gd name="connsiteX136" fmla="*/ 800664 w 1034979"/>
                <a:gd name="connsiteY136" fmla="*/ 1267921 h 1500370"/>
                <a:gd name="connsiteX137" fmla="*/ 798759 w 1034979"/>
                <a:gd name="connsiteY137" fmla="*/ 1262206 h 1500370"/>
                <a:gd name="connsiteX138" fmla="*/ 796854 w 1034979"/>
                <a:gd name="connsiteY138" fmla="*/ 1254586 h 1500370"/>
                <a:gd name="connsiteX139" fmla="*/ 783519 w 1034979"/>
                <a:gd name="connsiteY139" fmla="*/ 1237441 h 1500370"/>
                <a:gd name="connsiteX140" fmla="*/ 773994 w 1034979"/>
                <a:gd name="connsiteY140" fmla="*/ 1231726 h 1500370"/>
                <a:gd name="connsiteX141" fmla="*/ 648264 w 1034979"/>
                <a:gd name="connsiteY141" fmla="*/ 1140286 h 1500370"/>
                <a:gd name="connsiteX142" fmla="*/ 644454 w 1034979"/>
                <a:gd name="connsiteY142" fmla="*/ 1123141 h 1500370"/>
                <a:gd name="connsiteX143" fmla="*/ 646359 w 1034979"/>
                <a:gd name="connsiteY143" fmla="*/ 1115521 h 1500370"/>
                <a:gd name="connsiteX144" fmla="*/ 650169 w 1034979"/>
                <a:gd name="connsiteY144" fmla="*/ 1098376 h 1500370"/>
                <a:gd name="connsiteX145" fmla="*/ 653979 w 1034979"/>
                <a:gd name="connsiteY145" fmla="*/ 1092661 h 1500370"/>
                <a:gd name="connsiteX146" fmla="*/ 655884 w 1034979"/>
                <a:gd name="connsiteY146" fmla="*/ 1086946 h 1500370"/>
                <a:gd name="connsiteX147" fmla="*/ 661599 w 1034979"/>
                <a:gd name="connsiteY147" fmla="*/ 1085041 h 1500370"/>
                <a:gd name="connsiteX148" fmla="*/ 671124 w 1034979"/>
                <a:gd name="connsiteY148" fmla="*/ 1073611 h 1500370"/>
                <a:gd name="connsiteX149" fmla="*/ 724464 w 1034979"/>
                <a:gd name="connsiteY149" fmla="*/ 1065991 h 1500370"/>
                <a:gd name="connsiteX150" fmla="*/ 842574 w 1034979"/>
                <a:gd name="connsiteY150" fmla="*/ 1067896 h 1500370"/>
                <a:gd name="connsiteX151" fmla="*/ 871149 w 1034979"/>
                <a:gd name="connsiteY151" fmla="*/ 1069801 h 1500370"/>
                <a:gd name="connsiteX152" fmla="*/ 899724 w 1034979"/>
                <a:gd name="connsiteY152" fmla="*/ 1075516 h 1500370"/>
                <a:gd name="connsiteX153" fmla="*/ 922584 w 1034979"/>
                <a:gd name="connsiteY153" fmla="*/ 1079326 h 1500370"/>
                <a:gd name="connsiteX154" fmla="*/ 951159 w 1034979"/>
                <a:gd name="connsiteY154" fmla="*/ 1085041 h 1500370"/>
                <a:gd name="connsiteX155" fmla="*/ 956874 w 1034979"/>
                <a:gd name="connsiteY155" fmla="*/ 1085041 h 1500370"/>
                <a:gd name="connsiteX156" fmla="*/ 1002594 w 1034979"/>
                <a:gd name="connsiteY156" fmla="*/ 1083136 h 1500370"/>
                <a:gd name="connsiteX157" fmla="*/ 1031169 w 1034979"/>
                <a:gd name="connsiteY157" fmla="*/ 1075516 h 1500370"/>
                <a:gd name="connsiteX158" fmla="*/ 1034979 w 1034979"/>
                <a:gd name="connsiteY158" fmla="*/ 1069801 h 1500370"/>
                <a:gd name="connsiteX159" fmla="*/ 1033074 w 1034979"/>
                <a:gd name="connsiteY159" fmla="*/ 1050751 h 1500370"/>
                <a:gd name="connsiteX160" fmla="*/ 1027359 w 1034979"/>
                <a:gd name="connsiteY160" fmla="*/ 1046941 h 1500370"/>
                <a:gd name="connsiteX161" fmla="*/ 1012119 w 1034979"/>
                <a:gd name="connsiteY161" fmla="*/ 1045036 h 1500370"/>
                <a:gd name="connsiteX162" fmla="*/ 1006404 w 1034979"/>
                <a:gd name="connsiteY162" fmla="*/ 1043131 h 1500370"/>
                <a:gd name="connsiteX163" fmla="*/ 998784 w 1034979"/>
                <a:gd name="connsiteY163" fmla="*/ 1041226 h 1500370"/>
                <a:gd name="connsiteX164" fmla="*/ 987354 w 1034979"/>
                <a:gd name="connsiteY164" fmla="*/ 1033606 h 1500370"/>
                <a:gd name="connsiteX165" fmla="*/ 975924 w 1034979"/>
                <a:gd name="connsiteY165" fmla="*/ 1029796 h 1500370"/>
                <a:gd name="connsiteX166" fmla="*/ 970209 w 1034979"/>
                <a:gd name="connsiteY166" fmla="*/ 1027891 h 1500370"/>
                <a:gd name="connsiteX167" fmla="*/ 962589 w 1034979"/>
                <a:gd name="connsiteY167" fmla="*/ 1025986 h 1500370"/>
                <a:gd name="connsiteX168" fmla="*/ 956874 w 1034979"/>
                <a:gd name="connsiteY168" fmla="*/ 1024081 h 1500370"/>
                <a:gd name="connsiteX169" fmla="*/ 935919 w 1034979"/>
                <a:gd name="connsiteY169" fmla="*/ 1018366 h 1500370"/>
                <a:gd name="connsiteX170" fmla="*/ 930204 w 1034979"/>
                <a:gd name="connsiteY170" fmla="*/ 1016461 h 1500370"/>
                <a:gd name="connsiteX171" fmla="*/ 825429 w 1034979"/>
                <a:gd name="connsiteY171" fmla="*/ 1018366 h 1500370"/>
                <a:gd name="connsiteX172" fmla="*/ 819714 w 1034979"/>
                <a:gd name="connsiteY172" fmla="*/ 1020271 h 1500370"/>
                <a:gd name="connsiteX173" fmla="*/ 730179 w 1034979"/>
                <a:gd name="connsiteY173" fmla="*/ 1022176 h 1500370"/>
                <a:gd name="connsiteX174" fmla="*/ 716844 w 1034979"/>
                <a:gd name="connsiteY174" fmla="*/ 1025986 h 1500370"/>
                <a:gd name="connsiteX175" fmla="*/ 695889 w 1034979"/>
                <a:gd name="connsiteY175" fmla="*/ 1027891 h 1500370"/>
                <a:gd name="connsiteX176" fmla="*/ 669219 w 1034979"/>
                <a:gd name="connsiteY176" fmla="*/ 1029796 h 1500370"/>
                <a:gd name="connsiteX177" fmla="*/ 669219 w 1034979"/>
                <a:gd name="connsiteY177" fmla="*/ 1029796 h 1500370"/>
                <a:gd name="connsiteX178" fmla="*/ 646359 w 1034979"/>
                <a:gd name="connsiteY178" fmla="*/ 1033606 h 1500370"/>
                <a:gd name="connsiteX179" fmla="*/ 642549 w 1034979"/>
                <a:gd name="connsiteY179" fmla="*/ 1022176 h 1500370"/>
                <a:gd name="connsiteX180" fmla="*/ 640644 w 1034979"/>
                <a:gd name="connsiteY180" fmla="*/ 1016461 h 1500370"/>
                <a:gd name="connsiteX181" fmla="*/ 642549 w 1034979"/>
                <a:gd name="connsiteY181" fmla="*/ 999316 h 1500370"/>
                <a:gd name="connsiteX182" fmla="*/ 644454 w 1034979"/>
                <a:gd name="connsiteY182" fmla="*/ 993601 h 1500370"/>
                <a:gd name="connsiteX183" fmla="*/ 661599 w 1034979"/>
                <a:gd name="connsiteY183" fmla="*/ 984076 h 1500370"/>
                <a:gd name="connsiteX184" fmla="*/ 673029 w 1034979"/>
                <a:gd name="connsiteY184" fmla="*/ 976456 h 1500370"/>
                <a:gd name="connsiteX185" fmla="*/ 674934 w 1034979"/>
                <a:gd name="connsiteY185" fmla="*/ 970741 h 1500370"/>
                <a:gd name="connsiteX186" fmla="*/ 680649 w 1034979"/>
                <a:gd name="connsiteY186" fmla="*/ 968836 h 1500370"/>
                <a:gd name="connsiteX187" fmla="*/ 686364 w 1034979"/>
                <a:gd name="connsiteY187" fmla="*/ 965026 h 1500370"/>
                <a:gd name="connsiteX188" fmla="*/ 695889 w 1034979"/>
                <a:gd name="connsiteY188" fmla="*/ 955501 h 1500370"/>
                <a:gd name="connsiteX189" fmla="*/ 705414 w 1034979"/>
                <a:gd name="connsiteY189" fmla="*/ 944071 h 1500370"/>
                <a:gd name="connsiteX190" fmla="*/ 716844 w 1034979"/>
                <a:gd name="connsiteY190" fmla="*/ 936451 h 1500370"/>
                <a:gd name="connsiteX191" fmla="*/ 732084 w 1034979"/>
                <a:gd name="connsiteY191" fmla="*/ 923116 h 1500370"/>
                <a:gd name="connsiteX192" fmla="*/ 741609 w 1034979"/>
                <a:gd name="connsiteY192" fmla="*/ 911686 h 1500370"/>
                <a:gd name="connsiteX193" fmla="*/ 753039 w 1034979"/>
                <a:gd name="connsiteY193" fmla="*/ 902161 h 1500370"/>
                <a:gd name="connsiteX194" fmla="*/ 758754 w 1034979"/>
                <a:gd name="connsiteY194" fmla="*/ 890731 h 1500370"/>
                <a:gd name="connsiteX195" fmla="*/ 760659 w 1034979"/>
                <a:gd name="connsiteY195" fmla="*/ 885016 h 1500370"/>
                <a:gd name="connsiteX196" fmla="*/ 766374 w 1034979"/>
                <a:gd name="connsiteY196" fmla="*/ 873586 h 1500370"/>
                <a:gd name="connsiteX197" fmla="*/ 764469 w 1034979"/>
                <a:gd name="connsiteY197" fmla="*/ 858346 h 1500370"/>
                <a:gd name="connsiteX198" fmla="*/ 758754 w 1034979"/>
                <a:gd name="connsiteY198" fmla="*/ 856441 h 1500370"/>
                <a:gd name="connsiteX199" fmla="*/ 737799 w 1034979"/>
                <a:gd name="connsiteY199" fmla="*/ 858346 h 1500370"/>
                <a:gd name="connsiteX200" fmla="*/ 732084 w 1034979"/>
                <a:gd name="connsiteY200" fmla="*/ 862156 h 1500370"/>
                <a:gd name="connsiteX201" fmla="*/ 720654 w 1034979"/>
                <a:gd name="connsiteY201" fmla="*/ 865966 h 1500370"/>
                <a:gd name="connsiteX202" fmla="*/ 716844 w 1034979"/>
                <a:gd name="connsiteY202" fmla="*/ 871681 h 1500370"/>
                <a:gd name="connsiteX203" fmla="*/ 711129 w 1034979"/>
                <a:gd name="connsiteY203" fmla="*/ 873586 h 1500370"/>
                <a:gd name="connsiteX204" fmla="*/ 705414 w 1034979"/>
                <a:gd name="connsiteY204" fmla="*/ 877396 h 1500370"/>
                <a:gd name="connsiteX205" fmla="*/ 699699 w 1034979"/>
                <a:gd name="connsiteY205" fmla="*/ 883111 h 1500370"/>
                <a:gd name="connsiteX206" fmla="*/ 692079 w 1034979"/>
                <a:gd name="connsiteY206" fmla="*/ 886921 h 1500370"/>
                <a:gd name="connsiteX207" fmla="*/ 650169 w 1034979"/>
                <a:gd name="connsiteY207" fmla="*/ 915496 h 1500370"/>
                <a:gd name="connsiteX208" fmla="*/ 636834 w 1034979"/>
                <a:gd name="connsiteY208" fmla="*/ 926926 h 1500370"/>
                <a:gd name="connsiteX209" fmla="*/ 627309 w 1034979"/>
                <a:gd name="connsiteY209" fmla="*/ 944071 h 1500370"/>
                <a:gd name="connsiteX210" fmla="*/ 602544 w 1034979"/>
                <a:gd name="connsiteY210" fmla="*/ 949786 h 1500370"/>
                <a:gd name="connsiteX211" fmla="*/ 589209 w 1034979"/>
                <a:gd name="connsiteY211" fmla="*/ 953596 h 1500370"/>
                <a:gd name="connsiteX212" fmla="*/ 573969 w 1034979"/>
                <a:gd name="connsiteY212" fmla="*/ 951691 h 1500370"/>
                <a:gd name="connsiteX213" fmla="*/ 562539 w 1034979"/>
                <a:gd name="connsiteY213" fmla="*/ 947881 h 1500370"/>
                <a:gd name="connsiteX214" fmla="*/ 551109 w 1034979"/>
                <a:gd name="connsiteY214" fmla="*/ 944071 h 1500370"/>
                <a:gd name="connsiteX215" fmla="*/ 539679 w 1034979"/>
                <a:gd name="connsiteY215" fmla="*/ 940261 h 1500370"/>
                <a:gd name="connsiteX216" fmla="*/ 533964 w 1034979"/>
                <a:gd name="connsiteY216" fmla="*/ 938356 h 1500370"/>
                <a:gd name="connsiteX217" fmla="*/ 528249 w 1034979"/>
                <a:gd name="connsiteY217" fmla="*/ 934546 h 1500370"/>
                <a:gd name="connsiteX218" fmla="*/ 516819 w 1034979"/>
                <a:gd name="connsiteY218" fmla="*/ 928831 h 1500370"/>
                <a:gd name="connsiteX219" fmla="*/ 509199 w 1034979"/>
                <a:gd name="connsiteY219" fmla="*/ 917401 h 1500370"/>
                <a:gd name="connsiteX220" fmla="*/ 505389 w 1034979"/>
                <a:gd name="connsiteY220" fmla="*/ 896446 h 1500370"/>
                <a:gd name="connsiteX221" fmla="*/ 507294 w 1034979"/>
                <a:gd name="connsiteY221" fmla="*/ 831676 h 1500370"/>
                <a:gd name="connsiteX222" fmla="*/ 513009 w 1034979"/>
                <a:gd name="connsiteY222" fmla="*/ 818341 h 1500370"/>
                <a:gd name="connsiteX223" fmla="*/ 503484 w 1034979"/>
                <a:gd name="connsiteY223" fmla="*/ 342091 h 1500370"/>
                <a:gd name="connsiteX224" fmla="*/ 490149 w 1034979"/>
                <a:gd name="connsiteY224" fmla="*/ 23956 h 1500370"/>
                <a:gd name="connsiteX225" fmla="*/ 419664 w 1034979"/>
                <a:gd name="connsiteY225" fmla="*/ 44911 h 1500370"/>
                <a:gd name="connsiteX226" fmla="*/ 429189 w 1034979"/>
                <a:gd name="connsiteY226" fmla="*/ 222076 h 1500370"/>
                <a:gd name="connsiteX227" fmla="*/ 440619 w 1034979"/>
                <a:gd name="connsiteY227" fmla="*/ 404956 h 1500370"/>
                <a:gd name="connsiteX228" fmla="*/ 425379 w 1034979"/>
                <a:gd name="connsiteY228" fmla="*/ 702136 h 1500370"/>
                <a:gd name="connsiteX229" fmla="*/ 417759 w 1034979"/>
                <a:gd name="connsiteY229" fmla="*/ 829771 h 1500370"/>
                <a:gd name="connsiteX230" fmla="*/ 413949 w 1034979"/>
                <a:gd name="connsiteY230" fmla="*/ 846916 h 1500370"/>
                <a:gd name="connsiteX231" fmla="*/ 417759 w 1034979"/>
                <a:gd name="connsiteY231" fmla="*/ 867871 h 1500370"/>
                <a:gd name="connsiteX232" fmla="*/ 421569 w 1034979"/>
                <a:gd name="connsiteY232" fmla="*/ 873586 h 1500370"/>
                <a:gd name="connsiteX233" fmla="*/ 425379 w 1034979"/>
                <a:gd name="connsiteY233" fmla="*/ 885016 h 1500370"/>
                <a:gd name="connsiteX234" fmla="*/ 423474 w 1034979"/>
                <a:gd name="connsiteY234" fmla="*/ 911686 h 1500370"/>
                <a:gd name="connsiteX235" fmla="*/ 417759 w 1034979"/>
                <a:gd name="connsiteY235" fmla="*/ 913591 h 1500370"/>
                <a:gd name="connsiteX236" fmla="*/ 412044 w 1034979"/>
                <a:gd name="connsiteY236" fmla="*/ 917401 h 1500370"/>
                <a:gd name="connsiteX237" fmla="*/ 421569 w 1034979"/>
                <a:gd name="connsiteY237" fmla="*/ 913591 h 1500370"/>
                <a:gd name="connsiteX0" fmla="*/ 421569 w 1034979"/>
                <a:gd name="connsiteY0" fmla="*/ 891407 h 1478186"/>
                <a:gd name="connsiteX1" fmla="*/ 421569 w 1034979"/>
                <a:gd name="connsiteY1" fmla="*/ 891407 h 1478186"/>
                <a:gd name="connsiteX2" fmla="*/ 394899 w 1034979"/>
                <a:gd name="connsiteY2" fmla="*/ 900932 h 1478186"/>
                <a:gd name="connsiteX3" fmla="*/ 387279 w 1034979"/>
                <a:gd name="connsiteY3" fmla="*/ 902837 h 1478186"/>
                <a:gd name="connsiteX4" fmla="*/ 356799 w 1034979"/>
                <a:gd name="connsiteY4" fmla="*/ 904742 h 1478186"/>
                <a:gd name="connsiteX5" fmla="*/ 351084 w 1034979"/>
                <a:gd name="connsiteY5" fmla="*/ 908552 h 1478186"/>
                <a:gd name="connsiteX6" fmla="*/ 339654 w 1034979"/>
                <a:gd name="connsiteY6" fmla="*/ 918077 h 1478186"/>
                <a:gd name="connsiteX7" fmla="*/ 328224 w 1034979"/>
                <a:gd name="connsiteY7" fmla="*/ 921887 h 1478186"/>
                <a:gd name="connsiteX8" fmla="*/ 312984 w 1034979"/>
                <a:gd name="connsiteY8" fmla="*/ 927602 h 1478186"/>
                <a:gd name="connsiteX9" fmla="*/ 265359 w 1034979"/>
                <a:gd name="connsiteY9" fmla="*/ 923792 h 1478186"/>
                <a:gd name="connsiteX10" fmla="*/ 253929 w 1034979"/>
                <a:gd name="connsiteY10" fmla="*/ 919982 h 1478186"/>
                <a:gd name="connsiteX11" fmla="*/ 242499 w 1034979"/>
                <a:gd name="connsiteY11" fmla="*/ 916172 h 1478186"/>
                <a:gd name="connsiteX12" fmla="*/ 236784 w 1034979"/>
                <a:gd name="connsiteY12" fmla="*/ 914267 h 1478186"/>
                <a:gd name="connsiteX13" fmla="*/ 231069 w 1034979"/>
                <a:gd name="connsiteY13" fmla="*/ 912362 h 1478186"/>
                <a:gd name="connsiteX14" fmla="*/ 219639 w 1034979"/>
                <a:gd name="connsiteY14" fmla="*/ 910457 h 1478186"/>
                <a:gd name="connsiteX15" fmla="*/ 213924 w 1034979"/>
                <a:gd name="connsiteY15" fmla="*/ 908552 h 1478186"/>
                <a:gd name="connsiteX16" fmla="*/ 206304 w 1034979"/>
                <a:gd name="connsiteY16" fmla="*/ 906647 h 1478186"/>
                <a:gd name="connsiteX17" fmla="*/ 194874 w 1034979"/>
                <a:gd name="connsiteY17" fmla="*/ 902837 h 1478186"/>
                <a:gd name="connsiteX18" fmla="*/ 189159 w 1034979"/>
                <a:gd name="connsiteY18" fmla="*/ 900932 h 1478186"/>
                <a:gd name="connsiteX19" fmla="*/ 181539 w 1034979"/>
                <a:gd name="connsiteY19" fmla="*/ 899027 h 1478186"/>
                <a:gd name="connsiteX20" fmla="*/ 170109 w 1034979"/>
                <a:gd name="connsiteY20" fmla="*/ 893312 h 1478186"/>
                <a:gd name="connsiteX21" fmla="*/ 164394 w 1034979"/>
                <a:gd name="connsiteY21" fmla="*/ 889502 h 1478186"/>
                <a:gd name="connsiteX22" fmla="*/ 156774 w 1034979"/>
                <a:gd name="connsiteY22" fmla="*/ 878072 h 1478186"/>
                <a:gd name="connsiteX23" fmla="*/ 145344 w 1034979"/>
                <a:gd name="connsiteY23" fmla="*/ 874262 h 1478186"/>
                <a:gd name="connsiteX24" fmla="*/ 139629 w 1034979"/>
                <a:gd name="connsiteY24" fmla="*/ 870452 h 1478186"/>
                <a:gd name="connsiteX25" fmla="*/ 133914 w 1034979"/>
                <a:gd name="connsiteY25" fmla="*/ 868547 h 1478186"/>
                <a:gd name="connsiteX26" fmla="*/ 116769 w 1034979"/>
                <a:gd name="connsiteY26" fmla="*/ 864737 h 1478186"/>
                <a:gd name="connsiteX27" fmla="*/ 111054 w 1034979"/>
                <a:gd name="connsiteY27" fmla="*/ 859022 h 1478186"/>
                <a:gd name="connsiteX28" fmla="*/ 101529 w 1034979"/>
                <a:gd name="connsiteY28" fmla="*/ 841877 h 1478186"/>
                <a:gd name="connsiteX29" fmla="*/ 84384 w 1034979"/>
                <a:gd name="connsiteY29" fmla="*/ 834257 h 1478186"/>
                <a:gd name="connsiteX30" fmla="*/ 78669 w 1034979"/>
                <a:gd name="connsiteY30" fmla="*/ 832352 h 1478186"/>
                <a:gd name="connsiteX31" fmla="*/ 59619 w 1034979"/>
                <a:gd name="connsiteY31" fmla="*/ 836162 h 1478186"/>
                <a:gd name="connsiteX32" fmla="*/ 53904 w 1034979"/>
                <a:gd name="connsiteY32" fmla="*/ 839972 h 1478186"/>
                <a:gd name="connsiteX33" fmla="*/ 50094 w 1034979"/>
                <a:gd name="connsiteY33" fmla="*/ 845687 h 1478186"/>
                <a:gd name="connsiteX34" fmla="*/ 46284 w 1034979"/>
                <a:gd name="connsiteY34" fmla="*/ 857117 h 1478186"/>
                <a:gd name="connsiteX35" fmla="*/ 50094 w 1034979"/>
                <a:gd name="connsiteY35" fmla="*/ 895217 h 1478186"/>
                <a:gd name="connsiteX36" fmla="*/ 53904 w 1034979"/>
                <a:gd name="connsiteY36" fmla="*/ 900932 h 1478186"/>
                <a:gd name="connsiteX37" fmla="*/ 59619 w 1034979"/>
                <a:gd name="connsiteY37" fmla="*/ 904742 h 1478186"/>
                <a:gd name="connsiteX38" fmla="*/ 63429 w 1034979"/>
                <a:gd name="connsiteY38" fmla="*/ 910457 h 1478186"/>
                <a:gd name="connsiteX39" fmla="*/ 80574 w 1034979"/>
                <a:gd name="connsiteY39" fmla="*/ 919982 h 1478186"/>
                <a:gd name="connsiteX40" fmla="*/ 103434 w 1034979"/>
                <a:gd name="connsiteY40" fmla="*/ 921887 h 1478186"/>
                <a:gd name="connsiteX41" fmla="*/ 124389 w 1034979"/>
                <a:gd name="connsiteY41" fmla="*/ 927602 h 1478186"/>
                <a:gd name="connsiteX42" fmla="*/ 130104 w 1034979"/>
                <a:gd name="connsiteY42" fmla="*/ 929507 h 1478186"/>
                <a:gd name="connsiteX43" fmla="*/ 135819 w 1034979"/>
                <a:gd name="connsiteY43" fmla="*/ 935222 h 1478186"/>
                <a:gd name="connsiteX44" fmla="*/ 143439 w 1034979"/>
                <a:gd name="connsiteY44" fmla="*/ 937127 h 1478186"/>
                <a:gd name="connsiteX45" fmla="*/ 166299 w 1034979"/>
                <a:gd name="connsiteY45" fmla="*/ 940937 h 1478186"/>
                <a:gd name="connsiteX46" fmla="*/ 191064 w 1034979"/>
                <a:gd name="connsiteY46" fmla="*/ 946652 h 1478186"/>
                <a:gd name="connsiteX47" fmla="*/ 208209 w 1034979"/>
                <a:gd name="connsiteY47" fmla="*/ 952367 h 1478186"/>
                <a:gd name="connsiteX48" fmla="*/ 213924 w 1034979"/>
                <a:gd name="connsiteY48" fmla="*/ 954272 h 1478186"/>
                <a:gd name="connsiteX49" fmla="*/ 229164 w 1034979"/>
                <a:gd name="connsiteY49" fmla="*/ 958082 h 1478186"/>
                <a:gd name="connsiteX50" fmla="*/ 248214 w 1034979"/>
                <a:gd name="connsiteY50" fmla="*/ 963797 h 1478186"/>
                <a:gd name="connsiteX51" fmla="*/ 253929 w 1034979"/>
                <a:gd name="connsiteY51" fmla="*/ 967607 h 1478186"/>
                <a:gd name="connsiteX52" fmla="*/ 267264 w 1034979"/>
                <a:gd name="connsiteY52" fmla="*/ 982847 h 1478186"/>
                <a:gd name="connsiteX53" fmla="*/ 272979 w 1034979"/>
                <a:gd name="connsiteY53" fmla="*/ 1001897 h 1478186"/>
                <a:gd name="connsiteX54" fmla="*/ 274884 w 1034979"/>
                <a:gd name="connsiteY54" fmla="*/ 1007612 h 1478186"/>
                <a:gd name="connsiteX55" fmla="*/ 276789 w 1034979"/>
                <a:gd name="connsiteY55" fmla="*/ 1013327 h 1478186"/>
                <a:gd name="connsiteX56" fmla="*/ 278694 w 1034979"/>
                <a:gd name="connsiteY56" fmla="*/ 1038092 h 1478186"/>
                <a:gd name="connsiteX57" fmla="*/ 280599 w 1034979"/>
                <a:gd name="connsiteY57" fmla="*/ 1043807 h 1478186"/>
                <a:gd name="connsiteX58" fmla="*/ 278694 w 1034979"/>
                <a:gd name="connsiteY58" fmla="*/ 1062857 h 1478186"/>
                <a:gd name="connsiteX59" fmla="*/ 276789 w 1034979"/>
                <a:gd name="connsiteY59" fmla="*/ 1072382 h 1478186"/>
                <a:gd name="connsiteX60" fmla="*/ 263454 w 1034979"/>
                <a:gd name="connsiteY60" fmla="*/ 1085717 h 1478186"/>
                <a:gd name="connsiteX61" fmla="*/ 252024 w 1034979"/>
                <a:gd name="connsiteY61" fmla="*/ 1093337 h 1478186"/>
                <a:gd name="connsiteX62" fmla="*/ 240594 w 1034979"/>
                <a:gd name="connsiteY62" fmla="*/ 1097147 h 1478186"/>
                <a:gd name="connsiteX63" fmla="*/ 126294 w 1034979"/>
                <a:gd name="connsiteY63" fmla="*/ 1097147 h 1478186"/>
                <a:gd name="connsiteX64" fmla="*/ 120579 w 1034979"/>
                <a:gd name="connsiteY64" fmla="*/ 1099052 h 1478186"/>
                <a:gd name="connsiteX65" fmla="*/ 105339 w 1034979"/>
                <a:gd name="connsiteY65" fmla="*/ 1100957 h 1478186"/>
                <a:gd name="connsiteX66" fmla="*/ 88194 w 1034979"/>
                <a:gd name="connsiteY66" fmla="*/ 1106672 h 1478186"/>
                <a:gd name="connsiteX67" fmla="*/ 82479 w 1034979"/>
                <a:gd name="connsiteY67" fmla="*/ 1108577 h 1478186"/>
                <a:gd name="connsiteX68" fmla="*/ 76764 w 1034979"/>
                <a:gd name="connsiteY68" fmla="*/ 1112387 h 1478186"/>
                <a:gd name="connsiteX69" fmla="*/ 65334 w 1034979"/>
                <a:gd name="connsiteY69" fmla="*/ 1114292 h 1478186"/>
                <a:gd name="connsiteX70" fmla="*/ 27234 w 1034979"/>
                <a:gd name="connsiteY70" fmla="*/ 1116197 h 1478186"/>
                <a:gd name="connsiteX71" fmla="*/ 15804 w 1034979"/>
                <a:gd name="connsiteY71" fmla="*/ 1121912 h 1478186"/>
                <a:gd name="connsiteX72" fmla="*/ 6279 w 1034979"/>
                <a:gd name="connsiteY72" fmla="*/ 1131437 h 1478186"/>
                <a:gd name="connsiteX73" fmla="*/ 4374 w 1034979"/>
                <a:gd name="connsiteY73" fmla="*/ 1137152 h 1478186"/>
                <a:gd name="connsiteX74" fmla="*/ 564 w 1034979"/>
                <a:gd name="connsiteY74" fmla="*/ 1142867 h 1478186"/>
                <a:gd name="connsiteX75" fmla="*/ 6279 w 1034979"/>
                <a:gd name="connsiteY75" fmla="*/ 1175252 h 1478186"/>
                <a:gd name="connsiteX76" fmla="*/ 11994 w 1034979"/>
                <a:gd name="connsiteY76" fmla="*/ 1179062 h 1478186"/>
                <a:gd name="connsiteX77" fmla="*/ 17709 w 1034979"/>
                <a:gd name="connsiteY77" fmla="*/ 1180967 h 1478186"/>
                <a:gd name="connsiteX78" fmla="*/ 145344 w 1034979"/>
                <a:gd name="connsiteY78" fmla="*/ 1179062 h 1478186"/>
                <a:gd name="connsiteX79" fmla="*/ 152964 w 1034979"/>
                <a:gd name="connsiteY79" fmla="*/ 1177157 h 1478186"/>
                <a:gd name="connsiteX80" fmla="*/ 303459 w 1034979"/>
                <a:gd name="connsiteY80" fmla="*/ 1171442 h 1478186"/>
                <a:gd name="connsiteX81" fmla="*/ 318699 w 1034979"/>
                <a:gd name="connsiteY81" fmla="*/ 1179062 h 1478186"/>
                <a:gd name="connsiteX82" fmla="*/ 330129 w 1034979"/>
                <a:gd name="connsiteY82" fmla="*/ 1184777 h 1478186"/>
                <a:gd name="connsiteX83" fmla="*/ 333939 w 1034979"/>
                <a:gd name="connsiteY83" fmla="*/ 1190492 h 1478186"/>
                <a:gd name="connsiteX84" fmla="*/ 339654 w 1034979"/>
                <a:gd name="connsiteY84" fmla="*/ 1192397 h 1478186"/>
                <a:gd name="connsiteX85" fmla="*/ 351084 w 1034979"/>
                <a:gd name="connsiteY85" fmla="*/ 1200017 h 1478186"/>
                <a:gd name="connsiteX86" fmla="*/ 356799 w 1034979"/>
                <a:gd name="connsiteY86" fmla="*/ 1203827 h 1478186"/>
                <a:gd name="connsiteX87" fmla="*/ 360609 w 1034979"/>
                <a:gd name="connsiteY87" fmla="*/ 1209542 h 1478186"/>
                <a:gd name="connsiteX88" fmla="*/ 366324 w 1034979"/>
                <a:gd name="connsiteY88" fmla="*/ 1220972 h 1478186"/>
                <a:gd name="connsiteX89" fmla="*/ 362514 w 1034979"/>
                <a:gd name="connsiteY89" fmla="*/ 1247642 h 1478186"/>
                <a:gd name="connsiteX90" fmla="*/ 358704 w 1034979"/>
                <a:gd name="connsiteY90" fmla="*/ 1253357 h 1478186"/>
                <a:gd name="connsiteX91" fmla="*/ 356799 w 1034979"/>
                <a:gd name="connsiteY91" fmla="*/ 1259072 h 1478186"/>
                <a:gd name="connsiteX92" fmla="*/ 352989 w 1034979"/>
                <a:gd name="connsiteY92" fmla="*/ 1264787 h 1478186"/>
                <a:gd name="connsiteX93" fmla="*/ 351084 w 1034979"/>
                <a:gd name="connsiteY93" fmla="*/ 1270502 h 1478186"/>
                <a:gd name="connsiteX94" fmla="*/ 347274 w 1034979"/>
                <a:gd name="connsiteY94" fmla="*/ 1276217 h 1478186"/>
                <a:gd name="connsiteX95" fmla="*/ 330129 w 1034979"/>
                <a:gd name="connsiteY95" fmla="*/ 1342892 h 1478186"/>
                <a:gd name="connsiteX96" fmla="*/ 328224 w 1034979"/>
                <a:gd name="connsiteY96" fmla="*/ 1394327 h 1478186"/>
                <a:gd name="connsiteX97" fmla="*/ 330129 w 1034979"/>
                <a:gd name="connsiteY97" fmla="*/ 1419092 h 1478186"/>
                <a:gd name="connsiteX98" fmla="*/ 332034 w 1034979"/>
                <a:gd name="connsiteY98" fmla="*/ 1424807 h 1478186"/>
                <a:gd name="connsiteX99" fmla="*/ 335844 w 1034979"/>
                <a:gd name="connsiteY99" fmla="*/ 1428617 h 1478186"/>
                <a:gd name="connsiteX100" fmla="*/ 364419 w 1034979"/>
                <a:gd name="connsiteY100" fmla="*/ 1474337 h 1478186"/>
                <a:gd name="connsiteX101" fmla="*/ 387279 w 1034979"/>
                <a:gd name="connsiteY101" fmla="*/ 1476242 h 1478186"/>
                <a:gd name="connsiteX102" fmla="*/ 392994 w 1034979"/>
                <a:gd name="connsiteY102" fmla="*/ 1470527 h 1478186"/>
                <a:gd name="connsiteX103" fmla="*/ 394899 w 1034979"/>
                <a:gd name="connsiteY103" fmla="*/ 1459097 h 1478186"/>
                <a:gd name="connsiteX104" fmla="*/ 396804 w 1034979"/>
                <a:gd name="connsiteY104" fmla="*/ 1453382 h 1478186"/>
                <a:gd name="connsiteX105" fmla="*/ 398709 w 1034979"/>
                <a:gd name="connsiteY105" fmla="*/ 1436237 h 1478186"/>
                <a:gd name="connsiteX106" fmla="*/ 400614 w 1034979"/>
                <a:gd name="connsiteY106" fmla="*/ 1422902 h 1478186"/>
                <a:gd name="connsiteX107" fmla="*/ 404424 w 1034979"/>
                <a:gd name="connsiteY107" fmla="*/ 1365752 h 1478186"/>
                <a:gd name="connsiteX108" fmla="*/ 410139 w 1034979"/>
                <a:gd name="connsiteY108" fmla="*/ 1354322 h 1478186"/>
                <a:gd name="connsiteX109" fmla="*/ 413949 w 1034979"/>
                <a:gd name="connsiteY109" fmla="*/ 1340987 h 1478186"/>
                <a:gd name="connsiteX110" fmla="*/ 415854 w 1034979"/>
                <a:gd name="connsiteY110" fmla="*/ 1335272 h 1478186"/>
                <a:gd name="connsiteX111" fmla="*/ 417759 w 1034979"/>
                <a:gd name="connsiteY111" fmla="*/ 1321937 h 1478186"/>
                <a:gd name="connsiteX112" fmla="*/ 421569 w 1034979"/>
                <a:gd name="connsiteY112" fmla="*/ 1310507 h 1478186"/>
                <a:gd name="connsiteX113" fmla="*/ 427284 w 1034979"/>
                <a:gd name="connsiteY113" fmla="*/ 1297172 h 1478186"/>
                <a:gd name="connsiteX114" fmla="*/ 436809 w 1034979"/>
                <a:gd name="connsiteY114" fmla="*/ 1285742 h 1478186"/>
                <a:gd name="connsiteX115" fmla="*/ 450144 w 1034979"/>
                <a:gd name="connsiteY115" fmla="*/ 1270502 h 1478186"/>
                <a:gd name="connsiteX116" fmla="*/ 457764 w 1034979"/>
                <a:gd name="connsiteY116" fmla="*/ 1259072 h 1478186"/>
                <a:gd name="connsiteX117" fmla="*/ 461574 w 1034979"/>
                <a:gd name="connsiteY117" fmla="*/ 1247642 h 1478186"/>
                <a:gd name="connsiteX118" fmla="*/ 465384 w 1034979"/>
                <a:gd name="connsiteY118" fmla="*/ 1232402 h 1478186"/>
                <a:gd name="connsiteX119" fmla="*/ 467289 w 1034979"/>
                <a:gd name="connsiteY119" fmla="*/ 1226687 h 1478186"/>
                <a:gd name="connsiteX120" fmla="*/ 507294 w 1034979"/>
                <a:gd name="connsiteY120" fmla="*/ 1220972 h 1478186"/>
                <a:gd name="connsiteX121" fmla="*/ 535869 w 1034979"/>
                <a:gd name="connsiteY121" fmla="*/ 1211447 h 1478186"/>
                <a:gd name="connsiteX122" fmla="*/ 541584 w 1034979"/>
                <a:gd name="connsiteY122" fmla="*/ 1209542 h 1478186"/>
                <a:gd name="connsiteX123" fmla="*/ 547299 w 1034979"/>
                <a:gd name="connsiteY123" fmla="*/ 1207637 h 1478186"/>
                <a:gd name="connsiteX124" fmla="*/ 554919 w 1034979"/>
                <a:gd name="connsiteY124" fmla="*/ 1205732 h 1478186"/>
                <a:gd name="connsiteX125" fmla="*/ 573969 w 1034979"/>
                <a:gd name="connsiteY125" fmla="*/ 1198112 h 1478186"/>
                <a:gd name="connsiteX126" fmla="*/ 585399 w 1034979"/>
                <a:gd name="connsiteY126" fmla="*/ 1194302 h 1478186"/>
                <a:gd name="connsiteX127" fmla="*/ 720654 w 1034979"/>
                <a:gd name="connsiteY127" fmla="*/ 1278122 h 1478186"/>
                <a:gd name="connsiteX128" fmla="*/ 733989 w 1034979"/>
                <a:gd name="connsiteY128" fmla="*/ 1287647 h 1478186"/>
                <a:gd name="connsiteX129" fmla="*/ 743514 w 1034979"/>
                <a:gd name="connsiteY129" fmla="*/ 1289552 h 1478186"/>
                <a:gd name="connsiteX130" fmla="*/ 749229 w 1034979"/>
                <a:gd name="connsiteY130" fmla="*/ 1291457 h 1478186"/>
                <a:gd name="connsiteX131" fmla="*/ 762564 w 1034979"/>
                <a:gd name="connsiteY131" fmla="*/ 1297172 h 1478186"/>
                <a:gd name="connsiteX132" fmla="*/ 777804 w 1034979"/>
                <a:gd name="connsiteY132" fmla="*/ 1295267 h 1478186"/>
                <a:gd name="connsiteX133" fmla="*/ 789234 w 1034979"/>
                <a:gd name="connsiteY133" fmla="*/ 1289552 h 1478186"/>
                <a:gd name="connsiteX134" fmla="*/ 794949 w 1034979"/>
                <a:gd name="connsiteY134" fmla="*/ 1287647 h 1478186"/>
                <a:gd name="connsiteX135" fmla="*/ 802569 w 1034979"/>
                <a:gd name="connsiteY135" fmla="*/ 1270502 h 1478186"/>
                <a:gd name="connsiteX136" fmla="*/ 800664 w 1034979"/>
                <a:gd name="connsiteY136" fmla="*/ 1245737 h 1478186"/>
                <a:gd name="connsiteX137" fmla="*/ 798759 w 1034979"/>
                <a:gd name="connsiteY137" fmla="*/ 1240022 h 1478186"/>
                <a:gd name="connsiteX138" fmla="*/ 796854 w 1034979"/>
                <a:gd name="connsiteY138" fmla="*/ 1232402 h 1478186"/>
                <a:gd name="connsiteX139" fmla="*/ 783519 w 1034979"/>
                <a:gd name="connsiteY139" fmla="*/ 1215257 h 1478186"/>
                <a:gd name="connsiteX140" fmla="*/ 773994 w 1034979"/>
                <a:gd name="connsiteY140" fmla="*/ 1209542 h 1478186"/>
                <a:gd name="connsiteX141" fmla="*/ 648264 w 1034979"/>
                <a:gd name="connsiteY141" fmla="*/ 1118102 h 1478186"/>
                <a:gd name="connsiteX142" fmla="*/ 644454 w 1034979"/>
                <a:gd name="connsiteY142" fmla="*/ 1100957 h 1478186"/>
                <a:gd name="connsiteX143" fmla="*/ 646359 w 1034979"/>
                <a:gd name="connsiteY143" fmla="*/ 1093337 h 1478186"/>
                <a:gd name="connsiteX144" fmla="*/ 650169 w 1034979"/>
                <a:gd name="connsiteY144" fmla="*/ 1076192 h 1478186"/>
                <a:gd name="connsiteX145" fmla="*/ 653979 w 1034979"/>
                <a:gd name="connsiteY145" fmla="*/ 1070477 h 1478186"/>
                <a:gd name="connsiteX146" fmla="*/ 655884 w 1034979"/>
                <a:gd name="connsiteY146" fmla="*/ 1064762 h 1478186"/>
                <a:gd name="connsiteX147" fmla="*/ 661599 w 1034979"/>
                <a:gd name="connsiteY147" fmla="*/ 1062857 h 1478186"/>
                <a:gd name="connsiteX148" fmla="*/ 671124 w 1034979"/>
                <a:gd name="connsiteY148" fmla="*/ 1051427 h 1478186"/>
                <a:gd name="connsiteX149" fmla="*/ 724464 w 1034979"/>
                <a:gd name="connsiteY149" fmla="*/ 1043807 h 1478186"/>
                <a:gd name="connsiteX150" fmla="*/ 842574 w 1034979"/>
                <a:gd name="connsiteY150" fmla="*/ 1045712 h 1478186"/>
                <a:gd name="connsiteX151" fmla="*/ 871149 w 1034979"/>
                <a:gd name="connsiteY151" fmla="*/ 1047617 h 1478186"/>
                <a:gd name="connsiteX152" fmla="*/ 899724 w 1034979"/>
                <a:gd name="connsiteY152" fmla="*/ 1053332 h 1478186"/>
                <a:gd name="connsiteX153" fmla="*/ 922584 w 1034979"/>
                <a:gd name="connsiteY153" fmla="*/ 1057142 h 1478186"/>
                <a:gd name="connsiteX154" fmla="*/ 951159 w 1034979"/>
                <a:gd name="connsiteY154" fmla="*/ 1062857 h 1478186"/>
                <a:gd name="connsiteX155" fmla="*/ 956874 w 1034979"/>
                <a:gd name="connsiteY155" fmla="*/ 1062857 h 1478186"/>
                <a:gd name="connsiteX156" fmla="*/ 1002594 w 1034979"/>
                <a:gd name="connsiteY156" fmla="*/ 1060952 h 1478186"/>
                <a:gd name="connsiteX157" fmla="*/ 1031169 w 1034979"/>
                <a:gd name="connsiteY157" fmla="*/ 1053332 h 1478186"/>
                <a:gd name="connsiteX158" fmla="*/ 1034979 w 1034979"/>
                <a:gd name="connsiteY158" fmla="*/ 1047617 h 1478186"/>
                <a:gd name="connsiteX159" fmla="*/ 1033074 w 1034979"/>
                <a:gd name="connsiteY159" fmla="*/ 1028567 h 1478186"/>
                <a:gd name="connsiteX160" fmla="*/ 1027359 w 1034979"/>
                <a:gd name="connsiteY160" fmla="*/ 1024757 h 1478186"/>
                <a:gd name="connsiteX161" fmla="*/ 1012119 w 1034979"/>
                <a:gd name="connsiteY161" fmla="*/ 1022852 h 1478186"/>
                <a:gd name="connsiteX162" fmla="*/ 1006404 w 1034979"/>
                <a:gd name="connsiteY162" fmla="*/ 1020947 h 1478186"/>
                <a:gd name="connsiteX163" fmla="*/ 998784 w 1034979"/>
                <a:gd name="connsiteY163" fmla="*/ 1019042 h 1478186"/>
                <a:gd name="connsiteX164" fmla="*/ 987354 w 1034979"/>
                <a:gd name="connsiteY164" fmla="*/ 1011422 h 1478186"/>
                <a:gd name="connsiteX165" fmla="*/ 975924 w 1034979"/>
                <a:gd name="connsiteY165" fmla="*/ 1007612 h 1478186"/>
                <a:gd name="connsiteX166" fmla="*/ 970209 w 1034979"/>
                <a:gd name="connsiteY166" fmla="*/ 1005707 h 1478186"/>
                <a:gd name="connsiteX167" fmla="*/ 962589 w 1034979"/>
                <a:gd name="connsiteY167" fmla="*/ 1003802 h 1478186"/>
                <a:gd name="connsiteX168" fmla="*/ 956874 w 1034979"/>
                <a:gd name="connsiteY168" fmla="*/ 1001897 h 1478186"/>
                <a:gd name="connsiteX169" fmla="*/ 935919 w 1034979"/>
                <a:gd name="connsiteY169" fmla="*/ 996182 h 1478186"/>
                <a:gd name="connsiteX170" fmla="*/ 930204 w 1034979"/>
                <a:gd name="connsiteY170" fmla="*/ 994277 h 1478186"/>
                <a:gd name="connsiteX171" fmla="*/ 825429 w 1034979"/>
                <a:gd name="connsiteY171" fmla="*/ 996182 h 1478186"/>
                <a:gd name="connsiteX172" fmla="*/ 819714 w 1034979"/>
                <a:gd name="connsiteY172" fmla="*/ 998087 h 1478186"/>
                <a:gd name="connsiteX173" fmla="*/ 730179 w 1034979"/>
                <a:gd name="connsiteY173" fmla="*/ 999992 h 1478186"/>
                <a:gd name="connsiteX174" fmla="*/ 716844 w 1034979"/>
                <a:gd name="connsiteY174" fmla="*/ 1003802 h 1478186"/>
                <a:gd name="connsiteX175" fmla="*/ 695889 w 1034979"/>
                <a:gd name="connsiteY175" fmla="*/ 1005707 h 1478186"/>
                <a:gd name="connsiteX176" fmla="*/ 669219 w 1034979"/>
                <a:gd name="connsiteY176" fmla="*/ 1007612 h 1478186"/>
                <a:gd name="connsiteX177" fmla="*/ 669219 w 1034979"/>
                <a:gd name="connsiteY177" fmla="*/ 1007612 h 1478186"/>
                <a:gd name="connsiteX178" fmla="*/ 646359 w 1034979"/>
                <a:gd name="connsiteY178" fmla="*/ 1011422 h 1478186"/>
                <a:gd name="connsiteX179" fmla="*/ 642549 w 1034979"/>
                <a:gd name="connsiteY179" fmla="*/ 999992 h 1478186"/>
                <a:gd name="connsiteX180" fmla="*/ 640644 w 1034979"/>
                <a:gd name="connsiteY180" fmla="*/ 994277 h 1478186"/>
                <a:gd name="connsiteX181" fmla="*/ 642549 w 1034979"/>
                <a:gd name="connsiteY181" fmla="*/ 977132 h 1478186"/>
                <a:gd name="connsiteX182" fmla="*/ 644454 w 1034979"/>
                <a:gd name="connsiteY182" fmla="*/ 971417 h 1478186"/>
                <a:gd name="connsiteX183" fmla="*/ 661599 w 1034979"/>
                <a:gd name="connsiteY183" fmla="*/ 961892 h 1478186"/>
                <a:gd name="connsiteX184" fmla="*/ 673029 w 1034979"/>
                <a:gd name="connsiteY184" fmla="*/ 954272 h 1478186"/>
                <a:gd name="connsiteX185" fmla="*/ 674934 w 1034979"/>
                <a:gd name="connsiteY185" fmla="*/ 948557 h 1478186"/>
                <a:gd name="connsiteX186" fmla="*/ 680649 w 1034979"/>
                <a:gd name="connsiteY186" fmla="*/ 946652 h 1478186"/>
                <a:gd name="connsiteX187" fmla="*/ 686364 w 1034979"/>
                <a:gd name="connsiteY187" fmla="*/ 942842 h 1478186"/>
                <a:gd name="connsiteX188" fmla="*/ 695889 w 1034979"/>
                <a:gd name="connsiteY188" fmla="*/ 933317 h 1478186"/>
                <a:gd name="connsiteX189" fmla="*/ 705414 w 1034979"/>
                <a:gd name="connsiteY189" fmla="*/ 921887 h 1478186"/>
                <a:gd name="connsiteX190" fmla="*/ 716844 w 1034979"/>
                <a:gd name="connsiteY190" fmla="*/ 914267 h 1478186"/>
                <a:gd name="connsiteX191" fmla="*/ 732084 w 1034979"/>
                <a:gd name="connsiteY191" fmla="*/ 900932 h 1478186"/>
                <a:gd name="connsiteX192" fmla="*/ 741609 w 1034979"/>
                <a:gd name="connsiteY192" fmla="*/ 889502 h 1478186"/>
                <a:gd name="connsiteX193" fmla="*/ 753039 w 1034979"/>
                <a:gd name="connsiteY193" fmla="*/ 879977 h 1478186"/>
                <a:gd name="connsiteX194" fmla="*/ 758754 w 1034979"/>
                <a:gd name="connsiteY194" fmla="*/ 868547 h 1478186"/>
                <a:gd name="connsiteX195" fmla="*/ 760659 w 1034979"/>
                <a:gd name="connsiteY195" fmla="*/ 862832 h 1478186"/>
                <a:gd name="connsiteX196" fmla="*/ 766374 w 1034979"/>
                <a:gd name="connsiteY196" fmla="*/ 851402 h 1478186"/>
                <a:gd name="connsiteX197" fmla="*/ 764469 w 1034979"/>
                <a:gd name="connsiteY197" fmla="*/ 836162 h 1478186"/>
                <a:gd name="connsiteX198" fmla="*/ 758754 w 1034979"/>
                <a:gd name="connsiteY198" fmla="*/ 834257 h 1478186"/>
                <a:gd name="connsiteX199" fmla="*/ 737799 w 1034979"/>
                <a:gd name="connsiteY199" fmla="*/ 836162 h 1478186"/>
                <a:gd name="connsiteX200" fmla="*/ 732084 w 1034979"/>
                <a:gd name="connsiteY200" fmla="*/ 839972 h 1478186"/>
                <a:gd name="connsiteX201" fmla="*/ 720654 w 1034979"/>
                <a:gd name="connsiteY201" fmla="*/ 843782 h 1478186"/>
                <a:gd name="connsiteX202" fmla="*/ 716844 w 1034979"/>
                <a:gd name="connsiteY202" fmla="*/ 849497 h 1478186"/>
                <a:gd name="connsiteX203" fmla="*/ 711129 w 1034979"/>
                <a:gd name="connsiteY203" fmla="*/ 851402 h 1478186"/>
                <a:gd name="connsiteX204" fmla="*/ 705414 w 1034979"/>
                <a:gd name="connsiteY204" fmla="*/ 855212 h 1478186"/>
                <a:gd name="connsiteX205" fmla="*/ 699699 w 1034979"/>
                <a:gd name="connsiteY205" fmla="*/ 860927 h 1478186"/>
                <a:gd name="connsiteX206" fmla="*/ 692079 w 1034979"/>
                <a:gd name="connsiteY206" fmla="*/ 864737 h 1478186"/>
                <a:gd name="connsiteX207" fmla="*/ 650169 w 1034979"/>
                <a:gd name="connsiteY207" fmla="*/ 893312 h 1478186"/>
                <a:gd name="connsiteX208" fmla="*/ 636834 w 1034979"/>
                <a:gd name="connsiteY208" fmla="*/ 904742 h 1478186"/>
                <a:gd name="connsiteX209" fmla="*/ 627309 w 1034979"/>
                <a:gd name="connsiteY209" fmla="*/ 921887 h 1478186"/>
                <a:gd name="connsiteX210" fmla="*/ 602544 w 1034979"/>
                <a:gd name="connsiteY210" fmla="*/ 927602 h 1478186"/>
                <a:gd name="connsiteX211" fmla="*/ 589209 w 1034979"/>
                <a:gd name="connsiteY211" fmla="*/ 931412 h 1478186"/>
                <a:gd name="connsiteX212" fmla="*/ 573969 w 1034979"/>
                <a:gd name="connsiteY212" fmla="*/ 929507 h 1478186"/>
                <a:gd name="connsiteX213" fmla="*/ 562539 w 1034979"/>
                <a:gd name="connsiteY213" fmla="*/ 925697 h 1478186"/>
                <a:gd name="connsiteX214" fmla="*/ 551109 w 1034979"/>
                <a:gd name="connsiteY214" fmla="*/ 921887 h 1478186"/>
                <a:gd name="connsiteX215" fmla="*/ 539679 w 1034979"/>
                <a:gd name="connsiteY215" fmla="*/ 918077 h 1478186"/>
                <a:gd name="connsiteX216" fmla="*/ 533964 w 1034979"/>
                <a:gd name="connsiteY216" fmla="*/ 916172 h 1478186"/>
                <a:gd name="connsiteX217" fmla="*/ 528249 w 1034979"/>
                <a:gd name="connsiteY217" fmla="*/ 912362 h 1478186"/>
                <a:gd name="connsiteX218" fmla="*/ 516819 w 1034979"/>
                <a:gd name="connsiteY218" fmla="*/ 906647 h 1478186"/>
                <a:gd name="connsiteX219" fmla="*/ 509199 w 1034979"/>
                <a:gd name="connsiteY219" fmla="*/ 895217 h 1478186"/>
                <a:gd name="connsiteX220" fmla="*/ 505389 w 1034979"/>
                <a:gd name="connsiteY220" fmla="*/ 874262 h 1478186"/>
                <a:gd name="connsiteX221" fmla="*/ 507294 w 1034979"/>
                <a:gd name="connsiteY221" fmla="*/ 809492 h 1478186"/>
                <a:gd name="connsiteX222" fmla="*/ 513009 w 1034979"/>
                <a:gd name="connsiteY222" fmla="*/ 796157 h 1478186"/>
                <a:gd name="connsiteX223" fmla="*/ 503484 w 1034979"/>
                <a:gd name="connsiteY223" fmla="*/ 319907 h 1478186"/>
                <a:gd name="connsiteX224" fmla="*/ 490149 w 1034979"/>
                <a:gd name="connsiteY224" fmla="*/ 1772 h 1478186"/>
                <a:gd name="connsiteX225" fmla="*/ 429189 w 1034979"/>
                <a:gd name="connsiteY225" fmla="*/ 199892 h 1478186"/>
                <a:gd name="connsiteX226" fmla="*/ 440619 w 1034979"/>
                <a:gd name="connsiteY226" fmla="*/ 382772 h 1478186"/>
                <a:gd name="connsiteX227" fmla="*/ 425379 w 1034979"/>
                <a:gd name="connsiteY227" fmla="*/ 679952 h 1478186"/>
                <a:gd name="connsiteX228" fmla="*/ 417759 w 1034979"/>
                <a:gd name="connsiteY228" fmla="*/ 807587 h 1478186"/>
                <a:gd name="connsiteX229" fmla="*/ 413949 w 1034979"/>
                <a:gd name="connsiteY229" fmla="*/ 824732 h 1478186"/>
                <a:gd name="connsiteX230" fmla="*/ 417759 w 1034979"/>
                <a:gd name="connsiteY230" fmla="*/ 845687 h 1478186"/>
                <a:gd name="connsiteX231" fmla="*/ 421569 w 1034979"/>
                <a:gd name="connsiteY231" fmla="*/ 851402 h 1478186"/>
                <a:gd name="connsiteX232" fmla="*/ 425379 w 1034979"/>
                <a:gd name="connsiteY232" fmla="*/ 862832 h 1478186"/>
                <a:gd name="connsiteX233" fmla="*/ 423474 w 1034979"/>
                <a:gd name="connsiteY233" fmla="*/ 889502 h 1478186"/>
                <a:gd name="connsiteX234" fmla="*/ 417759 w 1034979"/>
                <a:gd name="connsiteY234" fmla="*/ 891407 h 1478186"/>
                <a:gd name="connsiteX235" fmla="*/ 412044 w 1034979"/>
                <a:gd name="connsiteY235" fmla="*/ 895217 h 1478186"/>
                <a:gd name="connsiteX236" fmla="*/ 421569 w 1034979"/>
                <a:gd name="connsiteY236" fmla="*/ 891407 h 1478186"/>
                <a:gd name="connsiteX0" fmla="*/ 421569 w 1034979"/>
                <a:gd name="connsiteY0" fmla="*/ 891407 h 1478186"/>
                <a:gd name="connsiteX1" fmla="*/ 421569 w 1034979"/>
                <a:gd name="connsiteY1" fmla="*/ 891407 h 1478186"/>
                <a:gd name="connsiteX2" fmla="*/ 394899 w 1034979"/>
                <a:gd name="connsiteY2" fmla="*/ 900932 h 1478186"/>
                <a:gd name="connsiteX3" fmla="*/ 387279 w 1034979"/>
                <a:gd name="connsiteY3" fmla="*/ 902837 h 1478186"/>
                <a:gd name="connsiteX4" fmla="*/ 356799 w 1034979"/>
                <a:gd name="connsiteY4" fmla="*/ 904742 h 1478186"/>
                <a:gd name="connsiteX5" fmla="*/ 351084 w 1034979"/>
                <a:gd name="connsiteY5" fmla="*/ 908552 h 1478186"/>
                <a:gd name="connsiteX6" fmla="*/ 339654 w 1034979"/>
                <a:gd name="connsiteY6" fmla="*/ 918077 h 1478186"/>
                <a:gd name="connsiteX7" fmla="*/ 328224 w 1034979"/>
                <a:gd name="connsiteY7" fmla="*/ 921887 h 1478186"/>
                <a:gd name="connsiteX8" fmla="*/ 312984 w 1034979"/>
                <a:gd name="connsiteY8" fmla="*/ 927602 h 1478186"/>
                <a:gd name="connsiteX9" fmla="*/ 265359 w 1034979"/>
                <a:gd name="connsiteY9" fmla="*/ 923792 h 1478186"/>
                <a:gd name="connsiteX10" fmla="*/ 253929 w 1034979"/>
                <a:gd name="connsiteY10" fmla="*/ 919982 h 1478186"/>
                <a:gd name="connsiteX11" fmla="*/ 242499 w 1034979"/>
                <a:gd name="connsiteY11" fmla="*/ 916172 h 1478186"/>
                <a:gd name="connsiteX12" fmla="*/ 236784 w 1034979"/>
                <a:gd name="connsiteY12" fmla="*/ 914267 h 1478186"/>
                <a:gd name="connsiteX13" fmla="*/ 231069 w 1034979"/>
                <a:gd name="connsiteY13" fmla="*/ 912362 h 1478186"/>
                <a:gd name="connsiteX14" fmla="*/ 219639 w 1034979"/>
                <a:gd name="connsiteY14" fmla="*/ 910457 h 1478186"/>
                <a:gd name="connsiteX15" fmla="*/ 213924 w 1034979"/>
                <a:gd name="connsiteY15" fmla="*/ 908552 h 1478186"/>
                <a:gd name="connsiteX16" fmla="*/ 206304 w 1034979"/>
                <a:gd name="connsiteY16" fmla="*/ 906647 h 1478186"/>
                <a:gd name="connsiteX17" fmla="*/ 194874 w 1034979"/>
                <a:gd name="connsiteY17" fmla="*/ 902837 h 1478186"/>
                <a:gd name="connsiteX18" fmla="*/ 189159 w 1034979"/>
                <a:gd name="connsiteY18" fmla="*/ 900932 h 1478186"/>
                <a:gd name="connsiteX19" fmla="*/ 181539 w 1034979"/>
                <a:gd name="connsiteY19" fmla="*/ 899027 h 1478186"/>
                <a:gd name="connsiteX20" fmla="*/ 170109 w 1034979"/>
                <a:gd name="connsiteY20" fmla="*/ 893312 h 1478186"/>
                <a:gd name="connsiteX21" fmla="*/ 164394 w 1034979"/>
                <a:gd name="connsiteY21" fmla="*/ 889502 h 1478186"/>
                <a:gd name="connsiteX22" fmla="*/ 156774 w 1034979"/>
                <a:gd name="connsiteY22" fmla="*/ 878072 h 1478186"/>
                <a:gd name="connsiteX23" fmla="*/ 145344 w 1034979"/>
                <a:gd name="connsiteY23" fmla="*/ 874262 h 1478186"/>
                <a:gd name="connsiteX24" fmla="*/ 139629 w 1034979"/>
                <a:gd name="connsiteY24" fmla="*/ 870452 h 1478186"/>
                <a:gd name="connsiteX25" fmla="*/ 133914 w 1034979"/>
                <a:gd name="connsiteY25" fmla="*/ 868547 h 1478186"/>
                <a:gd name="connsiteX26" fmla="*/ 116769 w 1034979"/>
                <a:gd name="connsiteY26" fmla="*/ 864737 h 1478186"/>
                <a:gd name="connsiteX27" fmla="*/ 111054 w 1034979"/>
                <a:gd name="connsiteY27" fmla="*/ 859022 h 1478186"/>
                <a:gd name="connsiteX28" fmla="*/ 101529 w 1034979"/>
                <a:gd name="connsiteY28" fmla="*/ 841877 h 1478186"/>
                <a:gd name="connsiteX29" fmla="*/ 84384 w 1034979"/>
                <a:gd name="connsiteY29" fmla="*/ 834257 h 1478186"/>
                <a:gd name="connsiteX30" fmla="*/ 78669 w 1034979"/>
                <a:gd name="connsiteY30" fmla="*/ 832352 h 1478186"/>
                <a:gd name="connsiteX31" fmla="*/ 59619 w 1034979"/>
                <a:gd name="connsiteY31" fmla="*/ 836162 h 1478186"/>
                <a:gd name="connsiteX32" fmla="*/ 53904 w 1034979"/>
                <a:gd name="connsiteY32" fmla="*/ 839972 h 1478186"/>
                <a:gd name="connsiteX33" fmla="*/ 50094 w 1034979"/>
                <a:gd name="connsiteY33" fmla="*/ 845687 h 1478186"/>
                <a:gd name="connsiteX34" fmla="*/ 46284 w 1034979"/>
                <a:gd name="connsiteY34" fmla="*/ 857117 h 1478186"/>
                <a:gd name="connsiteX35" fmla="*/ 50094 w 1034979"/>
                <a:gd name="connsiteY35" fmla="*/ 895217 h 1478186"/>
                <a:gd name="connsiteX36" fmla="*/ 53904 w 1034979"/>
                <a:gd name="connsiteY36" fmla="*/ 900932 h 1478186"/>
                <a:gd name="connsiteX37" fmla="*/ 59619 w 1034979"/>
                <a:gd name="connsiteY37" fmla="*/ 904742 h 1478186"/>
                <a:gd name="connsiteX38" fmla="*/ 63429 w 1034979"/>
                <a:gd name="connsiteY38" fmla="*/ 910457 h 1478186"/>
                <a:gd name="connsiteX39" fmla="*/ 80574 w 1034979"/>
                <a:gd name="connsiteY39" fmla="*/ 919982 h 1478186"/>
                <a:gd name="connsiteX40" fmla="*/ 103434 w 1034979"/>
                <a:gd name="connsiteY40" fmla="*/ 921887 h 1478186"/>
                <a:gd name="connsiteX41" fmla="*/ 124389 w 1034979"/>
                <a:gd name="connsiteY41" fmla="*/ 927602 h 1478186"/>
                <a:gd name="connsiteX42" fmla="*/ 130104 w 1034979"/>
                <a:gd name="connsiteY42" fmla="*/ 929507 h 1478186"/>
                <a:gd name="connsiteX43" fmla="*/ 135819 w 1034979"/>
                <a:gd name="connsiteY43" fmla="*/ 935222 h 1478186"/>
                <a:gd name="connsiteX44" fmla="*/ 143439 w 1034979"/>
                <a:gd name="connsiteY44" fmla="*/ 937127 h 1478186"/>
                <a:gd name="connsiteX45" fmla="*/ 166299 w 1034979"/>
                <a:gd name="connsiteY45" fmla="*/ 940937 h 1478186"/>
                <a:gd name="connsiteX46" fmla="*/ 191064 w 1034979"/>
                <a:gd name="connsiteY46" fmla="*/ 946652 h 1478186"/>
                <a:gd name="connsiteX47" fmla="*/ 208209 w 1034979"/>
                <a:gd name="connsiteY47" fmla="*/ 952367 h 1478186"/>
                <a:gd name="connsiteX48" fmla="*/ 213924 w 1034979"/>
                <a:gd name="connsiteY48" fmla="*/ 954272 h 1478186"/>
                <a:gd name="connsiteX49" fmla="*/ 229164 w 1034979"/>
                <a:gd name="connsiteY49" fmla="*/ 958082 h 1478186"/>
                <a:gd name="connsiteX50" fmla="*/ 248214 w 1034979"/>
                <a:gd name="connsiteY50" fmla="*/ 963797 h 1478186"/>
                <a:gd name="connsiteX51" fmla="*/ 253929 w 1034979"/>
                <a:gd name="connsiteY51" fmla="*/ 967607 h 1478186"/>
                <a:gd name="connsiteX52" fmla="*/ 267264 w 1034979"/>
                <a:gd name="connsiteY52" fmla="*/ 982847 h 1478186"/>
                <a:gd name="connsiteX53" fmla="*/ 272979 w 1034979"/>
                <a:gd name="connsiteY53" fmla="*/ 1001897 h 1478186"/>
                <a:gd name="connsiteX54" fmla="*/ 274884 w 1034979"/>
                <a:gd name="connsiteY54" fmla="*/ 1007612 h 1478186"/>
                <a:gd name="connsiteX55" fmla="*/ 276789 w 1034979"/>
                <a:gd name="connsiteY55" fmla="*/ 1013327 h 1478186"/>
                <a:gd name="connsiteX56" fmla="*/ 278694 w 1034979"/>
                <a:gd name="connsiteY56" fmla="*/ 1038092 h 1478186"/>
                <a:gd name="connsiteX57" fmla="*/ 280599 w 1034979"/>
                <a:gd name="connsiteY57" fmla="*/ 1043807 h 1478186"/>
                <a:gd name="connsiteX58" fmla="*/ 278694 w 1034979"/>
                <a:gd name="connsiteY58" fmla="*/ 1062857 h 1478186"/>
                <a:gd name="connsiteX59" fmla="*/ 276789 w 1034979"/>
                <a:gd name="connsiteY59" fmla="*/ 1072382 h 1478186"/>
                <a:gd name="connsiteX60" fmla="*/ 263454 w 1034979"/>
                <a:gd name="connsiteY60" fmla="*/ 1085717 h 1478186"/>
                <a:gd name="connsiteX61" fmla="*/ 252024 w 1034979"/>
                <a:gd name="connsiteY61" fmla="*/ 1093337 h 1478186"/>
                <a:gd name="connsiteX62" fmla="*/ 240594 w 1034979"/>
                <a:gd name="connsiteY62" fmla="*/ 1097147 h 1478186"/>
                <a:gd name="connsiteX63" fmla="*/ 126294 w 1034979"/>
                <a:gd name="connsiteY63" fmla="*/ 1097147 h 1478186"/>
                <a:gd name="connsiteX64" fmla="*/ 120579 w 1034979"/>
                <a:gd name="connsiteY64" fmla="*/ 1099052 h 1478186"/>
                <a:gd name="connsiteX65" fmla="*/ 105339 w 1034979"/>
                <a:gd name="connsiteY65" fmla="*/ 1100957 h 1478186"/>
                <a:gd name="connsiteX66" fmla="*/ 88194 w 1034979"/>
                <a:gd name="connsiteY66" fmla="*/ 1106672 h 1478186"/>
                <a:gd name="connsiteX67" fmla="*/ 82479 w 1034979"/>
                <a:gd name="connsiteY67" fmla="*/ 1108577 h 1478186"/>
                <a:gd name="connsiteX68" fmla="*/ 76764 w 1034979"/>
                <a:gd name="connsiteY68" fmla="*/ 1112387 h 1478186"/>
                <a:gd name="connsiteX69" fmla="*/ 65334 w 1034979"/>
                <a:gd name="connsiteY69" fmla="*/ 1114292 h 1478186"/>
                <a:gd name="connsiteX70" fmla="*/ 27234 w 1034979"/>
                <a:gd name="connsiteY70" fmla="*/ 1116197 h 1478186"/>
                <a:gd name="connsiteX71" fmla="*/ 15804 w 1034979"/>
                <a:gd name="connsiteY71" fmla="*/ 1121912 h 1478186"/>
                <a:gd name="connsiteX72" fmla="*/ 6279 w 1034979"/>
                <a:gd name="connsiteY72" fmla="*/ 1131437 h 1478186"/>
                <a:gd name="connsiteX73" fmla="*/ 4374 w 1034979"/>
                <a:gd name="connsiteY73" fmla="*/ 1137152 h 1478186"/>
                <a:gd name="connsiteX74" fmla="*/ 564 w 1034979"/>
                <a:gd name="connsiteY74" fmla="*/ 1142867 h 1478186"/>
                <a:gd name="connsiteX75" fmla="*/ 6279 w 1034979"/>
                <a:gd name="connsiteY75" fmla="*/ 1175252 h 1478186"/>
                <a:gd name="connsiteX76" fmla="*/ 11994 w 1034979"/>
                <a:gd name="connsiteY76" fmla="*/ 1179062 h 1478186"/>
                <a:gd name="connsiteX77" fmla="*/ 17709 w 1034979"/>
                <a:gd name="connsiteY77" fmla="*/ 1180967 h 1478186"/>
                <a:gd name="connsiteX78" fmla="*/ 145344 w 1034979"/>
                <a:gd name="connsiteY78" fmla="*/ 1179062 h 1478186"/>
                <a:gd name="connsiteX79" fmla="*/ 152964 w 1034979"/>
                <a:gd name="connsiteY79" fmla="*/ 1177157 h 1478186"/>
                <a:gd name="connsiteX80" fmla="*/ 303459 w 1034979"/>
                <a:gd name="connsiteY80" fmla="*/ 1171442 h 1478186"/>
                <a:gd name="connsiteX81" fmla="*/ 318699 w 1034979"/>
                <a:gd name="connsiteY81" fmla="*/ 1179062 h 1478186"/>
                <a:gd name="connsiteX82" fmla="*/ 330129 w 1034979"/>
                <a:gd name="connsiteY82" fmla="*/ 1184777 h 1478186"/>
                <a:gd name="connsiteX83" fmla="*/ 333939 w 1034979"/>
                <a:gd name="connsiteY83" fmla="*/ 1190492 h 1478186"/>
                <a:gd name="connsiteX84" fmla="*/ 339654 w 1034979"/>
                <a:gd name="connsiteY84" fmla="*/ 1192397 h 1478186"/>
                <a:gd name="connsiteX85" fmla="*/ 351084 w 1034979"/>
                <a:gd name="connsiteY85" fmla="*/ 1200017 h 1478186"/>
                <a:gd name="connsiteX86" fmla="*/ 356799 w 1034979"/>
                <a:gd name="connsiteY86" fmla="*/ 1203827 h 1478186"/>
                <a:gd name="connsiteX87" fmla="*/ 360609 w 1034979"/>
                <a:gd name="connsiteY87" fmla="*/ 1209542 h 1478186"/>
                <a:gd name="connsiteX88" fmla="*/ 366324 w 1034979"/>
                <a:gd name="connsiteY88" fmla="*/ 1220972 h 1478186"/>
                <a:gd name="connsiteX89" fmla="*/ 362514 w 1034979"/>
                <a:gd name="connsiteY89" fmla="*/ 1247642 h 1478186"/>
                <a:gd name="connsiteX90" fmla="*/ 358704 w 1034979"/>
                <a:gd name="connsiteY90" fmla="*/ 1253357 h 1478186"/>
                <a:gd name="connsiteX91" fmla="*/ 356799 w 1034979"/>
                <a:gd name="connsiteY91" fmla="*/ 1259072 h 1478186"/>
                <a:gd name="connsiteX92" fmla="*/ 352989 w 1034979"/>
                <a:gd name="connsiteY92" fmla="*/ 1264787 h 1478186"/>
                <a:gd name="connsiteX93" fmla="*/ 351084 w 1034979"/>
                <a:gd name="connsiteY93" fmla="*/ 1270502 h 1478186"/>
                <a:gd name="connsiteX94" fmla="*/ 347274 w 1034979"/>
                <a:gd name="connsiteY94" fmla="*/ 1276217 h 1478186"/>
                <a:gd name="connsiteX95" fmla="*/ 330129 w 1034979"/>
                <a:gd name="connsiteY95" fmla="*/ 1342892 h 1478186"/>
                <a:gd name="connsiteX96" fmla="*/ 328224 w 1034979"/>
                <a:gd name="connsiteY96" fmla="*/ 1394327 h 1478186"/>
                <a:gd name="connsiteX97" fmla="*/ 330129 w 1034979"/>
                <a:gd name="connsiteY97" fmla="*/ 1419092 h 1478186"/>
                <a:gd name="connsiteX98" fmla="*/ 332034 w 1034979"/>
                <a:gd name="connsiteY98" fmla="*/ 1424807 h 1478186"/>
                <a:gd name="connsiteX99" fmla="*/ 335844 w 1034979"/>
                <a:gd name="connsiteY99" fmla="*/ 1428617 h 1478186"/>
                <a:gd name="connsiteX100" fmla="*/ 364419 w 1034979"/>
                <a:gd name="connsiteY100" fmla="*/ 1474337 h 1478186"/>
                <a:gd name="connsiteX101" fmla="*/ 387279 w 1034979"/>
                <a:gd name="connsiteY101" fmla="*/ 1476242 h 1478186"/>
                <a:gd name="connsiteX102" fmla="*/ 392994 w 1034979"/>
                <a:gd name="connsiteY102" fmla="*/ 1470527 h 1478186"/>
                <a:gd name="connsiteX103" fmla="*/ 394899 w 1034979"/>
                <a:gd name="connsiteY103" fmla="*/ 1459097 h 1478186"/>
                <a:gd name="connsiteX104" fmla="*/ 396804 w 1034979"/>
                <a:gd name="connsiteY104" fmla="*/ 1453382 h 1478186"/>
                <a:gd name="connsiteX105" fmla="*/ 398709 w 1034979"/>
                <a:gd name="connsiteY105" fmla="*/ 1436237 h 1478186"/>
                <a:gd name="connsiteX106" fmla="*/ 400614 w 1034979"/>
                <a:gd name="connsiteY106" fmla="*/ 1422902 h 1478186"/>
                <a:gd name="connsiteX107" fmla="*/ 404424 w 1034979"/>
                <a:gd name="connsiteY107" fmla="*/ 1365752 h 1478186"/>
                <a:gd name="connsiteX108" fmla="*/ 410139 w 1034979"/>
                <a:gd name="connsiteY108" fmla="*/ 1354322 h 1478186"/>
                <a:gd name="connsiteX109" fmla="*/ 413949 w 1034979"/>
                <a:gd name="connsiteY109" fmla="*/ 1340987 h 1478186"/>
                <a:gd name="connsiteX110" fmla="*/ 415854 w 1034979"/>
                <a:gd name="connsiteY110" fmla="*/ 1335272 h 1478186"/>
                <a:gd name="connsiteX111" fmla="*/ 417759 w 1034979"/>
                <a:gd name="connsiteY111" fmla="*/ 1321937 h 1478186"/>
                <a:gd name="connsiteX112" fmla="*/ 421569 w 1034979"/>
                <a:gd name="connsiteY112" fmla="*/ 1310507 h 1478186"/>
                <a:gd name="connsiteX113" fmla="*/ 427284 w 1034979"/>
                <a:gd name="connsiteY113" fmla="*/ 1297172 h 1478186"/>
                <a:gd name="connsiteX114" fmla="*/ 436809 w 1034979"/>
                <a:gd name="connsiteY114" fmla="*/ 1285742 h 1478186"/>
                <a:gd name="connsiteX115" fmla="*/ 450144 w 1034979"/>
                <a:gd name="connsiteY115" fmla="*/ 1270502 h 1478186"/>
                <a:gd name="connsiteX116" fmla="*/ 457764 w 1034979"/>
                <a:gd name="connsiteY116" fmla="*/ 1259072 h 1478186"/>
                <a:gd name="connsiteX117" fmla="*/ 461574 w 1034979"/>
                <a:gd name="connsiteY117" fmla="*/ 1247642 h 1478186"/>
                <a:gd name="connsiteX118" fmla="*/ 465384 w 1034979"/>
                <a:gd name="connsiteY118" fmla="*/ 1232402 h 1478186"/>
                <a:gd name="connsiteX119" fmla="*/ 467289 w 1034979"/>
                <a:gd name="connsiteY119" fmla="*/ 1226687 h 1478186"/>
                <a:gd name="connsiteX120" fmla="*/ 507294 w 1034979"/>
                <a:gd name="connsiteY120" fmla="*/ 1220972 h 1478186"/>
                <a:gd name="connsiteX121" fmla="*/ 535869 w 1034979"/>
                <a:gd name="connsiteY121" fmla="*/ 1211447 h 1478186"/>
                <a:gd name="connsiteX122" fmla="*/ 541584 w 1034979"/>
                <a:gd name="connsiteY122" fmla="*/ 1209542 h 1478186"/>
                <a:gd name="connsiteX123" fmla="*/ 547299 w 1034979"/>
                <a:gd name="connsiteY123" fmla="*/ 1207637 h 1478186"/>
                <a:gd name="connsiteX124" fmla="*/ 554919 w 1034979"/>
                <a:gd name="connsiteY124" fmla="*/ 1205732 h 1478186"/>
                <a:gd name="connsiteX125" fmla="*/ 573969 w 1034979"/>
                <a:gd name="connsiteY125" fmla="*/ 1198112 h 1478186"/>
                <a:gd name="connsiteX126" fmla="*/ 585399 w 1034979"/>
                <a:gd name="connsiteY126" fmla="*/ 1194302 h 1478186"/>
                <a:gd name="connsiteX127" fmla="*/ 720654 w 1034979"/>
                <a:gd name="connsiteY127" fmla="*/ 1278122 h 1478186"/>
                <a:gd name="connsiteX128" fmla="*/ 733989 w 1034979"/>
                <a:gd name="connsiteY128" fmla="*/ 1287647 h 1478186"/>
                <a:gd name="connsiteX129" fmla="*/ 743514 w 1034979"/>
                <a:gd name="connsiteY129" fmla="*/ 1289552 h 1478186"/>
                <a:gd name="connsiteX130" fmla="*/ 749229 w 1034979"/>
                <a:gd name="connsiteY130" fmla="*/ 1291457 h 1478186"/>
                <a:gd name="connsiteX131" fmla="*/ 762564 w 1034979"/>
                <a:gd name="connsiteY131" fmla="*/ 1297172 h 1478186"/>
                <a:gd name="connsiteX132" fmla="*/ 777804 w 1034979"/>
                <a:gd name="connsiteY132" fmla="*/ 1295267 h 1478186"/>
                <a:gd name="connsiteX133" fmla="*/ 789234 w 1034979"/>
                <a:gd name="connsiteY133" fmla="*/ 1289552 h 1478186"/>
                <a:gd name="connsiteX134" fmla="*/ 794949 w 1034979"/>
                <a:gd name="connsiteY134" fmla="*/ 1287647 h 1478186"/>
                <a:gd name="connsiteX135" fmla="*/ 802569 w 1034979"/>
                <a:gd name="connsiteY135" fmla="*/ 1270502 h 1478186"/>
                <a:gd name="connsiteX136" fmla="*/ 800664 w 1034979"/>
                <a:gd name="connsiteY136" fmla="*/ 1245737 h 1478186"/>
                <a:gd name="connsiteX137" fmla="*/ 798759 w 1034979"/>
                <a:gd name="connsiteY137" fmla="*/ 1240022 h 1478186"/>
                <a:gd name="connsiteX138" fmla="*/ 796854 w 1034979"/>
                <a:gd name="connsiteY138" fmla="*/ 1232402 h 1478186"/>
                <a:gd name="connsiteX139" fmla="*/ 783519 w 1034979"/>
                <a:gd name="connsiteY139" fmla="*/ 1215257 h 1478186"/>
                <a:gd name="connsiteX140" fmla="*/ 773994 w 1034979"/>
                <a:gd name="connsiteY140" fmla="*/ 1209542 h 1478186"/>
                <a:gd name="connsiteX141" fmla="*/ 648264 w 1034979"/>
                <a:gd name="connsiteY141" fmla="*/ 1118102 h 1478186"/>
                <a:gd name="connsiteX142" fmla="*/ 644454 w 1034979"/>
                <a:gd name="connsiteY142" fmla="*/ 1100957 h 1478186"/>
                <a:gd name="connsiteX143" fmla="*/ 646359 w 1034979"/>
                <a:gd name="connsiteY143" fmla="*/ 1093337 h 1478186"/>
                <a:gd name="connsiteX144" fmla="*/ 650169 w 1034979"/>
                <a:gd name="connsiteY144" fmla="*/ 1076192 h 1478186"/>
                <a:gd name="connsiteX145" fmla="*/ 653979 w 1034979"/>
                <a:gd name="connsiteY145" fmla="*/ 1070477 h 1478186"/>
                <a:gd name="connsiteX146" fmla="*/ 655884 w 1034979"/>
                <a:gd name="connsiteY146" fmla="*/ 1064762 h 1478186"/>
                <a:gd name="connsiteX147" fmla="*/ 661599 w 1034979"/>
                <a:gd name="connsiteY147" fmla="*/ 1062857 h 1478186"/>
                <a:gd name="connsiteX148" fmla="*/ 671124 w 1034979"/>
                <a:gd name="connsiteY148" fmla="*/ 1051427 h 1478186"/>
                <a:gd name="connsiteX149" fmla="*/ 724464 w 1034979"/>
                <a:gd name="connsiteY149" fmla="*/ 1043807 h 1478186"/>
                <a:gd name="connsiteX150" fmla="*/ 842574 w 1034979"/>
                <a:gd name="connsiteY150" fmla="*/ 1045712 h 1478186"/>
                <a:gd name="connsiteX151" fmla="*/ 871149 w 1034979"/>
                <a:gd name="connsiteY151" fmla="*/ 1047617 h 1478186"/>
                <a:gd name="connsiteX152" fmla="*/ 899724 w 1034979"/>
                <a:gd name="connsiteY152" fmla="*/ 1053332 h 1478186"/>
                <a:gd name="connsiteX153" fmla="*/ 922584 w 1034979"/>
                <a:gd name="connsiteY153" fmla="*/ 1057142 h 1478186"/>
                <a:gd name="connsiteX154" fmla="*/ 951159 w 1034979"/>
                <a:gd name="connsiteY154" fmla="*/ 1062857 h 1478186"/>
                <a:gd name="connsiteX155" fmla="*/ 956874 w 1034979"/>
                <a:gd name="connsiteY155" fmla="*/ 1062857 h 1478186"/>
                <a:gd name="connsiteX156" fmla="*/ 1002594 w 1034979"/>
                <a:gd name="connsiteY156" fmla="*/ 1060952 h 1478186"/>
                <a:gd name="connsiteX157" fmla="*/ 1031169 w 1034979"/>
                <a:gd name="connsiteY157" fmla="*/ 1053332 h 1478186"/>
                <a:gd name="connsiteX158" fmla="*/ 1034979 w 1034979"/>
                <a:gd name="connsiteY158" fmla="*/ 1047617 h 1478186"/>
                <a:gd name="connsiteX159" fmla="*/ 1033074 w 1034979"/>
                <a:gd name="connsiteY159" fmla="*/ 1028567 h 1478186"/>
                <a:gd name="connsiteX160" fmla="*/ 1027359 w 1034979"/>
                <a:gd name="connsiteY160" fmla="*/ 1024757 h 1478186"/>
                <a:gd name="connsiteX161" fmla="*/ 1012119 w 1034979"/>
                <a:gd name="connsiteY161" fmla="*/ 1022852 h 1478186"/>
                <a:gd name="connsiteX162" fmla="*/ 1006404 w 1034979"/>
                <a:gd name="connsiteY162" fmla="*/ 1020947 h 1478186"/>
                <a:gd name="connsiteX163" fmla="*/ 998784 w 1034979"/>
                <a:gd name="connsiteY163" fmla="*/ 1019042 h 1478186"/>
                <a:gd name="connsiteX164" fmla="*/ 987354 w 1034979"/>
                <a:gd name="connsiteY164" fmla="*/ 1011422 h 1478186"/>
                <a:gd name="connsiteX165" fmla="*/ 975924 w 1034979"/>
                <a:gd name="connsiteY165" fmla="*/ 1007612 h 1478186"/>
                <a:gd name="connsiteX166" fmla="*/ 970209 w 1034979"/>
                <a:gd name="connsiteY166" fmla="*/ 1005707 h 1478186"/>
                <a:gd name="connsiteX167" fmla="*/ 962589 w 1034979"/>
                <a:gd name="connsiteY167" fmla="*/ 1003802 h 1478186"/>
                <a:gd name="connsiteX168" fmla="*/ 956874 w 1034979"/>
                <a:gd name="connsiteY168" fmla="*/ 1001897 h 1478186"/>
                <a:gd name="connsiteX169" fmla="*/ 935919 w 1034979"/>
                <a:gd name="connsiteY169" fmla="*/ 996182 h 1478186"/>
                <a:gd name="connsiteX170" fmla="*/ 930204 w 1034979"/>
                <a:gd name="connsiteY170" fmla="*/ 994277 h 1478186"/>
                <a:gd name="connsiteX171" fmla="*/ 825429 w 1034979"/>
                <a:gd name="connsiteY171" fmla="*/ 996182 h 1478186"/>
                <a:gd name="connsiteX172" fmla="*/ 819714 w 1034979"/>
                <a:gd name="connsiteY172" fmla="*/ 998087 h 1478186"/>
                <a:gd name="connsiteX173" fmla="*/ 730179 w 1034979"/>
                <a:gd name="connsiteY173" fmla="*/ 999992 h 1478186"/>
                <a:gd name="connsiteX174" fmla="*/ 716844 w 1034979"/>
                <a:gd name="connsiteY174" fmla="*/ 1003802 h 1478186"/>
                <a:gd name="connsiteX175" fmla="*/ 695889 w 1034979"/>
                <a:gd name="connsiteY175" fmla="*/ 1005707 h 1478186"/>
                <a:gd name="connsiteX176" fmla="*/ 669219 w 1034979"/>
                <a:gd name="connsiteY176" fmla="*/ 1007612 h 1478186"/>
                <a:gd name="connsiteX177" fmla="*/ 669219 w 1034979"/>
                <a:gd name="connsiteY177" fmla="*/ 1007612 h 1478186"/>
                <a:gd name="connsiteX178" fmla="*/ 646359 w 1034979"/>
                <a:gd name="connsiteY178" fmla="*/ 1011422 h 1478186"/>
                <a:gd name="connsiteX179" fmla="*/ 642549 w 1034979"/>
                <a:gd name="connsiteY179" fmla="*/ 999992 h 1478186"/>
                <a:gd name="connsiteX180" fmla="*/ 640644 w 1034979"/>
                <a:gd name="connsiteY180" fmla="*/ 994277 h 1478186"/>
                <a:gd name="connsiteX181" fmla="*/ 642549 w 1034979"/>
                <a:gd name="connsiteY181" fmla="*/ 977132 h 1478186"/>
                <a:gd name="connsiteX182" fmla="*/ 644454 w 1034979"/>
                <a:gd name="connsiteY182" fmla="*/ 971417 h 1478186"/>
                <a:gd name="connsiteX183" fmla="*/ 661599 w 1034979"/>
                <a:gd name="connsiteY183" fmla="*/ 961892 h 1478186"/>
                <a:gd name="connsiteX184" fmla="*/ 673029 w 1034979"/>
                <a:gd name="connsiteY184" fmla="*/ 954272 h 1478186"/>
                <a:gd name="connsiteX185" fmla="*/ 674934 w 1034979"/>
                <a:gd name="connsiteY185" fmla="*/ 948557 h 1478186"/>
                <a:gd name="connsiteX186" fmla="*/ 680649 w 1034979"/>
                <a:gd name="connsiteY186" fmla="*/ 946652 h 1478186"/>
                <a:gd name="connsiteX187" fmla="*/ 686364 w 1034979"/>
                <a:gd name="connsiteY187" fmla="*/ 942842 h 1478186"/>
                <a:gd name="connsiteX188" fmla="*/ 695889 w 1034979"/>
                <a:gd name="connsiteY188" fmla="*/ 933317 h 1478186"/>
                <a:gd name="connsiteX189" fmla="*/ 705414 w 1034979"/>
                <a:gd name="connsiteY189" fmla="*/ 921887 h 1478186"/>
                <a:gd name="connsiteX190" fmla="*/ 716844 w 1034979"/>
                <a:gd name="connsiteY190" fmla="*/ 914267 h 1478186"/>
                <a:gd name="connsiteX191" fmla="*/ 732084 w 1034979"/>
                <a:gd name="connsiteY191" fmla="*/ 900932 h 1478186"/>
                <a:gd name="connsiteX192" fmla="*/ 741609 w 1034979"/>
                <a:gd name="connsiteY192" fmla="*/ 889502 h 1478186"/>
                <a:gd name="connsiteX193" fmla="*/ 753039 w 1034979"/>
                <a:gd name="connsiteY193" fmla="*/ 879977 h 1478186"/>
                <a:gd name="connsiteX194" fmla="*/ 758754 w 1034979"/>
                <a:gd name="connsiteY194" fmla="*/ 868547 h 1478186"/>
                <a:gd name="connsiteX195" fmla="*/ 760659 w 1034979"/>
                <a:gd name="connsiteY195" fmla="*/ 862832 h 1478186"/>
                <a:gd name="connsiteX196" fmla="*/ 766374 w 1034979"/>
                <a:gd name="connsiteY196" fmla="*/ 851402 h 1478186"/>
                <a:gd name="connsiteX197" fmla="*/ 764469 w 1034979"/>
                <a:gd name="connsiteY197" fmla="*/ 836162 h 1478186"/>
                <a:gd name="connsiteX198" fmla="*/ 758754 w 1034979"/>
                <a:gd name="connsiteY198" fmla="*/ 834257 h 1478186"/>
                <a:gd name="connsiteX199" fmla="*/ 737799 w 1034979"/>
                <a:gd name="connsiteY199" fmla="*/ 836162 h 1478186"/>
                <a:gd name="connsiteX200" fmla="*/ 732084 w 1034979"/>
                <a:gd name="connsiteY200" fmla="*/ 839972 h 1478186"/>
                <a:gd name="connsiteX201" fmla="*/ 720654 w 1034979"/>
                <a:gd name="connsiteY201" fmla="*/ 843782 h 1478186"/>
                <a:gd name="connsiteX202" fmla="*/ 716844 w 1034979"/>
                <a:gd name="connsiteY202" fmla="*/ 849497 h 1478186"/>
                <a:gd name="connsiteX203" fmla="*/ 711129 w 1034979"/>
                <a:gd name="connsiteY203" fmla="*/ 851402 h 1478186"/>
                <a:gd name="connsiteX204" fmla="*/ 705414 w 1034979"/>
                <a:gd name="connsiteY204" fmla="*/ 855212 h 1478186"/>
                <a:gd name="connsiteX205" fmla="*/ 699699 w 1034979"/>
                <a:gd name="connsiteY205" fmla="*/ 860927 h 1478186"/>
                <a:gd name="connsiteX206" fmla="*/ 692079 w 1034979"/>
                <a:gd name="connsiteY206" fmla="*/ 864737 h 1478186"/>
                <a:gd name="connsiteX207" fmla="*/ 650169 w 1034979"/>
                <a:gd name="connsiteY207" fmla="*/ 893312 h 1478186"/>
                <a:gd name="connsiteX208" fmla="*/ 636834 w 1034979"/>
                <a:gd name="connsiteY208" fmla="*/ 904742 h 1478186"/>
                <a:gd name="connsiteX209" fmla="*/ 627309 w 1034979"/>
                <a:gd name="connsiteY209" fmla="*/ 921887 h 1478186"/>
                <a:gd name="connsiteX210" fmla="*/ 602544 w 1034979"/>
                <a:gd name="connsiteY210" fmla="*/ 927602 h 1478186"/>
                <a:gd name="connsiteX211" fmla="*/ 589209 w 1034979"/>
                <a:gd name="connsiteY211" fmla="*/ 931412 h 1478186"/>
                <a:gd name="connsiteX212" fmla="*/ 573969 w 1034979"/>
                <a:gd name="connsiteY212" fmla="*/ 929507 h 1478186"/>
                <a:gd name="connsiteX213" fmla="*/ 562539 w 1034979"/>
                <a:gd name="connsiteY213" fmla="*/ 925697 h 1478186"/>
                <a:gd name="connsiteX214" fmla="*/ 551109 w 1034979"/>
                <a:gd name="connsiteY214" fmla="*/ 921887 h 1478186"/>
                <a:gd name="connsiteX215" fmla="*/ 539679 w 1034979"/>
                <a:gd name="connsiteY215" fmla="*/ 918077 h 1478186"/>
                <a:gd name="connsiteX216" fmla="*/ 533964 w 1034979"/>
                <a:gd name="connsiteY216" fmla="*/ 916172 h 1478186"/>
                <a:gd name="connsiteX217" fmla="*/ 528249 w 1034979"/>
                <a:gd name="connsiteY217" fmla="*/ 912362 h 1478186"/>
                <a:gd name="connsiteX218" fmla="*/ 516819 w 1034979"/>
                <a:gd name="connsiteY218" fmla="*/ 906647 h 1478186"/>
                <a:gd name="connsiteX219" fmla="*/ 509199 w 1034979"/>
                <a:gd name="connsiteY219" fmla="*/ 895217 h 1478186"/>
                <a:gd name="connsiteX220" fmla="*/ 505389 w 1034979"/>
                <a:gd name="connsiteY220" fmla="*/ 874262 h 1478186"/>
                <a:gd name="connsiteX221" fmla="*/ 507294 w 1034979"/>
                <a:gd name="connsiteY221" fmla="*/ 809492 h 1478186"/>
                <a:gd name="connsiteX222" fmla="*/ 513009 w 1034979"/>
                <a:gd name="connsiteY222" fmla="*/ 796157 h 1478186"/>
                <a:gd name="connsiteX223" fmla="*/ 503484 w 1034979"/>
                <a:gd name="connsiteY223" fmla="*/ 319907 h 1478186"/>
                <a:gd name="connsiteX224" fmla="*/ 490149 w 1034979"/>
                <a:gd name="connsiteY224" fmla="*/ 1772 h 1478186"/>
                <a:gd name="connsiteX225" fmla="*/ 429189 w 1034979"/>
                <a:gd name="connsiteY225" fmla="*/ 199892 h 1478186"/>
                <a:gd name="connsiteX226" fmla="*/ 440619 w 1034979"/>
                <a:gd name="connsiteY226" fmla="*/ 382772 h 1478186"/>
                <a:gd name="connsiteX227" fmla="*/ 425379 w 1034979"/>
                <a:gd name="connsiteY227" fmla="*/ 679952 h 1478186"/>
                <a:gd name="connsiteX228" fmla="*/ 417759 w 1034979"/>
                <a:gd name="connsiteY228" fmla="*/ 807587 h 1478186"/>
                <a:gd name="connsiteX229" fmla="*/ 413949 w 1034979"/>
                <a:gd name="connsiteY229" fmla="*/ 824732 h 1478186"/>
                <a:gd name="connsiteX230" fmla="*/ 417759 w 1034979"/>
                <a:gd name="connsiteY230" fmla="*/ 845687 h 1478186"/>
                <a:gd name="connsiteX231" fmla="*/ 421569 w 1034979"/>
                <a:gd name="connsiteY231" fmla="*/ 851402 h 1478186"/>
                <a:gd name="connsiteX232" fmla="*/ 425379 w 1034979"/>
                <a:gd name="connsiteY232" fmla="*/ 862832 h 1478186"/>
                <a:gd name="connsiteX233" fmla="*/ 423474 w 1034979"/>
                <a:gd name="connsiteY233" fmla="*/ 889502 h 1478186"/>
                <a:gd name="connsiteX234" fmla="*/ 417759 w 1034979"/>
                <a:gd name="connsiteY234" fmla="*/ 891407 h 1478186"/>
                <a:gd name="connsiteX235" fmla="*/ 412044 w 1034979"/>
                <a:gd name="connsiteY235" fmla="*/ 895217 h 1478186"/>
                <a:gd name="connsiteX236" fmla="*/ 421569 w 1034979"/>
                <a:gd name="connsiteY236" fmla="*/ 891407 h 1478186"/>
                <a:gd name="connsiteX0" fmla="*/ 421569 w 1034979"/>
                <a:gd name="connsiteY0" fmla="*/ 693445 h 1280224"/>
                <a:gd name="connsiteX1" fmla="*/ 421569 w 1034979"/>
                <a:gd name="connsiteY1" fmla="*/ 693445 h 1280224"/>
                <a:gd name="connsiteX2" fmla="*/ 394899 w 1034979"/>
                <a:gd name="connsiteY2" fmla="*/ 702970 h 1280224"/>
                <a:gd name="connsiteX3" fmla="*/ 387279 w 1034979"/>
                <a:gd name="connsiteY3" fmla="*/ 704875 h 1280224"/>
                <a:gd name="connsiteX4" fmla="*/ 356799 w 1034979"/>
                <a:gd name="connsiteY4" fmla="*/ 706780 h 1280224"/>
                <a:gd name="connsiteX5" fmla="*/ 351084 w 1034979"/>
                <a:gd name="connsiteY5" fmla="*/ 710590 h 1280224"/>
                <a:gd name="connsiteX6" fmla="*/ 339654 w 1034979"/>
                <a:gd name="connsiteY6" fmla="*/ 720115 h 1280224"/>
                <a:gd name="connsiteX7" fmla="*/ 328224 w 1034979"/>
                <a:gd name="connsiteY7" fmla="*/ 723925 h 1280224"/>
                <a:gd name="connsiteX8" fmla="*/ 312984 w 1034979"/>
                <a:gd name="connsiteY8" fmla="*/ 729640 h 1280224"/>
                <a:gd name="connsiteX9" fmla="*/ 265359 w 1034979"/>
                <a:gd name="connsiteY9" fmla="*/ 725830 h 1280224"/>
                <a:gd name="connsiteX10" fmla="*/ 253929 w 1034979"/>
                <a:gd name="connsiteY10" fmla="*/ 722020 h 1280224"/>
                <a:gd name="connsiteX11" fmla="*/ 242499 w 1034979"/>
                <a:gd name="connsiteY11" fmla="*/ 718210 h 1280224"/>
                <a:gd name="connsiteX12" fmla="*/ 236784 w 1034979"/>
                <a:gd name="connsiteY12" fmla="*/ 716305 h 1280224"/>
                <a:gd name="connsiteX13" fmla="*/ 231069 w 1034979"/>
                <a:gd name="connsiteY13" fmla="*/ 714400 h 1280224"/>
                <a:gd name="connsiteX14" fmla="*/ 219639 w 1034979"/>
                <a:gd name="connsiteY14" fmla="*/ 712495 h 1280224"/>
                <a:gd name="connsiteX15" fmla="*/ 213924 w 1034979"/>
                <a:gd name="connsiteY15" fmla="*/ 710590 h 1280224"/>
                <a:gd name="connsiteX16" fmla="*/ 206304 w 1034979"/>
                <a:gd name="connsiteY16" fmla="*/ 708685 h 1280224"/>
                <a:gd name="connsiteX17" fmla="*/ 194874 w 1034979"/>
                <a:gd name="connsiteY17" fmla="*/ 704875 h 1280224"/>
                <a:gd name="connsiteX18" fmla="*/ 189159 w 1034979"/>
                <a:gd name="connsiteY18" fmla="*/ 702970 h 1280224"/>
                <a:gd name="connsiteX19" fmla="*/ 181539 w 1034979"/>
                <a:gd name="connsiteY19" fmla="*/ 701065 h 1280224"/>
                <a:gd name="connsiteX20" fmla="*/ 170109 w 1034979"/>
                <a:gd name="connsiteY20" fmla="*/ 695350 h 1280224"/>
                <a:gd name="connsiteX21" fmla="*/ 164394 w 1034979"/>
                <a:gd name="connsiteY21" fmla="*/ 691540 h 1280224"/>
                <a:gd name="connsiteX22" fmla="*/ 156774 w 1034979"/>
                <a:gd name="connsiteY22" fmla="*/ 680110 h 1280224"/>
                <a:gd name="connsiteX23" fmla="*/ 145344 w 1034979"/>
                <a:gd name="connsiteY23" fmla="*/ 676300 h 1280224"/>
                <a:gd name="connsiteX24" fmla="*/ 139629 w 1034979"/>
                <a:gd name="connsiteY24" fmla="*/ 672490 h 1280224"/>
                <a:gd name="connsiteX25" fmla="*/ 133914 w 1034979"/>
                <a:gd name="connsiteY25" fmla="*/ 670585 h 1280224"/>
                <a:gd name="connsiteX26" fmla="*/ 116769 w 1034979"/>
                <a:gd name="connsiteY26" fmla="*/ 666775 h 1280224"/>
                <a:gd name="connsiteX27" fmla="*/ 111054 w 1034979"/>
                <a:gd name="connsiteY27" fmla="*/ 661060 h 1280224"/>
                <a:gd name="connsiteX28" fmla="*/ 101529 w 1034979"/>
                <a:gd name="connsiteY28" fmla="*/ 643915 h 1280224"/>
                <a:gd name="connsiteX29" fmla="*/ 84384 w 1034979"/>
                <a:gd name="connsiteY29" fmla="*/ 636295 h 1280224"/>
                <a:gd name="connsiteX30" fmla="*/ 78669 w 1034979"/>
                <a:gd name="connsiteY30" fmla="*/ 634390 h 1280224"/>
                <a:gd name="connsiteX31" fmla="*/ 59619 w 1034979"/>
                <a:gd name="connsiteY31" fmla="*/ 638200 h 1280224"/>
                <a:gd name="connsiteX32" fmla="*/ 53904 w 1034979"/>
                <a:gd name="connsiteY32" fmla="*/ 642010 h 1280224"/>
                <a:gd name="connsiteX33" fmla="*/ 50094 w 1034979"/>
                <a:gd name="connsiteY33" fmla="*/ 647725 h 1280224"/>
                <a:gd name="connsiteX34" fmla="*/ 46284 w 1034979"/>
                <a:gd name="connsiteY34" fmla="*/ 659155 h 1280224"/>
                <a:gd name="connsiteX35" fmla="*/ 50094 w 1034979"/>
                <a:gd name="connsiteY35" fmla="*/ 697255 h 1280224"/>
                <a:gd name="connsiteX36" fmla="*/ 53904 w 1034979"/>
                <a:gd name="connsiteY36" fmla="*/ 702970 h 1280224"/>
                <a:gd name="connsiteX37" fmla="*/ 59619 w 1034979"/>
                <a:gd name="connsiteY37" fmla="*/ 706780 h 1280224"/>
                <a:gd name="connsiteX38" fmla="*/ 63429 w 1034979"/>
                <a:gd name="connsiteY38" fmla="*/ 712495 h 1280224"/>
                <a:gd name="connsiteX39" fmla="*/ 80574 w 1034979"/>
                <a:gd name="connsiteY39" fmla="*/ 722020 h 1280224"/>
                <a:gd name="connsiteX40" fmla="*/ 103434 w 1034979"/>
                <a:gd name="connsiteY40" fmla="*/ 723925 h 1280224"/>
                <a:gd name="connsiteX41" fmla="*/ 124389 w 1034979"/>
                <a:gd name="connsiteY41" fmla="*/ 729640 h 1280224"/>
                <a:gd name="connsiteX42" fmla="*/ 130104 w 1034979"/>
                <a:gd name="connsiteY42" fmla="*/ 731545 h 1280224"/>
                <a:gd name="connsiteX43" fmla="*/ 135819 w 1034979"/>
                <a:gd name="connsiteY43" fmla="*/ 737260 h 1280224"/>
                <a:gd name="connsiteX44" fmla="*/ 143439 w 1034979"/>
                <a:gd name="connsiteY44" fmla="*/ 739165 h 1280224"/>
                <a:gd name="connsiteX45" fmla="*/ 166299 w 1034979"/>
                <a:gd name="connsiteY45" fmla="*/ 742975 h 1280224"/>
                <a:gd name="connsiteX46" fmla="*/ 191064 w 1034979"/>
                <a:gd name="connsiteY46" fmla="*/ 748690 h 1280224"/>
                <a:gd name="connsiteX47" fmla="*/ 208209 w 1034979"/>
                <a:gd name="connsiteY47" fmla="*/ 754405 h 1280224"/>
                <a:gd name="connsiteX48" fmla="*/ 213924 w 1034979"/>
                <a:gd name="connsiteY48" fmla="*/ 756310 h 1280224"/>
                <a:gd name="connsiteX49" fmla="*/ 229164 w 1034979"/>
                <a:gd name="connsiteY49" fmla="*/ 760120 h 1280224"/>
                <a:gd name="connsiteX50" fmla="*/ 248214 w 1034979"/>
                <a:gd name="connsiteY50" fmla="*/ 765835 h 1280224"/>
                <a:gd name="connsiteX51" fmla="*/ 253929 w 1034979"/>
                <a:gd name="connsiteY51" fmla="*/ 769645 h 1280224"/>
                <a:gd name="connsiteX52" fmla="*/ 267264 w 1034979"/>
                <a:gd name="connsiteY52" fmla="*/ 784885 h 1280224"/>
                <a:gd name="connsiteX53" fmla="*/ 272979 w 1034979"/>
                <a:gd name="connsiteY53" fmla="*/ 803935 h 1280224"/>
                <a:gd name="connsiteX54" fmla="*/ 274884 w 1034979"/>
                <a:gd name="connsiteY54" fmla="*/ 809650 h 1280224"/>
                <a:gd name="connsiteX55" fmla="*/ 276789 w 1034979"/>
                <a:gd name="connsiteY55" fmla="*/ 815365 h 1280224"/>
                <a:gd name="connsiteX56" fmla="*/ 278694 w 1034979"/>
                <a:gd name="connsiteY56" fmla="*/ 840130 h 1280224"/>
                <a:gd name="connsiteX57" fmla="*/ 280599 w 1034979"/>
                <a:gd name="connsiteY57" fmla="*/ 845845 h 1280224"/>
                <a:gd name="connsiteX58" fmla="*/ 278694 w 1034979"/>
                <a:gd name="connsiteY58" fmla="*/ 864895 h 1280224"/>
                <a:gd name="connsiteX59" fmla="*/ 276789 w 1034979"/>
                <a:gd name="connsiteY59" fmla="*/ 874420 h 1280224"/>
                <a:gd name="connsiteX60" fmla="*/ 263454 w 1034979"/>
                <a:gd name="connsiteY60" fmla="*/ 887755 h 1280224"/>
                <a:gd name="connsiteX61" fmla="*/ 252024 w 1034979"/>
                <a:gd name="connsiteY61" fmla="*/ 895375 h 1280224"/>
                <a:gd name="connsiteX62" fmla="*/ 240594 w 1034979"/>
                <a:gd name="connsiteY62" fmla="*/ 899185 h 1280224"/>
                <a:gd name="connsiteX63" fmla="*/ 126294 w 1034979"/>
                <a:gd name="connsiteY63" fmla="*/ 899185 h 1280224"/>
                <a:gd name="connsiteX64" fmla="*/ 120579 w 1034979"/>
                <a:gd name="connsiteY64" fmla="*/ 901090 h 1280224"/>
                <a:gd name="connsiteX65" fmla="*/ 105339 w 1034979"/>
                <a:gd name="connsiteY65" fmla="*/ 902995 h 1280224"/>
                <a:gd name="connsiteX66" fmla="*/ 88194 w 1034979"/>
                <a:gd name="connsiteY66" fmla="*/ 908710 h 1280224"/>
                <a:gd name="connsiteX67" fmla="*/ 82479 w 1034979"/>
                <a:gd name="connsiteY67" fmla="*/ 910615 h 1280224"/>
                <a:gd name="connsiteX68" fmla="*/ 76764 w 1034979"/>
                <a:gd name="connsiteY68" fmla="*/ 914425 h 1280224"/>
                <a:gd name="connsiteX69" fmla="*/ 65334 w 1034979"/>
                <a:gd name="connsiteY69" fmla="*/ 916330 h 1280224"/>
                <a:gd name="connsiteX70" fmla="*/ 27234 w 1034979"/>
                <a:gd name="connsiteY70" fmla="*/ 918235 h 1280224"/>
                <a:gd name="connsiteX71" fmla="*/ 15804 w 1034979"/>
                <a:gd name="connsiteY71" fmla="*/ 923950 h 1280224"/>
                <a:gd name="connsiteX72" fmla="*/ 6279 w 1034979"/>
                <a:gd name="connsiteY72" fmla="*/ 933475 h 1280224"/>
                <a:gd name="connsiteX73" fmla="*/ 4374 w 1034979"/>
                <a:gd name="connsiteY73" fmla="*/ 939190 h 1280224"/>
                <a:gd name="connsiteX74" fmla="*/ 564 w 1034979"/>
                <a:gd name="connsiteY74" fmla="*/ 944905 h 1280224"/>
                <a:gd name="connsiteX75" fmla="*/ 6279 w 1034979"/>
                <a:gd name="connsiteY75" fmla="*/ 977290 h 1280224"/>
                <a:gd name="connsiteX76" fmla="*/ 11994 w 1034979"/>
                <a:gd name="connsiteY76" fmla="*/ 981100 h 1280224"/>
                <a:gd name="connsiteX77" fmla="*/ 17709 w 1034979"/>
                <a:gd name="connsiteY77" fmla="*/ 983005 h 1280224"/>
                <a:gd name="connsiteX78" fmla="*/ 145344 w 1034979"/>
                <a:gd name="connsiteY78" fmla="*/ 981100 h 1280224"/>
                <a:gd name="connsiteX79" fmla="*/ 152964 w 1034979"/>
                <a:gd name="connsiteY79" fmla="*/ 979195 h 1280224"/>
                <a:gd name="connsiteX80" fmla="*/ 303459 w 1034979"/>
                <a:gd name="connsiteY80" fmla="*/ 973480 h 1280224"/>
                <a:gd name="connsiteX81" fmla="*/ 318699 w 1034979"/>
                <a:gd name="connsiteY81" fmla="*/ 981100 h 1280224"/>
                <a:gd name="connsiteX82" fmla="*/ 330129 w 1034979"/>
                <a:gd name="connsiteY82" fmla="*/ 986815 h 1280224"/>
                <a:gd name="connsiteX83" fmla="*/ 333939 w 1034979"/>
                <a:gd name="connsiteY83" fmla="*/ 992530 h 1280224"/>
                <a:gd name="connsiteX84" fmla="*/ 339654 w 1034979"/>
                <a:gd name="connsiteY84" fmla="*/ 994435 h 1280224"/>
                <a:gd name="connsiteX85" fmla="*/ 351084 w 1034979"/>
                <a:gd name="connsiteY85" fmla="*/ 1002055 h 1280224"/>
                <a:gd name="connsiteX86" fmla="*/ 356799 w 1034979"/>
                <a:gd name="connsiteY86" fmla="*/ 1005865 h 1280224"/>
                <a:gd name="connsiteX87" fmla="*/ 360609 w 1034979"/>
                <a:gd name="connsiteY87" fmla="*/ 1011580 h 1280224"/>
                <a:gd name="connsiteX88" fmla="*/ 366324 w 1034979"/>
                <a:gd name="connsiteY88" fmla="*/ 1023010 h 1280224"/>
                <a:gd name="connsiteX89" fmla="*/ 362514 w 1034979"/>
                <a:gd name="connsiteY89" fmla="*/ 1049680 h 1280224"/>
                <a:gd name="connsiteX90" fmla="*/ 358704 w 1034979"/>
                <a:gd name="connsiteY90" fmla="*/ 1055395 h 1280224"/>
                <a:gd name="connsiteX91" fmla="*/ 356799 w 1034979"/>
                <a:gd name="connsiteY91" fmla="*/ 1061110 h 1280224"/>
                <a:gd name="connsiteX92" fmla="*/ 352989 w 1034979"/>
                <a:gd name="connsiteY92" fmla="*/ 1066825 h 1280224"/>
                <a:gd name="connsiteX93" fmla="*/ 351084 w 1034979"/>
                <a:gd name="connsiteY93" fmla="*/ 1072540 h 1280224"/>
                <a:gd name="connsiteX94" fmla="*/ 347274 w 1034979"/>
                <a:gd name="connsiteY94" fmla="*/ 1078255 h 1280224"/>
                <a:gd name="connsiteX95" fmla="*/ 330129 w 1034979"/>
                <a:gd name="connsiteY95" fmla="*/ 1144930 h 1280224"/>
                <a:gd name="connsiteX96" fmla="*/ 328224 w 1034979"/>
                <a:gd name="connsiteY96" fmla="*/ 1196365 h 1280224"/>
                <a:gd name="connsiteX97" fmla="*/ 330129 w 1034979"/>
                <a:gd name="connsiteY97" fmla="*/ 1221130 h 1280224"/>
                <a:gd name="connsiteX98" fmla="*/ 332034 w 1034979"/>
                <a:gd name="connsiteY98" fmla="*/ 1226845 h 1280224"/>
                <a:gd name="connsiteX99" fmla="*/ 335844 w 1034979"/>
                <a:gd name="connsiteY99" fmla="*/ 1230655 h 1280224"/>
                <a:gd name="connsiteX100" fmla="*/ 364419 w 1034979"/>
                <a:gd name="connsiteY100" fmla="*/ 1276375 h 1280224"/>
                <a:gd name="connsiteX101" fmla="*/ 387279 w 1034979"/>
                <a:gd name="connsiteY101" fmla="*/ 1278280 h 1280224"/>
                <a:gd name="connsiteX102" fmla="*/ 392994 w 1034979"/>
                <a:gd name="connsiteY102" fmla="*/ 1272565 h 1280224"/>
                <a:gd name="connsiteX103" fmla="*/ 394899 w 1034979"/>
                <a:gd name="connsiteY103" fmla="*/ 1261135 h 1280224"/>
                <a:gd name="connsiteX104" fmla="*/ 396804 w 1034979"/>
                <a:gd name="connsiteY104" fmla="*/ 1255420 h 1280224"/>
                <a:gd name="connsiteX105" fmla="*/ 398709 w 1034979"/>
                <a:gd name="connsiteY105" fmla="*/ 1238275 h 1280224"/>
                <a:gd name="connsiteX106" fmla="*/ 400614 w 1034979"/>
                <a:gd name="connsiteY106" fmla="*/ 1224940 h 1280224"/>
                <a:gd name="connsiteX107" fmla="*/ 404424 w 1034979"/>
                <a:gd name="connsiteY107" fmla="*/ 1167790 h 1280224"/>
                <a:gd name="connsiteX108" fmla="*/ 410139 w 1034979"/>
                <a:gd name="connsiteY108" fmla="*/ 1156360 h 1280224"/>
                <a:gd name="connsiteX109" fmla="*/ 413949 w 1034979"/>
                <a:gd name="connsiteY109" fmla="*/ 1143025 h 1280224"/>
                <a:gd name="connsiteX110" fmla="*/ 415854 w 1034979"/>
                <a:gd name="connsiteY110" fmla="*/ 1137310 h 1280224"/>
                <a:gd name="connsiteX111" fmla="*/ 417759 w 1034979"/>
                <a:gd name="connsiteY111" fmla="*/ 1123975 h 1280224"/>
                <a:gd name="connsiteX112" fmla="*/ 421569 w 1034979"/>
                <a:gd name="connsiteY112" fmla="*/ 1112545 h 1280224"/>
                <a:gd name="connsiteX113" fmla="*/ 427284 w 1034979"/>
                <a:gd name="connsiteY113" fmla="*/ 1099210 h 1280224"/>
                <a:gd name="connsiteX114" fmla="*/ 436809 w 1034979"/>
                <a:gd name="connsiteY114" fmla="*/ 1087780 h 1280224"/>
                <a:gd name="connsiteX115" fmla="*/ 450144 w 1034979"/>
                <a:gd name="connsiteY115" fmla="*/ 1072540 h 1280224"/>
                <a:gd name="connsiteX116" fmla="*/ 457764 w 1034979"/>
                <a:gd name="connsiteY116" fmla="*/ 1061110 h 1280224"/>
                <a:gd name="connsiteX117" fmla="*/ 461574 w 1034979"/>
                <a:gd name="connsiteY117" fmla="*/ 1049680 h 1280224"/>
                <a:gd name="connsiteX118" fmla="*/ 465384 w 1034979"/>
                <a:gd name="connsiteY118" fmla="*/ 1034440 h 1280224"/>
                <a:gd name="connsiteX119" fmla="*/ 467289 w 1034979"/>
                <a:gd name="connsiteY119" fmla="*/ 1028725 h 1280224"/>
                <a:gd name="connsiteX120" fmla="*/ 507294 w 1034979"/>
                <a:gd name="connsiteY120" fmla="*/ 1023010 h 1280224"/>
                <a:gd name="connsiteX121" fmla="*/ 535869 w 1034979"/>
                <a:gd name="connsiteY121" fmla="*/ 1013485 h 1280224"/>
                <a:gd name="connsiteX122" fmla="*/ 541584 w 1034979"/>
                <a:gd name="connsiteY122" fmla="*/ 1011580 h 1280224"/>
                <a:gd name="connsiteX123" fmla="*/ 547299 w 1034979"/>
                <a:gd name="connsiteY123" fmla="*/ 1009675 h 1280224"/>
                <a:gd name="connsiteX124" fmla="*/ 554919 w 1034979"/>
                <a:gd name="connsiteY124" fmla="*/ 1007770 h 1280224"/>
                <a:gd name="connsiteX125" fmla="*/ 573969 w 1034979"/>
                <a:gd name="connsiteY125" fmla="*/ 1000150 h 1280224"/>
                <a:gd name="connsiteX126" fmla="*/ 585399 w 1034979"/>
                <a:gd name="connsiteY126" fmla="*/ 996340 h 1280224"/>
                <a:gd name="connsiteX127" fmla="*/ 720654 w 1034979"/>
                <a:gd name="connsiteY127" fmla="*/ 1080160 h 1280224"/>
                <a:gd name="connsiteX128" fmla="*/ 733989 w 1034979"/>
                <a:gd name="connsiteY128" fmla="*/ 1089685 h 1280224"/>
                <a:gd name="connsiteX129" fmla="*/ 743514 w 1034979"/>
                <a:gd name="connsiteY129" fmla="*/ 1091590 h 1280224"/>
                <a:gd name="connsiteX130" fmla="*/ 749229 w 1034979"/>
                <a:gd name="connsiteY130" fmla="*/ 1093495 h 1280224"/>
                <a:gd name="connsiteX131" fmla="*/ 762564 w 1034979"/>
                <a:gd name="connsiteY131" fmla="*/ 1099210 h 1280224"/>
                <a:gd name="connsiteX132" fmla="*/ 777804 w 1034979"/>
                <a:gd name="connsiteY132" fmla="*/ 1097305 h 1280224"/>
                <a:gd name="connsiteX133" fmla="*/ 789234 w 1034979"/>
                <a:gd name="connsiteY133" fmla="*/ 1091590 h 1280224"/>
                <a:gd name="connsiteX134" fmla="*/ 794949 w 1034979"/>
                <a:gd name="connsiteY134" fmla="*/ 1089685 h 1280224"/>
                <a:gd name="connsiteX135" fmla="*/ 802569 w 1034979"/>
                <a:gd name="connsiteY135" fmla="*/ 1072540 h 1280224"/>
                <a:gd name="connsiteX136" fmla="*/ 800664 w 1034979"/>
                <a:gd name="connsiteY136" fmla="*/ 1047775 h 1280224"/>
                <a:gd name="connsiteX137" fmla="*/ 798759 w 1034979"/>
                <a:gd name="connsiteY137" fmla="*/ 1042060 h 1280224"/>
                <a:gd name="connsiteX138" fmla="*/ 796854 w 1034979"/>
                <a:gd name="connsiteY138" fmla="*/ 1034440 h 1280224"/>
                <a:gd name="connsiteX139" fmla="*/ 783519 w 1034979"/>
                <a:gd name="connsiteY139" fmla="*/ 1017295 h 1280224"/>
                <a:gd name="connsiteX140" fmla="*/ 773994 w 1034979"/>
                <a:gd name="connsiteY140" fmla="*/ 1011580 h 1280224"/>
                <a:gd name="connsiteX141" fmla="*/ 648264 w 1034979"/>
                <a:gd name="connsiteY141" fmla="*/ 920140 h 1280224"/>
                <a:gd name="connsiteX142" fmla="*/ 644454 w 1034979"/>
                <a:gd name="connsiteY142" fmla="*/ 902995 h 1280224"/>
                <a:gd name="connsiteX143" fmla="*/ 646359 w 1034979"/>
                <a:gd name="connsiteY143" fmla="*/ 895375 h 1280224"/>
                <a:gd name="connsiteX144" fmla="*/ 650169 w 1034979"/>
                <a:gd name="connsiteY144" fmla="*/ 878230 h 1280224"/>
                <a:gd name="connsiteX145" fmla="*/ 653979 w 1034979"/>
                <a:gd name="connsiteY145" fmla="*/ 872515 h 1280224"/>
                <a:gd name="connsiteX146" fmla="*/ 655884 w 1034979"/>
                <a:gd name="connsiteY146" fmla="*/ 866800 h 1280224"/>
                <a:gd name="connsiteX147" fmla="*/ 661599 w 1034979"/>
                <a:gd name="connsiteY147" fmla="*/ 864895 h 1280224"/>
                <a:gd name="connsiteX148" fmla="*/ 671124 w 1034979"/>
                <a:gd name="connsiteY148" fmla="*/ 853465 h 1280224"/>
                <a:gd name="connsiteX149" fmla="*/ 724464 w 1034979"/>
                <a:gd name="connsiteY149" fmla="*/ 845845 h 1280224"/>
                <a:gd name="connsiteX150" fmla="*/ 842574 w 1034979"/>
                <a:gd name="connsiteY150" fmla="*/ 847750 h 1280224"/>
                <a:gd name="connsiteX151" fmla="*/ 871149 w 1034979"/>
                <a:gd name="connsiteY151" fmla="*/ 849655 h 1280224"/>
                <a:gd name="connsiteX152" fmla="*/ 899724 w 1034979"/>
                <a:gd name="connsiteY152" fmla="*/ 855370 h 1280224"/>
                <a:gd name="connsiteX153" fmla="*/ 922584 w 1034979"/>
                <a:gd name="connsiteY153" fmla="*/ 859180 h 1280224"/>
                <a:gd name="connsiteX154" fmla="*/ 951159 w 1034979"/>
                <a:gd name="connsiteY154" fmla="*/ 864895 h 1280224"/>
                <a:gd name="connsiteX155" fmla="*/ 956874 w 1034979"/>
                <a:gd name="connsiteY155" fmla="*/ 864895 h 1280224"/>
                <a:gd name="connsiteX156" fmla="*/ 1002594 w 1034979"/>
                <a:gd name="connsiteY156" fmla="*/ 862990 h 1280224"/>
                <a:gd name="connsiteX157" fmla="*/ 1031169 w 1034979"/>
                <a:gd name="connsiteY157" fmla="*/ 855370 h 1280224"/>
                <a:gd name="connsiteX158" fmla="*/ 1034979 w 1034979"/>
                <a:gd name="connsiteY158" fmla="*/ 849655 h 1280224"/>
                <a:gd name="connsiteX159" fmla="*/ 1033074 w 1034979"/>
                <a:gd name="connsiteY159" fmla="*/ 830605 h 1280224"/>
                <a:gd name="connsiteX160" fmla="*/ 1027359 w 1034979"/>
                <a:gd name="connsiteY160" fmla="*/ 826795 h 1280224"/>
                <a:gd name="connsiteX161" fmla="*/ 1012119 w 1034979"/>
                <a:gd name="connsiteY161" fmla="*/ 824890 h 1280224"/>
                <a:gd name="connsiteX162" fmla="*/ 1006404 w 1034979"/>
                <a:gd name="connsiteY162" fmla="*/ 822985 h 1280224"/>
                <a:gd name="connsiteX163" fmla="*/ 998784 w 1034979"/>
                <a:gd name="connsiteY163" fmla="*/ 821080 h 1280224"/>
                <a:gd name="connsiteX164" fmla="*/ 987354 w 1034979"/>
                <a:gd name="connsiteY164" fmla="*/ 813460 h 1280224"/>
                <a:gd name="connsiteX165" fmla="*/ 975924 w 1034979"/>
                <a:gd name="connsiteY165" fmla="*/ 809650 h 1280224"/>
                <a:gd name="connsiteX166" fmla="*/ 970209 w 1034979"/>
                <a:gd name="connsiteY166" fmla="*/ 807745 h 1280224"/>
                <a:gd name="connsiteX167" fmla="*/ 962589 w 1034979"/>
                <a:gd name="connsiteY167" fmla="*/ 805840 h 1280224"/>
                <a:gd name="connsiteX168" fmla="*/ 956874 w 1034979"/>
                <a:gd name="connsiteY168" fmla="*/ 803935 h 1280224"/>
                <a:gd name="connsiteX169" fmla="*/ 935919 w 1034979"/>
                <a:gd name="connsiteY169" fmla="*/ 798220 h 1280224"/>
                <a:gd name="connsiteX170" fmla="*/ 930204 w 1034979"/>
                <a:gd name="connsiteY170" fmla="*/ 796315 h 1280224"/>
                <a:gd name="connsiteX171" fmla="*/ 825429 w 1034979"/>
                <a:gd name="connsiteY171" fmla="*/ 798220 h 1280224"/>
                <a:gd name="connsiteX172" fmla="*/ 819714 w 1034979"/>
                <a:gd name="connsiteY172" fmla="*/ 800125 h 1280224"/>
                <a:gd name="connsiteX173" fmla="*/ 730179 w 1034979"/>
                <a:gd name="connsiteY173" fmla="*/ 802030 h 1280224"/>
                <a:gd name="connsiteX174" fmla="*/ 716844 w 1034979"/>
                <a:gd name="connsiteY174" fmla="*/ 805840 h 1280224"/>
                <a:gd name="connsiteX175" fmla="*/ 695889 w 1034979"/>
                <a:gd name="connsiteY175" fmla="*/ 807745 h 1280224"/>
                <a:gd name="connsiteX176" fmla="*/ 669219 w 1034979"/>
                <a:gd name="connsiteY176" fmla="*/ 809650 h 1280224"/>
                <a:gd name="connsiteX177" fmla="*/ 669219 w 1034979"/>
                <a:gd name="connsiteY177" fmla="*/ 809650 h 1280224"/>
                <a:gd name="connsiteX178" fmla="*/ 646359 w 1034979"/>
                <a:gd name="connsiteY178" fmla="*/ 813460 h 1280224"/>
                <a:gd name="connsiteX179" fmla="*/ 642549 w 1034979"/>
                <a:gd name="connsiteY179" fmla="*/ 802030 h 1280224"/>
                <a:gd name="connsiteX180" fmla="*/ 640644 w 1034979"/>
                <a:gd name="connsiteY180" fmla="*/ 796315 h 1280224"/>
                <a:gd name="connsiteX181" fmla="*/ 642549 w 1034979"/>
                <a:gd name="connsiteY181" fmla="*/ 779170 h 1280224"/>
                <a:gd name="connsiteX182" fmla="*/ 644454 w 1034979"/>
                <a:gd name="connsiteY182" fmla="*/ 773455 h 1280224"/>
                <a:gd name="connsiteX183" fmla="*/ 661599 w 1034979"/>
                <a:gd name="connsiteY183" fmla="*/ 763930 h 1280224"/>
                <a:gd name="connsiteX184" fmla="*/ 673029 w 1034979"/>
                <a:gd name="connsiteY184" fmla="*/ 756310 h 1280224"/>
                <a:gd name="connsiteX185" fmla="*/ 674934 w 1034979"/>
                <a:gd name="connsiteY185" fmla="*/ 750595 h 1280224"/>
                <a:gd name="connsiteX186" fmla="*/ 680649 w 1034979"/>
                <a:gd name="connsiteY186" fmla="*/ 748690 h 1280224"/>
                <a:gd name="connsiteX187" fmla="*/ 686364 w 1034979"/>
                <a:gd name="connsiteY187" fmla="*/ 744880 h 1280224"/>
                <a:gd name="connsiteX188" fmla="*/ 695889 w 1034979"/>
                <a:gd name="connsiteY188" fmla="*/ 735355 h 1280224"/>
                <a:gd name="connsiteX189" fmla="*/ 705414 w 1034979"/>
                <a:gd name="connsiteY189" fmla="*/ 723925 h 1280224"/>
                <a:gd name="connsiteX190" fmla="*/ 716844 w 1034979"/>
                <a:gd name="connsiteY190" fmla="*/ 716305 h 1280224"/>
                <a:gd name="connsiteX191" fmla="*/ 732084 w 1034979"/>
                <a:gd name="connsiteY191" fmla="*/ 702970 h 1280224"/>
                <a:gd name="connsiteX192" fmla="*/ 741609 w 1034979"/>
                <a:gd name="connsiteY192" fmla="*/ 691540 h 1280224"/>
                <a:gd name="connsiteX193" fmla="*/ 753039 w 1034979"/>
                <a:gd name="connsiteY193" fmla="*/ 682015 h 1280224"/>
                <a:gd name="connsiteX194" fmla="*/ 758754 w 1034979"/>
                <a:gd name="connsiteY194" fmla="*/ 670585 h 1280224"/>
                <a:gd name="connsiteX195" fmla="*/ 760659 w 1034979"/>
                <a:gd name="connsiteY195" fmla="*/ 664870 h 1280224"/>
                <a:gd name="connsiteX196" fmla="*/ 766374 w 1034979"/>
                <a:gd name="connsiteY196" fmla="*/ 653440 h 1280224"/>
                <a:gd name="connsiteX197" fmla="*/ 764469 w 1034979"/>
                <a:gd name="connsiteY197" fmla="*/ 638200 h 1280224"/>
                <a:gd name="connsiteX198" fmla="*/ 758754 w 1034979"/>
                <a:gd name="connsiteY198" fmla="*/ 636295 h 1280224"/>
                <a:gd name="connsiteX199" fmla="*/ 737799 w 1034979"/>
                <a:gd name="connsiteY199" fmla="*/ 638200 h 1280224"/>
                <a:gd name="connsiteX200" fmla="*/ 732084 w 1034979"/>
                <a:gd name="connsiteY200" fmla="*/ 642010 h 1280224"/>
                <a:gd name="connsiteX201" fmla="*/ 720654 w 1034979"/>
                <a:gd name="connsiteY201" fmla="*/ 645820 h 1280224"/>
                <a:gd name="connsiteX202" fmla="*/ 716844 w 1034979"/>
                <a:gd name="connsiteY202" fmla="*/ 651535 h 1280224"/>
                <a:gd name="connsiteX203" fmla="*/ 711129 w 1034979"/>
                <a:gd name="connsiteY203" fmla="*/ 653440 h 1280224"/>
                <a:gd name="connsiteX204" fmla="*/ 705414 w 1034979"/>
                <a:gd name="connsiteY204" fmla="*/ 657250 h 1280224"/>
                <a:gd name="connsiteX205" fmla="*/ 699699 w 1034979"/>
                <a:gd name="connsiteY205" fmla="*/ 662965 h 1280224"/>
                <a:gd name="connsiteX206" fmla="*/ 692079 w 1034979"/>
                <a:gd name="connsiteY206" fmla="*/ 666775 h 1280224"/>
                <a:gd name="connsiteX207" fmla="*/ 650169 w 1034979"/>
                <a:gd name="connsiteY207" fmla="*/ 695350 h 1280224"/>
                <a:gd name="connsiteX208" fmla="*/ 636834 w 1034979"/>
                <a:gd name="connsiteY208" fmla="*/ 706780 h 1280224"/>
                <a:gd name="connsiteX209" fmla="*/ 627309 w 1034979"/>
                <a:gd name="connsiteY209" fmla="*/ 723925 h 1280224"/>
                <a:gd name="connsiteX210" fmla="*/ 602544 w 1034979"/>
                <a:gd name="connsiteY210" fmla="*/ 729640 h 1280224"/>
                <a:gd name="connsiteX211" fmla="*/ 589209 w 1034979"/>
                <a:gd name="connsiteY211" fmla="*/ 733450 h 1280224"/>
                <a:gd name="connsiteX212" fmla="*/ 573969 w 1034979"/>
                <a:gd name="connsiteY212" fmla="*/ 731545 h 1280224"/>
                <a:gd name="connsiteX213" fmla="*/ 562539 w 1034979"/>
                <a:gd name="connsiteY213" fmla="*/ 727735 h 1280224"/>
                <a:gd name="connsiteX214" fmla="*/ 551109 w 1034979"/>
                <a:gd name="connsiteY214" fmla="*/ 723925 h 1280224"/>
                <a:gd name="connsiteX215" fmla="*/ 539679 w 1034979"/>
                <a:gd name="connsiteY215" fmla="*/ 720115 h 1280224"/>
                <a:gd name="connsiteX216" fmla="*/ 533964 w 1034979"/>
                <a:gd name="connsiteY216" fmla="*/ 718210 h 1280224"/>
                <a:gd name="connsiteX217" fmla="*/ 528249 w 1034979"/>
                <a:gd name="connsiteY217" fmla="*/ 714400 h 1280224"/>
                <a:gd name="connsiteX218" fmla="*/ 516819 w 1034979"/>
                <a:gd name="connsiteY218" fmla="*/ 708685 h 1280224"/>
                <a:gd name="connsiteX219" fmla="*/ 509199 w 1034979"/>
                <a:gd name="connsiteY219" fmla="*/ 697255 h 1280224"/>
                <a:gd name="connsiteX220" fmla="*/ 505389 w 1034979"/>
                <a:gd name="connsiteY220" fmla="*/ 676300 h 1280224"/>
                <a:gd name="connsiteX221" fmla="*/ 507294 w 1034979"/>
                <a:gd name="connsiteY221" fmla="*/ 611530 h 1280224"/>
                <a:gd name="connsiteX222" fmla="*/ 513009 w 1034979"/>
                <a:gd name="connsiteY222" fmla="*/ 598195 h 1280224"/>
                <a:gd name="connsiteX223" fmla="*/ 503484 w 1034979"/>
                <a:gd name="connsiteY223" fmla="*/ 121945 h 1280224"/>
                <a:gd name="connsiteX224" fmla="*/ 429189 w 1034979"/>
                <a:gd name="connsiteY224" fmla="*/ 1930 h 1280224"/>
                <a:gd name="connsiteX225" fmla="*/ 440619 w 1034979"/>
                <a:gd name="connsiteY225" fmla="*/ 184810 h 1280224"/>
                <a:gd name="connsiteX226" fmla="*/ 425379 w 1034979"/>
                <a:gd name="connsiteY226" fmla="*/ 481990 h 1280224"/>
                <a:gd name="connsiteX227" fmla="*/ 417759 w 1034979"/>
                <a:gd name="connsiteY227" fmla="*/ 609625 h 1280224"/>
                <a:gd name="connsiteX228" fmla="*/ 413949 w 1034979"/>
                <a:gd name="connsiteY228" fmla="*/ 626770 h 1280224"/>
                <a:gd name="connsiteX229" fmla="*/ 417759 w 1034979"/>
                <a:gd name="connsiteY229" fmla="*/ 647725 h 1280224"/>
                <a:gd name="connsiteX230" fmla="*/ 421569 w 1034979"/>
                <a:gd name="connsiteY230" fmla="*/ 653440 h 1280224"/>
                <a:gd name="connsiteX231" fmla="*/ 425379 w 1034979"/>
                <a:gd name="connsiteY231" fmla="*/ 664870 h 1280224"/>
                <a:gd name="connsiteX232" fmla="*/ 423474 w 1034979"/>
                <a:gd name="connsiteY232" fmla="*/ 691540 h 1280224"/>
                <a:gd name="connsiteX233" fmla="*/ 417759 w 1034979"/>
                <a:gd name="connsiteY233" fmla="*/ 693445 h 1280224"/>
                <a:gd name="connsiteX234" fmla="*/ 412044 w 1034979"/>
                <a:gd name="connsiteY234" fmla="*/ 697255 h 1280224"/>
                <a:gd name="connsiteX235" fmla="*/ 421569 w 1034979"/>
                <a:gd name="connsiteY235" fmla="*/ 693445 h 1280224"/>
                <a:gd name="connsiteX0" fmla="*/ 421569 w 1034979"/>
                <a:gd name="connsiteY0" fmla="*/ 693445 h 1280224"/>
                <a:gd name="connsiteX1" fmla="*/ 421569 w 1034979"/>
                <a:gd name="connsiteY1" fmla="*/ 693445 h 1280224"/>
                <a:gd name="connsiteX2" fmla="*/ 394899 w 1034979"/>
                <a:gd name="connsiteY2" fmla="*/ 702970 h 1280224"/>
                <a:gd name="connsiteX3" fmla="*/ 387279 w 1034979"/>
                <a:gd name="connsiteY3" fmla="*/ 704875 h 1280224"/>
                <a:gd name="connsiteX4" fmla="*/ 356799 w 1034979"/>
                <a:gd name="connsiteY4" fmla="*/ 706780 h 1280224"/>
                <a:gd name="connsiteX5" fmla="*/ 351084 w 1034979"/>
                <a:gd name="connsiteY5" fmla="*/ 710590 h 1280224"/>
                <a:gd name="connsiteX6" fmla="*/ 339654 w 1034979"/>
                <a:gd name="connsiteY6" fmla="*/ 720115 h 1280224"/>
                <a:gd name="connsiteX7" fmla="*/ 328224 w 1034979"/>
                <a:gd name="connsiteY7" fmla="*/ 723925 h 1280224"/>
                <a:gd name="connsiteX8" fmla="*/ 312984 w 1034979"/>
                <a:gd name="connsiteY8" fmla="*/ 729640 h 1280224"/>
                <a:gd name="connsiteX9" fmla="*/ 265359 w 1034979"/>
                <a:gd name="connsiteY9" fmla="*/ 725830 h 1280224"/>
                <a:gd name="connsiteX10" fmla="*/ 253929 w 1034979"/>
                <a:gd name="connsiteY10" fmla="*/ 722020 h 1280224"/>
                <a:gd name="connsiteX11" fmla="*/ 242499 w 1034979"/>
                <a:gd name="connsiteY11" fmla="*/ 718210 h 1280224"/>
                <a:gd name="connsiteX12" fmla="*/ 236784 w 1034979"/>
                <a:gd name="connsiteY12" fmla="*/ 716305 h 1280224"/>
                <a:gd name="connsiteX13" fmla="*/ 231069 w 1034979"/>
                <a:gd name="connsiteY13" fmla="*/ 714400 h 1280224"/>
                <a:gd name="connsiteX14" fmla="*/ 219639 w 1034979"/>
                <a:gd name="connsiteY14" fmla="*/ 712495 h 1280224"/>
                <a:gd name="connsiteX15" fmla="*/ 213924 w 1034979"/>
                <a:gd name="connsiteY15" fmla="*/ 710590 h 1280224"/>
                <a:gd name="connsiteX16" fmla="*/ 206304 w 1034979"/>
                <a:gd name="connsiteY16" fmla="*/ 708685 h 1280224"/>
                <a:gd name="connsiteX17" fmla="*/ 194874 w 1034979"/>
                <a:gd name="connsiteY17" fmla="*/ 704875 h 1280224"/>
                <a:gd name="connsiteX18" fmla="*/ 189159 w 1034979"/>
                <a:gd name="connsiteY18" fmla="*/ 702970 h 1280224"/>
                <a:gd name="connsiteX19" fmla="*/ 181539 w 1034979"/>
                <a:gd name="connsiteY19" fmla="*/ 701065 h 1280224"/>
                <a:gd name="connsiteX20" fmla="*/ 170109 w 1034979"/>
                <a:gd name="connsiteY20" fmla="*/ 695350 h 1280224"/>
                <a:gd name="connsiteX21" fmla="*/ 164394 w 1034979"/>
                <a:gd name="connsiteY21" fmla="*/ 691540 h 1280224"/>
                <a:gd name="connsiteX22" fmla="*/ 156774 w 1034979"/>
                <a:gd name="connsiteY22" fmla="*/ 680110 h 1280224"/>
                <a:gd name="connsiteX23" fmla="*/ 145344 w 1034979"/>
                <a:gd name="connsiteY23" fmla="*/ 676300 h 1280224"/>
                <a:gd name="connsiteX24" fmla="*/ 139629 w 1034979"/>
                <a:gd name="connsiteY24" fmla="*/ 672490 h 1280224"/>
                <a:gd name="connsiteX25" fmla="*/ 133914 w 1034979"/>
                <a:gd name="connsiteY25" fmla="*/ 670585 h 1280224"/>
                <a:gd name="connsiteX26" fmla="*/ 116769 w 1034979"/>
                <a:gd name="connsiteY26" fmla="*/ 666775 h 1280224"/>
                <a:gd name="connsiteX27" fmla="*/ 111054 w 1034979"/>
                <a:gd name="connsiteY27" fmla="*/ 661060 h 1280224"/>
                <a:gd name="connsiteX28" fmla="*/ 101529 w 1034979"/>
                <a:gd name="connsiteY28" fmla="*/ 643915 h 1280224"/>
                <a:gd name="connsiteX29" fmla="*/ 84384 w 1034979"/>
                <a:gd name="connsiteY29" fmla="*/ 636295 h 1280224"/>
                <a:gd name="connsiteX30" fmla="*/ 78669 w 1034979"/>
                <a:gd name="connsiteY30" fmla="*/ 634390 h 1280224"/>
                <a:gd name="connsiteX31" fmla="*/ 59619 w 1034979"/>
                <a:gd name="connsiteY31" fmla="*/ 638200 h 1280224"/>
                <a:gd name="connsiteX32" fmla="*/ 53904 w 1034979"/>
                <a:gd name="connsiteY32" fmla="*/ 642010 h 1280224"/>
                <a:gd name="connsiteX33" fmla="*/ 50094 w 1034979"/>
                <a:gd name="connsiteY33" fmla="*/ 647725 h 1280224"/>
                <a:gd name="connsiteX34" fmla="*/ 46284 w 1034979"/>
                <a:gd name="connsiteY34" fmla="*/ 659155 h 1280224"/>
                <a:gd name="connsiteX35" fmla="*/ 50094 w 1034979"/>
                <a:gd name="connsiteY35" fmla="*/ 697255 h 1280224"/>
                <a:gd name="connsiteX36" fmla="*/ 53904 w 1034979"/>
                <a:gd name="connsiteY36" fmla="*/ 702970 h 1280224"/>
                <a:gd name="connsiteX37" fmla="*/ 59619 w 1034979"/>
                <a:gd name="connsiteY37" fmla="*/ 706780 h 1280224"/>
                <a:gd name="connsiteX38" fmla="*/ 63429 w 1034979"/>
                <a:gd name="connsiteY38" fmla="*/ 712495 h 1280224"/>
                <a:gd name="connsiteX39" fmla="*/ 80574 w 1034979"/>
                <a:gd name="connsiteY39" fmla="*/ 722020 h 1280224"/>
                <a:gd name="connsiteX40" fmla="*/ 103434 w 1034979"/>
                <a:gd name="connsiteY40" fmla="*/ 723925 h 1280224"/>
                <a:gd name="connsiteX41" fmla="*/ 124389 w 1034979"/>
                <a:gd name="connsiteY41" fmla="*/ 729640 h 1280224"/>
                <a:gd name="connsiteX42" fmla="*/ 130104 w 1034979"/>
                <a:gd name="connsiteY42" fmla="*/ 731545 h 1280224"/>
                <a:gd name="connsiteX43" fmla="*/ 135819 w 1034979"/>
                <a:gd name="connsiteY43" fmla="*/ 737260 h 1280224"/>
                <a:gd name="connsiteX44" fmla="*/ 143439 w 1034979"/>
                <a:gd name="connsiteY44" fmla="*/ 739165 h 1280224"/>
                <a:gd name="connsiteX45" fmla="*/ 166299 w 1034979"/>
                <a:gd name="connsiteY45" fmla="*/ 742975 h 1280224"/>
                <a:gd name="connsiteX46" fmla="*/ 191064 w 1034979"/>
                <a:gd name="connsiteY46" fmla="*/ 748690 h 1280224"/>
                <a:gd name="connsiteX47" fmla="*/ 208209 w 1034979"/>
                <a:gd name="connsiteY47" fmla="*/ 754405 h 1280224"/>
                <a:gd name="connsiteX48" fmla="*/ 213924 w 1034979"/>
                <a:gd name="connsiteY48" fmla="*/ 756310 h 1280224"/>
                <a:gd name="connsiteX49" fmla="*/ 229164 w 1034979"/>
                <a:gd name="connsiteY49" fmla="*/ 760120 h 1280224"/>
                <a:gd name="connsiteX50" fmla="*/ 248214 w 1034979"/>
                <a:gd name="connsiteY50" fmla="*/ 765835 h 1280224"/>
                <a:gd name="connsiteX51" fmla="*/ 253929 w 1034979"/>
                <a:gd name="connsiteY51" fmla="*/ 769645 h 1280224"/>
                <a:gd name="connsiteX52" fmla="*/ 267264 w 1034979"/>
                <a:gd name="connsiteY52" fmla="*/ 784885 h 1280224"/>
                <a:gd name="connsiteX53" fmla="*/ 272979 w 1034979"/>
                <a:gd name="connsiteY53" fmla="*/ 803935 h 1280224"/>
                <a:gd name="connsiteX54" fmla="*/ 274884 w 1034979"/>
                <a:gd name="connsiteY54" fmla="*/ 809650 h 1280224"/>
                <a:gd name="connsiteX55" fmla="*/ 276789 w 1034979"/>
                <a:gd name="connsiteY55" fmla="*/ 815365 h 1280224"/>
                <a:gd name="connsiteX56" fmla="*/ 278694 w 1034979"/>
                <a:gd name="connsiteY56" fmla="*/ 840130 h 1280224"/>
                <a:gd name="connsiteX57" fmla="*/ 280599 w 1034979"/>
                <a:gd name="connsiteY57" fmla="*/ 845845 h 1280224"/>
                <a:gd name="connsiteX58" fmla="*/ 278694 w 1034979"/>
                <a:gd name="connsiteY58" fmla="*/ 864895 h 1280224"/>
                <a:gd name="connsiteX59" fmla="*/ 276789 w 1034979"/>
                <a:gd name="connsiteY59" fmla="*/ 874420 h 1280224"/>
                <a:gd name="connsiteX60" fmla="*/ 263454 w 1034979"/>
                <a:gd name="connsiteY60" fmla="*/ 887755 h 1280224"/>
                <a:gd name="connsiteX61" fmla="*/ 252024 w 1034979"/>
                <a:gd name="connsiteY61" fmla="*/ 895375 h 1280224"/>
                <a:gd name="connsiteX62" fmla="*/ 240594 w 1034979"/>
                <a:gd name="connsiteY62" fmla="*/ 899185 h 1280224"/>
                <a:gd name="connsiteX63" fmla="*/ 126294 w 1034979"/>
                <a:gd name="connsiteY63" fmla="*/ 899185 h 1280224"/>
                <a:gd name="connsiteX64" fmla="*/ 120579 w 1034979"/>
                <a:gd name="connsiteY64" fmla="*/ 901090 h 1280224"/>
                <a:gd name="connsiteX65" fmla="*/ 105339 w 1034979"/>
                <a:gd name="connsiteY65" fmla="*/ 902995 h 1280224"/>
                <a:gd name="connsiteX66" fmla="*/ 88194 w 1034979"/>
                <a:gd name="connsiteY66" fmla="*/ 908710 h 1280224"/>
                <a:gd name="connsiteX67" fmla="*/ 82479 w 1034979"/>
                <a:gd name="connsiteY67" fmla="*/ 910615 h 1280224"/>
                <a:gd name="connsiteX68" fmla="*/ 76764 w 1034979"/>
                <a:gd name="connsiteY68" fmla="*/ 914425 h 1280224"/>
                <a:gd name="connsiteX69" fmla="*/ 65334 w 1034979"/>
                <a:gd name="connsiteY69" fmla="*/ 916330 h 1280224"/>
                <a:gd name="connsiteX70" fmla="*/ 27234 w 1034979"/>
                <a:gd name="connsiteY70" fmla="*/ 918235 h 1280224"/>
                <a:gd name="connsiteX71" fmla="*/ 15804 w 1034979"/>
                <a:gd name="connsiteY71" fmla="*/ 923950 h 1280224"/>
                <a:gd name="connsiteX72" fmla="*/ 6279 w 1034979"/>
                <a:gd name="connsiteY72" fmla="*/ 933475 h 1280224"/>
                <a:gd name="connsiteX73" fmla="*/ 4374 w 1034979"/>
                <a:gd name="connsiteY73" fmla="*/ 939190 h 1280224"/>
                <a:gd name="connsiteX74" fmla="*/ 564 w 1034979"/>
                <a:gd name="connsiteY74" fmla="*/ 944905 h 1280224"/>
                <a:gd name="connsiteX75" fmla="*/ 6279 w 1034979"/>
                <a:gd name="connsiteY75" fmla="*/ 977290 h 1280224"/>
                <a:gd name="connsiteX76" fmla="*/ 11994 w 1034979"/>
                <a:gd name="connsiteY76" fmla="*/ 981100 h 1280224"/>
                <a:gd name="connsiteX77" fmla="*/ 17709 w 1034979"/>
                <a:gd name="connsiteY77" fmla="*/ 983005 h 1280224"/>
                <a:gd name="connsiteX78" fmla="*/ 145344 w 1034979"/>
                <a:gd name="connsiteY78" fmla="*/ 981100 h 1280224"/>
                <a:gd name="connsiteX79" fmla="*/ 152964 w 1034979"/>
                <a:gd name="connsiteY79" fmla="*/ 979195 h 1280224"/>
                <a:gd name="connsiteX80" fmla="*/ 303459 w 1034979"/>
                <a:gd name="connsiteY80" fmla="*/ 973480 h 1280224"/>
                <a:gd name="connsiteX81" fmla="*/ 318699 w 1034979"/>
                <a:gd name="connsiteY81" fmla="*/ 981100 h 1280224"/>
                <a:gd name="connsiteX82" fmla="*/ 330129 w 1034979"/>
                <a:gd name="connsiteY82" fmla="*/ 986815 h 1280224"/>
                <a:gd name="connsiteX83" fmla="*/ 333939 w 1034979"/>
                <a:gd name="connsiteY83" fmla="*/ 992530 h 1280224"/>
                <a:gd name="connsiteX84" fmla="*/ 339654 w 1034979"/>
                <a:gd name="connsiteY84" fmla="*/ 994435 h 1280224"/>
                <a:gd name="connsiteX85" fmla="*/ 351084 w 1034979"/>
                <a:gd name="connsiteY85" fmla="*/ 1002055 h 1280224"/>
                <a:gd name="connsiteX86" fmla="*/ 356799 w 1034979"/>
                <a:gd name="connsiteY86" fmla="*/ 1005865 h 1280224"/>
                <a:gd name="connsiteX87" fmla="*/ 360609 w 1034979"/>
                <a:gd name="connsiteY87" fmla="*/ 1011580 h 1280224"/>
                <a:gd name="connsiteX88" fmla="*/ 366324 w 1034979"/>
                <a:gd name="connsiteY88" fmla="*/ 1023010 h 1280224"/>
                <a:gd name="connsiteX89" fmla="*/ 362514 w 1034979"/>
                <a:gd name="connsiteY89" fmla="*/ 1049680 h 1280224"/>
                <a:gd name="connsiteX90" fmla="*/ 358704 w 1034979"/>
                <a:gd name="connsiteY90" fmla="*/ 1055395 h 1280224"/>
                <a:gd name="connsiteX91" fmla="*/ 356799 w 1034979"/>
                <a:gd name="connsiteY91" fmla="*/ 1061110 h 1280224"/>
                <a:gd name="connsiteX92" fmla="*/ 352989 w 1034979"/>
                <a:gd name="connsiteY92" fmla="*/ 1066825 h 1280224"/>
                <a:gd name="connsiteX93" fmla="*/ 351084 w 1034979"/>
                <a:gd name="connsiteY93" fmla="*/ 1072540 h 1280224"/>
                <a:gd name="connsiteX94" fmla="*/ 347274 w 1034979"/>
                <a:gd name="connsiteY94" fmla="*/ 1078255 h 1280224"/>
                <a:gd name="connsiteX95" fmla="*/ 330129 w 1034979"/>
                <a:gd name="connsiteY95" fmla="*/ 1144930 h 1280224"/>
                <a:gd name="connsiteX96" fmla="*/ 328224 w 1034979"/>
                <a:gd name="connsiteY96" fmla="*/ 1196365 h 1280224"/>
                <a:gd name="connsiteX97" fmla="*/ 330129 w 1034979"/>
                <a:gd name="connsiteY97" fmla="*/ 1221130 h 1280224"/>
                <a:gd name="connsiteX98" fmla="*/ 332034 w 1034979"/>
                <a:gd name="connsiteY98" fmla="*/ 1226845 h 1280224"/>
                <a:gd name="connsiteX99" fmla="*/ 335844 w 1034979"/>
                <a:gd name="connsiteY99" fmla="*/ 1230655 h 1280224"/>
                <a:gd name="connsiteX100" fmla="*/ 364419 w 1034979"/>
                <a:gd name="connsiteY100" fmla="*/ 1276375 h 1280224"/>
                <a:gd name="connsiteX101" fmla="*/ 387279 w 1034979"/>
                <a:gd name="connsiteY101" fmla="*/ 1278280 h 1280224"/>
                <a:gd name="connsiteX102" fmla="*/ 392994 w 1034979"/>
                <a:gd name="connsiteY102" fmla="*/ 1272565 h 1280224"/>
                <a:gd name="connsiteX103" fmla="*/ 394899 w 1034979"/>
                <a:gd name="connsiteY103" fmla="*/ 1261135 h 1280224"/>
                <a:gd name="connsiteX104" fmla="*/ 396804 w 1034979"/>
                <a:gd name="connsiteY104" fmla="*/ 1255420 h 1280224"/>
                <a:gd name="connsiteX105" fmla="*/ 398709 w 1034979"/>
                <a:gd name="connsiteY105" fmla="*/ 1238275 h 1280224"/>
                <a:gd name="connsiteX106" fmla="*/ 400614 w 1034979"/>
                <a:gd name="connsiteY106" fmla="*/ 1224940 h 1280224"/>
                <a:gd name="connsiteX107" fmla="*/ 404424 w 1034979"/>
                <a:gd name="connsiteY107" fmla="*/ 1167790 h 1280224"/>
                <a:gd name="connsiteX108" fmla="*/ 410139 w 1034979"/>
                <a:gd name="connsiteY108" fmla="*/ 1156360 h 1280224"/>
                <a:gd name="connsiteX109" fmla="*/ 413949 w 1034979"/>
                <a:gd name="connsiteY109" fmla="*/ 1143025 h 1280224"/>
                <a:gd name="connsiteX110" fmla="*/ 415854 w 1034979"/>
                <a:gd name="connsiteY110" fmla="*/ 1137310 h 1280224"/>
                <a:gd name="connsiteX111" fmla="*/ 417759 w 1034979"/>
                <a:gd name="connsiteY111" fmla="*/ 1123975 h 1280224"/>
                <a:gd name="connsiteX112" fmla="*/ 421569 w 1034979"/>
                <a:gd name="connsiteY112" fmla="*/ 1112545 h 1280224"/>
                <a:gd name="connsiteX113" fmla="*/ 427284 w 1034979"/>
                <a:gd name="connsiteY113" fmla="*/ 1099210 h 1280224"/>
                <a:gd name="connsiteX114" fmla="*/ 436809 w 1034979"/>
                <a:gd name="connsiteY114" fmla="*/ 1087780 h 1280224"/>
                <a:gd name="connsiteX115" fmla="*/ 450144 w 1034979"/>
                <a:gd name="connsiteY115" fmla="*/ 1072540 h 1280224"/>
                <a:gd name="connsiteX116" fmla="*/ 457764 w 1034979"/>
                <a:gd name="connsiteY116" fmla="*/ 1061110 h 1280224"/>
                <a:gd name="connsiteX117" fmla="*/ 461574 w 1034979"/>
                <a:gd name="connsiteY117" fmla="*/ 1049680 h 1280224"/>
                <a:gd name="connsiteX118" fmla="*/ 465384 w 1034979"/>
                <a:gd name="connsiteY118" fmla="*/ 1034440 h 1280224"/>
                <a:gd name="connsiteX119" fmla="*/ 467289 w 1034979"/>
                <a:gd name="connsiteY119" fmla="*/ 1028725 h 1280224"/>
                <a:gd name="connsiteX120" fmla="*/ 507294 w 1034979"/>
                <a:gd name="connsiteY120" fmla="*/ 1023010 h 1280224"/>
                <a:gd name="connsiteX121" fmla="*/ 535869 w 1034979"/>
                <a:gd name="connsiteY121" fmla="*/ 1013485 h 1280224"/>
                <a:gd name="connsiteX122" fmla="*/ 541584 w 1034979"/>
                <a:gd name="connsiteY122" fmla="*/ 1011580 h 1280224"/>
                <a:gd name="connsiteX123" fmla="*/ 547299 w 1034979"/>
                <a:gd name="connsiteY123" fmla="*/ 1009675 h 1280224"/>
                <a:gd name="connsiteX124" fmla="*/ 554919 w 1034979"/>
                <a:gd name="connsiteY124" fmla="*/ 1007770 h 1280224"/>
                <a:gd name="connsiteX125" fmla="*/ 573969 w 1034979"/>
                <a:gd name="connsiteY125" fmla="*/ 1000150 h 1280224"/>
                <a:gd name="connsiteX126" fmla="*/ 585399 w 1034979"/>
                <a:gd name="connsiteY126" fmla="*/ 996340 h 1280224"/>
                <a:gd name="connsiteX127" fmla="*/ 720654 w 1034979"/>
                <a:gd name="connsiteY127" fmla="*/ 1080160 h 1280224"/>
                <a:gd name="connsiteX128" fmla="*/ 733989 w 1034979"/>
                <a:gd name="connsiteY128" fmla="*/ 1089685 h 1280224"/>
                <a:gd name="connsiteX129" fmla="*/ 743514 w 1034979"/>
                <a:gd name="connsiteY129" fmla="*/ 1091590 h 1280224"/>
                <a:gd name="connsiteX130" fmla="*/ 749229 w 1034979"/>
                <a:gd name="connsiteY130" fmla="*/ 1093495 h 1280224"/>
                <a:gd name="connsiteX131" fmla="*/ 762564 w 1034979"/>
                <a:gd name="connsiteY131" fmla="*/ 1099210 h 1280224"/>
                <a:gd name="connsiteX132" fmla="*/ 777804 w 1034979"/>
                <a:gd name="connsiteY132" fmla="*/ 1097305 h 1280224"/>
                <a:gd name="connsiteX133" fmla="*/ 789234 w 1034979"/>
                <a:gd name="connsiteY133" fmla="*/ 1091590 h 1280224"/>
                <a:gd name="connsiteX134" fmla="*/ 794949 w 1034979"/>
                <a:gd name="connsiteY134" fmla="*/ 1089685 h 1280224"/>
                <a:gd name="connsiteX135" fmla="*/ 802569 w 1034979"/>
                <a:gd name="connsiteY135" fmla="*/ 1072540 h 1280224"/>
                <a:gd name="connsiteX136" fmla="*/ 800664 w 1034979"/>
                <a:gd name="connsiteY136" fmla="*/ 1047775 h 1280224"/>
                <a:gd name="connsiteX137" fmla="*/ 798759 w 1034979"/>
                <a:gd name="connsiteY137" fmla="*/ 1042060 h 1280224"/>
                <a:gd name="connsiteX138" fmla="*/ 796854 w 1034979"/>
                <a:gd name="connsiteY138" fmla="*/ 1034440 h 1280224"/>
                <a:gd name="connsiteX139" fmla="*/ 783519 w 1034979"/>
                <a:gd name="connsiteY139" fmla="*/ 1017295 h 1280224"/>
                <a:gd name="connsiteX140" fmla="*/ 773994 w 1034979"/>
                <a:gd name="connsiteY140" fmla="*/ 1011580 h 1280224"/>
                <a:gd name="connsiteX141" fmla="*/ 648264 w 1034979"/>
                <a:gd name="connsiteY141" fmla="*/ 920140 h 1280224"/>
                <a:gd name="connsiteX142" fmla="*/ 644454 w 1034979"/>
                <a:gd name="connsiteY142" fmla="*/ 902995 h 1280224"/>
                <a:gd name="connsiteX143" fmla="*/ 646359 w 1034979"/>
                <a:gd name="connsiteY143" fmla="*/ 895375 h 1280224"/>
                <a:gd name="connsiteX144" fmla="*/ 650169 w 1034979"/>
                <a:gd name="connsiteY144" fmla="*/ 878230 h 1280224"/>
                <a:gd name="connsiteX145" fmla="*/ 653979 w 1034979"/>
                <a:gd name="connsiteY145" fmla="*/ 872515 h 1280224"/>
                <a:gd name="connsiteX146" fmla="*/ 655884 w 1034979"/>
                <a:gd name="connsiteY146" fmla="*/ 866800 h 1280224"/>
                <a:gd name="connsiteX147" fmla="*/ 661599 w 1034979"/>
                <a:gd name="connsiteY147" fmla="*/ 864895 h 1280224"/>
                <a:gd name="connsiteX148" fmla="*/ 671124 w 1034979"/>
                <a:gd name="connsiteY148" fmla="*/ 853465 h 1280224"/>
                <a:gd name="connsiteX149" fmla="*/ 724464 w 1034979"/>
                <a:gd name="connsiteY149" fmla="*/ 845845 h 1280224"/>
                <a:gd name="connsiteX150" fmla="*/ 842574 w 1034979"/>
                <a:gd name="connsiteY150" fmla="*/ 847750 h 1280224"/>
                <a:gd name="connsiteX151" fmla="*/ 871149 w 1034979"/>
                <a:gd name="connsiteY151" fmla="*/ 849655 h 1280224"/>
                <a:gd name="connsiteX152" fmla="*/ 899724 w 1034979"/>
                <a:gd name="connsiteY152" fmla="*/ 855370 h 1280224"/>
                <a:gd name="connsiteX153" fmla="*/ 922584 w 1034979"/>
                <a:gd name="connsiteY153" fmla="*/ 859180 h 1280224"/>
                <a:gd name="connsiteX154" fmla="*/ 951159 w 1034979"/>
                <a:gd name="connsiteY154" fmla="*/ 864895 h 1280224"/>
                <a:gd name="connsiteX155" fmla="*/ 956874 w 1034979"/>
                <a:gd name="connsiteY155" fmla="*/ 864895 h 1280224"/>
                <a:gd name="connsiteX156" fmla="*/ 1002594 w 1034979"/>
                <a:gd name="connsiteY156" fmla="*/ 862990 h 1280224"/>
                <a:gd name="connsiteX157" fmla="*/ 1031169 w 1034979"/>
                <a:gd name="connsiteY157" fmla="*/ 855370 h 1280224"/>
                <a:gd name="connsiteX158" fmla="*/ 1034979 w 1034979"/>
                <a:gd name="connsiteY158" fmla="*/ 849655 h 1280224"/>
                <a:gd name="connsiteX159" fmla="*/ 1033074 w 1034979"/>
                <a:gd name="connsiteY159" fmla="*/ 830605 h 1280224"/>
                <a:gd name="connsiteX160" fmla="*/ 1027359 w 1034979"/>
                <a:gd name="connsiteY160" fmla="*/ 826795 h 1280224"/>
                <a:gd name="connsiteX161" fmla="*/ 1012119 w 1034979"/>
                <a:gd name="connsiteY161" fmla="*/ 824890 h 1280224"/>
                <a:gd name="connsiteX162" fmla="*/ 1006404 w 1034979"/>
                <a:gd name="connsiteY162" fmla="*/ 822985 h 1280224"/>
                <a:gd name="connsiteX163" fmla="*/ 998784 w 1034979"/>
                <a:gd name="connsiteY163" fmla="*/ 821080 h 1280224"/>
                <a:gd name="connsiteX164" fmla="*/ 987354 w 1034979"/>
                <a:gd name="connsiteY164" fmla="*/ 813460 h 1280224"/>
                <a:gd name="connsiteX165" fmla="*/ 975924 w 1034979"/>
                <a:gd name="connsiteY165" fmla="*/ 809650 h 1280224"/>
                <a:gd name="connsiteX166" fmla="*/ 970209 w 1034979"/>
                <a:gd name="connsiteY166" fmla="*/ 807745 h 1280224"/>
                <a:gd name="connsiteX167" fmla="*/ 962589 w 1034979"/>
                <a:gd name="connsiteY167" fmla="*/ 805840 h 1280224"/>
                <a:gd name="connsiteX168" fmla="*/ 956874 w 1034979"/>
                <a:gd name="connsiteY168" fmla="*/ 803935 h 1280224"/>
                <a:gd name="connsiteX169" fmla="*/ 935919 w 1034979"/>
                <a:gd name="connsiteY169" fmla="*/ 798220 h 1280224"/>
                <a:gd name="connsiteX170" fmla="*/ 930204 w 1034979"/>
                <a:gd name="connsiteY170" fmla="*/ 796315 h 1280224"/>
                <a:gd name="connsiteX171" fmla="*/ 825429 w 1034979"/>
                <a:gd name="connsiteY171" fmla="*/ 798220 h 1280224"/>
                <a:gd name="connsiteX172" fmla="*/ 819714 w 1034979"/>
                <a:gd name="connsiteY172" fmla="*/ 800125 h 1280224"/>
                <a:gd name="connsiteX173" fmla="*/ 730179 w 1034979"/>
                <a:gd name="connsiteY173" fmla="*/ 802030 h 1280224"/>
                <a:gd name="connsiteX174" fmla="*/ 716844 w 1034979"/>
                <a:gd name="connsiteY174" fmla="*/ 805840 h 1280224"/>
                <a:gd name="connsiteX175" fmla="*/ 695889 w 1034979"/>
                <a:gd name="connsiteY175" fmla="*/ 807745 h 1280224"/>
                <a:gd name="connsiteX176" fmla="*/ 669219 w 1034979"/>
                <a:gd name="connsiteY176" fmla="*/ 809650 h 1280224"/>
                <a:gd name="connsiteX177" fmla="*/ 669219 w 1034979"/>
                <a:gd name="connsiteY177" fmla="*/ 809650 h 1280224"/>
                <a:gd name="connsiteX178" fmla="*/ 646359 w 1034979"/>
                <a:gd name="connsiteY178" fmla="*/ 813460 h 1280224"/>
                <a:gd name="connsiteX179" fmla="*/ 642549 w 1034979"/>
                <a:gd name="connsiteY179" fmla="*/ 802030 h 1280224"/>
                <a:gd name="connsiteX180" fmla="*/ 640644 w 1034979"/>
                <a:gd name="connsiteY180" fmla="*/ 796315 h 1280224"/>
                <a:gd name="connsiteX181" fmla="*/ 642549 w 1034979"/>
                <a:gd name="connsiteY181" fmla="*/ 779170 h 1280224"/>
                <a:gd name="connsiteX182" fmla="*/ 644454 w 1034979"/>
                <a:gd name="connsiteY182" fmla="*/ 773455 h 1280224"/>
                <a:gd name="connsiteX183" fmla="*/ 661599 w 1034979"/>
                <a:gd name="connsiteY183" fmla="*/ 763930 h 1280224"/>
                <a:gd name="connsiteX184" fmla="*/ 673029 w 1034979"/>
                <a:gd name="connsiteY184" fmla="*/ 756310 h 1280224"/>
                <a:gd name="connsiteX185" fmla="*/ 674934 w 1034979"/>
                <a:gd name="connsiteY185" fmla="*/ 750595 h 1280224"/>
                <a:gd name="connsiteX186" fmla="*/ 680649 w 1034979"/>
                <a:gd name="connsiteY186" fmla="*/ 748690 h 1280224"/>
                <a:gd name="connsiteX187" fmla="*/ 686364 w 1034979"/>
                <a:gd name="connsiteY187" fmla="*/ 744880 h 1280224"/>
                <a:gd name="connsiteX188" fmla="*/ 695889 w 1034979"/>
                <a:gd name="connsiteY188" fmla="*/ 735355 h 1280224"/>
                <a:gd name="connsiteX189" fmla="*/ 705414 w 1034979"/>
                <a:gd name="connsiteY189" fmla="*/ 723925 h 1280224"/>
                <a:gd name="connsiteX190" fmla="*/ 716844 w 1034979"/>
                <a:gd name="connsiteY190" fmla="*/ 716305 h 1280224"/>
                <a:gd name="connsiteX191" fmla="*/ 732084 w 1034979"/>
                <a:gd name="connsiteY191" fmla="*/ 702970 h 1280224"/>
                <a:gd name="connsiteX192" fmla="*/ 741609 w 1034979"/>
                <a:gd name="connsiteY192" fmla="*/ 691540 h 1280224"/>
                <a:gd name="connsiteX193" fmla="*/ 753039 w 1034979"/>
                <a:gd name="connsiteY193" fmla="*/ 682015 h 1280224"/>
                <a:gd name="connsiteX194" fmla="*/ 758754 w 1034979"/>
                <a:gd name="connsiteY194" fmla="*/ 670585 h 1280224"/>
                <a:gd name="connsiteX195" fmla="*/ 760659 w 1034979"/>
                <a:gd name="connsiteY195" fmla="*/ 664870 h 1280224"/>
                <a:gd name="connsiteX196" fmla="*/ 766374 w 1034979"/>
                <a:gd name="connsiteY196" fmla="*/ 653440 h 1280224"/>
                <a:gd name="connsiteX197" fmla="*/ 764469 w 1034979"/>
                <a:gd name="connsiteY197" fmla="*/ 638200 h 1280224"/>
                <a:gd name="connsiteX198" fmla="*/ 758754 w 1034979"/>
                <a:gd name="connsiteY198" fmla="*/ 636295 h 1280224"/>
                <a:gd name="connsiteX199" fmla="*/ 737799 w 1034979"/>
                <a:gd name="connsiteY199" fmla="*/ 638200 h 1280224"/>
                <a:gd name="connsiteX200" fmla="*/ 732084 w 1034979"/>
                <a:gd name="connsiteY200" fmla="*/ 642010 h 1280224"/>
                <a:gd name="connsiteX201" fmla="*/ 720654 w 1034979"/>
                <a:gd name="connsiteY201" fmla="*/ 645820 h 1280224"/>
                <a:gd name="connsiteX202" fmla="*/ 716844 w 1034979"/>
                <a:gd name="connsiteY202" fmla="*/ 651535 h 1280224"/>
                <a:gd name="connsiteX203" fmla="*/ 711129 w 1034979"/>
                <a:gd name="connsiteY203" fmla="*/ 653440 h 1280224"/>
                <a:gd name="connsiteX204" fmla="*/ 705414 w 1034979"/>
                <a:gd name="connsiteY204" fmla="*/ 657250 h 1280224"/>
                <a:gd name="connsiteX205" fmla="*/ 699699 w 1034979"/>
                <a:gd name="connsiteY205" fmla="*/ 662965 h 1280224"/>
                <a:gd name="connsiteX206" fmla="*/ 692079 w 1034979"/>
                <a:gd name="connsiteY206" fmla="*/ 666775 h 1280224"/>
                <a:gd name="connsiteX207" fmla="*/ 650169 w 1034979"/>
                <a:gd name="connsiteY207" fmla="*/ 695350 h 1280224"/>
                <a:gd name="connsiteX208" fmla="*/ 636834 w 1034979"/>
                <a:gd name="connsiteY208" fmla="*/ 706780 h 1280224"/>
                <a:gd name="connsiteX209" fmla="*/ 627309 w 1034979"/>
                <a:gd name="connsiteY209" fmla="*/ 723925 h 1280224"/>
                <a:gd name="connsiteX210" fmla="*/ 602544 w 1034979"/>
                <a:gd name="connsiteY210" fmla="*/ 729640 h 1280224"/>
                <a:gd name="connsiteX211" fmla="*/ 589209 w 1034979"/>
                <a:gd name="connsiteY211" fmla="*/ 733450 h 1280224"/>
                <a:gd name="connsiteX212" fmla="*/ 573969 w 1034979"/>
                <a:gd name="connsiteY212" fmla="*/ 731545 h 1280224"/>
                <a:gd name="connsiteX213" fmla="*/ 562539 w 1034979"/>
                <a:gd name="connsiteY213" fmla="*/ 727735 h 1280224"/>
                <a:gd name="connsiteX214" fmla="*/ 551109 w 1034979"/>
                <a:gd name="connsiteY214" fmla="*/ 723925 h 1280224"/>
                <a:gd name="connsiteX215" fmla="*/ 539679 w 1034979"/>
                <a:gd name="connsiteY215" fmla="*/ 720115 h 1280224"/>
                <a:gd name="connsiteX216" fmla="*/ 533964 w 1034979"/>
                <a:gd name="connsiteY216" fmla="*/ 718210 h 1280224"/>
                <a:gd name="connsiteX217" fmla="*/ 528249 w 1034979"/>
                <a:gd name="connsiteY217" fmla="*/ 714400 h 1280224"/>
                <a:gd name="connsiteX218" fmla="*/ 516819 w 1034979"/>
                <a:gd name="connsiteY218" fmla="*/ 708685 h 1280224"/>
                <a:gd name="connsiteX219" fmla="*/ 509199 w 1034979"/>
                <a:gd name="connsiteY219" fmla="*/ 697255 h 1280224"/>
                <a:gd name="connsiteX220" fmla="*/ 505389 w 1034979"/>
                <a:gd name="connsiteY220" fmla="*/ 676300 h 1280224"/>
                <a:gd name="connsiteX221" fmla="*/ 507294 w 1034979"/>
                <a:gd name="connsiteY221" fmla="*/ 611530 h 1280224"/>
                <a:gd name="connsiteX222" fmla="*/ 513009 w 1034979"/>
                <a:gd name="connsiteY222" fmla="*/ 598195 h 1280224"/>
                <a:gd name="connsiteX223" fmla="*/ 503484 w 1034979"/>
                <a:gd name="connsiteY223" fmla="*/ 121945 h 1280224"/>
                <a:gd name="connsiteX224" fmla="*/ 429189 w 1034979"/>
                <a:gd name="connsiteY224" fmla="*/ 1930 h 1280224"/>
                <a:gd name="connsiteX225" fmla="*/ 433083 w 1034979"/>
                <a:gd name="connsiteY225" fmla="*/ 428482 h 1280224"/>
                <a:gd name="connsiteX226" fmla="*/ 425379 w 1034979"/>
                <a:gd name="connsiteY226" fmla="*/ 481990 h 1280224"/>
                <a:gd name="connsiteX227" fmla="*/ 417759 w 1034979"/>
                <a:gd name="connsiteY227" fmla="*/ 609625 h 1280224"/>
                <a:gd name="connsiteX228" fmla="*/ 413949 w 1034979"/>
                <a:gd name="connsiteY228" fmla="*/ 626770 h 1280224"/>
                <a:gd name="connsiteX229" fmla="*/ 417759 w 1034979"/>
                <a:gd name="connsiteY229" fmla="*/ 647725 h 1280224"/>
                <a:gd name="connsiteX230" fmla="*/ 421569 w 1034979"/>
                <a:gd name="connsiteY230" fmla="*/ 653440 h 1280224"/>
                <a:gd name="connsiteX231" fmla="*/ 425379 w 1034979"/>
                <a:gd name="connsiteY231" fmla="*/ 664870 h 1280224"/>
                <a:gd name="connsiteX232" fmla="*/ 423474 w 1034979"/>
                <a:gd name="connsiteY232" fmla="*/ 691540 h 1280224"/>
                <a:gd name="connsiteX233" fmla="*/ 417759 w 1034979"/>
                <a:gd name="connsiteY233" fmla="*/ 693445 h 1280224"/>
                <a:gd name="connsiteX234" fmla="*/ 412044 w 1034979"/>
                <a:gd name="connsiteY234" fmla="*/ 697255 h 1280224"/>
                <a:gd name="connsiteX235" fmla="*/ 421569 w 1034979"/>
                <a:gd name="connsiteY235" fmla="*/ 693445 h 1280224"/>
                <a:gd name="connsiteX0" fmla="*/ 421569 w 1034979"/>
                <a:gd name="connsiteY0" fmla="*/ 693445 h 1280224"/>
                <a:gd name="connsiteX1" fmla="*/ 421569 w 1034979"/>
                <a:gd name="connsiteY1" fmla="*/ 693445 h 1280224"/>
                <a:gd name="connsiteX2" fmla="*/ 394899 w 1034979"/>
                <a:gd name="connsiteY2" fmla="*/ 702970 h 1280224"/>
                <a:gd name="connsiteX3" fmla="*/ 387279 w 1034979"/>
                <a:gd name="connsiteY3" fmla="*/ 704875 h 1280224"/>
                <a:gd name="connsiteX4" fmla="*/ 356799 w 1034979"/>
                <a:gd name="connsiteY4" fmla="*/ 706780 h 1280224"/>
                <a:gd name="connsiteX5" fmla="*/ 351084 w 1034979"/>
                <a:gd name="connsiteY5" fmla="*/ 710590 h 1280224"/>
                <a:gd name="connsiteX6" fmla="*/ 339654 w 1034979"/>
                <a:gd name="connsiteY6" fmla="*/ 720115 h 1280224"/>
                <a:gd name="connsiteX7" fmla="*/ 328224 w 1034979"/>
                <a:gd name="connsiteY7" fmla="*/ 723925 h 1280224"/>
                <a:gd name="connsiteX8" fmla="*/ 312984 w 1034979"/>
                <a:gd name="connsiteY8" fmla="*/ 729640 h 1280224"/>
                <a:gd name="connsiteX9" fmla="*/ 265359 w 1034979"/>
                <a:gd name="connsiteY9" fmla="*/ 725830 h 1280224"/>
                <a:gd name="connsiteX10" fmla="*/ 253929 w 1034979"/>
                <a:gd name="connsiteY10" fmla="*/ 722020 h 1280224"/>
                <a:gd name="connsiteX11" fmla="*/ 242499 w 1034979"/>
                <a:gd name="connsiteY11" fmla="*/ 718210 h 1280224"/>
                <a:gd name="connsiteX12" fmla="*/ 236784 w 1034979"/>
                <a:gd name="connsiteY12" fmla="*/ 716305 h 1280224"/>
                <a:gd name="connsiteX13" fmla="*/ 231069 w 1034979"/>
                <a:gd name="connsiteY13" fmla="*/ 714400 h 1280224"/>
                <a:gd name="connsiteX14" fmla="*/ 219639 w 1034979"/>
                <a:gd name="connsiteY14" fmla="*/ 712495 h 1280224"/>
                <a:gd name="connsiteX15" fmla="*/ 213924 w 1034979"/>
                <a:gd name="connsiteY15" fmla="*/ 710590 h 1280224"/>
                <a:gd name="connsiteX16" fmla="*/ 206304 w 1034979"/>
                <a:gd name="connsiteY16" fmla="*/ 708685 h 1280224"/>
                <a:gd name="connsiteX17" fmla="*/ 194874 w 1034979"/>
                <a:gd name="connsiteY17" fmla="*/ 704875 h 1280224"/>
                <a:gd name="connsiteX18" fmla="*/ 189159 w 1034979"/>
                <a:gd name="connsiteY18" fmla="*/ 702970 h 1280224"/>
                <a:gd name="connsiteX19" fmla="*/ 181539 w 1034979"/>
                <a:gd name="connsiteY19" fmla="*/ 701065 h 1280224"/>
                <a:gd name="connsiteX20" fmla="*/ 170109 w 1034979"/>
                <a:gd name="connsiteY20" fmla="*/ 695350 h 1280224"/>
                <a:gd name="connsiteX21" fmla="*/ 164394 w 1034979"/>
                <a:gd name="connsiteY21" fmla="*/ 691540 h 1280224"/>
                <a:gd name="connsiteX22" fmla="*/ 156774 w 1034979"/>
                <a:gd name="connsiteY22" fmla="*/ 680110 h 1280224"/>
                <a:gd name="connsiteX23" fmla="*/ 145344 w 1034979"/>
                <a:gd name="connsiteY23" fmla="*/ 676300 h 1280224"/>
                <a:gd name="connsiteX24" fmla="*/ 139629 w 1034979"/>
                <a:gd name="connsiteY24" fmla="*/ 672490 h 1280224"/>
                <a:gd name="connsiteX25" fmla="*/ 133914 w 1034979"/>
                <a:gd name="connsiteY25" fmla="*/ 670585 h 1280224"/>
                <a:gd name="connsiteX26" fmla="*/ 116769 w 1034979"/>
                <a:gd name="connsiteY26" fmla="*/ 666775 h 1280224"/>
                <a:gd name="connsiteX27" fmla="*/ 111054 w 1034979"/>
                <a:gd name="connsiteY27" fmla="*/ 661060 h 1280224"/>
                <a:gd name="connsiteX28" fmla="*/ 101529 w 1034979"/>
                <a:gd name="connsiteY28" fmla="*/ 643915 h 1280224"/>
                <a:gd name="connsiteX29" fmla="*/ 84384 w 1034979"/>
                <a:gd name="connsiteY29" fmla="*/ 636295 h 1280224"/>
                <a:gd name="connsiteX30" fmla="*/ 78669 w 1034979"/>
                <a:gd name="connsiteY30" fmla="*/ 634390 h 1280224"/>
                <a:gd name="connsiteX31" fmla="*/ 59619 w 1034979"/>
                <a:gd name="connsiteY31" fmla="*/ 638200 h 1280224"/>
                <a:gd name="connsiteX32" fmla="*/ 53904 w 1034979"/>
                <a:gd name="connsiteY32" fmla="*/ 642010 h 1280224"/>
                <a:gd name="connsiteX33" fmla="*/ 50094 w 1034979"/>
                <a:gd name="connsiteY33" fmla="*/ 647725 h 1280224"/>
                <a:gd name="connsiteX34" fmla="*/ 46284 w 1034979"/>
                <a:gd name="connsiteY34" fmla="*/ 659155 h 1280224"/>
                <a:gd name="connsiteX35" fmla="*/ 50094 w 1034979"/>
                <a:gd name="connsiteY35" fmla="*/ 697255 h 1280224"/>
                <a:gd name="connsiteX36" fmla="*/ 53904 w 1034979"/>
                <a:gd name="connsiteY36" fmla="*/ 702970 h 1280224"/>
                <a:gd name="connsiteX37" fmla="*/ 59619 w 1034979"/>
                <a:gd name="connsiteY37" fmla="*/ 706780 h 1280224"/>
                <a:gd name="connsiteX38" fmla="*/ 63429 w 1034979"/>
                <a:gd name="connsiteY38" fmla="*/ 712495 h 1280224"/>
                <a:gd name="connsiteX39" fmla="*/ 80574 w 1034979"/>
                <a:gd name="connsiteY39" fmla="*/ 722020 h 1280224"/>
                <a:gd name="connsiteX40" fmla="*/ 103434 w 1034979"/>
                <a:gd name="connsiteY40" fmla="*/ 723925 h 1280224"/>
                <a:gd name="connsiteX41" fmla="*/ 124389 w 1034979"/>
                <a:gd name="connsiteY41" fmla="*/ 729640 h 1280224"/>
                <a:gd name="connsiteX42" fmla="*/ 130104 w 1034979"/>
                <a:gd name="connsiteY42" fmla="*/ 731545 h 1280224"/>
                <a:gd name="connsiteX43" fmla="*/ 135819 w 1034979"/>
                <a:gd name="connsiteY43" fmla="*/ 737260 h 1280224"/>
                <a:gd name="connsiteX44" fmla="*/ 143439 w 1034979"/>
                <a:gd name="connsiteY44" fmla="*/ 739165 h 1280224"/>
                <a:gd name="connsiteX45" fmla="*/ 166299 w 1034979"/>
                <a:gd name="connsiteY45" fmla="*/ 742975 h 1280224"/>
                <a:gd name="connsiteX46" fmla="*/ 191064 w 1034979"/>
                <a:gd name="connsiteY46" fmla="*/ 748690 h 1280224"/>
                <a:gd name="connsiteX47" fmla="*/ 208209 w 1034979"/>
                <a:gd name="connsiteY47" fmla="*/ 754405 h 1280224"/>
                <a:gd name="connsiteX48" fmla="*/ 213924 w 1034979"/>
                <a:gd name="connsiteY48" fmla="*/ 756310 h 1280224"/>
                <a:gd name="connsiteX49" fmla="*/ 229164 w 1034979"/>
                <a:gd name="connsiteY49" fmla="*/ 760120 h 1280224"/>
                <a:gd name="connsiteX50" fmla="*/ 248214 w 1034979"/>
                <a:gd name="connsiteY50" fmla="*/ 765835 h 1280224"/>
                <a:gd name="connsiteX51" fmla="*/ 253929 w 1034979"/>
                <a:gd name="connsiteY51" fmla="*/ 769645 h 1280224"/>
                <a:gd name="connsiteX52" fmla="*/ 267264 w 1034979"/>
                <a:gd name="connsiteY52" fmla="*/ 784885 h 1280224"/>
                <a:gd name="connsiteX53" fmla="*/ 272979 w 1034979"/>
                <a:gd name="connsiteY53" fmla="*/ 803935 h 1280224"/>
                <a:gd name="connsiteX54" fmla="*/ 274884 w 1034979"/>
                <a:gd name="connsiteY54" fmla="*/ 809650 h 1280224"/>
                <a:gd name="connsiteX55" fmla="*/ 276789 w 1034979"/>
                <a:gd name="connsiteY55" fmla="*/ 815365 h 1280224"/>
                <a:gd name="connsiteX56" fmla="*/ 278694 w 1034979"/>
                <a:gd name="connsiteY56" fmla="*/ 840130 h 1280224"/>
                <a:gd name="connsiteX57" fmla="*/ 280599 w 1034979"/>
                <a:gd name="connsiteY57" fmla="*/ 845845 h 1280224"/>
                <a:gd name="connsiteX58" fmla="*/ 278694 w 1034979"/>
                <a:gd name="connsiteY58" fmla="*/ 864895 h 1280224"/>
                <a:gd name="connsiteX59" fmla="*/ 276789 w 1034979"/>
                <a:gd name="connsiteY59" fmla="*/ 874420 h 1280224"/>
                <a:gd name="connsiteX60" fmla="*/ 263454 w 1034979"/>
                <a:gd name="connsiteY60" fmla="*/ 887755 h 1280224"/>
                <a:gd name="connsiteX61" fmla="*/ 252024 w 1034979"/>
                <a:gd name="connsiteY61" fmla="*/ 895375 h 1280224"/>
                <a:gd name="connsiteX62" fmla="*/ 240594 w 1034979"/>
                <a:gd name="connsiteY62" fmla="*/ 899185 h 1280224"/>
                <a:gd name="connsiteX63" fmla="*/ 126294 w 1034979"/>
                <a:gd name="connsiteY63" fmla="*/ 899185 h 1280224"/>
                <a:gd name="connsiteX64" fmla="*/ 120579 w 1034979"/>
                <a:gd name="connsiteY64" fmla="*/ 901090 h 1280224"/>
                <a:gd name="connsiteX65" fmla="*/ 105339 w 1034979"/>
                <a:gd name="connsiteY65" fmla="*/ 902995 h 1280224"/>
                <a:gd name="connsiteX66" fmla="*/ 88194 w 1034979"/>
                <a:gd name="connsiteY66" fmla="*/ 908710 h 1280224"/>
                <a:gd name="connsiteX67" fmla="*/ 82479 w 1034979"/>
                <a:gd name="connsiteY67" fmla="*/ 910615 h 1280224"/>
                <a:gd name="connsiteX68" fmla="*/ 76764 w 1034979"/>
                <a:gd name="connsiteY68" fmla="*/ 914425 h 1280224"/>
                <a:gd name="connsiteX69" fmla="*/ 65334 w 1034979"/>
                <a:gd name="connsiteY69" fmla="*/ 916330 h 1280224"/>
                <a:gd name="connsiteX70" fmla="*/ 27234 w 1034979"/>
                <a:gd name="connsiteY70" fmla="*/ 918235 h 1280224"/>
                <a:gd name="connsiteX71" fmla="*/ 15804 w 1034979"/>
                <a:gd name="connsiteY71" fmla="*/ 923950 h 1280224"/>
                <a:gd name="connsiteX72" fmla="*/ 6279 w 1034979"/>
                <a:gd name="connsiteY72" fmla="*/ 933475 h 1280224"/>
                <a:gd name="connsiteX73" fmla="*/ 4374 w 1034979"/>
                <a:gd name="connsiteY73" fmla="*/ 939190 h 1280224"/>
                <a:gd name="connsiteX74" fmla="*/ 564 w 1034979"/>
                <a:gd name="connsiteY74" fmla="*/ 944905 h 1280224"/>
                <a:gd name="connsiteX75" fmla="*/ 6279 w 1034979"/>
                <a:gd name="connsiteY75" fmla="*/ 977290 h 1280224"/>
                <a:gd name="connsiteX76" fmla="*/ 11994 w 1034979"/>
                <a:gd name="connsiteY76" fmla="*/ 981100 h 1280224"/>
                <a:gd name="connsiteX77" fmla="*/ 17709 w 1034979"/>
                <a:gd name="connsiteY77" fmla="*/ 983005 h 1280224"/>
                <a:gd name="connsiteX78" fmla="*/ 145344 w 1034979"/>
                <a:gd name="connsiteY78" fmla="*/ 981100 h 1280224"/>
                <a:gd name="connsiteX79" fmla="*/ 152964 w 1034979"/>
                <a:gd name="connsiteY79" fmla="*/ 979195 h 1280224"/>
                <a:gd name="connsiteX80" fmla="*/ 303459 w 1034979"/>
                <a:gd name="connsiteY80" fmla="*/ 973480 h 1280224"/>
                <a:gd name="connsiteX81" fmla="*/ 318699 w 1034979"/>
                <a:gd name="connsiteY81" fmla="*/ 981100 h 1280224"/>
                <a:gd name="connsiteX82" fmla="*/ 330129 w 1034979"/>
                <a:gd name="connsiteY82" fmla="*/ 986815 h 1280224"/>
                <a:gd name="connsiteX83" fmla="*/ 333939 w 1034979"/>
                <a:gd name="connsiteY83" fmla="*/ 992530 h 1280224"/>
                <a:gd name="connsiteX84" fmla="*/ 339654 w 1034979"/>
                <a:gd name="connsiteY84" fmla="*/ 994435 h 1280224"/>
                <a:gd name="connsiteX85" fmla="*/ 351084 w 1034979"/>
                <a:gd name="connsiteY85" fmla="*/ 1002055 h 1280224"/>
                <a:gd name="connsiteX86" fmla="*/ 356799 w 1034979"/>
                <a:gd name="connsiteY86" fmla="*/ 1005865 h 1280224"/>
                <a:gd name="connsiteX87" fmla="*/ 360609 w 1034979"/>
                <a:gd name="connsiteY87" fmla="*/ 1011580 h 1280224"/>
                <a:gd name="connsiteX88" fmla="*/ 366324 w 1034979"/>
                <a:gd name="connsiteY88" fmla="*/ 1023010 h 1280224"/>
                <a:gd name="connsiteX89" fmla="*/ 362514 w 1034979"/>
                <a:gd name="connsiteY89" fmla="*/ 1049680 h 1280224"/>
                <a:gd name="connsiteX90" fmla="*/ 358704 w 1034979"/>
                <a:gd name="connsiteY90" fmla="*/ 1055395 h 1280224"/>
                <a:gd name="connsiteX91" fmla="*/ 356799 w 1034979"/>
                <a:gd name="connsiteY91" fmla="*/ 1061110 h 1280224"/>
                <a:gd name="connsiteX92" fmla="*/ 352989 w 1034979"/>
                <a:gd name="connsiteY92" fmla="*/ 1066825 h 1280224"/>
                <a:gd name="connsiteX93" fmla="*/ 351084 w 1034979"/>
                <a:gd name="connsiteY93" fmla="*/ 1072540 h 1280224"/>
                <a:gd name="connsiteX94" fmla="*/ 347274 w 1034979"/>
                <a:gd name="connsiteY94" fmla="*/ 1078255 h 1280224"/>
                <a:gd name="connsiteX95" fmla="*/ 330129 w 1034979"/>
                <a:gd name="connsiteY95" fmla="*/ 1144930 h 1280224"/>
                <a:gd name="connsiteX96" fmla="*/ 328224 w 1034979"/>
                <a:gd name="connsiteY96" fmla="*/ 1196365 h 1280224"/>
                <a:gd name="connsiteX97" fmla="*/ 330129 w 1034979"/>
                <a:gd name="connsiteY97" fmla="*/ 1221130 h 1280224"/>
                <a:gd name="connsiteX98" fmla="*/ 332034 w 1034979"/>
                <a:gd name="connsiteY98" fmla="*/ 1226845 h 1280224"/>
                <a:gd name="connsiteX99" fmla="*/ 335844 w 1034979"/>
                <a:gd name="connsiteY99" fmla="*/ 1230655 h 1280224"/>
                <a:gd name="connsiteX100" fmla="*/ 364419 w 1034979"/>
                <a:gd name="connsiteY100" fmla="*/ 1276375 h 1280224"/>
                <a:gd name="connsiteX101" fmla="*/ 387279 w 1034979"/>
                <a:gd name="connsiteY101" fmla="*/ 1278280 h 1280224"/>
                <a:gd name="connsiteX102" fmla="*/ 392994 w 1034979"/>
                <a:gd name="connsiteY102" fmla="*/ 1272565 h 1280224"/>
                <a:gd name="connsiteX103" fmla="*/ 394899 w 1034979"/>
                <a:gd name="connsiteY103" fmla="*/ 1261135 h 1280224"/>
                <a:gd name="connsiteX104" fmla="*/ 396804 w 1034979"/>
                <a:gd name="connsiteY104" fmla="*/ 1255420 h 1280224"/>
                <a:gd name="connsiteX105" fmla="*/ 398709 w 1034979"/>
                <a:gd name="connsiteY105" fmla="*/ 1238275 h 1280224"/>
                <a:gd name="connsiteX106" fmla="*/ 400614 w 1034979"/>
                <a:gd name="connsiteY106" fmla="*/ 1224940 h 1280224"/>
                <a:gd name="connsiteX107" fmla="*/ 404424 w 1034979"/>
                <a:gd name="connsiteY107" fmla="*/ 1167790 h 1280224"/>
                <a:gd name="connsiteX108" fmla="*/ 410139 w 1034979"/>
                <a:gd name="connsiteY108" fmla="*/ 1156360 h 1280224"/>
                <a:gd name="connsiteX109" fmla="*/ 413949 w 1034979"/>
                <a:gd name="connsiteY109" fmla="*/ 1143025 h 1280224"/>
                <a:gd name="connsiteX110" fmla="*/ 415854 w 1034979"/>
                <a:gd name="connsiteY110" fmla="*/ 1137310 h 1280224"/>
                <a:gd name="connsiteX111" fmla="*/ 417759 w 1034979"/>
                <a:gd name="connsiteY111" fmla="*/ 1123975 h 1280224"/>
                <a:gd name="connsiteX112" fmla="*/ 421569 w 1034979"/>
                <a:gd name="connsiteY112" fmla="*/ 1112545 h 1280224"/>
                <a:gd name="connsiteX113" fmla="*/ 427284 w 1034979"/>
                <a:gd name="connsiteY113" fmla="*/ 1099210 h 1280224"/>
                <a:gd name="connsiteX114" fmla="*/ 436809 w 1034979"/>
                <a:gd name="connsiteY114" fmla="*/ 1087780 h 1280224"/>
                <a:gd name="connsiteX115" fmla="*/ 450144 w 1034979"/>
                <a:gd name="connsiteY115" fmla="*/ 1072540 h 1280224"/>
                <a:gd name="connsiteX116" fmla="*/ 457764 w 1034979"/>
                <a:gd name="connsiteY116" fmla="*/ 1061110 h 1280224"/>
                <a:gd name="connsiteX117" fmla="*/ 461574 w 1034979"/>
                <a:gd name="connsiteY117" fmla="*/ 1049680 h 1280224"/>
                <a:gd name="connsiteX118" fmla="*/ 465384 w 1034979"/>
                <a:gd name="connsiteY118" fmla="*/ 1034440 h 1280224"/>
                <a:gd name="connsiteX119" fmla="*/ 467289 w 1034979"/>
                <a:gd name="connsiteY119" fmla="*/ 1028725 h 1280224"/>
                <a:gd name="connsiteX120" fmla="*/ 507294 w 1034979"/>
                <a:gd name="connsiteY120" fmla="*/ 1023010 h 1280224"/>
                <a:gd name="connsiteX121" fmla="*/ 535869 w 1034979"/>
                <a:gd name="connsiteY121" fmla="*/ 1013485 h 1280224"/>
                <a:gd name="connsiteX122" fmla="*/ 541584 w 1034979"/>
                <a:gd name="connsiteY122" fmla="*/ 1011580 h 1280224"/>
                <a:gd name="connsiteX123" fmla="*/ 547299 w 1034979"/>
                <a:gd name="connsiteY123" fmla="*/ 1009675 h 1280224"/>
                <a:gd name="connsiteX124" fmla="*/ 554919 w 1034979"/>
                <a:gd name="connsiteY124" fmla="*/ 1007770 h 1280224"/>
                <a:gd name="connsiteX125" fmla="*/ 573969 w 1034979"/>
                <a:gd name="connsiteY125" fmla="*/ 1000150 h 1280224"/>
                <a:gd name="connsiteX126" fmla="*/ 585399 w 1034979"/>
                <a:gd name="connsiteY126" fmla="*/ 996340 h 1280224"/>
                <a:gd name="connsiteX127" fmla="*/ 720654 w 1034979"/>
                <a:gd name="connsiteY127" fmla="*/ 1080160 h 1280224"/>
                <a:gd name="connsiteX128" fmla="*/ 733989 w 1034979"/>
                <a:gd name="connsiteY128" fmla="*/ 1089685 h 1280224"/>
                <a:gd name="connsiteX129" fmla="*/ 743514 w 1034979"/>
                <a:gd name="connsiteY129" fmla="*/ 1091590 h 1280224"/>
                <a:gd name="connsiteX130" fmla="*/ 749229 w 1034979"/>
                <a:gd name="connsiteY130" fmla="*/ 1093495 h 1280224"/>
                <a:gd name="connsiteX131" fmla="*/ 762564 w 1034979"/>
                <a:gd name="connsiteY131" fmla="*/ 1099210 h 1280224"/>
                <a:gd name="connsiteX132" fmla="*/ 777804 w 1034979"/>
                <a:gd name="connsiteY132" fmla="*/ 1097305 h 1280224"/>
                <a:gd name="connsiteX133" fmla="*/ 789234 w 1034979"/>
                <a:gd name="connsiteY133" fmla="*/ 1091590 h 1280224"/>
                <a:gd name="connsiteX134" fmla="*/ 794949 w 1034979"/>
                <a:gd name="connsiteY134" fmla="*/ 1089685 h 1280224"/>
                <a:gd name="connsiteX135" fmla="*/ 802569 w 1034979"/>
                <a:gd name="connsiteY135" fmla="*/ 1072540 h 1280224"/>
                <a:gd name="connsiteX136" fmla="*/ 800664 w 1034979"/>
                <a:gd name="connsiteY136" fmla="*/ 1047775 h 1280224"/>
                <a:gd name="connsiteX137" fmla="*/ 798759 w 1034979"/>
                <a:gd name="connsiteY137" fmla="*/ 1042060 h 1280224"/>
                <a:gd name="connsiteX138" fmla="*/ 796854 w 1034979"/>
                <a:gd name="connsiteY138" fmla="*/ 1034440 h 1280224"/>
                <a:gd name="connsiteX139" fmla="*/ 783519 w 1034979"/>
                <a:gd name="connsiteY139" fmla="*/ 1017295 h 1280224"/>
                <a:gd name="connsiteX140" fmla="*/ 773994 w 1034979"/>
                <a:gd name="connsiteY140" fmla="*/ 1011580 h 1280224"/>
                <a:gd name="connsiteX141" fmla="*/ 648264 w 1034979"/>
                <a:gd name="connsiteY141" fmla="*/ 920140 h 1280224"/>
                <a:gd name="connsiteX142" fmla="*/ 644454 w 1034979"/>
                <a:gd name="connsiteY142" fmla="*/ 902995 h 1280224"/>
                <a:gd name="connsiteX143" fmla="*/ 646359 w 1034979"/>
                <a:gd name="connsiteY143" fmla="*/ 895375 h 1280224"/>
                <a:gd name="connsiteX144" fmla="*/ 650169 w 1034979"/>
                <a:gd name="connsiteY144" fmla="*/ 878230 h 1280224"/>
                <a:gd name="connsiteX145" fmla="*/ 653979 w 1034979"/>
                <a:gd name="connsiteY145" fmla="*/ 872515 h 1280224"/>
                <a:gd name="connsiteX146" fmla="*/ 655884 w 1034979"/>
                <a:gd name="connsiteY146" fmla="*/ 866800 h 1280224"/>
                <a:gd name="connsiteX147" fmla="*/ 661599 w 1034979"/>
                <a:gd name="connsiteY147" fmla="*/ 864895 h 1280224"/>
                <a:gd name="connsiteX148" fmla="*/ 671124 w 1034979"/>
                <a:gd name="connsiteY148" fmla="*/ 853465 h 1280224"/>
                <a:gd name="connsiteX149" fmla="*/ 724464 w 1034979"/>
                <a:gd name="connsiteY149" fmla="*/ 845845 h 1280224"/>
                <a:gd name="connsiteX150" fmla="*/ 842574 w 1034979"/>
                <a:gd name="connsiteY150" fmla="*/ 847750 h 1280224"/>
                <a:gd name="connsiteX151" fmla="*/ 871149 w 1034979"/>
                <a:gd name="connsiteY151" fmla="*/ 849655 h 1280224"/>
                <a:gd name="connsiteX152" fmla="*/ 899724 w 1034979"/>
                <a:gd name="connsiteY152" fmla="*/ 855370 h 1280224"/>
                <a:gd name="connsiteX153" fmla="*/ 922584 w 1034979"/>
                <a:gd name="connsiteY153" fmla="*/ 859180 h 1280224"/>
                <a:gd name="connsiteX154" fmla="*/ 951159 w 1034979"/>
                <a:gd name="connsiteY154" fmla="*/ 864895 h 1280224"/>
                <a:gd name="connsiteX155" fmla="*/ 956874 w 1034979"/>
                <a:gd name="connsiteY155" fmla="*/ 864895 h 1280224"/>
                <a:gd name="connsiteX156" fmla="*/ 1002594 w 1034979"/>
                <a:gd name="connsiteY156" fmla="*/ 862990 h 1280224"/>
                <a:gd name="connsiteX157" fmla="*/ 1031169 w 1034979"/>
                <a:gd name="connsiteY157" fmla="*/ 855370 h 1280224"/>
                <a:gd name="connsiteX158" fmla="*/ 1034979 w 1034979"/>
                <a:gd name="connsiteY158" fmla="*/ 849655 h 1280224"/>
                <a:gd name="connsiteX159" fmla="*/ 1033074 w 1034979"/>
                <a:gd name="connsiteY159" fmla="*/ 830605 h 1280224"/>
                <a:gd name="connsiteX160" fmla="*/ 1027359 w 1034979"/>
                <a:gd name="connsiteY160" fmla="*/ 826795 h 1280224"/>
                <a:gd name="connsiteX161" fmla="*/ 1012119 w 1034979"/>
                <a:gd name="connsiteY161" fmla="*/ 824890 h 1280224"/>
                <a:gd name="connsiteX162" fmla="*/ 1006404 w 1034979"/>
                <a:gd name="connsiteY162" fmla="*/ 822985 h 1280224"/>
                <a:gd name="connsiteX163" fmla="*/ 998784 w 1034979"/>
                <a:gd name="connsiteY163" fmla="*/ 821080 h 1280224"/>
                <a:gd name="connsiteX164" fmla="*/ 987354 w 1034979"/>
                <a:gd name="connsiteY164" fmla="*/ 813460 h 1280224"/>
                <a:gd name="connsiteX165" fmla="*/ 975924 w 1034979"/>
                <a:gd name="connsiteY165" fmla="*/ 809650 h 1280224"/>
                <a:gd name="connsiteX166" fmla="*/ 970209 w 1034979"/>
                <a:gd name="connsiteY166" fmla="*/ 807745 h 1280224"/>
                <a:gd name="connsiteX167" fmla="*/ 962589 w 1034979"/>
                <a:gd name="connsiteY167" fmla="*/ 805840 h 1280224"/>
                <a:gd name="connsiteX168" fmla="*/ 956874 w 1034979"/>
                <a:gd name="connsiteY168" fmla="*/ 803935 h 1280224"/>
                <a:gd name="connsiteX169" fmla="*/ 935919 w 1034979"/>
                <a:gd name="connsiteY169" fmla="*/ 798220 h 1280224"/>
                <a:gd name="connsiteX170" fmla="*/ 930204 w 1034979"/>
                <a:gd name="connsiteY170" fmla="*/ 796315 h 1280224"/>
                <a:gd name="connsiteX171" fmla="*/ 825429 w 1034979"/>
                <a:gd name="connsiteY171" fmla="*/ 798220 h 1280224"/>
                <a:gd name="connsiteX172" fmla="*/ 819714 w 1034979"/>
                <a:gd name="connsiteY172" fmla="*/ 800125 h 1280224"/>
                <a:gd name="connsiteX173" fmla="*/ 730179 w 1034979"/>
                <a:gd name="connsiteY173" fmla="*/ 802030 h 1280224"/>
                <a:gd name="connsiteX174" fmla="*/ 716844 w 1034979"/>
                <a:gd name="connsiteY174" fmla="*/ 805840 h 1280224"/>
                <a:gd name="connsiteX175" fmla="*/ 695889 w 1034979"/>
                <a:gd name="connsiteY175" fmla="*/ 807745 h 1280224"/>
                <a:gd name="connsiteX176" fmla="*/ 669219 w 1034979"/>
                <a:gd name="connsiteY176" fmla="*/ 809650 h 1280224"/>
                <a:gd name="connsiteX177" fmla="*/ 669219 w 1034979"/>
                <a:gd name="connsiteY177" fmla="*/ 809650 h 1280224"/>
                <a:gd name="connsiteX178" fmla="*/ 646359 w 1034979"/>
                <a:gd name="connsiteY178" fmla="*/ 813460 h 1280224"/>
                <a:gd name="connsiteX179" fmla="*/ 642549 w 1034979"/>
                <a:gd name="connsiteY179" fmla="*/ 802030 h 1280224"/>
                <a:gd name="connsiteX180" fmla="*/ 640644 w 1034979"/>
                <a:gd name="connsiteY180" fmla="*/ 796315 h 1280224"/>
                <a:gd name="connsiteX181" fmla="*/ 642549 w 1034979"/>
                <a:gd name="connsiteY181" fmla="*/ 779170 h 1280224"/>
                <a:gd name="connsiteX182" fmla="*/ 644454 w 1034979"/>
                <a:gd name="connsiteY182" fmla="*/ 773455 h 1280224"/>
                <a:gd name="connsiteX183" fmla="*/ 661599 w 1034979"/>
                <a:gd name="connsiteY183" fmla="*/ 763930 h 1280224"/>
                <a:gd name="connsiteX184" fmla="*/ 673029 w 1034979"/>
                <a:gd name="connsiteY184" fmla="*/ 756310 h 1280224"/>
                <a:gd name="connsiteX185" fmla="*/ 674934 w 1034979"/>
                <a:gd name="connsiteY185" fmla="*/ 750595 h 1280224"/>
                <a:gd name="connsiteX186" fmla="*/ 680649 w 1034979"/>
                <a:gd name="connsiteY186" fmla="*/ 748690 h 1280224"/>
                <a:gd name="connsiteX187" fmla="*/ 686364 w 1034979"/>
                <a:gd name="connsiteY187" fmla="*/ 744880 h 1280224"/>
                <a:gd name="connsiteX188" fmla="*/ 695889 w 1034979"/>
                <a:gd name="connsiteY188" fmla="*/ 735355 h 1280224"/>
                <a:gd name="connsiteX189" fmla="*/ 705414 w 1034979"/>
                <a:gd name="connsiteY189" fmla="*/ 723925 h 1280224"/>
                <a:gd name="connsiteX190" fmla="*/ 716844 w 1034979"/>
                <a:gd name="connsiteY190" fmla="*/ 716305 h 1280224"/>
                <a:gd name="connsiteX191" fmla="*/ 732084 w 1034979"/>
                <a:gd name="connsiteY191" fmla="*/ 702970 h 1280224"/>
                <a:gd name="connsiteX192" fmla="*/ 741609 w 1034979"/>
                <a:gd name="connsiteY192" fmla="*/ 691540 h 1280224"/>
                <a:gd name="connsiteX193" fmla="*/ 753039 w 1034979"/>
                <a:gd name="connsiteY193" fmla="*/ 682015 h 1280224"/>
                <a:gd name="connsiteX194" fmla="*/ 758754 w 1034979"/>
                <a:gd name="connsiteY194" fmla="*/ 670585 h 1280224"/>
                <a:gd name="connsiteX195" fmla="*/ 760659 w 1034979"/>
                <a:gd name="connsiteY195" fmla="*/ 664870 h 1280224"/>
                <a:gd name="connsiteX196" fmla="*/ 766374 w 1034979"/>
                <a:gd name="connsiteY196" fmla="*/ 653440 h 1280224"/>
                <a:gd name="connsiteX197" fmla="*/ 764469 w 1034979"/>
                <a:gd name="connsiteY197" fmla="*/ 638200 h 1280224"/>
                <a:gd name="connsiteX198" fmla="*/ 758754 w 1034979"/>
                <a:gd name="connsiteY198" fmla="*/ 636295 h 1280224"/>
                <a:gd name="connsiteX199" fmla="*/ 737799 w 1034979"/>
                <a:gd name="connsiteY199" fmla="*/ 638200 h 1280224"/>
                <a:gd name="connsiteX200" fmla="*/ 732084 w 1034979"/>
                <a:gd name="connsiteY200" fmla="*/ 642010 h 1280224"/>
                <a:gd name="connsiteX201" fmla="*/ 720654 w 1034979"/>
                <a:gd name="connsiteY201" fmla="*/ 645820 h 1280224"/>
                <a:gd name="connsiteX202" fmla="*/ 716844 w 1034979"/>
                <a:gd name="connsiteY202" fmla="*/ 651535 h 1280224"/>
                <a:gd name="connsiteX203" fmla="*/ 711129 w 1034979"/>
                <a:gd name="connsiteY203" fmla="*/ 653440 h 1280224"/>
                <a:gd name="connsiteX204" fmla="*/ 705414 w 1034979"/>
                <a:gd name="connsiteY204" fmla="*/ 657250 h 1280224"/>
                <a:gd name="connsiteX205" fmla="*/ 699699 w 1034979"/>
                <a:gd name="connsiteY205" fmla="*/ 662965 h 1280224"/>
                <a:gd name="connsiteX206" fmla="*/ 692079 w 1034979"/>
                <a:gd name="connsiteY206" fmla="*/ 666775 h 1280224"/>
                <a:gd name="connsiteX207" fmla="*/ 650169 w 1034979"/>
                <a:gd name="connsiteY207" fmla="*/ 695350 h 1280224"/>
                <a:gd name="connsiteX208" fmla="*/ 636834 w 1034979"/>
                <a:gd name="connsiteY208" fmla="*/ 706780 h 1280224"/>
                <a:gd name="connsiteX209" fmla="*/ 627309 w 1034979"/>
                <a:gd name="connsiteY209" fmla="*/ 723925 h 1280224"/>
                <a:gd name="connsiteX210" fmla="*/ 602544 w 1034979"/>
                <a:gd name="connsiteY210" fmla="*/ 729640 h 1280224"/>
                <a:gd name="connsiteX211" fmla="*/ 589209 w 1034979"/>
                <a:gd name="connsiteY211" fmla="*/ 733450 h 1280224"/>
                <a:gd name="connsiteX212" fmla="*/ 573969 w 1034979"/>
                <a:gd name="connsiteY212" fmla="*/ 731545 h 1280224"/>
                <a:gd name="connsiteX213" fmla="*/ 562539 w 1034979"/>
                <a:gd name="connsiteY213" fmla="*/ 727735 h 1280224"/>
                <a:gd name="connsiteX214" fmla="*/ 551109 w 1034979"/>
                <a:gd name="connsiteY214" fmla="*/ 723925 h 1280224"/>
                <a:gd name="connsiteX215" fmla="*/ 539679 w 1034979"/>
                <a:gd name="connsiteY215" fmla="*/ 720115 h 1280224"/>
                <a:gd name="connsiteX216" fmla="*/ 533964 w 1034979"/>
                <a:gd name="connsiteY216" fmla="*/ 718210 h 1280224"/>
                <a:gd name="connsiteX217" fmla="*/ 528249 w 1034979"/>
                <a:gd name="connsiteY217" fmla="*/ 714400 h 1280224"/>
                <a:gd name="connsiteX218" fmla="*/ 516819 w 1034979"/>
                <a:gd name="connsiteY218" fmla="*/ 708685 h 1280224"/>
                <a:gd name="connsiteX219" fmla="*/ 509199 w 1034979"/>
                <a:gd name="connsiteY219" fmla="*/ 697255 h 1280224"/>
                <a:gd name="connsiteX220" fmla="*/ 505389 w 1034979"/>
                <a:gd name="connsiteY220" fmla="*/ 676300 h 1280224"/>
                <a:gd name="connsiteX221" fmla="*/ 507294 w 1034979"/>
                <a:gd name="connsiteY221" fmla="*/ 611530 h 1280224"/>
                <a:gd name="connsiteX222" fmla="*/ 513009 w 1034979"/>
                <a:gd name="connsiteY222" fmla="*/ 598195 h 1280224"/>
                <a:gd name="connsiteX223" fmla="*/ 503484 w 1034979"/>
                <a:gd name="connsiteY223" fmla="*/ 121945 h 1280224"/>
                <a:gd name="connsiteX224" fmla="*/ 429189 w 1034979"/>
                <a:gd name="connsiteY224" fmla="*/ 1930 h 1280224"/>
                <a:gd name="connsiteX225" fmla="*/ 433083 w 1034979"/>
                <a:gd name="connsiteY225" fmla="*/ 428482 h 1280224"/>
                <a:gd name="connsiteX226" fmla="*/ 425379 w 1034979"/>
                <a:gd name="connsiteY226" fmla="*/ 577449 h 1280224"/>
                <a:gd name="connsiteX227" fmla="*/ 417759 w 1034979"/>
                <a:gd name="connsiteY227" fmla="*/ 609625 h 1280224"/>
                <a:gd name="connsiteX228" fmla="*/ 413949 w 1034979"/>
                <a:gd name="connsiteY228" fmla="*/ 626770 h 1280224"/>
                <a:gd name="connsiteX229" fmla="*/ 417759 w 1034979"/>
                <a:gd name="connsiteY229" fmla="*/ 647725 h 1280224"/>
                <a:gd name="connsiteX230" fmla="*/ 421569 w 1034979"/>
                <a:gd name="connsiteY230" fmla="*/ 653440 h 1280224"/>
                <a:gd name="connsiteX231" fmla="*/ 425379 w 1034979"/>
                <a:gd name="connsiteY231" fmla="*/ 664870 h 1280224"/>
                <a:gd name="connsiteX232" fmla="*/ 423474 w 1034979"/>
                <a:gd name="connsiteY232" fmla="*/ 691540 h 1280224"/>
                <a:gd name="connsiteX233" fmla="*/ 417759 w 1034979"/>
                <a:gd name="connsiteY233" fmla="*/ 693445 h 1280224"/>
                <a:gd name="connsiteX234" fmla="*/ 412044 w 1034979"/>
                <a:gd name="connsiteY234" fmla="*/ 697255 h 1280224"/>
                <a:gd name="connsiteX235" fmla="*/ 421569 w 1034979"/>
                <a:gd name="connsiteY235" fmla="*/ 693445 h 1280224"/>
                <a:gd name="connsiteX0" fmla="*/ 421569 w 1034979"/>
                <a:gd name="connsiteY0" fmla="*/ 693445 h 1280224"/>
                <a:gd name="connsiteX1" fmla="*/ 421569 w 1034979"/>
                <a:gd name="connsiteY1" fmla="*/ 693445 h 1280224"/>
                <a:gd name="connsiteX2" fmla="*/ 394899 w 1034979"/>
                <a:gd name="connsiteY2" fmla="*/ 702970 h 1280224"/>
                <a:gd name="connsiteX3" fmla="*/ 387279 w 1034979"/>
                <a:gd name="connsiteY3" fmla="*/ 704875 h 1280224"/>
                <a:gd name="connsiteX4" fmla="*/ 356799 w 1034979"/>
                <a:gd name="connsiteY4" fmla="*/ 706780 h 1280224"/>
                <a:gd name="connsiteX5" fmla="*/ 351084 w 1034979"/>
                <a:gd name="connsiteY5" fmla="*/ 710590 h 1280224"/>
                <a:gd name="connsiteX6" fmla="*/ 339654 w 1034979"/>
                <a:gd name="connsiteY6" fmla="*/ 720115 h 1280224"/>
                <a:gd name="connsiteX7" fmla="*/ 328224 w 1034979"/>
                <a:gd name="connsiteY7" fmla="*/ 723925 h 1280224"/>
                <a:gd name="connsiteX8" fmla="*/ 312984 w 1034979"/>
                <a:gd name="connsiteY8" fmla="*/ 729640 h 1280224"/>
                <a:gd name="connsiteX9" fmla="*/ 265359 w 1034979"/>
                <a:gd name="connsiteY9" fmla="*/ 725830 h 1280224"/>
                <a:gd name="connsiteX10" fmla="*/ 253929 w 1034979"/>
                <a:gd name="connsiteY10" fmla="*/ 722020 h 1280224"/>
                <a:gd name="connsiteX11" fmla="*/ 242499 w 1034979"/>
                <a:gd name="connsiteY11" fmla="*/ 718210 h 1280224"/>
                <a:gd name="connsiteX12" fmla="*/ 236784 w 1034979"/>
                <a:gd name="connsiteY12" fmla="*/ 716305 h 1280224"/>
                <a:gd name="connsiteX13" fmla="*/ 231069 w 1034979"/>
                <a:gd name="connsiteY13" fmla="*/ 714400 h 1280224"/>
                <a:gd name="connsiteX14" fmla="*/ 219639 w 1034979"/>
                <a:gd name="connsiteY14" fmla="*/ 712495 h 1280224"/>
                <a:gd name="connsiteX15" fmla="*/ 213924 w 1034979"/>
                <a:gd name="connsiteY15" fmla="*/ 710590 h 1280224"/>
                <a:gd name="connsiteX16" fmla="*/ 206304 w 1034979"/>
                <a:gd name="connsiteY16" fmla="*/ 708685 h 1280224"/>
                <a:gd name="connsiteX17" fmla="*/ 194874 w 1034979"/>
                <a:gd name="connsiteY17" fmla="*/ 704875 h 1280224"/>
                <a:gd name="connsiteX18" fmla="*/ 189159 w 1034979"/>
                <a:gd name="connsiteY18" fmla="*/ 702970 h 1280224"/>
                <a:gd name="connsiteX19" fmla="*/ 181539 w 1034979"/>
                <a:gd name="connsiteY19" fmla="*/ 701065 h 1280224"/>
                <a:gd name="connsiteX20" fmla="*/ 170109 w 1034979"/>
                <a:gd name="connsiteY20" fmla="*/ 695350 h 1280224"/>
                <a:gd name="connsiteX21" fmla="*/ 164394 w 1034979"/>
                <a:gd name="connsiteY21" fmla="*/ 691540 h 1280224"/>
                <a:gd name="connsiteX22" fmla="*/ 156774 w 1034979"/>
                <a:gd name="connsiteY22" fmla="*/ 680110 h 1280224"/>
                <a:gd name="connsiteX23" fmla="*/ 145344 w 1034979"/>
                <a:gd name="connsiteY23" fmla="*/ 676300 h 1280224"/>
                <a:gd name="connsiteX24" fmla="*/ 139629 w 1034979"/>
                <a:gd name="connsiteY24" fmla="*/ 672490 h 1280224"/>
                <a:gd name="connsiteX25" fmla="*/ 133914 w 1034979"/>
                <a:gd name="connsiteY25" fmla="*/ 670585 h 1280224"/>
                <a:gd name="connsiteX26" fmla="*/ 116769 w 1034979"/>
                <a:gd name="connsiteY26" fmla="*/ 666775 h 1280224"/>
                <a:gd name="connsiteX27" fmla="*/ 111054 w 1034979"/>
                <a:gd name="connsiteY27" fmla="*/ 661060 h 1280224"/>
                <a:gd name="connsiteX28" fmla="*/ 101529 w 1034979"/>
                <a:gd name="connsiteY28" fmla="*/ 643915 h 1280224"/>
                <a:gd name="connsiteX29" fmla="*/ 84384 w 1034979"/>
                <a:gd name="connsiteY29" fmla="*/ 636295 h 1280224"/>
                <a:gd name="connsiteX30" fmla="*/ 78669 w 1034979"/>
                <a:gd name="connsiteY30" fmla="*/ 634390 h 1280224"/>
                <a:gd name="connsiteX31" fmla="*/ 59619 w 1034979"/>
                <a:gd name="connsiteY31" fmla="*/ 638200 h 1280224"/>
                <a:gd name="connsiteX32" fmla="*/ 53904 w 1034979"/>
                <a:gd name="connsiteY32" fmla="*/ 642010 h 1280224"/>
                <a:gd name="connsiteX33" fmla="*/ 50094 w 1034979"/>
                <a:gd name="connsiteY33" fmla="*/ 647725 h 1280224"/>
                <a:gd name="connsiteX34" fmla="*/ 46284 w 1034979"/>
                <a:gd name="connsiteY34" fmla="*/ 659155 h 1280224"/>
                <a:gd name="connsiteX35" fmla="*/ 50094 w 1034979"/>
                <a:gd name="connsiteY35" fmla="*/ 697255 h 1280224"/>
                <a:gd name="connsiteX36" fmla="*/ 53904 w 1034979"/>
                <a:gd name="connsiteY36" fmla="*/ 702970 h 1280224"/>
                <a:gd name="connsiteX37" fmla="*/ 59619 w 1034979"/>
                <a:gd name="connsiteY37" fmla="*/ 706780 h 1280224"/>
                <a:gd name="connsiteX38" fmla="*/ 63429 w 1034979"/>
                <a:gd name="connsiteY38" fmla="*/ 712495 h 1280224"/>
                <a:gd name="connsiteX39" fmla="*/ 80574 w 1034979"/>
                <a:gd name="connsiteY39" fmla="*/ 722020 h 1280224"/>
                <a:gd name="connsiteX40" fmla="*/ 103434 w 1034979"/>
                <a:gd name="connsiteY40" fmla="*/ 723925 h 1280224"/>
                <a:gd name="connsiteX41" fmla="*/ 124389 w 1034979"/>
                <a:gd name="connsiteY41" fmla="*/ 729640 h 1280224"/>
                <a:gd name="connsiteX42" fmla="*/ 130104 w 1034979"/>
                <a:gd name="connsiteY42" fmla="*/ 731545 h 1280224"/>
                <a:gd name="connsiteX43" fmla="*/ 135819 w 1034979"/>
                <a:gd name="connsiteY43" fmla="*/ 737260 h 1280224"/>
                <a:gd name="connsiteX44" fmla="*/ 143439 w 1034979"/>
                <a:gd name="connsiteY44" fmla="*/ 739165 h 1280224"/>
                <a:gd name="connsiteX45" fmla="*/ 166299 w 1034979"/>
                <a:gd name="connsiteY45" fmla="*/ 742975 h 1280224"/>
                <a:gd name="connsiteX46" fmla="*/ 191064 w 1034979"/>
                <a:gd name="connsiteY46" fmla="*/ 748690 h 1280224"/>
                <a:gd name="connsiteX47" fmla="*/ 208209 w 1034979"/>
                <a:gd name="connsiteY47" fmla="*/ 754405 h 1280224"/>
                <a:gd name="connsiteX48" fmla="*/ 213924 w 1034979"/>
                <a:gd name="connsiteY48" fmla="*/ 756310 h 1280224"/>
                <a:gd name="connsiteX49" fmla="*/ 229164 w 1034979"/>
                <a:gd name="connsiteY49" fmla="*/ 760120 h 1280224"/>
                <a:gd name="connsiteX50" fmla="*/ 248214 w 1034979"/>
                <a:gd name="connsiteY50" fmla="*/ 765835 h 1280224"/>
                <a:gd name="connsiteX51" fmla="*/ 253929 w 1034979"/>
                <a:gd name="connsiteY51" fmla="*/ 769645 h 1280224"/>
                <a:gd name="connsiteX52" fmla="*/ 267264 w 1034979"/>
                <a:gd name="connsiteY52" fmla="*/ 784885 h 1280224"/>
                <a:gd name="connsiteX53" fmla="*/ 272979 w 1034979"/>
                <a:gd name="connsiteY53" fmla="*/ 803935 h 1280224"/>
                <a:gd name="connsiteX54" fmla="*/ 274884 w 1034979"/>
                <a:gd name="connsiteY54" fmla="*/ 809650 h 1280224"/>
                <a:gd name="connsiteX55" fmla="*/ 276789 w 1034979"/>
                <a:gd name="connsiteY55" fmla="*/ 815365 h 1280224"/>
                <a:gd name="connsiteX56" fmla="*/ 278694 w 1034979"/>
                <a:gd name="connsiteY56" fmla="*/ 840130 h 1280224"/>
                <a:gd name="connsiteX57" fmla="*/ 280599 w 1034979"/>
                <a:gd name="connsiteY57" fmla="*/ 845845 h 1280224"/>
                <a:gd name="connsiteX58" fmla="*/ 278694 w 1034979"/>
                <a:gd name="connsiteY58" fmla="*/ 864895 h 1280224"/>
                <a:gd name="connsiteX59" fmla="*/ 276789 w 1034979"/>
                <a:gd name="connsiteY59" fmla="*/ 874420 h 1280224"/>
                <a:gd name="connsiteX60" fmla="*/ 263454 w 1034979"/>
                <a:gd name="connsiteY60" fmla="*/ 887755 h 1280224"/>
                <a:gd name="connsiteX61" fmla="*/ 252024 w 1034979"/>
                <a:gd name="connsiteY61" fmla="*/ 895375 h 1280224"/>
                <a:gd name="connsiteX62" fmla="*/ 240594 w 1034979"/>
                <a:gd name="connsiteY62" fmla="*/ 899185 h 1280224"/>
                <a:gd name="connsiteX63" fmla="*/ 126294 w 1034979"/>
                <a:gd name="connsiteY63" fmla="*/ 899185 h 1280224"/>
                <a:gd name="connsiteX64" fmla="*/ 120579 w 1034979"/>
                <a:gd name="connsiteY64" fmla="*/ 901090 h 1280224"/>
                <a:gd name="connsiteX65" fmla="*/ 105339 w 1034979"/>
                <a:gd name="connsiteY65" fmla="*/ 902995 h 1280224"/>
                <a:gd name="connsiteX66" fmla="*/ 88194 w 1034979"/>
                <a:gd name="connsiteY66" fmla="*/ 908710 h 1280224"/>
                <a:gd name="connsiteX67" fmla="*/ 82479 w 1034979"/>
                <a:gd name="connsiteY67" fmla="*/ 910615 h 1280224"/>
                <a:gd name="connsiteX68" fmla="*/ 76764 w 1034979"/>
                <a:gd name="connsiteY68" fmla="*/ 914425 h 1280224"/>
                <a:gd name="connsiteX69" fmla="*/ 65334 w 1034979"/>
                <a:gd name="connsiteY69" fmla="*/ 916330 h 1280224"/>
                <a:gd name="connsiteX70" fmla="*/ 27234 w 1034979"/>
                <a:gd name="connsiteY70" fmla="*/ 918235 h 1280224"/>
                <a:gd name="connsiteX71" fmla="*/ 15804 w 1034979"/>
                <a:gd name="connsiteY71" fmla="*/ 923950 h 1280224"/>
                <a:gd name="connsiteX72" fmla="*/ 6279 w 1034979"/>
                <a:gd name="connsiteY72" fmla="*/ 933475 h 1280224"/>
                <a:gd name="connsiteX73" fmla="*/ 4374 w 1034979"/>
                <a:gd name="connsiteY73" fmla="*/ 939190 h 1280224"/>
                <a:gd name="connsiteX74" fmla="*/ 564 w 1034979"/>
                <a:gd name="connsiteY74" fmla="*/ 944905 h 1280224"/>
                <a:gd name="connsiteX75" fmla="*/ 6279 w 1034979"/>
                <a:gd name="connsiteY75" fmla="*/ 977290 h 1280224"/>
                <a:gd name="connsiteX76" fmla="*/ 11994 w 1034979"/>
                <a:gd name="connsiteY76" fmla="*/ 981100 h 1280224"/>
                <a:gd name="connsiteX77" fmla="*/ 17709 w 1034979"/>
                <a:gd name="connsiteY77" fmla="*/ 983005 h 1280224"/>
                <a:gd name="connsiteX78" fmla="*/ 145344 w 1034979"/>
                <a:gd name="connsiteY78" fmla="*/ 981100 h 1280224"/>
                <a:gd name="connsiteX79" fmla="*/ 152964 w 1034979"/>
                <a:gd name="connsiteY79" fmla="*/ 979195 h 1280224"/>
                <a:gd name="connsiteX80" fmla="*/ 303459 w 1034979"/>
                <a:gd name="connsiteY80" fmla="*/ 973480 h 1280224"/>
                <a:gd name="connsiteX81" fmla="*/ 318699 w 1034979"/>
                <a:gd name="connsiteY81" fmla="*/ 981100 h 1280224"/>
                <a:gd name="connsiteX82" fmla="*/ 330129 w 1034979"/>
                <a:gd name="connsiteY82" fmla="*/ 986815 h 1280224"/>
                <a:gd name="connsiteX83" fmla="*/ 333939 w 1034979"/>
                <a:gd name="connsiteY83" fmla="*/ 992530 h 1280224"/>
                <a:gd name="connsiteX84" fmla="*/ 339654 w 1034979"/>
                <a:gd name="connsiteY84" fmla="*/ 994435 h 1280224"/>
                <a:gd name="connsiteX85" fmla="*/ 351084 w 1034979"/>
                <a:gd name="connsiteY85" fmla="*/ 1002055 h 1280224"/>
                <a:gd name="connsiteX86" fmla="*/ 356799 w 1034979"/>
                <a:gd name="connsiteY86" fmla="*/ 1005865 h 1280224"/>
                <a:gd name="connsiteX87" fmla="*/ 360609 w 1034979"/>
                <a:gd name="connsiteY87" fmla="*/ 1011580 h 1280224"/>
                <a:gd name="connsiteX88" fmla="*/ 366324 w 1034979"/>
                <a:gd name="connsiteY88" fmla="*/ 1023010 h 1280224"/>
                <a:gd name="connsiteX89" fmla="*/ 362514 w 1034979"/>
                <a:gd name="connsiteY89" fmla="*/ 1049680 h 1280224"/>
                <a:gd name="connsiteX90" fmla="*/ 358704 w 1034979"/>
                <a:gd name="connsiteY90" fmla="*/ 1055395 h 1280224"/>
                <a:gd name="connsiteX91" fmla="*/ 356799 w 1034979"/>
                <a:gd name="connsiteY91" fmla="*/ 1061110 h 1280224"/>
                <a:gd name="connsiteX92" fmla="*/ 352989 w 1034979"/>
                <a:gd name="connsiteY92" fmla="*/ 1066825 h 1280224"/>
                <a:gd name="connsiteX93" fmla="*/ 351084 w 1034979"/>
                <a:gd name="connsiteY93" fmla="*/ 1072540 h 1280224"/>
                <a:gd name="connsiteX94" fmla="*/ 347274 w 1034979"/>
                <a:gd name="connsiteY94" fmla="*/ 1078255 h 1280224"/>
                <a:gd name="connsiteX95" fmla="*/ 330129 w 1034979"/>
                <a:gd name="connsiteY95" fmla="*/ 1144930 h 1280224"/>
                <a:gd name="connsiteX96" fmla="*/ 328224 w 1034979"/>
                <a:gd name="connsiteY96" fmla="*/ 1196365 h 1280224"/>
                <a:gd name="connsiteX97" fmla="*/ 330129 w 1034979"/>
                <a:gd name="connsiteY97" fmla="*/ 1221130 h 1280224"/>
                <a:gd name="connsiteX98" fmla="*/ 332034 w 1034979"/>
                <a:gd name="connsiteY98" fmla="*/ 1226845 h 1280224"/>
                <a:gd name="connsiteX99" fmla="*/ 335844 w 1034979"/>
                <a:gd name="connsiteY99" fmla="*/ 1230655 h 1280224"/>
                <a:gd name="connsiteX100" fmla="*/ 364419 w 1034979"/>
                <a:gd name="connsiteY100" fmla="*/ 1276375 h 1280224"/>
                <a:gd name="connsiteX101" fmla="*/ 387279 w 1034979"/>
                <a:gd name="connsiteY101" fmla="*/ 1278280 h 1280224"/>
                <a:gd name="connsiteX102" fmla="*/ 392994 w 1034979"/>
                <a:gd name="connsiteY102" fmla="*/ 1272565 h 1280224"/>
                <a:gd name="connsiteX103" fmla="*/ 394899 w 1034979"/>
                <a:gd name="connsiteY103" fmla="*/ 1261135 h 1280224"/>
                <a:gd name="connsiteX104" fmla="*/ 396804 w 1034979"/>
                <a:gd name="connsiteY104" fmla="*/ 1255420 h 1280224"/>
                <a:gd name="connsiteX105" fmla="*/ 398709 w 1034979"/>
                <a:gd name="connsiteY105" fmla="*/ 1238275 h 1280224"/>
                <a:gd name="connsiteX106" fmla="*/ 400614 w 1034979"/>
                <a:gd name="connsiteY106" fmla="*/ 1224940 h 1280224"/>
                <a:gd name="connsiteX107" fmla="*/ 404424 w 1034979"/>
                <a:gd name="connsiteY107" fmla="*/ 1167790 h 1280224"/>
                <a:gd name="connsiteX108" fmla="*/ 410139 w 1034979"/>
                <a:gd name="connsiteY108" fmla="*/ 1156360 h 1280224"/>
                <a:gd name="connsiteX109" fmla="*/ 413949 w 1034979"/>
                <a:gd name="connsiteY109" fmla="*/ 1143025 h 1280224"/>
                <a:gd name="connsiteX110" fmla="*/ 415854 w 1034979"/>
                <a:gd name="connsiteY110" fmla="*/ 1137310 h 1280224"/>
                <a:gd name="connsiteX111" fmla="*/ 417759 w 1034979"/>
                <a:gd name="connsiteY111" fmla="*/ 1123975 h 1280224"/>
                <a:gd name="connsiteX112" fmla="*/ 421569 w 1034979"/>
                <a:gd name="connsiteY112" fmla="*/ 1112545 h 1280224"/>
                <a:gd name="connsiteX113" fmla="*/ 427284 w 1034979"/>
                <a:gd name="connsiteY113" fmla="*/ 1099210 h 1280224"/>
                <a:gd name="connsiteX114" fmla="*/ 436809 w 1034979"/>
                <a:gd name="connsiteY114" fmla="*/ 1087780 h 1280224"/>
                <a:gd name="connsiteX115" fmla="*/ 450144 w 1034979"/>
                <a:gd name="connsiteY115" fmla="*/ 1072540 h 1280224"/>
                <a:gd name="connsiteX116" fmla="*/ 457764 w 1034979"/>
                <a:gd name="connsiteY116" fmla="*/ 1061110 h 1280224"/>
                <a:gd name="connsiteX117" fmla="*/ 461574 w 1034979"/>
                <a:gd name="connsiteY117" fmla="*/ 1049680 h 1280224"/>
                <a:gd name="connsiteX118" fmla="*/ 465384 w 1034979"/>
                <a:gd name="connsiteY118" fmla="*/ 1034440 h 1280224"/>
                <a:gd name="connsiteX119" fmla="*/ 467289 w 1034979"/>
                <a:gd name="connsiteY119" fmla="*/ 1028725 h 1280224"/>
                <a:gd name="connsiteX120" fmla="*/ 507294 w 1034979"/>
                <a:gd name="connsiteY120" fmla="*/ 1023010 h 1280224"/>
                <a:gd name="connsiteX121" fmla="*/ 535869 w 1034979"/>
                <a:gd name="connsiteY121" fmla="*/ 1013485 h 1280224"/>
                <a:gd name="connsiteX122" fmla="*/ 541584 w 1034979"/>
                <a:gd name="connsiteY122" fmla="*/ 1011580 h 1280224"/>
                <a:gd name="connsiteX123" fmla="*/ 547299 w 1034979"/>
                <a:gd name="connsiteY123" fmla="*/ 1009675 h 1280224"/>
                <a:gd name="connsiteX124" fmla="*/ 554919 w 1034979"/>
                <a:gd name="connsiteY124" fmla="*/ 1007770 h 1280224"/>
                <a:gd name="connsiteX125" fmla="*/ 573969 w 1034979"/>
                <a:gd name="connsiteY125" fmla="*/ 1000150 h 1280224"/>
                <a:gd name="connsiteX126" fmla="*/ 585399 w 1034979"/>
                <a:gd name="connsiteY126" fmla="*/ 996340 h 1280224"/>
                <a:gd name="connsiteX127" fmla="*/ 720654 w 1034979"/>
                <a:gd name="connsiteY127" fmla="*/ 1080160 h 1280224"/>
                <a:gd name="connsiteX128" fmla="*/ 733989 w 1034979"/>
                <a:gd name="connsiteY128" fmla="*/ 1089685 h 1280224"/>
                <a:gd name="connsiteX129" fmla="*/ 743514 w 1034979"/>
                <a:gd name="connsiteY129" fmla="*/ 1091590 h 1280224"/>
                <a:gd name="connsiteX130" fmla="*/ 749229 w 1034979"/>
                <a:gd name="connsiteY130" fmla="*/ 1093495 h 1280224"/>
                <a:gd name="connsiteX131" fmla="*/ 762564 w 1034979"/>
                <a:gd name="connsiteY131" fmla="*/ 1099210 h 1280224"/>
                <a:gd name="connsiteX132" fmla="*/ 777804 w 1034979"/>
                <a:gd name="connsiteY132" fmla="*/ 1097305 h 1280224"/>
                <a:gd name="connsiteX133" fmla="*/ 789234 w 1034979"/>
                <a:gd name="connsiteY133" fmla="*/ 1091590 h 1280224"/>
                <a:gd name="connsiteX134" fmla="*/ 794949 w 1034979"/>
                <a:gd name="connsiteY134" fmla="*/ 1089685 h 1280224"/>
                <a:gd name="connsiteX135" fmla="*/ 802569 w 1034979"/>
                <a:gd name="connsiteY135" fmla="*/ 1072540 h 1280224"/>
                <a:gd name="connsiteX136" fmla="*/ 800664 w 1034979"/>
                <a:gd name="connsiteY136" fmla="*/ 1047775 h 1280224"/>
                <a:gd name="connsiteX137" fmla="*/ 798759 w 1034979"/>
                <a:gd name="connsiteY137" fmla="*/ 1042060 h 1280224"/>
                <a:gd name="connsiteX138" fmla="*/ 796854 w 1034979"/>
                <a:gd name="connsiteY138" fmla="*/ 1034440 h 1280224"/>
                <a:gd name="connsiteX139" fmla="*/ 783519 w 1034979"/>
                <a:gd name="connsiteY139" fmla="*/ 1017295 h 1280224"/>
                <a:gd name="connsiteX140" fmla="*/ 773994 w 1034979"/>
                <a:gd name="connsiteY140" fmla="*/ 1011580 h 1280224"/>
                <a:gd name="connsiteX141" fmla="*/ 648264 w 1034979"/>
                <a:gd name="connsiteY141" fmla="*/ 920140 h 1280224"/>
                <a:gd name="connsiteX142" fmla="*/ 644454 w 1034979"/>
                <a:gd name="connsiteY142" fmla="*/ 902995 h 1280224"/>
                <a:gd name="connsiteX143" fmla="*/ 646359 w 1034979"/>
                <a:gd name="connsiteY143" fmla="*/ 895375 h 1280224"/>
                <a:gd name="connsiteX144" fmla="*/ 650169 w 1034979"/>
                <a:gd name="connsiteY144" fmla="*/ 878230 h 1280224"/>
                <a:gd name="connsiteX145" fmla="*/ 653979 w 1034979"/>
                <a:gd name="connsiteY145" fmla="*/ 872515 h 1280224"/>
                <a:gd name="connsiteX146" fmla="*/ 655884 w 1034979"/>
                <a:gd name="connsiteY146" fmla="*/ 866800 h 1280224"/>
                <a:gd name="connsiteX147" fmla="*/ 661599 w 1034979"/>
                <a:gd name="connsiteY147" fmla="*/ 864895 h 1280224"/>
                <a:gd name="connsiteX148" fmla="*/ 671124 w 1034979"/>
                <a:gd name="connsiteY148" fmla="*/ 853465 h 1280224"/>
                <a:gd name="connsiteX149" fmla="*/ 724464 w 1034979"/>
                <a:gd name="connsiteY149" fmla="*/ 845845 h 1280224"/>
                <a:gd name="connsiteX150" fmla="*/ 842574 w 1034979"/>
                <a:gd name="connsiteY150" fmla="*/ 847750 h 1280224"/>
                <a:gd name="connsiteX151" fmla="*/ 871149 w 1034979"/>
                <a:gd name="connsiteY151" fmla="*/ 849655 h 1280224"/>
                <a:gd name="connsiteX152" fmla="*/ 899724 w 1034979"/>
                <a:gd name="connsiteY152" fmla="*/ 855370 h 1280224"/>
                <a:gd name="connsiteX153" fmla="*/ 922584 w 1034979"/>
                <a:gd name="connsiteY153" fmla="*/ 859180 h 1280224"/>
                <a:gd name="connsiteX154" fmla="*/ 951159 w 1034979"/>
                <a:gd name="connsiteY154" fmla="*/ 864895 h 1280224"/>
                <a:gd name="connsiteX155" fmla="*/ 956874 w 1034979"/>
                <a:gd name="connsiteY155" fmla="*/ 864895 h 1280224"/>
                <a:gd name="connsiteX156" fmla="*/ 1002594 w 1034979"/>
                <a:gd name="connsiteY156" fmla="*/ 862990 h 1280224"/>
                <a:gd name="connsiteX157" fmla="*/ 1031169 w 1034979"/>
                <a:gd name="connsiteY157" fmla="*/ 855370 h 1280224"/>
                <a:gd name="connsiteX158" fmla="*/ 1034979 w 1034979"/>
                <a:gd name="connsiteY158" fmla="*/ 849655 h 1280224"/>
                <a:gd name="connsiteX159" fmla="*/ 1033074 w 1034979"/>
                <a:gd name="connsiteY159" fmla="*/ 830605 h 1280224"/>
                <a:gd name="connsiteX160" fmla="*/ 1027359 w 1034979"/>
                <a:gd name="connsiteY160" fmla="*/ 826795 h 1280224"/>
                <a:gd name="connsiteX161" fmla="*/ 1012119 w 1034979"/>
                <a:gd name="connsiteY161" fmla="*/ 824890 h 1280224"/>
                <a:gd name="connsiteX162" fmla="*/ 1006404 w 1034979"/>
                <a:gd name="connsiteY162" fmla="*/ 822985 h 1280224"/>
                <a:gd name="connsiteX163" fmla="*/ 998784 w 1034979"/>
                <a:gd name="connsiteY163" fmla="*/ 821080 h 1280224"/>
                <a:gd name="connsiteX164" fmla="*/ 987354 w 1034979"/>
                <a:gd name="connsiteY164" fmla="*/ 813460 h 1280224"/>
                <a:gd name="connsiteX165" fmla="*/ 975924 w 1034979"/>
                <a:gd name="connsiteY165" fmla="*/ 809650 h 1280224"/>
                <a:gd name="connsiteX166" fmla="*/ 970209 w 1034979"/>
                <a:gd name="connsiteY166" fmla="*/ 807745 h 1280224"/>
                <a:gd name="connsiteX167" fmla="*/ 962589 w 1034979"/>
                <a:gd name="connsiteY167" fmla="*/ 805840 h 1280224"/>
                <a:gd name="connsiteX168" fmla="*/ 956874 w 1034979"/>
                <a:gd name="connsiteY168" fmla="*/ 803935 h 1280224"/>
                <a:gd name="connsiteX169" fmla="*/ 935919 w 1034979"/>
                <a:gd name="connsiteY169" fmla="*/ 798220 h 1280224"/>
                <a:gd name="connsiteX170" fmla="*/ 930204 w 1034979"/>
                <a:gd name="connsiteY170" fmla="*/ 796315 h 1280224"/>
                <a:gd name="connsiteX171" fmla="*/ 825429 w 1034979"/>
                <a:gd name="connsiteY171" fmla="*/ 798220 h 1280224"/>
                <a:gd name="connsiteX172" fmla="*/ 819714 w 1034979"/>
                <a:gd name="connsiteY172" fmla="*/ 800125 h 1280224"/>
                <a:gd name="connsiteX173" fmla="*/ 730179 w 1034979"/>
                <a:gd name="connsiteY173" fmla="*/ 802030 h 1280224"/>
                <a:gd name="connsiteX174" fmla="*/ 716844 w 1034979"/>
                <a:gd name="connsiteY174" fmla="*/ 805840 h 1280224"/>
                <a:gd name="connsiteX175" fmla="*/ 695889 w 1034979"/>
                <a:gd name="connsiteY175" fmla="*/ 807745 h 1280224"/>
                <a:gd name="connsiteX176" fmla="*/ 669219 w 1034979"/>
                <a:gd name="connsiteY176" fmla="*/ 809650 h 1280224"/>
                <a:gd name="connsiteX177" fmla="*/ 669219 w 1034979"/>
                <a:gd name="connsiteY177" fmla="*/ 809650 h 1280224"/>
                <a:gd name="connsiteX178" fmla="*/ 646359 w 1034979"/>
                <a:gd name="connsiteY178" fmla="*/ 813460 h 1280224"/>
                <a:gd name="connsiteX179" fmla="*/ 642549 w 1034979"/>
                <a:gd name="connsiteY179" fmla="*/ 802030 h 1280224"/>
                <a:gd name="connsiteX180" fmla="*/ 640644 w 1034979"/>
                <a:gd name="connsiteY180" fmla="*/ 796315 h 1280224"/>
                <a:gd name="connsiteX181" fmla="*/ 642549 w 1034979"/>
                <a:gd name="connsiteY181" fmla="*/ 779170 h 1280224"/>
                <a:gd name="connsiteX182" fmla="*/ 644454 w 1034979"/>
                <a:gd name="connsiteY182" fmla="*/ 773455 h 1280224"/>
                <a:gd name="connsiteX183" fmla="*/ 661599 w 1034979"/>
                <a:gd name="connsiteY183" fmla="*/ 763930 h 1280224"/>
                <a:gd name="connsiteX184" fmla="*/ 673029 w 1034979"/>
                <a:gd name="connsiteY184" fmla="*/ 756310 h 1280224"/>
                <a:gd name="connsiteX185" fmla="*/ 674934 w 1034979"/>
                <a:gd name="connsiteY185" fmla="*/ 750595 h 1280224"/>
                <a:gd name="connsiteX186" fmla="*/ 680649 w 1034979"/>
                <a:gd name="connsiteY186" fmla="*/ 748690 h 1280224"/>
                <a:gd name="connsiteX187" fmla="*/ 686364 w 1034979"/>
                <a:gd name="connsiteY187" fmla="*/ 744880 h 1280224"/>
                <a:gd name="connsiteX188" fmla="*/ 695889 w 1034979"/>
                <a:gd name="connsiteY188" fmla="*/ 735355 h 1280224"/>
                <a:gd name="connsiteX189" fmla="*/ 705414 w 1034979"/>
                <a:gd name="connsiteY189" fmla="*/ 723925 h 1280224"/>
                <a:gd name="connsiteX190" fmla="*/ 716844 w 1034979"/>
                <a:gd name="connsiteY190" fmla="*/ 716305 h 1280224"/>
                <a:gd name="connsiteX191" fmla="*/ 732084 w 1034979"/>
                <a:gd name="connsiteY191" fmla="*/ 702970 h 1280224"/>
                <a:gd name="connsiteX192" fmla="*/ 741609 w 1034979"/>
                <a:gd name="connsiteY192" fmla="*/ 691540 h 1280224"/>
                <a:gd name="connsiteX193" fmla="*/ 753039 w 1034979"/>
                <a:gd name="connsiteY193" fmla="*/ 682015 h 1280224"/>
                <a:gd name="connsiteX194" fmla="*/ 758754 w 1034979"/>
                <a:gd name="connsiteY194" fmla="*/ 670585 h 1280224"/>
                <a:gd name="connsiteX195" fmla="*/ 760659 w 1034979"/>
                <a:gd name="connsiteY195" fmla="*/ 664870 h 1280224"/>
                <a:gd name="connsiteX196" fmla="*/ 766374 w 1034979"/>
                <a:gd name="connsiteY196" fmla="*/ 653440 h 1280224"/>
                <a:gd name="connsiteX197" fmla="*/ 764469 w 1034979"/>
                <a:gd name="connsiteY197" fmla="*/ 638200 h 1280224"/>
                <a:gd name="connsiteX198" fmla="*/ 758754 w 1034979"/>
                <a:gd name="connsiteY198" fmla="*/ 636295 h 1280224"/>
                <a:gd name="connsiteX199" fmla="*/ 737799 w 1034979"/>
                <a:gd name="connsiteY199" fmla="*/ 638200 h 1280224"/>
                <a:gd name="connsiteX200" fmla="*/ 732084 w 1034979"/>
                <a:gd name="connsiteY200" fmla="*/ 642010 h 1280224"/>
                <a:gd name="connsiteX201" fmla="*/ 720654 w 1034979"/>
                <a:gd name="connsiteY201" fmla="*/ 645820 h 1280224"/>
                <a:gd name="connsiteX202" fmla="*/ 716844 w 1034979"/>
                <a:gd name="connsiteY202" fmla="*/ 651535 h 1280224"/>
                <a:gd name="connsiteX203" fmla="*/ 711129 w 1034979"/>
                <a:gd name="connsiteY203" fmla="*/ 653440 h 1280224"/>
                <a:gd name="connsiteX204" fmla="*/ 705414 w 1034979"/>
                <a:gd name="connsiteY204" fmla="*/ 657250 h 1280224"/>
                <a:gd name="connsiteX205" fmla="*/ 699699 w 1034979"/>
                <a:gd name="connsiteY205" fmla="*/ 662965 h 1280224"/>
                <a:gd name="connsiteX206" fmla="*/ 692079 w 1034979"/>
                <a:gd name="connsiteY206" fmla="*/ 666775 h 1280224"/>
                <a:gd name="connsiteX207" fmla="*/ 650169 w 1034979"/>
                <a:gd name="connsiteY207" fmla="*/ 695350 h 1280224"/>
                <a:gd name="connsiteX208" fmla="*/ 636834 w 1034979"/>
                <a:gd name="connsiteY208" fmla="*/ 706780 h 1280224"/>
                <a:gd name="connsiteX209" fmla="*/ 627309 w 1034979"/>
                <a:gd name="connsiteY209" fmla="*/ 723925 h 1280224"/>
                <a:gd name="connsiteX210" fmla="*/ 602544 w 1034979"/>
                <a:gd name="connsiteY210" fmla="*/ 729640 h 1280224"/>
                <a:gd name="connsiteX211" fmla="*/ 589209 w 1034979"/>
                <a:gd name="connsiteY211" fmla="*/ 733450 h 1280224"/>
                <a:gd name="connsiteX212" fmla="*/ 573969 w 1034979"/>
                <a:gd name="connsiteY212" fmla="*/ 731545 h 1280224"/>
                <a:gd name="connsiteX213" fmla="*/ 562539 w 1034979"/>
                <a:gd name="connsiteY213" fmla="*/ 727735 h 1280224"/>
                <a:gd name="connsiteX214" fmla="*/ 551109 w 1034979"/>
                <a:gd name="connsiteY214" fmla="*/ 723925 h 1280224"/>
                <a:gd name="connsiteX215" fmla="*/ 539679 w 1034979"/>
                <a:gd name="connsiteY215" fmla="*/ 720115 h 1280224"/>
                <a:gd name="connsiteX216" fmla="*/ 533964 w 1034979"/>
                <a:gd name="connsiteY216" fmla="*/ 718210 h 1280224"/>
                <a:gd name="connsiteX217" fmla="*/ 528249 w 1034979"/>
                <a:gd name="connsiteY217" fmla="*/ 714400 h 1280224"/>
                <a:gd name="connsiteX218" fmla="*/ 516819 w 1034979"/>
                <a:gd name="connsiteY218" fmla="*/ 708685 h 1280224"/>
                <a:gd name="connsiteX219" fmla="*/ 509199 w 1034979"/>
                <a:gd name="connsiteY219" fmla="*/ 697255 h 1280224"/>
                <a:gd name="connsiteX220" fmla="*/ 505389 w 1034979"/>
                <a:gd name="connsiteY220" fmla="*/ 676300 h 1280224"/>
                <a:gd name="connsiteX221" fmla="*/ 507294 w 1034979"/>
                <a:gd name="connsiteY221" fmla="*/ 611530 h 1280224"/>
                <a:gd name="connsiteX222" fmla="*/ 513009 w 1034979"/>
                <a:gd name="connsiteY222" fmla="*/ 598195 h 1280224"/>
                <a:gd name="connsiteX223" fmla="*/ 503484 w 1034979"/>
                <a:gd name="connsiteY223" fmla="*/ 121945 h 1280224"/>
                <a:gd name="connsiteX224" fmla="*/ 429189 w 1034979"/>
                <a:gd name="connsiteY224" fmla="*/ 1930 h 1280224"/>
                <a:gd name="connsiteX225" fmla="*/ 433083 w 1034979"/>
                <a:gd name="connsiteY225" fmla="*/ 508869 h 1280224"/>
                <a:gd name="connsiteX226" fmla="*/ 425379 w 1034979"/>
                <a:gd name="connsiteY226" fmla="*/ 577449 h 1280224"/>
                <a:gd name="connsiteX227" fmla="*/ 417759 w 1034979"/>
                <a:gd name="connsiteY227" fmla="*/ 609625 h 1280224"/>
                <a:gd name="connsiteX228" fmla="*/ 413949 w 1034979"/>
                <a:gd name="connsiteY228" fmla="*/ 626770 h 1280224"/>
                <a:gd name="connsiteX229" fmla="*/ 417759 w 1034979"/>
                <a:gd name="connsiteY229" fmla="*/ 647725 h 1280224"/>
                <a:gd name="connsiteX230" fmla="*/ 421569 w 1034979"/>
                <a:gd name="connsiteY230" fmla="*/ 653440 h 1280224"/>
                <a:gd name="connsiteX231" fmla="*/ 425379 w 1034979"/>
                <a:gd name="connsiteY231" fmla="*/ 664870 h 1280224"/>
                <a:gd name="connsiteX232" fmla="*/ 423474 w 1034979"/>
                <a:gd name="connsiteY232" fmla="*/ 691540 h 1280224"/>
                <a:gd name="connsiteX233" fmla="*/ 417759 w 1034979"/>
                <a:gd name="connsiteY233" fmla="*/ 693445 h 1280224"/>
                <a:gd name="connsiteX234" fmla="*/ 412044 w 1034979"/>
                <a:gd name="connsiteY234" fmla="*/ 697255 h 1280224"/>
                <a:gd name="connsiteX235" fmla="*/ 421569 w 1034979"/>
                <a:gd name="connsiteY235" fmla="*/ 693445 h 1280224"/>
                <a:gd name="connsiteX0" fmla="*/ 421569 w 1034979"/>
                <a:gd name="connsiteY0" fmla="*/ 691707 h 1278486"/>
                <a:gd name="connsiteX1" fmla="*/ 421569 w 1034979"/>
                <a:gd name="connsiteY1" fmla="*/ 691707 h 1278486"/>
                <a:gd name="connsiteX2" fmla="*/ 394899 w 1034979"/>
                <a:gd name="connsiteY2" fmla="*/ 701232 h 1278486"/>
                <a:gd name="connsiteX3" fmla="*/ 387279 w 1034979"/>
                <a:gd name="connsiteY3" fmla="*/ 703137 h 1278486"/>
                <a:gd name="connsiteX4" fmla="*/ 356799 w 1034979"/>
                <a:gd name="connsiteY4" fmla="*/ 705042 h 1278486"/>
                <a:gd name="connsiteX5" fmla="*/ 351084 w 1034979"/>
                <a:gd name="connsiteY5" fmla="*/ 708852 h 1278486"/>
                <a:gd name="connsiteX6" fmla="*/ 339654 w 1034979"/>
                <a:gd name="connsiteY6" fmla="*/ 718377 h 1278486"/>
                <a:gd name="connsiteX7" fmla="*/ 328224 w 1034979"/>
                <a:gd name="connsiteY7" fmla="*/ 722187 h 1278486"/>
                <a:gd name="connsiteX8" fmla="*/ 312984 w 1034979"/>
                <a:gd name="connsiteY8" fmla="*/ 727902 h 1278486"/>
                <a:gd name="connsiteX9" fmla="*/ 265359 w 1034979"/>
                <a:gd name="connsiteY9" fmla="*/ 724092 h 1278486"/>
                <a:gd name="connsiteX10" fmla="*/ 253929 w 1034979"/>
                <a:gd name="connsiteY10" fmla="*/ 720282 h 1278486"/>
                <a:gd name="connsiteX11" fmla="*/ 242499 w 1034979"/>
                <a:gd name="connsiteY11" fmla="*/ 716472 h 1278486"/>
                <a:gd name="connsiteX12" fmla="*/ 236784 w 1034979"/>
                <a:gd name="connsiteY12" fmla="*/ 714567 h 1278486"/>
                <a:gd name="connsiteX13" fmla="*/ 231069 w 1034979"/>
                <a:gd name="connsiteY13" fmla="*/ 712662 h 1278486"/>
                <a:gd name="connsiteX14" fmla="*/ 219639 w 1034979"/>
                <a:gd name="connsiteY14" fmla="*/ 710757 h 1278486"/>
                <a:gd name="connsiteX15" fmla="*/ 213924 w 1034979"/>
                <a:gd name="connsiteY15" fmla="*/ 708852 h 1278486"/>
                <a:gd name="connsiteX16" fmla="*/ 206304 w 1034979"/>
                <a:gd name="connsiteY16" fmla="*/ 706947 h 1278486"/>
                <a:gd name="connsiteX17" fmla="*/ 194874 w 1034979"/>
                <a:gd name="connsiteY17" fmla="*/ 703137 h 1278486"/>
                <a:gd name="connsiteX18" fmla="*/ 189159 w 1034979"/>
                <a:gd name="connsiteY18" fmla="*/ 701232 h 1278486"/>
                <a:gd name="connsiteX19" fmla="*/ 181539 w 1034979"/>
                <a:gd name="connsiteY19" fmla="*/ 699327 h 1278486"/>
                <a:gd name="connsiteX20" fmla="*/ 170109 w 1034979"/>
                <a:gd name="connsiteY20" fmla="*/ 693612 h 1278486"/>
                <a:gd name="connsiteX21" fmla="*/ 164394 w 1034979"/>
                <a:gd name="connsiteY21" fmla="*/ 689802 h 1278486"/>
                <a:gd name="connsiteX22" fmla="*/ 156774 w 1034979"/>
                <a:gd name="connsiteY22" fmla="*/ 678372 h 1278486"/>
                <a:gd name="connsiteX23" fmla="*/ 145344 w 1034979"/>
                <a:gd name="connsiteY23" fmla="*/ 674562 h 1278486"/>
                <a:gd name="connsiteX24" fmla="*/ 139629 w 1034979"/>
                <a:gd name="connsiteY24" fmla="*/ 670752 h 1278486"/>
                <a:gd name="connsiteX25" fmla="*/ 133914 w 1034979"/>
                <a:gd name="connsiteY25" fmla="*/ 668847 h 1278486"/>
                <a:gd name="connsiteX26" fmla="*/ 116769 w 1034979"/>
                <a:gd name="connsiteY26" fmla="*/ 665037 h 1278486"/>
                <a:gd name="connsiteX27" fmla="*/ 111054 w 1034979"/>
                <a:gd name="connsiteY27" fmla="*/ 659322 h 1278486"/>
                <a:gd name="connsiteX28" fmla="*/ 101529 w 1034979"/>
                <a:gd name="connsiteY28" fmla="*/ 642177 h 1278486"/>
                <a:gd name="connsiteX29" fmla="*/ 84384 w 1034979"/>
                <a:gd name="connsiteY29" fmla="*/ 634557 h 1278486"/>
                <a:gd name="connsiteX30" fmla="*/ 78669 w 1034979"/>
                <a:gd name="connsiteY30" fmla="*/ 632652 h 1278486"/>
                <a:gd name="connsiteX31" fmla="*/ 59619 w 1034979"/>
                <a:gd name="connsiteY31" fmla="*/ 636462 h 1278486"/>
                <a:gd name="connsiteX32" fmla="*/ 53904 w 1034979"/>
                <a:gd name="connsiteY32" fmla="*/ 640272 h 1278486"/>
                <a:gd name="connsiteX33" fmla="*/ 50094 w 1034979"/>
                <a:gd name="connsiteY33" fmla="*/ 645987 h 1278486"/>
                <a:gd name="connsiteX34" fmla="*/ 46284 w 1034979"/>
                <a:gd name="connsiteY34" fmla="*/ 657417 h 1278486"/>
                <a:gd name="connsiteX35" fmla="*/ 50094 w 1034979"/>
                <a:gd name="connsiteY35" fmla="*/ 695517 h 1278486"/>
                <a:gd name="connsiteX36" fmla="*/ 53904 w 1034979"/>
                <a:gd name="connsiteY36" fmla="*/ 701232 h 1278486"/>
                <a:gd name="connsiteX37" fmla="*/ 59619 w 1034979"/>
                <a:gd name="connsiteY37" fmla="*/ 705042 h 1278486"/>
                <a:gd name="connsiteX38" fmla="*/ 63429 w 1034979"/>
                <a:gd name="connsiteY38" fmla="*/ 710757 h 1278486"/>
                <a:gd name="connsiteX39" fmla="*/ 80574 w 1034979"/>
                <a:gd name="connsiteY39" fmla="*/ 720282 h 1278486"/>
                <a:gd name="connsiteX40" fmla="*/ 103434 w 1034979"/>
                <a:gd name="connsiteY40" fmla="*/ 722187 h 1278486"/>
                <a:gd name="connsiteX41" fmla="*/ 124389 w 1034979"/>
                <a:gd name="connsiteY41" fmla="*/ 727902 h 1278486"/>
                <a:gd name="connsiteX42" fmla="*/ 130104 w 1034979"/>
                <a:gd name="connsiteY42" fmla="*/ 729807 h 1278486"/>
                <a:gd name="connsiteX43" fmla="*/ 135819 w 1034979"/>
                <a:gd name="connsiteY43" fmla="*/ 735522 h 1278486"/>
                <a:gd name="connsiteX44" fmla="*/ 143439 w 1034979"/>
                <a:gd name="connsiteY44" fmla="*/ 737427 h 1278486"/>
                <a:gd name="connsiteX45" fmla="*/ 166299 w 1034979"/>
                <a:gd name="connsiteY45" fmla="*/ 741237 h 1278486"/>
                <a:gd name="connsiteX46" fmla="*/ 191064 w 1034979"/>
                <a:gd name="connsiteY46" fmla="*/ 746952 h 1278486"/>
                <a:gd name="connsiteX47" fmla="*/ 208209 w 1034979"/>
                <a:gd name="connsiteY47" fmla="*/ 752667 h 1278486"/>
                <a:gd name="connsiteX48" fmla="*/ 213924 w 1034979"/>
                <a:gd name="connsiteY48" fmla="*/ 754572 h 1278486"/>
                <a:gd name="connsiteX49" fmla="*/ 229164 w 1034979"/>
                <a:gd name="connsiteY49" fmla="*/ 758382 h 1278486"/>
                <a:gd name="connsiteX50" fmla="*/ 248214 w 1034979"/>
                <a:gd name="connsiteY50" fmla="*/ 764097 h 1278486"/>
                <a:gd name="connsiteX51" fmla="*/ 253929 w 1034979"/>
                <a:gd name="connsiteY51" fmla="*/ 767907 h 1278486"/>
                <a:gd name="connsiteX52" fmla="*/ 267264 w 1034979"/>
                <a:gd name="connsiteY52" fmla="*/ 783147 h 1278486"/>
                <a:gd name="connsiteX53" fmla="*/ 272979 w 1034979"/>
                <a:gd name="connsiteY53" fmla="*/ 802197 h 1278486"/>
                <a:gd name="connsiteX54" fmla="*/ 274884 w 1034979"/>
                <a:gd name="connsiteY54" fmla="*/ 807912 h 1278486"/>
                <a:gd name="connsiteX55" fmla="*/ 276789 w 1034979"/>
                <a:gd name="connsiteY55" fmla="*/ 813627 h 1278486"/>
                <a:gd name="connsiteX56" fmla="*/ 278694 w 1034979"/>
                <a:gd name="connsiteY56" fmla="*/ 838392 h 1278486"/>
                <a:gd name="connsiteX57" fmla="*/ 280599 w 1034979"/>
                <a:gd name="connsiteY57" fmla="*/ 844107 h 1278486"/>
                <a:gd name="connsiteX58" fmla="*/ 278694 w 1034979"/>
                <a:gd name="connsiteY58" fmla="*/ 863157 h 1278486"/>
                <a:gd name="connsiteX59" fmla="*/ 276789 w 1034979"/>
                <a:gd name="connsiteY59" fmla="*/ 872682 h 1278486"/>
                <a:gd name="connsiteX60" fmla="*/ 263454 w 1034979"/>
                <a:gd name="connsiteY60" fmla="*/ 886017 h 1278486"/>
                <a:gd name="connsiteX61" fmla="*/ 252024 w 1034979"/>
                <a:gd name="connsiteY61" fmla="*/ 893637 h 1278486"/>
                <a:gd name="connsiteX62" fmla="*/ 240594 w 1034979"/>
                <a:gd name="connsiteY62" fmla="*/ 897447 h 1278486"/>
                <a:gd name="connsiteX63" fmla="*/ 126294 w 1034979"/>
                <a:gd name="connsiteY63" fmla="*/ 897447 h 1278486"/>
                <a:gd name="connsiteX64" fmla="*/ 120579 w 1034979"/>
                <a:gd name="connsiteY64" fmla="*/ 899352 h 1278486"/>
                <a:gd name="connsiteX65" fmla="*/ 105339 w 1034979"/>
                <a:gd name="connsiteY65" fmla="*/ 901257 h 1278486"/>
                <a:gd name="connsiteX66" fmla="*/ 88194 w 1034979"/>
                <a:gd name="connsiteY66" fmla="*/ 906972 h 1278486"/>
                <a:gd name="connsiteX67" fmla="*/ 82479 w 1034979"/>
                <a:gd name="connsiteY67" fmla="*/ 908877 h 1278486"/>
                <a:gd name="connsiteX68" fmla="*/ 76764 w 1034979"/>
                <a:gd name="connsiteY68" fmla="*/ 912687 h 1278486"/>
                <a:gd name="connsiteX69" fmla="*/ 65334 w 1034979"/>
                <a:gd name="connsiteY69" fmla="*/ 914592 h 1278486"/>
                <a:gd name="connsiteX70" fmla="*/ 27234 w 1034979"/>
                <a:gd name="connsiteY70" fmla="*/ 916497 h 1278486"/>
                <a:gd name="connsiteX71" fmla="*/ 15804 w 1034979"/>
                <a:gd name="connsiteY71" fmla="*/ 922212 h 1278486"/>
                <a:gd name="connsiteX72" fmla="*/ 6279 w 1034979"/>
                <a:gd name="connsiteY72" fmla="*/ 931737 h 1278486"/>
                <a:gd name="connsiteX73" fmla="*/ 4374 w 1034979"/>
                <a:gd name="connsiteY73" fmla="*/ 937452 h 1278486"/>
                <a:gd name="connsiteX74" fmla="*/ 564 w 1034979"/>
                <a:gd name="connsiteY74" fmla="*/ 943167 h 1278486"/>
                <a:gd name="connsiteX75" fmla="*/ 6279 w 1034979"/>
                <a:gd name="connsiteY75" fmla="*/ 975552 h 1278486"/>
                <a:gd name="connsiteX76" fmla="*/ 11994 w 1034979"/>
                <a:gd name="connsiteY76" fmla="*/ 979362 h 1278486"/>
                <a:gd name="connsiteX77" fmla="*/ 17709 w 1034979"/>
                <a:gd name="connsiteY77" fmla="*/ 981267 h 1278486"/>
                <a:gd name="connsiteX78" fmla="*/ 145344 w 1034979"/>
                <a:gd name="connsiteY78" fmla="*/ 979362 h 1278486"/>
                <a:gd name="connsiteX79" fmla="*/ 152964 w 1034979"/>
                <a:gd name="connsiteY79" fmla="*/ 977457 h 1278486"/>
                <a:gd name="connsiteX80" fmla="*/ 303459 w 1034979"/>
                <a:gd name="connsiteY80" fmla="*/ 971742 h 1278486"/>
                <a:gd name="connsiteX81" fmla="*/ 318699 w 1034979"/>
                <a:gd name="connsiteY81" fmla="*/ 979362 h 1278486"/>
                <a:gd name="connsiteX82" fmla="*/ 330129 w 1034979"/>
                <a:gd name="connsiteY82" fmla="*/ 985077 h 1278486"/>
                <a:gd name="connsiteX83" fmla="*/ 333939 w 1034979"/>
                <a:gd name="connsiteY83" fmla="*/ 990792 h 1278486"/>
                <a:gd name="connsiteX84" fmla="*/ 339654 w 1034979"/>
                <a:gd name="connsiteY84" fmla="*/ 992697 h 1278486"/>
                <a:gd name="connsiteX85" fmla="*/ 351084 w 1034979"/>
                <a:gd name="connsiteY85" fmla="*/ 1000317 h 1278486"/>
                <a:gd name="connsiteX86" fmla="*/ 356799 w 1034979"/>
                <a:gd name="connsiteY86" fmla="*/ 1004127 h 1278486"/>
                <a:gd name="connsiteX87" fmla="*/ 360609 w 1034979"/>
                <a:gd name="connsiteY87" fmla="*/ 1009842 h 1278486"/>
                <a:gd name="connsiteX88" fmla="*/ 366324 w 1034979"/>
                <a:gd name="connsiteY88" fmla="*/ 1021272 h 1278486"/>
                <a:gd name="connsiteX89" fmla="*/ 362514 w 1034979"/>
                <a:gd name="connsiteY89" fmla="*/ 1047942 h 1278486"/>
                <a:gd name="connsiteX90" fmla="*/ 358704 w 1034979"/>
                <a:gd name="connsiteY90" fmla="*/ 1053657 h 1278486"/>
                <a:gd name="connsiteX91" fmla="*/ 356799 w 1034979"/>
                <a:gd name="connsiteY91" fmla="*/ 1059372 h 1278486"/>
                <a:gd name="connsiteX92" fmla="*/ 352989 w 1034979"/>
                <a:gd name="connsiteY92" fmla="*/ 1065087 h 1278486"/>
                <a:gd name="connsiteX93" fmla="*/ 351084 w 1034979"/>
                <a:gd name="connsiteY93" fmla="*/ 1070802 h 1278486"/>
                <a:gd name="connsiteX94" fmla="*/ 347274 w 1034979"/>
                <a:gd name="connsiteY94" fmla="*/ 1076517 h 1278486"/>
                <a:gd name="connsiteX95" fmla="*/ 330129 w 1034979"/>
                <a:gd name="connsiteY95" fmla="*/ 1143192 h 1278486"/>
                <a:gd name="connsiteX96" fmla="*/ 328224 w 1034979"/>
                <a:gd name="connsiteY96" fmla="*/ 1194627 h 1278486"/>
                <a:gd name="connsiteX97" fmla="*/ 330129 w 1034979"/>
                <a:gd name="connsiteY97" fmla="*/ 1219392 h 1278486"/>
                <a:gd name="connsiteX98" fmla="*/ 332034 w 1034979"/>
                <a:gd name="connsiteY98" fmla="*/ 1225107 h 1278486"/>
                <a:gd name="connsiteX99" fmla="*/ 335844 w 1034979"/>
                <a:gd name="connsiteY99" fmla="*/ 1228917 h 1278486"/>
                <a:gd name="connsiteX100" fmla="*/ 364419 w 1034979"/>
                <a:gd name="connsiteY100" fmla="*/ 1274637 h 1278486"/>
                <a:gd name="connsiteX101" fmla="*/ 387279 w 1034979"/>
                <a:gd name="connsiteY101" fmla="*/ 1276542 h 1278486"/>
                <a:gd name="connsiteX102" fmla="*/ 392994 w 1034979"/>
                <a:gd name="connsiteY102" fmla="*/ 1270827 h 1278486"/>
                <a:gd name="connsiteX103" fmla="*/ 394899 w 1034979"/>
                <a:gd name="connsiteY103" fmla="*/ 1259397 h 1278486"/>
                <a:gd name="connsiteX104" fmla="*/ 396804 w 1034979"/>
                <a:gd name="connsiteY104" fmla="*/ 1253682 h 1278486"/>
                <a:gd name="connsiteX105" fmla="*/ 398709 w 1034979"/>
                <a:gd name="connsiteY105" fmla="*/ 1236537 h 1278486"/>
                <a:gd name="connsiteX106" fmla="*/ 400614 w 1034979"/>
                <a:gd name="connsiteY106" fmla="*/ 1223202 h 1278486"/>
                <a:gd name="connsiteX107" fmla="*/ 404424 w 1034979"/>
                <a:gd name="connsiteY107" fmla="*/ 1166052 h 1278486"/>
                <a:gd name="connsiteX108" fmla="*/ 410139 w 1034979"/>
                <a:gd name="connsiteY108" fmla="*/ 1154622 h 1278486"/>
                <a:gd name="connsiteX109" fmla="*/ 413949 w 1034979"/>
                <a:gd name="connsiteY109" fmla="*/ 1141287 h 1278486"/>
                <a:gd name="connsiteX110" fmla="*/ 415854 w 1034979"/>
                <a:gd name="connsiteY110" fmla="*/ 1135572 h 1278486"/>
                <a:gd name="connsiteX111" fmla="*/ 417759 w 1034979"/>
                <a:gd name="connsiteY111" fmla="*/ 1122237 h 1278486"/>
                <a:gd name="connsiteX112" fmla="*/ 421569 w 1034979"/>
                <a:gd name="connsiteY112" fmla="*/ 1110807 h 1278486"/>
                <a:gd name="connsiteX113" fmla="*/ 427284 w 1034979"/>
                <a:gd name="connsiteY113" fmla="*/ 1097472 h 1278486"/>
                <a:gd name="connsiteX114" fmla="*/ 436809 w 1034979"/>
                <a:gd name="connsiteY114" fmla="*/ 1086042 h 1278486"/>
                <a:gd name="connsiteX115" fmla="*/ 450144 w 1034979"/>
                <a:gd name="connsiteY115" fmla="*/ 1070802 h 1278486"/>
                <a:gd name="connsiteX116" fmla="*/ 457764 w 1034979"/>
                <a:gd name="connsiteY116" fmla="*/ 1059372 h 1278486"/>
                <a:gd name="connsiteX117" fmla="*/ 461574 w 1034979"/>
                <a:gd name="connsiteY117" fmla="*/ 1047942 h 1278486"/>
                <a:gd name="connsiteX118" fmla="*/ 465384 w 1034979"/>
                <a:gd name="connsiteY118" fmla="*/ 1032702 h 1278486"/>
                <a:gd name="connsiteX119" fmla="*/ 467289 w 1034979"/>
                <a:gd name="connsiteY119" fmla="*/ 1026987 h 1278486"/>
                <a:gd name="connsiteX120" fmla="*/ 507294 w 1034979"/>
                <a:gd name="connsiteY120" fmla="*/ 1021272 h 1278486"/>
                <a:gd name="connsiteX121" fmla="*/ 535869 w 1034979"/>
                <a:gd name="connsiteY121" fmla="*/ 1011747 h 1278486"/>
                <a:gd name="connsiteX122" fmla="*/ 541584 w 1034979"/>
                <a:gd name="connsiteY122" fmla="*/ 1009842 h 1278486"/>
                <a:gd name="connsiteX123" fmla="*/ 547299 w 1034979"/>
                <a:gd name="connsiteY123" fmla="*/ 1007937 h 1278486"/>
                <a:gd name="connsiteX124" fmla="*/ 554919 w 1034979"/>
                <a:gd name="connsiteY124" fmla="*/ 1006032 h 1278486"/>
                <a:gd name="connsiteX125" fmla="*/ 573969 w 1034979"/>
                <a:gd name="connsiteY125" fmla="*/ 998412 h 1278486"/>
                <a:gd name="connsiteX126" fmla="*/ 585399 w 1034979"/>
                <a:gd name="connsiteY126" fmla="*/ 994602 h 1278486"/>
                <a:gd name="connsiteX127" fmla="*/ 720654 w 1034979"/>
                <a:gd name="connsiteY127" fmla="*/ 1078422 h 1278486"/>
                <a:gd name="connsiteX128" fmla="*/ 733989 w 1034979"/>
                <a:gd name="connsiteY128" fmla="*/ 1087947 h 1278486"/>
                <a:gd name="connsiteX129" fmla="*/ 743514 w 1034979"/>
                <a:gd name="connsiteY129" fmla="*/ 1089852 h 1278486"/>
                <a:gd name="connsiteX130" fmla="*/ 749229 w 1034979"/>
                <a:gd name="connsiteY130" fmla="*/ 1091757 h 1278486"/>
                <a:gd name="connsiteX131" fmla="*/ 762564 w 1034979"/>
                <a:gd name="connsiteY131" fmla="*/ 1097472 h 1278486"/>
                <a:gd name="connsiteX132" fmla="*/ 777804 w 1034979"/>
                <a:gd name="connsiteY132" fmla="*/ 1095567 h 1278486"/>
                <a:gd name="connsiteX133" fmla="*/ 789234 w 1034979"/>
                <a:gd name="connsiteY133" fmla="*/ 1089852 h 1278486"/>
                <a:gd name="connsiteX134" fmla="*/ 794949 w 1034979"/>
                <a:gd name="connsiteY134" fmla="*/ 1087947 h 1278486"/>
                <a:gd name="connsiteX135" fmla="*/ 802569 w 1034979"/>
                <a:gd name="connsiteY135" fmla="*/ 1070802 h 1278486"/>
                <a:gd name="connsiteX136" fmla="*/ 800664 w 1034979"/>
                <a:gd name="connsiteY136" fmla="*/ 1046037 h 1278486"/>
                <a:gd name="connsiteX137" fmla="*/ 798759 w 1034979"/>
                <a:gd name="connsiteY137" fmla="*/ 1040322 h 1278486"/>
                <a:gd name="connsiteX138" fmla="*/ 796854 w 1034979"/>
                <a:gd name="connsiteY138" fmla="*/ 1032702 h 1278486"/>
                <a:gd name="connsiteX139" fmla="*/ 783519 w 1034979"/>
                <a:gd name="connsiteY139" fmla="*/ 1015557 h 1278486"/>
                <a:gd name="connsiteX140" fmla="*/ 773994 w 1034979"/>
                <a:gd name="connsiteY140" fmla="*/ 1009842 h 1278486"/>
                <a:gd name="connsiteX141" fmla="*/ 648264 w 1034979"/>
                <a:gd name="connsiteY141" fmla="*/ 918402 h 1278486"/>
                <a:gd name="connsiteX142" fmla="*/ 644454 w 1034979"/>
                <a:gd name="connsiteY142" fmla="*/ 901257 h 1278486"/>
                <a:gd name="connsiteX143" fmla="*/ 646359 w 1034979"/>
                <a:gd name="connsiteY143" fmla="*/ 893637 h 1278486"/>
                <a:gd name="connsiteX144" fmla="*/ 650169 w 1034979"/>
                <a:gd name="connsiteY144" fmla="*/ 876492 h 1278486"/>
                <a:gd name="connsiteX145" fmla="*/ 653979 w 1034979"/>
                <a:gd name="connsiteY145" fmla="*/ 870777 h 1278486"/>
                <a:gd name="connsiteX146" fmla="*/ 655884 w 1034979"/>
                <a:gd name="connsiteY146" fmla="*/ 865062 h 1278486"/>
                <a:gd name="connsiteX147" fmla="*/ 661599 w 1034979"/>
                <a:gd name="connsiteY147" fmla="*/ 863157 h 1278486"/>
                <a:gd name="connsiteX148" fmla="*/ 671124 w 1034979"/>
                <a:gd name="connsiteY148" fmla="*/ 851727 h 1278486"/>
                <a:gd name="connsiteX149" fmla="*/ 724464 w 1034979"/>
                <a:gd name="connsiteY149" fmla="*/ 844107 h 1278486"/>
                <a:gd name="connsiteX150" fmla="*/ 842574 w 1034979"/>
                <a:gd name="connsiteY150" fmla="*/ 846012 h 1278486"/>
                <a:gd name="connsiteX151" fmla="*/ 871149 w 1034979"/>
                <a:gd name="connsiteY151" fmla="*/ 847917 h 1278486"/>
                <a:gd name="connsiteX152" fmla="*/ 899724 w 1034979"/>
                <a:gd name="connsiteY152" fmla="*/ 853632 h 1278486"/>
                <a:gd name="connsiteX153" fmla="*/ 922584 w 1034979"/>
                <a:gd name="connsiteY153" fmla="*/ 857442 h 1278486"/>
                <a:gd name="connsiteX154" fmla="*/ 951159 w 1034979"/>
                <a:gd name="connsiteY154" fmla="*/ 863157 h 1278486"/>
                <a:gd name="connsiteX155" fmla="*/ 956874 w 1034979"/>
                <a:gd name="connsiteY155" fmla="*/ 863157 h 1278486"/>
                <a:gd name="connsiteX156" fmla="*/ 1002594 w 1034979"/>
                <a:gd name="connsiteY156" fmla="*/ 861252 h 1278486"/>
                <a:gd name="connsiteX157" fmla="*/ 1031169 w 1034979"/>
                <a:gd name="connsiteY157" fmla="*/ 853632 h 1278486"/>
                <a:gd name="connsiteX158" fmla="*/ 1034979 w 1034979"/>
                <a:gd name="connsiteY158" fmla="*/ 847917 h 1278486"/>
                <a:gd name="connsiteX159" fmla="*/ 1033074 w 1034979"/>
                <a:gd name="connsiteY159" fmla="*/ 828867 h 1278486"/>
                <a:gd name="connsiteX160" fmla="*/ 1027359 w 1034979"/>
                <a:gd name="connsiteY160" fmla="*/ 825057 h 1278486"/>
                <a:gd name="connsiteX161" fmla="*/ 1012119 w 1034979"/>
                <a:gd name="connsiteY161" fmla="*/ 823152 h 1278486"/>
                <a:gd name="connsiteX162" fmla="*/ 1006404 w 1034979"/>
                <a:gd name="connsiteY162" fmla="*/ 821247 h 1278486"/>
                <a:gd name="connsiteX163" fmla="*/ 998784 w 1034979"/>
                <a:gd name="connsiteY163" fmla="*/ 819342 h 1278486"/>
                <a:gd name="connsiteX164" fmla="*/ 987354 w 1034979"/>
                <a:gd name="connsiteY164" fmla="*/ 811722 h 1278486"/>
                <a:gd name="connsiteX165" fmla="*/ 975924 w 1034979"/>
                <a:gd name="connsiteY165" fmla="*/ 807912 h 1278486"/>
                <a:gd name="connsiteX166" fmla="*/ 970209 w 1034979"/>
                <a:gd name="connsiteY166" fmla="*/ 806007 h 1278486"/>
                <a:gd name="connsiteX167" fmla="*/ 962589 w 1034979"/>
                <a:gd name="connsiteY167" fmla="*/ 804102 h 1278486"/>
                <a:gd name="connsiteX168" fmla="*/ 956874 w 1034979"/>
                <a:gd name="connsiteY168" fmla="*/ 802197 h 1278486"/>
                <a:gd name="connsiteX169" fmla="*/ 935919 w 1034979"/>
                <a:gd name="connsiteY169" fmla="*/ 796482 h 1278486"/>
                <a:gd name="connsiteX170" fmla="*/ 930204 w 1034979"/>
                <a:gd name="connsiteY170" fmla="*/ 794577 h 1278486"/>
                <a:gd name="connsiteX171" fmla="*/ 825429 w 1034979"/>
                <a:gd name="connsiteY171" fmla="*/ 796482 h 1278486"/>
                <a:gd name="connsiteX172" fmla="*/ 819714 w 1034979"/>
                <a:gd name="connsiteY172" fmla="*/ 798387 h 1278486"/>
                <a:gd name="connsiteX173" fmla="*/ 730179 w 1034979"/>
                <a:gd name="connsiteY173" fmla="*/ 800292 h 1278486"/>
                <a:gd name="connsiteX174" fmla="*/ 716844 w 1034979"/>
                <a:gd name="connsiteY174" fmla="*/ 804102 h 1278486"/>
                <a:gd name="connsiteX175" fmla="*/ 695889 w 1034979"/>
                <a:gd name="connsiteY175" fmla="*/ 806007 h 1278486"/>
                <a:gd name="connsiteX176" fmla="*/ 669219 w 1034979"/>
                <a:gd name="connsiteY176" fmla="*/ 807912 h 1278486"/>
                <a:gd name="connsiteX177" fmla="*/ 669219 w 1034979"/>
                <a:gd name="connsiteY177" fmla="*/ 807912 h 1278486"/>
                <a:gd name="connsiteX178" fmla="*/ 646359 w 1034979"/>
                <a:gd name="connsiteY178" fmla="*/ 811722 h 1278486"/>
                <a:gd name="connsiteX179" fmla="*/ 642549 w 1034979"/>
                <a:gd name="connsiteY179" fmla="*/ 800292 h 1278486"/>
                <a:gd name="connsiteX180" fmla="*/ 640644 w 1034979"/>
                <a:gd name="connsiteY180" fmla="*/ 794577 h 1278486"/>
                <a:gd name="connsiteX181" fmla="*/ 642549 w 1034979"/>
                <a:gd name="connsiteY181" fmla="*/ 777432 h 1278486"/>
                <a:gd name="connsiteX182" fmla="*/ 644454 w 1034979"/>
                <a:gd name="connsiteY182" fmla="*/ 771717 h 1278486"/>
                <a:gd name="connsiteX183" fmla="*/ 661599 w 1034979"/>
                <a:gd name="connsiteY183" fmla="*/ 762192 h 1278486"/>
                <a:gd name="connsiteX184" fmla="*/ 673029 w 1034979"/>
                <a:gd name="connsiteY184" fmla="*/ 754572 h 1278486"/>
                <a:gd name="connsiteX185" fmla="*/ 674934 w 1034979"/>
                <a:gd name="connsiteY185" fmla="*/ 748857 h 1278486"/>
                <a:gd name="connsiteX186" fmla="*/ 680649 w 1034979"/>
                <a:gd name="connsiteY186" fmla="*/ 746952 h 1278486"/>
                <a:gd name="connsiteX187" fmla="*/ 686364 w 1034979"/>
                <a:gd name="connsiteY187" fmla="*/ 743142 h 1278486"/>
                <a:gd name="connsiteX188" fmla="*/ 695889 w 1034979"/>
                <a:gd name="connsiteY188" fmla="*/ 733617 h 1278486"/>
                <a:gd name="connsiteX189" fmla="*/ 705414 w 1034979"/>
                <a:gd name="connsiteY189" fmla="*/ 722187 h 1278486"/>
                <a:gd name="connsiteX190" fmla="*/ 716844 w 1034979"/>
                <a:gd name="connsiteY190" fmla="*/ 714567 h 1278486"/>
                <a:gd name="connsiteX191" fmla="*/ 732084 w 1034979"/>
                <a:gd name="connsiteY191" fmla="*/ 701232 h 1278486"/>
                <a:gd name="connsiteX192" fmla="*/ 741609 w 1034979"/>
                <a:gd name="connsiteY192" fmla="*/ 689802 h 1278486"/>
                <a:gd name="connsiteX193" fmla="*/ 753039 w 1034979"/>
                <a:gd name="connsiteY193" fmla="*/ 680277 h 1278486"/>
                <a:gd name="connsiteX194" fmla="*/ 758754 w 1034979"/>
                <a:gd name="connsiteY194" fmla="*/ 668847 h 1278486"/>
                <a:gd name="connsiteX195" fmla="*/ 760659 w 1034979"/>
                <a:gd name="connsiteY195" fmla="*/ 663132 h 1278486"/>
                <a:gd name="connsiteX196" fmla="*/ 766374 w 1034979"/>
                <a:gd name="connsiteY196" fmla="*/ 651702 h 1278486"/>
                <a:gd name="connsiteX197" fmla="*/ 764469 w 1034979"/>
                <a:gd name="connsiteY197" fmla="*/ 636462 h 1278486"/>
                <a:gd name="connsiteX198" fmla="*/ 758754 w 1034979"/>
                <a:gd name="connsiteY198" fmla="*/ 634557 h 1278486"/>
                <a:gd name="connsiteX199" fmla="*/ 737799 w 1034979"/>
                <a:gd name="connsiteY199" fmla="*/ 636462 h 1278486"/>
                <a:gd name="connsiteX200" fmla="*/ 732084 w 1034979"/>
                <a:gd name="connsiteY200" fmla="*/ 640272 h 1278486"/>
                <a:gd name="connsiteX201" fmla="*/ 720654 w 1034979"/>
                <a:gd name="connsiteY201" fmla="*/ 644082 h 1278486"/>
                <a:gd name="connsiteX202" fmla="*/ 716844 w 1034979"/>
                <a:gd name="connsiteY202" fmla="*/ 649797 h 1278486"/>
                <a:gd name="connsiteX203" fmla="*/ 711129 w 1034979"/>
                <a:gd name="connsiteY203" fmla="*/ 651702 h 1278486"/>
                <a:gd name="connsiteX204" fmla="*/ 705414 w 1034979"/>
                <a:gd name="connsiteY204" fmla="*/ 655512 h 1278486"/>
                <a:gd name="connsiteX205" fmla="*/ 699699 w 1034979"/>
                <a:gd name="connsiteY205" fmla="*/ 661227 h 1278486"/>
                <a:gd name="connsiteX206" fmla="*/ 692079 w 1034979"/>
                <a:gd name="connsiteY206" fmla="*/ 665037 h 1278486"/>
                <a:gd name="connsiteX207" fmla="*/ 650169 w 1034979"/>
                <a:gd name="connsiteY207" fmla="*/ 693612 h 1278486"/>
                <a:gd name="connsiteX208" fmla="*/ 636834 w 1034979"/>
                <a:gd name="connsiteY208" fmla="*/ 705042 h 1278486"/>
                <a:gd name="connsiteX209" fmla="*/ 627309 w 1034979"/>
                <a:gd name="connsiteY209" fmla="*/ 722187 h 1278486"/>
                <a:gd name="connsiteX210" fmla="*/ 602544 w 1034979"/>
                <a:gd name="connsiteY210" fmla="*/ 727902 h 1278486"/>
                <a:gd name="connsiteX211" fmla="*/ 589209 w 1034979"/>
                <a:gd name="connsiteY211" fmla="*/ 731712 h 1278486"/>
                <a:gd name="connsiteX212" fmla="*/ 573969 w 1034979"/>
                <a:gd name="connsiteY212" fmla="*/ 729807 h 1278486"/>
                <a:gd name="connsiteX213" fmla="*/ 562539 w 1034979"/>
                <a:gd name="connsiteY213" fmla="*/ 725997 h 1278486"/>
                <a:gd name="connsiteX214" fmla="*/ 551109 w 1034979"/>
                <a:gd name="connsiteY214" fmla="*/ 722187 h 1278486"/>
                <a:gd name="connsiteX215" fmla="*/ 539679 w 1034979"/>
                <a:gd name="connsiteY215" fmla="*/ 718377 h 1278486"/>
                <a:gd name="connsiteX216" fmla="*/ 533964 w 1034979"/>
                <a:gd name="connsiteY216" fmla="*/ 716472 h 1278486"/>
                <a:gd name="connsiteX217" fmla="*/ 528249 w 1034979"/>
                <a:gd name="connsiteY217" fmla="*/ 712662 h 1278486"/>
                <a:gd name="connsiteX218" fmla="*/ 516819 w 1034979"/>
                <a:gd name="connsiteY218" fmla="*/ 706947 h 1278486"/>
                <a:gd name="connsiteX219" fmla="*/ 509199 w 1034979"/>
                <a:gd name="connsiteY219" fmla="*/ 695517 h 1278486"/>
                <a:gd name="connsiteX220" fmla="*/ 505389 w 1034979"/>
                <a:gd name="connsiteY220" fmla="*/ 674562 h 1278486"/>
                <a:gd name="connsiteX221" fmla="*/ 507294 w 1034979"/>
                <a:gd name="connsiteY221" fmla="*/ 609792 h 1278486"/>
                <a:gd name="connsiteX222" fmla="*/ 513009 w 1034979"/>
                <a:gd name="connsiteY222" fmla="*/ 596457 h 1278486"/>
                <a:gd name="connsiteX223" fmla="*/ 505996 w 1034979"/>
                <a:gd name="connsiteY223" fmla="*/ 512093 h 1278486"/>
                <a:gd name="connsiteX224" fmla="*/ 429189 w 1034979"/>
                <a:gd name="connsiteY224" fmla="*/ 192 h 1278486"/>
                <a:gd name="connsiteX225" fmla="*/ 433083 w 1034979"/>
                <a:gd name="connsiteY225" fmla="*/ 507131 h 1278486"/>
                <a:gd name="connsiteX226" fmla="*/ 425379 w 1034979"/>
                <a:gd name="connsiteY226" fmla="*/ 575711 h 1278486"/>
                <a:gd name="connsiteX227" fmla="*/ 417759 w 1034979"/>
                <a:gd name="connsiteY227" fmla="*/ 607887 h 1278486"/>
                <a:gd name="connsiteX228" fmla="*/ 413949 w 1034979"/>
                <a:gd name="connsiteY228" fmla="*/ 625032 h 1278486"/>
                <a:gd name="connsiteX229" fmla="*/ 417759 w 1034979"/>
                <a:gd name="connsiteY229" fmla="*/ 645987 h 1278486"/>
                <a:gd name="connsiteX230" fmla="*/ 421569 w 1034979"/>
                <a:gd name="connsiteY230" fmla="*/ 651702 h 1278486"/>
                <a:gd name="connsiteX231" fmla="*/ 425379 w 1034979"/>
                <a:gd name="connsiteY231" fmla="*/ 663132 h 1278486"/>
                <a:gd name="connsiteX232" fmla="*/ 423474 w 1034979"/>
                <a:gd name="connsiteY232" fmla="*/ 689802 h 1278486"/>
                <a:gd name="connsiteX233" fmla="*/ 417759 w 1034979"/>
                <a:gd name="connsiteY233" fmla="*/ 691707 h 1278486"/>
                <a:gd name="connsiteX234" fmla="*/ 412044 w 1034979"/>
                <a:gd name="connsiteY234" fmla="*/ 695517 h 1278486"/>
                <a:gd name="connsiteX235" fmla="*/ 421569 w 1034979"/>
                <a:gd name="connsiteY235" fmla="*/ 691707 h 1278486"/>
                <a:gd name="connsiteX0" fmla="*/ 421569 w 1034979"/>
                <a:gd name="connsiteY0" fmla="*/ 253099 h 839878"/>
                <a:gd name="connsiteX1" fmla="*/ 421569 w 1034979"/>
                <a:gd name="connsiteY1" fmla="*/ 253099 h 839878"/>
                <a:gd name="connsiteX2" fmla="*/ 394899 w 1034979"/>
                <a:gd name="connsiteY2" fmla="*/ 262624 h 839878"/>
                <a:gd name="connsiteX3" fmla="*/ 387279 w 1034979"/>
                <a:gd name="connsiteY3" fmla="*/ 264529 h 839878"/>
                <a:gd name="connsiteX4" fmla="*/ 356799 w 1034979"/>
                <a:gd name="connsiteY4" fmla="*/ 266434 h 839878"/>
                <a:gd name="connsiteX5" fmla="*/ 351084 w 1034979"/>
                <a:gd name="connsiteY5" fmla="*/ 270244 h 839878"/>
                <a:gd name="connsiteX6" fmla="*/ 339654 w 1034979"/>
                <a:gd name="connsiteY6" fmla="*/ 279769 h 839878"/>
                <a:gd name="connsiteX7" fmla="*/ 328224 w 1034979"/>
                <a:gd name="connsiteY7" fmla="*/ 283579 h 839878"/>
                <a:gd name="connsiteX8" fmla="*/ 312984 w 1034979"/>
                <a:gd name="connsiteY8" fmla="*/ 289294 h 839878"/>
                <a:gd name="connsiteX9" fmla="*/ 265359 w 1034979"/>
                <a:gd name="connsiteY9" fmla="*/ 285484 h 839878"/>
                <a:gd name="connsiteX10" fmla="*/ 253929 w 1034979"/>
                <a:gd name="connsiteY10" fmla="*/ 281674 h 839878"/>
                <a:gd name="connsiteX11" fmla="*/ 242499 w 1034979"/>
                <a:gd name="connsiteY11" fmla="*/ 277864 h 839878"/>
                <a:gd name="connsiteX12" fmla="*/ 236784 w 1034979"/>
                <a:gd name="connsiteY12" fmla="*/ 275959 h 839878"/>
                <a:gd name="connsiteX13" fmla="*/ 231069 w 1034979"/>
                <a:gd name="connsiteY13" fmla="*/ 274054 h 839878"/>
                <a:gd name="connsiteX14" fmla="*/ 219639 w 1034979"/>
                <a:gd name="connsiteY14" fmla="*/ 272149 h 839878"/>
                <a:gd name="connsiteX15" fmla="*/ 213924 w 1034979"/>
                <a:gd name="connsiteY15" fmla="*/ 270244 h 839878"/>
                <a:gd name="connsiteX16" fmla="*/ 206304 w 1034979"/>
                <a:gd name="connsiteY16" fmla="*/ 268339 h 839878"/>
                <a:gd name="connsiteX17" fmla="*/ 194874 w 1034979"/>
                <a:gd name="connsiteY17" fmla="*/ 264529 h 839878"/>
                <a:gd name="connsiteX18" fmla="*/ 189159 w 1034979"/>
                <a:gd name="connsiteY18" fmla="*/ 262624 h 839878"/>
                <a:gd name="connsiteX19" fmla="*/ 181539 w 1034979"/>
                <a:gd name="connsiteY19" fmla="*/ 260719 h 839878"/>
                <a:gd name="connsiteX20" fmla="*/ 170109 w 1034979"/>
                <a:gd name="connsiteY20" fmla="*/ 255004 h 839878"/>
                <a:gd name="connsiteX21" fmla="*/ 164394 w 1034979"/>
                <a:gd name="connsiteY21" fmla="*/ 251194 h 839878"/>
                <a:gd name="connsiteX22" fmla="*/ 156774 w 1034979"/>
                <a:gd name="connsiteY22" fmla="*/ 239764 h 839878"/>
                <a:gd name="connsiteX23" fmla="*/ 145344 w 1034979"/>
                <a:gd name="connsiteY23" fmla="*/ 235954 h 839878"/>
                <a:gd name="connsiteX24" fmla="*/ 139629 w 1034979"/>
                <a:gd name="connsiteY24" fmla="*/ 232144 h 839878"/>
                <a:gd name="connsiteX25" fmla="*/ 133914 w 1034979"/>
                <a:gd name="connsiteY25" fmla="*/ 230239 h 839878"/>
                <a:gd name="connsiteX26" fmla="*/ 116769 w 1034979"/>
                <a:gd name="connsiteY26" fmla="*/ 226429 h 839878"/>
                <a:gd name="connsiteX27" fmla="*/ 111054 w 1034979"/>
                <a:gd name="connsiteY27" fmla="*/ 220714 h 839878"/>
                <a:gd name="connsiteX28" fmla="*/ 101529 w 1034979"/>
                <a:gd name="connsiteY28" fmla="*/ 203569 h 839878"/>
                <a:gd name="connsiteX29" fmla="*/ 84384 w 1034979"/>
                <a:gd name="connsiteY29" fmla="*/ 195949 h 839878"/>
                <a:gd name="connsiteX30" fmla="*/ 78669 w 1034979"/>
                <a:gd name="connsiteY30" fmla="*/ 194044 h 839878"/>
                <a:gd name="connsiteX31" fmla="*/ 59619 w 1034979"/>
                <a:gd name="connsiteY31" fmla="*/ 197854 h 839878"/>
                <a:gd name="connsiteX32" fmla="*/ 53904 w 1034979"/>
                <a:gd name="connsiteY32" fmla="*/ 201664 h 839878"/>
                <a:gd name="connsiteX33" fmla="*/ 50094 w 1034979"/>
                <a:gd name="connsiteY33" fmla="*/ 207379 h 839878"/>
                <a:gd name="connsiteX34" fmla="*/ 46284 w 1034979"/>
                <a:gd name="connsiteY34" fmla="*/ 218809 h 839878"/>
                <a:gd name="connsiteX35" fmla="*/ 50094 w 1034979"/>
                <a:gd name="connsiteY35" fmla="*/ 256909 h 839878"/>
                <a:gd name="connsiteX36" fmla="*/ 53904 w 1034979"/>
                <a:gd name="connsiteY36" fmla="*/ 262624 h 839878"/>
                <a:gd name="connsiteX37" fmla="*/ 59619 w 1034979"/>
                <a:gd name="connsiteY37" fmla="*/ 266434 h 839878"/>
                <a:gd name="connsiteX38" fmla="*/ 63429 w 1034979"/>
                <a:gd name="connsiteY38" fmla="*/ 272149 h 839878"/>
                <a:gd name="connsiteX39" fmla="*/ 80574 w 1034979"/>
                <a:gd name="connsiteY39" fmla="*/ 281674 h 839878"/>
                <a:gd name="connsiteX40" fmla="*/ 103434 w 1034979"/>
                <a:gd name="connsiteY40" fmla="*/ 283579 h 839878"/>
                <a:gd name="connsiteX41" fmla="*/ 124389 w 1034979"/>
                <a:gd name="connsiteY41" fmla="*/ 289294 h 839878"/>
                <a:gd name="connsiteX42" fmla="*/ 130104 w 1034979"/>
                <a:gd name="connsiteY42" fmla="*/ 291199 h 839878"/>
                <a:gd name="connsiteX43" fmla="*/ 135819 w 1034979"/>
                <a:gd name="connsiteY43" fmla="*/ 296914 h 839878"/>
                <a:gd name="connsiteX44" fmla="*/ 143439 w 1034979"/>
                <a:gd name="connsiteY44" fmla="*/ 298819 h 839878"/>
                <a:gd name="connsiteX45" fmla="*/ 166299 w 1034979"/>
                <a:gd name="connsiteY45" fmla="*/ 302629 h 839878"/>
                <a:gd name="connsiteX46" fmla="*/ 191064 w 1034979"/>
                <a:gd name="connsiteY46" fmla="*/ 308344 h 839878"/>
                <a:gd name="connsiteX47" fmla="*/ 208209 w 1034979"/>
                <a:gd name="connsiteY47" fmla="*/ 314059 h 839878"/>
                <a:gd name="connsiteX48" fmla="*/ 213924 w 1034979"/>
                <a:gd name="connsiteY48" fmla="*/ 315964 h 839878"/>
                <a:gd name="connsiteX49" fmla="*/ 229164 w 1034979"/>
                <a:gd name="connsiteY49" fmla="*/ 319774 h 839878"/>
                <a:gd name="connsiteX50" fmla="*/ 248214 w 1034979"/>
                <a:gd name="connsiteY50" fmla="*/ 325489 h 839878"/>
                <a:gd name="connsiteX51" fmla="*/ 253929 w 1034979"/>
                <a:gd name="connsiteY51" fmla="*/ 329299 h 839878"/>
                <a:gd name="connsiteX52" fmla="*/ 267264 w 1034979"/>
                <a:gd name="connsiteY52" fmla="*/ 344539 h 839878"/>
                <a:gd name="connsiteX53" fmla="*/ 272979 w 1034979"/>
                <a:gd name="connsiteY53" fmla="*/ 363589 h 839878"/>
                <a:gd name="connsiteX54" fmla="*/ 274884 w 1034979"/>
                <a:gd name="connsiteY54" fmla="*/ 369304 h 839878"/>
                <a:gd name="connsiteX55" fmla="*/ 276789 w 1034979"/>
                <a:gd name="connsiteY55" fmla="*/ 375019 h 839878"/>
                <a:gd name="connsiteX56" fmla="*/ 278694 w 1034979"/>
                <a:gd name="connsiteY56" fmla="*/ 399784 h 839878"/>
                <a:gd name="connsiteX57" fmla="*/ 280599 w 1034979"/>
                <a:gd name="connsiteY57" fmla="*/ 405499 h 839878"/>
                <a:gd name="connsiteX58" fmla="*/ 278694 w 1034979"/>
                <a:gd name="connsiteY58" fmla="*/ 424549 h 839878"/>
                <a:gd name="connsiteX59" fmla="*/ 276789 w 1034979"/>
                <a:gd name="connsiteY59" fmla="*/ 434074 h 839878"/>
                <a:gd name="connsiteX60" fmla="*/ 263454 w 1034979"/>
                <a:gd name="connsiteY60" fmla="*/ 447409 h 839878"/>
                <a:gd name="connsiteX61" fmla="*/ 252024 w 1034979"/>
                <a:gd name="connsiteY61" fmla="*/ 455029 h 839878"/>
                <a:gd name="connsiteX62" fmla="*/ 240594 w 1034979"/>
                <a:gd name="connsiteY62" fmla="*/ 458839 h 839878"/>
                <a:gd name="connsiteX63" fmla="*/ 126294 w 1034979"/>
                <a:gd name="connsiteY63" fmla="*/ 458839 h 839878"/>
                <a:gd name="connsiteX64" fmla="*/ 120579 w 1034979"/>
                <a:gd name="connsiteY64" fmla="*/ 460744 h 839878"/>
                <a:gd name="connsiteX65" fmla="*/ 105339 w 1034979"/>
                <a:gd name="connsiteY65" fmla="*/ 462649 h 839878"/>
                <a:gd name="connsiteX66" fmla="*/ 88194 w 1034979"/>
                <a:gd name="connsiteY66" fmla="*/ 468364 h 839878"/>
                <a:gd name="connsiteX67" fmla="*/ 82479 w 1034979"/>
                <a:gd name="connsiteY67" fmla="*/ 470269 h 839878"/>
                <a:gd name="connsiteX68" fmla="*/ 76764 w 1034979"/>
                <a:gd name="connsiteY68" fmla="*/ 474079 h 839878"/>
                <a:gd name="connsiteX69" fmla="*/ 65334 w 1034979"/>
                <a:gd name="connsiteY69" fmla="*/ 475984 h 839878"/>
                <a:gd name="connsiteX70" fmla="*/ 27234 w 1034979"/>
                <a:gd name="connsiteY70" fmla="*/ 477889 h 839878"/>
                <a:gd name="connsiteX71" fmla="*/ 15804 w 1034979"/>
                <a:gd name="connsiteY71" fmla="*/ 483604 h 839878"/>
                <a:gd name="connsiteX72" fmla="*/ 6279 w 1034979"/>
                <a:gd name="connsiteY72" fmla="*/ 493129 h 839878"/>
                <a:gd name="connsiteX73" fmla="*/ 4374 w 1034979"/>
                <a:gd name="connsiteY73" fmla="*/ 498844 h 839878"/>
                <a:gd name="connsiteX74" fmla="*/ 564 w 1034979"/>
                <a:gd name="connsiteY74" fmla="*/ 504559 h 839878"/>
                <a:gd name="connsiteX75" fmla="*/ 6279 w 1034979"/>
                <a:gd name="connsiteY75" fmla="*/ 536944 h 839878"/>
                <a:gd name="connsiteX76" fmla="*/ 11994 w 1034979"/>
                <a:gd name="connsiteY76" fmla="*/ 540754 h 839878"/>
                <a:gd name="connsiteX77" fmla="*/ 17709 w 1034979"/>
                <a:gd name="connsiteY77" fmla="*/ 542659 h 839878"/>
                <a:gd name="connsiteX78" fmla="*/ 145344 w 1034979"/>
                <a:gd name="connsiteY78" fmla="*/ 540754 h 839878"/>
                <a:gd name="connsiteX79" fmla="*/ 152964 w 1034979"/>
                <a:gd name="connsiteY79" fmla="*/ 538849 h 839878"/>
                <a:gd name="connsiteX80" fmla="*/ 303459 w 1034979"/>
                <a:gd name="connsiteY80" fmla="*/ 533134 h 839878"/>
                <a:gd name="connsiteX81" fmla="*/ 318699 w 1034979"/>
                <a:gd name="connsiteY81" fmla="*/ 540754 h 839878"/>
                <a:gd name="connsiteX82" fmla="*/ 330129 w 1034979"/>
                <a:gd name="connsiteY82" fmla="*/ 546469 h 839878"/>
                <a:gd name="connsiteX83" fmla="*/ 333939 w 1034979"/>
                <a:gd name="connsiteY83" fmla="*/ 552184 h 839878"/>
                <a:gd name="connsiteX84" fmla="*/ 339654 w 1034979"/>
                <a:gd name="connsiteY84" fmla="*/ 554089 h 839878"/>
                <a:gd name="connsiteX85" fmla="*/ 351084 w 1034979"/>
                <a:gd name="connsiteY85" fmla="*/ 561709 h 839878"/>
                <a:gd name="connsiteX86" fmla="*/ 356799 w 1034979"/>
                <a:gd name="connsiteY86" fmla="*/ 565519 h 839878"/>
                <a:gd name="connsiteX87" fmla="*/ 360609 w 1034979"/>
                <a:gd name="connsiteY87" fmla="*/ 571234 h 839878"/>
                <a:gd name="connsiteX88" fmla="*/ 366324 w 1034979"/>
                <a:gd name="connsiteY88" fmla="*/ 582664 h 839878"/>
                <a:gd name="connsiteX89" fmla="*/ 362514 w 1034979"/>
                <a:gd name="connsiteY89" fmla="*/ 609334 h 839878"/>
                <a:gd name="connsiteX90" fmla="*/ 358704 w 1034979"/>
                <a:gd name="connsiteY90" fmla="*/ 615049 h 839878"/>
                <a:gd name="connsiteX91" fmla="*/ 356799 w 1034979"/>
                <a:gd name="connsiteY91" fmla="*/ 620764 h 839878"/>
                <a:gd name="connsiteX92" fmla="*/ 352989 w 1034979"/>
                <a:gd name="connsiteY92" fmla="*/ 626479 h 839878"/>
                <a:gd name="connsiteX93" fmla="*/ 351084 w 1034979"/>
                <a:gd name="connsiteY93" fmla="*/ 632194 h 839878"/>
                <a:gd name="connsiteX94" fmla="*/ 347274 w 1034979"/>
                <a:gd name="connsiteY94" fmla="*/ 637909 h 839878"/>
                <a:gd name="connsiteX95" fmla="*/ 330129 w 1034979"/>
                <a:gd name="connsiteY95" fmla="*/ 704584 h 839878"/>
                <a:gd name="connsiteX96" fmla="*/ 328224 w 1034979"/>
                <a:gd name="connsiteY96" fmla="*/ 756019 h 839878"/>
                <a:gd name="connsiteX97" fmla="*/ 330129 w 1034979"/>
                <a:gd name="connsiteY97" fmla="*/ 780784 h 839878"/>
                <a:gd name="connsiteX98" fmla="*/ 332034 w 1034979"/>
                <a:gd name="connsiteY98" fmla="*/ 786499 h 839878"/>
                <a:gd name="connsiteX99" fmla="*/ 335844 w 1034979"/>
                <a:gd name="connsiteY99" fmla="*/ 790309 h 839878"/>
                <a:gd name="connsiteX100" fmla="*/ 364419 w 1034979"/>
                <a:gd name="connsiteY100" fmla="*/ 836029 h 839878"/>
                <a:gd name="connsiteX101" fmla="*/ 387279 w 1034979"/>
                <a:gd name="connsiteY101" fmla="*/ 837934 h 839878"/>
                <a:gd name="connsiteX102" fmla="*/ 392994 w 1034979"/>
                <a:gd name="connsiteY102" fmla="*/ 832219 h 839878"/>
                <a:gd name="connsiteX103" fmla="*/ 394899 w 1034979"/>
                <a:gd name="connsiteY103" fmla="*/ 820789 h 839878"/>
                <a:gd name="connsiteX104" fmla="*/ 396804 w 1034979"/>
                <a:gd name="connsiteY104" fmla="*/ 815074 h 839878"/>
                <a:gd name="connsiteX105" fmla="*/ 398709 w 1034979"/>
                <a:gd name="connsiteY105" fmla="*/ 797929 h 839878"/>
                <a:gd name="connsiteX106" fmla="*/ 400614 w 1034979"/>
                <a:gd name="connsiteY106" fmla="*/ 784594 h 839878"/>
                <a:gd name="connsiteX107" fmla="*/ 404424 w 1034979"/>
                <a:gd name="connsiteY107" fmla="*/ 727444 h 839878"/>
                <a:gd name="connsiteX108" fmla="*/ 410139 w 1034979"/>
                <a:gd name="connsiteY108" fmla="*/ 716014 h 839878"/>
                <a:gd name="connsiteX109" fmla="*/ 413949 w 1034979"/>
                <a:gd name="connsiteY109" fmla="*/ 702679 h 839878"/>
                <a:gd name="connsiteX110" fmla="*/ 415854 w 1034979"/>
                <a:gd name="connsiteY110" fmla="*/ 696964 h 839878"/>
                <a:gd name="connsiteX111" fmla="*/ 417759 w 1034979"/>
                <a:gd name="connsiteY111" fmla="*/ 683629 h 839878"/>
                <a:gd name="connsiteX112" fmla="*/ 421569 w 1034979"/>
                <a:gd name="connsiteY112" fmla="*/ 672199 h 839878"/>
                <a:gd name="connsiteX113" fmla="*/ 427284 w 1034979"/>
                <a:gd name="connsiteY113" fmla="*/ 658864 h 839878"/>
                <a:gd name="connsiteX114" fmla="*/ 436809 w 1034979"/>
                <a:gd name="connsiteY114" fmla="*/ 647434 h 839878"/>
                <a:gd name="connsiteX115" fmla="*/ 450144 w 1034979"/>
                <a:gd name="connsiteY115" fmla="*/ 632194 h 839878"/>
                <a:gd name="connsiteX116" fmla="*/ 457764 w 1034979"/>
                <a:gd name="connsiteY116" fmla="*/ 620764 h 839878"/>
                <a:gd name="connsiteX117" fmla="*/ 461574 w 1034979"/>
                <a:gd name="connsiteY117" fmla="*/ 609334 h 839878"/>
                <a:gd name="connsiteX118" fmla="*/ 465384 w 1034979"/>
                <a:gd name="connsiteY118" fmla="*/ 594094 h 839878"/>
                <a:gd name="connsiteX119" fmla="*/ 467289 w 1034979"/>
                <a:gd name="connsiteY119" fmla="*/ 588379 h 839878"/>
                <a:gd name="connsiteX120" fmla="*/ 507294 w 1034979"/>
                <a:gd name="connsiteY120" fmla="*/ 582664 h 839878"/>
                <a:gd name="connsiteX121" fmla="*/ 535869 w 1034979"/>
                <a:gd name="connsiteY121" fmla="*/ 573139 h 839878"/>
                <a:gd name="connsiteX122" fmla="*/ 541584 w 1034979"/>
                <a:gd name="connsiteY122" fmla="*/ 571234 h 839878"/>
                <a:gd name="connsiteX123" fmla="*/ 547299 w 1034979"/>
                <a:gd name="connsiteY123" fmla="*/ 569329 h 839878"/>
                <a:gd name="connsiteX124" fmla="*/ 554919 w 1034979"/>
                <a:gd name="connsiteY124" fmla="*/ 567424 h 839878"/>
                <a:gd name="connsiteX125" fmla="*/ 573969 w 1034979"/>
                <a:gd name="connsiteY125" fmla="*/ 559804 h 839878"/>
                <a:gd name="connsiteX126" fmla="*/ 585399 w 1034979"/>
                <a:gd name="connsiteY126" fmla="*/ 555994 h 839878"/>
                <a:gd name="connsiteX127" fmla="*/ 720654 w 1034979"/>
                <a:gd name="connsiteY127" fmla="*/ 639814 h 839878"/>
                <a:gd name="connsiteX128" fmla="*/ 733989 w 1034979"/>
                <a:gd name="connsiteY128" fmla="*/ 649339 h 839878"/>
                <a:gd name="connsiteX129" fmla="*/ 743514 w 1034979"/>
                <a:gd name="connsiteY129" fmla="*/ 651244 h 839878"/>
                <a:gd name="connsiteX130" fmla="*/ 749229 w 1034979"/>
                <a:gd name="connsiteY130" fmla="*/ 653149 h 839878"/>
                <a:gd name="connsiteX131" fmla="*/ 762564 w 1034979"/>
                <a:gd name="connsiteY131" fmla="*/ 658864 h 839878"/>
                <a:gd name="connsiteX132" fmla="*/ 777804 w 1034979"/>
                <a:gd name="connsiteY132" fmla="*/ 656959 h 839878"/>
                <a:gd name="connsiteX133" fmla="*/ 789234 w 1034979"/>
                <a:gd name="connsiteY133" fmla="*/ 651244 h 839878"/>
                <a:gd name="connsiteX134" fmla="*/ 794949 w 1034979"/>
                <a:gd name="connsiteY134" fmla="*/ 649339 h 839878"/>
                <a:gd name="connsiteX135" fmla="*/ 802569 w 1034979"/>
                <a:gd name="connsiteY135" fmla="*/ 632194 h 839878"/>
                <a:gd name="connsiteX136" fmla="*/ 800664 w 1034979"/>
                <a:gd name="connsiteY136" fmla="*/ 607429 h 839878"/>
                <a:gd name="connsiteX137" fmla="*/ 798759 w 1034979"/>
                <a:gd name="connsiteY137" fmla="*/ 601714 h 839878"/>
                <a:gd name="connsiteX138" fmla="*/ 796854 w 1034979"/>
                <a:gd name="connsiteY138" fmla="*/ 594094 h 839878"/>
                <a:gd name="connsiteX139" fmla="*/ 783519 w 1034979"/>
                <a:gd name="connsiteY139" fmla="*/ 576949 h 839878"/>
                <a:gd name="connsiteX140" fmla="*/ 773994 w 1034979"/>
                <a:gd name="connsiteY140" fmla="*/ 571234 h 839878"/>
                <a:gd name="connsiteX141" fmla="*/ 648264 w 1034979"/>
                <a:gd name="connsiteY141" fmla="*/ 479794 h 839878"/>
                <a:gd name="connsiteX142" fmla="*/ 644454 w 1034979"/>
                <a:gd name="connsiteY142" fmla="*/ 462649 h 839878"/>
                <a:gd name="connsiteX143" fmla="*/ 646359 w 1034979"/>
                <a:gd name="connsiteY143" fmla="*/ 455029 h 839878"/>
                <a:gd name="connsiteX144" fmla="*/ 650169 w 1034979"/>
                <a:gd name="connsiteY144" fmla="*/ 437884 h 839878"/>
                <a:gd name="connsiteX145" fmla="*/ 653979 w 1034979"/>
                <a:gd name="connsiteY145" fmla="*/ 432169 h 839878"/>
                <a:gd name="connsiteX146" fmla="*/ 655884 w 1034979"/>
                <a:gd name="connsiteY146" fmla="*/ 426454 h 839878"/>
                <a:gd name="connsiteX147" fmla="*/ 661599 w 1034979"/>
                <a:gd name="connsiteY147" fmla="*/ 424549 h 839878"/>
                <a:gd name="connsiteX148" fmla="*/ 671124 w 1034979"/>
                <a:gd name="connsiteY148" fmla="*/ 413119 h 839878"/>
                <a:gd name="connsiteX149" fmla="*/ 724464 w 1034979"/>
                <a:gd name="connsiteY149" fmla="*/ 405499 h 839878"/>
                <a:gd name="connsiteX150" fmla="*/ 842574 w 1034979"/>
                <a:gd name="connsiteY150" fmla="*/ 407404 h 839878"/>
                <a:gd name="connsiteX151" fmla="*/ 871149 w 1034979"/>
                <a:gd name="connsiteY151" fmla="*/ 409309 h 839878"/>
                <a:gd name="connsiteX152" fmla="*/ 899724 w 1034979"/>
                <a:gd name="connsiteY152" fmla="*/ 415024 h 839878"/>
                <a:gd name="connsiteX153" fmla="*/ 922584 w 1034979"/>
                <a:gd name="connsiteY153" fmla="*/ 418834 h 839878"/>
                <a:gd name="connsiteX154" fmla="*/ 951159 w 1034979"/>
                <a:gd name="connsiteY154" fmla="*/ 424549 h 839878"/>
                <a:gd name="connsiteX155" fmla="*/ 956874 w 1034979"/>
                <a:gd name="connsiteY155" fmla="*/ 424549 h 839878"/>
                <a:gd name="connsiteX156" fmla="*/ 1002594 w 1034979"/>
                <a:gd name="connsiteY156" fmla="*/ 422644 h 839878"/>
                <a:gd name="connsiteX157" fmla="*/ 1031169 w 1034979"/>
                <a:gd name="connsiteY157" fmla="*/ 415024 h 839878"/>
                <a:gd name="connsiteX158" fmla="*/ 1034979 w 1034979"/>
                <a:gd name="connsiteY158" fmla="*/ 409309 h 839878"/>
                <a:gd name="connsiteX159" fmla="*/ 1033074 w 1034979"/>
                <a:gd name="connsiteY159" fmla="*/ 390259 h 839878"/>
                <a:gd name="connsiteX160" fmla="*/ 1027359 w 1034979"/>
                <a:gd name="connsiteY160" fmla="*/ 386449 h 839878"/>
                <a:gd name="connsiteX161" fmla="*/ 1012119 w 1034979"/>
                <a:gd name="connsiteY161" fmla="*/ 384544 h 839878"/>
                <a:gd name="connsiteX162" fmla="*/ 1006404 w 1034979"/>
                <a:gd name="connsiteY162" fmla="*/ 382639 h 839878"/>
                <a:gd name="connsiteX163" fmla="*/ 998784 w 1034979"/>
                <a:gd name="connsiteY163" fmla="*/ 380734 h 839878"/>
                <a:gd name="connsiteX164" fmla="*/ 987354 w 1034979"/>
                <a:gd name="connsiteY164" fmla="*/ 373114 h 839878"/>
                <a:gd name="connsiteX165" fmla="*/ 975924 w 1034979"/>
                <a:gd name="connsiteY165" fmla="*/ 369304 h 839878"/>
                <a:gd name="connsiteX166" fmla="*/ 970209 w 1034979"/>
                <a:gd name="connsiteY166" fmla="*/ 367399 h 839878"/>
                <a:gd name="connsiteX167" fmla="*/ 962589 w 1034979"/>
                <a:gd name="connsiteY167" fmla="*/ 365494 h 839878"/>
                <a:gd name="connsiteX168" fmla="*/ 956874 w 1034979"/>
                <a:gd name="connsiteY168" fmla="*/ 363589 h 839878"/>
                <a:gd name="connsiteX169" fmla="*/ 935919 w 1034979"/>
                <a:gd name="connsiteY169" fmla="*/ 357874 h 839878"/>
                <a:gd name="connsiteX170" fmla="*/ 930204 w 1034979"/>
                <a:gd name="connsiteY170" fmla="*/ 355969 h 839878"/>
                <a:gd name="connsiteX171" fmla="*/ 825429 w 1034979"/>
                <a:gd name="connsiteY171" fmla="*/ 357874 h 839878"/>
                <a:gd name="connsiteX172" fmla="*/ 819714 w 1034979"/>
                <a:gd name="connsiteY172" fmla="*/ 359779 h 839878"/>
                <a:gd name="connsiteX173" fmla="*/ 730179 w 1034979"/>
                <a:gd name="connsiteY173" fmla="*/ 361684 h 839878"/>
                <a:gd name="connsiteX174" fmla="*/ 716844 w 1034979"/>
                <a:gd name="connsiteY174" fmla="*/ 365494 h 839878"/>
                <a:gd name="connsiteX175" fmla="*/ 695889 w 1034979"/>
                <a:gd name="connsiteY175" fmla="*/ 367399 h 839878"/>
                <a:gd name="connsiteX176" fmla="*/ 669219 w 1034979"/>
                <a:gd name="connsiteY176" fmla="*/ 369304 h 839878"/>
                <a:gd name="connsiteX177" fmla="*/ 669219 w 1034979"/>
                <a:gd name="connsiteY177" fmla="*/ 369304 h 839878"/>
                <a:gd name="connsiteX178" fmla="*/ 646359 w 1034979"/>
                <a:gd name="connsiteY178" fmla="*/ 373114 h 839878"/>
                <a:gd name="connsiteX179" fmla="*/ 642549 w 1034979"/>
                <a:gd name="connsiteY179" fmla="*/ 361684 h 839878"/>
                <a:gd name="connsiteX180" fmla="*/ 640644 w 1034979"/>
                <a:gd name="connsiteY180" fmla="*/ 355969 h 839878"/>
                <a:gd name="connsiteX181" fmla="*/ 642549 w 1034979"/>
                <a:gd name="connsiteY181" fmla="*/ 338824 h 839878"/>
                <a:gd name="connsiteX182" fmla="*/ 644454 w 1034979"/>
                <a:gd name="connsiteY182" fmla="*/ 333109 h 839878"/>
                <a:gd name="connsiteX183" fmla="*/ 661599 w 1034979"/>
                <a:gd name="connsiteY183" fmla="*/ 323584 h 839878"/>
                <a:gd name="connsiteX184" fmla="*/ 673029 w 1034979"/>
                <a:gd name="connsiteY184" fmla="*/ 315964 h 839878"/>
                <a:gd name="connsiteX185" fmla="*/ 674934 w 1034979"/>
                <a:gd name="connsiteY185" fmla="*/ 310249 h 839878"/>
                <a:gd name="connsiteX186" fmla="*/ 680649 w 1034979"/>
                <a:gd name="connsiteY186" fmla="*/ 308344 h 839878"/>
                <a:gd name="connsiteX187" fmla="*/ 686364 w 1034979"/>
                <a:gd name="connsiteY187" fmla="*/ 304534 h 839878"/>
                <a:gd name="connsiteX188" fmla="*/ 695889 w 1034979"/>
                <a:gd name="connsiteY188" fmla="*/ 295009 h 839878"/>
                <a:gd name="connsiteX189" fmla="*/ 705414 w 1034979"/>
                <a:gd name="connsiteY189" fmla="*/ 283579 h 839878"/>
                <a:gd name="connsiteX190" fmla="*/ 716844 w 1034979"/>
                <a:gd name="connsiteY190" fmla="*/ 275959 h 839878"/>
                <a:gd name="connsiteX191" fmla="*/ 732084 w 1034979"/>
                <a:gd name="connsiteY191" fmla="*/ 262624 h 839878"/>
                <a:gd name="connsiteX192" fmla="*/ 741609 w 1034979"/>
                <a:gd name="connsiteY192" fmla="*/ 251194 h 839878"/>
                <a:gd name="connsiteX193" fmla="*/ 753039 w 1034979"/>
                <a:gd name="connsiteY193" fmla="*/ 241669 h 839878"/>
                <a:gd name="connsiteX194" fmla="*/ 758754 w 1034979"/>
                <a:gd name="connsiteY194" fmla="*/ 230239 h 839878"/>
                <a:gd name="connsiteX195" fmla="*/ 760659 w 1034979"/>
                <a:gd name="connsiteY195" fmla="*/ 224524 h 839878"/>
                <a:gd name="connsiteX196" fmla="*/ 766374 w 1034979"/>
                <a:gd name="connsiteY196" fmla="*/ 213094 h 839878"/>
                <a:gd name="connsiteX197" fmla="*/ 764469 w 1034979"/>
                <a:gd name="connsiteY197" fmla="*/ 197854 h 839878"/>
                <a:gd name="connsiteX198" fmla="*/ 758754 w 1034979"/>
                <a:gd name="connsiteY198" fmla="*/ 195949 h 839878"/>
                <a:gd name="connsiteX199" fmla="*/ 737799 w 1034979"/>
                <a:gd name="connsiteY199" fmla="*/ 197854 h 839878"/>
                <a:gd name="connsiteX200" fmla="*/ 732084 w 1034979"/>
                <a:gd name="connsiteY200" fmla="*/ 201664 h 839878"/>
                <a:gd name="connsiteX201" fmla="*/ 720654 w 1034979"/>
                <a:gd name="connsiteY201" fmla="*/ 205474 h 839878"/>
                <a:gd name="connsiteX202" fmla="*/ 716844 w 1034979"/>
                <a:gd name="connsiteY202" fmla="*/ 211189 h 839878"/>
                <a:gd name="connsiteX203" fmla="*/ 711129 w 1034979"/>
                <a:gd name="connsiteY203" fmla="*/ 213094 h 839878"/>
                <a:gd name="connsiteX204" fmla="*/ 705414 w 1034979"/>
                <a:gd name="connsiteY204" fmla="*/ 216904 h 839878"/>
                <a:gd name="connsiteX205" fmla="*/ 699699 w 1034979"/>
                <a:gd name="connsiteY205" fmla="*/ 222619 h 839878"/>
                <a:gd name="connsiteX206" fmla="*/ 692079 w 1034979"/>
                <a:gd name="connsiteY206" fmla="*/ 226429 h 839878"/>
                <a:gd name="connsiteX207" fmla="*/ 650169 w 1034979"/>
                <a:gd name="connsiteY207" fmla="*/ 255004 h 839878"/>
                <a:gd name="connsiteX208" fmla="*/ 636834 w 1034979"/>
                <a:gd name="connsiteY208" fmla="*/ 266434 h 839878"/>
                <a:gd name="connsiteX209" fmla="*/ 627309 w 1034979"/>
                <a:gd name="connsiteY209" fmla="*/ 283579 h 839878"/>
                <a:gd name="connsiteX210" fmla="*/ 602544 w 1034979"/>
                <a:gd name="connsiteY210" fmla="*/ 289294 h 839878"/>
                <a:gd name="connsiteX211" fmla="*/ 589209 w 1034979"/>
                <a:gd name="connsiteY211" fmla="*/ 293104 h 839878"/>
                <a:gd name="connsiteX212" fmla="*/ 573969 w 1034979"/>
                <a:gd name="connsiteY212" fmla="*/ 291199 h 839878"/>
                <a:gd name="connsiteX213" fmla="*/ 562539 w 1034979"/>
                <a:gd name="connsiteY213" fmla="*/ 287389 h 839878"/>
                <a:gd name="connsiteX214" fmla="*/ 551109 w 1034979"/>
                <a:gd name="connsiteY214" fmla="*/ 283579 h 839878"/>
                <a:gd name="connsiteX215" fmla="*/ 539679 w 1034979"/>
                <a:gd name="connsiteY215" fmla="*/ 279769 h 839878"/>
                <a:gd name="connsiteX216" fmla="*/ 533964 w 1034979"/>
                <a:gd name="connsiteY216" fmla="*/ 277864 h 839878"/>
                <a:gd name="connsiteX217" fmla="*/ 528249 w 1034979"/>
                <a:gd name="connsiteY217" fmla="*/ 274054 h 839878"/>
                <a:gd name="connsiteX218" fmla="*/ 516819 w 1034979"/>
                <a:gd name="connsiteY218" fmla="*/ 268339 h 839878"/>
                <a:gd name="connsiteX219" fmla="*/ 509199 w 1034979"/>
                <a:gd name="connsiteY219" fmla="*/ 256909 h 839878"/>
                <a:gd name="connsiteX220" fmla="*/ 505389 w 1034979"/>
                <a:gd name="connsiteY220" fmla="*/ 235954 h 839878"/>
                <a:gd name="connsiteX221" fmla="*/ 507294 w 1034979"/>
                <a:gd name="connsiteY221" fmla="*/ 171184 h 839878"/>
                <a:gd name="connsiteX222" fmla="*/ 513009 w 1034979"/>
                <a:gd name="connsiteY222" fmla="*/ 157849 h 839878"/>
                <a:gd name="connsiteX223" fmla="*/ 505996 w 1034979"/>
                <a:gd name="connsiteY223" fmla="*/ 73485 h 839878"/>
                <a:gd name="connsiteX224" fmla="*/ 464358 w 1034979"/>
                <a:gd name="connsiteY224" fmla="*/ 11248 h 839878"/>
                <a:gd name="connsiteX225" fmla="*/ 433083 w 1034979"/>
                <a:gd name="connsiteY225" fmla="*/ 68523 h 839878"/>
                <a:gd name="connsiteX226" fmla="*/ 425379 w 1034979"/>
                <a:gd name="connsiteY226" fmla="*/ 137103 h 839878"/>
                <a:gd name="connsiteX227" fmla="*/ 417759 w 1034979"/>
                <a:gd name="connsiteY227" fmla="*/ 169279 h 839878"/>
                <a:gd name="connsiteX228" fmla="*/ 413949 w 1034979"/>
                <a:gd name="connsiteY228" fmla="*/ 186424 h 839878"/>
                <a:gd name="connsiteX229" fmla="*/ 417759 w 1034979"/>
                <a:gd name="connsiteY229" fmla="*/ 207379 h 839878"/>
                <a:gd name="connsiteX230" fmla="*/ 421569 w 1034979"/>
                <a:gd name="connsiteY230" fmla="*/ 213094 h 839878"/>
                <a:gd name="connsiteX231" fmla="*/ 425379 w 1034979"/>
                <a:gd name="connsiteY231" fmla="*/ 224524 h 839878"/>
                <a:gd name="connsiteX232" fmla="*/ 423474 w 1034979"/>
                <a:gd name="connsiteY232" fmla="*/ 251194 h 839878"/>
                <a:gd name="connsiteX233" fmla="*/ 417759 w 1034979"/>
                <a:gd name="connsiteY233" fmla="*/ 253099 h 839878"/>
                <a:gd name="connsiteX234" fmla="*/ 412044 w 1034979"/>
                <a:gd name="connsiteY234" fmla="*/ 256909 h 839878"/>
                <a:gd name="connsiteX235" fmla="*/ 421569 w 1034979"/>
                <a:gd name="connsiteY235" fmla="*/ 253099 h 839878"/>
                <a:gd name="connsiteX0" fmla="*/ 421569 w 1034979"/>
                <a:gd name="connsiteY0" fmla="*/ 253099 h 839878"/>
                <a:gd name="connsiteX1" fmla="*/ 421569 w 1034979"/>
                <a:gd name="connsiteY1" fmla="*/ 253099 h 839878"/>
                <a:gd name="connsiteX2" fmla="*/ 394899 w 1034979"/>
                <a:gd name="connsiteY2" fmla="*/ 262624 h 839878"/>
                <a:gd name="connsiteX3" fmla="*/ 387279 w 1034979"/>
                <a:gd name="connsiteY3" fmla="*/ 264529 h 839878"/>
                <a:gd name="connsiteX4" fmla="*/ 356799 w 1034979"/>
                <a:gd name="connsiteY4" fmla="*/ 266434 h 839878"/>
                <a:gd name="connsiteX5" fmla="*/ 351084 w 1034979"/>
                <a:gd name="connsiteY5" fmla="*/ 270244 h 839878"/>
                <a:gd name="connsiteX6" fmla="*/ 339654 w 1034979"/>
                <a:gd name="connsiteY6" fmla="*/ 279769 h 839878"/>
                <a:gd name="connsiteX7" fmla="*/ 328224 w 1034979"/>
                <a:gd name="connsiteY7" fmla="*/ 283579 h 839878"/>
                <a:gd name="connsiteX8" fmla="*/ 312984 w 1034979"/>
                <a:gd name="connsiteY8" fmla="*/ 289294 h 839878"/>
                <a:gd name="connsiteX9" fmla="*/ 265359 w 1034979"/>
                <a:gd name="connsiteY9" fmla="*/ 285484 h 839878"/>
                <a:gd name="connsiteX10" fmla="*/ 253929 w 1034979"/>
                <a:gd name="connsiteY10" fmla="*/ 281674 h 839878"/>
                <a:gd name="connsiteX11" fmla="*/ 242499 w 1034979"/>
                <a:gd name="connsiteY11" fmla="*/ 277864 h 839878"/>
                <a:gd name="connsiteX12" fmla="*/ 236784 w 1034979"/>
                <a:gd name="connsiteY12" fmla="*/ 275959 h 839878"/>
                <a:gd name="connsiteX13" fmla="*/ 231069 w 1034979"/>
                <a:gd name="connsiteY13" fmla="*/ 274054 h 839878"/>
                <a:gd name="connsiteX14" fmla="*/ 219639 w 1034979"/>
                <a:gd name="connsiteY14" fmla="*/ 272149 h 839878"/>
                <a:gd name="connsiteX15" fmla="*/ 213924 w 1034979"/>
                <a:gd name="connsiteY15" fmla="*/ 270244 h 839878"/>
                <a:gd name="connsiteX16" fmla="*/ 206304 w 1034979"/>
                <a:gd name="connsiteY16" fmla="*/ 268339 h 839878"/>
                <a:gd name="connsiteX17" fmla="*/ 194874 w 1034979"/>
                <a:gd name="connsiteY17" fmla="*/ 264529 h 839878"/>
                <a:gd name="connsiteX18" fmla="*/ 189159 w 1034979"/>
                <a:gd name="connsiteY18" fmla="*/ 262624 h 839878"/>
                <a:gd name="connsiteX19" fmla="*/ 181539 w 1034979"/>
                <a:gd name="connsiteY19" fmla="*/ 260719 h 839878"/>
                <a:gd name="connsiteX20" fmla="*/ 170109 w 1034979"/>
                <a:gd name="connsiteY20" fmla="*/ 255004 h 839878"/>
                <a:gd name="connsiteX21" fmla="*/ 164394 w 1034979"/>
                <a:gd name="connsiteY21" fmla="*/ 251194 h 839878"/>
                <a:gd name="connsiteX22" fmla="*/ 156774 w 1034979"/>
                <a:gd name="connsiteY22" fmla="*/ 239764 h 839878"/>
                <a:gd name="connsiteX23" fmla="*/ 145344 w 1034979"/>
                <a:gd name="connsiteY23" fmla="*/ 235954 h 839878"/>
                <a:gd name="connsiteX24" fmla="*/ 139629 w 1034979"/>
                <a:gd name="connsiteY24" fmla="*/ 232144 h 839878"/>
                <a:gd name="connsiteX25" fmla="*/ 133914 w 1034979"/>
                <a:gd name="connsiteY25" fmla="*/ 230239 h 839878"/>
                <a:gd name="connsiteX26" fmla="*/ 116769 w 1034979"/>
                <a:gd name="connsiteY26" fmla="*/ 226429 h 839878"/>
                <a:gd name="connsiteX27" fmla="*/ 111054 w 1034979"/>
                <a:gd name="connsiteY27" fmla="*/ 220714 h 839878"/>
                <a:gd name="connsiteX28" fmla="*/ 101529 w 1034979"/>
                <a:gd name="connsiteY28" fmla="*/ 203569 h 839878"/>
                <a:gd name="connsiteX29" fmla="*/ 84384 w 1034979"/>
                <a:gd name="connsiteY29" fmla="*/ 195949 h 839878"/>
                <a:gd name="connsiteX30" fmla="*/ 78669 w 1034979"/>
                <a:gd name="connsiteY30" fmla="*/ 194044 h 839878"/>
                <a:gd name="connsiteX31" fmla="*/ 59619 w 1034979"/>
                <a:gd name="connsiteY31" fmla="*/ 197854 h 839878"/>
                <a:gd name="connsiteX32" fmla="*/ 53904 w 1034979"/>
                <a:gd name="connsiteY32" fmla="*/ 201664 h 839878"/>
                <a:gd name="connsiteX33" fmla="*/ 50094 w 1034979"/>
                <a:gd name="connsiteY33" fmla="*/ 207379 h 839878"/>
                <a:gd name="connsiteX34" fmla="*/ 46284 w 1034979"/>
                <a:gd name="connsiteY34" fmla="*/ 218809 h 839878"/>
                <a:gd name="connsiteX35" fmla="*/ 50094 w 1034979"/>
                <a:gd name="connsiteY35" fmla="*/ 256909 h 839878"/>
                <a:gd name="connsiteX36" fmla="*/ 53904 w 1034979"/>
                <a:gd name="connsiteY36" fmla="*/ 262624 h 839878"/>
                <a:gd name="connsiteX37" fmla="*/ 59619 w 1034979"/>
                <a:gd name="connsiteY37" fmla="*/ 266434 h 839878"/>
                <a:gd name="connsiteX38" fmla="*/ 63429 w 1034979"/>
                <a:gd name="connsiteY38" fmla="*/ 272149 h 839878"/>
                <a:gd name="connsiteX39" fmla="*/ 80574 w 1034979"/>
                <a:gd name="connsiteY39" fmla="*/ 281674 h 839878"/>
                <a:gd name="connsiteX40" fmla="*/ 103434 w 1034979"/>
                <a:gd name="connsiteY40" fmla="*/ 283579 h 839878"/>
                <a:gd name="connsiteX41" fmla="*/ 124389 w 1034979"/>
                <a:gd name="connsiteY41" fmla="*/ 289294 h 839878"/>
                <a:gd name="connsiteX42" fmla="*/ 130104 w 1034979"/>
                <a:gd name="connsiteY42" fmla="*/ 291199 h 839878"/>
                <a:gd name="connsiteX43" fmla="*/ 135819 w 1034979"/>
                <a:gd name="connsiteY43" fmla="*/ 296914 h 839878"/>
                <a:gd name="connsiteX44" fmla="*/ 143439 w 1034979"/>
                <a:gd name="connsiteY44" fmla="*/ 298819 h 839878"/>
                <a:gd name="connsiteX45" fmla="*/ 166299 w 1034979"/>
                <a:gd name="connsiteY45" fmla="*/ 302629 h 839878"/>
                <a:gd name="connsiteX46" fmla="*/ 191064 w 1034979"/>
                <a:gd name="connsiteY46" fmla="*/ 308344 h 839878"/>
                <a:gd name="connsiteX47" fmla="*/ 208209 w 1034979"/>
                <a:gd name="connsiteY47" fmla="*/ 314059 h 839878"/>
                <a:gd name="connsiteX48" fmla="*/ 213924 w 1034979"/>
                <a:gd name="connsiteY48" fmla="*/ 315964 h 839878"/>
                <a:gd name="connsiteX49" fmla="*/ 229164 w 1034979"/>
                <a:gd name="connsiteY49" fmla="*/ 319774 h 839878"/>
                <a:gd name="connsiteX50" fmla="*/ 248214 w 1034979"/>
                <a:gd name="connsiteY50" fmla="*/ 325489 h 839878"/>
                <a:gd name="connsiteX51" fmla="*/ 253929 w 1034979"/>
                <a:gd name="connsiteY51" fmla="*/ 329299 h 839878"/>
                <a:gd name="connsiteX52" fmla="*/ 267264 w 1034979"/>
                <a:gd name="connsiteY52" fmla="*/ 344539 h 839878"/>
                <a:gd name="connsiteX53" fmla="*/ 272979 w 1034979"/>
                <a:gd name="connsiteY53" fmla="*/ 363589 h 839878"/>
                <a:gd name="connsiteX54" fmla="*/ 274884 w 1034979"/>
                <a:gd name="connsiteY54" fmla="*/ 369304 h 839878"/>
                <a:gd name="connsiteX55" fmla="*/ 276789 w 1034979"/>
                <a:gd name="connsiteY55" fmla="*/ 375019 h 839878"/>
                <a:gd name="connsiteX56" fmla="*/ 278694 w 1034979"/>
                <a:gd name="connsiteY56" fmla="*/ 399784 h 839878"/>
                <a:gd name="connsiteX57" fmla="*/ 280599 w 1034979"/>
                <a:gd name="connsiteY57" fmla="*/ 405499 h 839878"/>
                <a:gd name="connsiteX58" fmla="*/ 278694 w 1034979"/>
                <a:gd name="connsiteY58" fmla="*/ 424549 h 839878"/>
                <a:gd name="connsiteX59" fmla="*/ 276789 w 1034979"/>
                <a:gd name="connsiteY59" fmla="*/ 434074 h 839878"/>
                <a:gd name="connsiteX60" fmla="*/ 263454 w 1034979"/>
                <a:gd name="connsiteY60" fmla="*/ 447409 h 839878"/>
                <a:gd name="connsiteX61" fmla="*/ 252024 w 1034979"/>
                <a:gd name="connsiteY61" fmla="*/ 455029 h 839878"/>
                <a:gd name="connsiteX62" fmla="*/ 240594 w 1034979"/>
                <a:gd name="connsiteY62" fmla="*/ 458839 h 839878"/>
                <a:gd name="connsiteX63" fmla="*/ 126294 w 1034979"/>
                <a:gd name="connsiteY63" fmla="*/ 458839 h 839878"/>
                <a:gd name="connsiteX64" fmla="*/ 120579 w 1034979"/>
                <a:gd name="connsiteY64" fmla="*/ 460744 h 839878"/>
                <a:gd name="connsiteX65" fmla="*/ 105339 w 1034979"/>
                <a:gd name="connsiteY65" fmla="*/ 462649 h 839878"/>
                <a:gd name="connsiteX66" fmla="*/ 88194 w 1034979"/>
                <a:gd name="connsiteY66" fmla="*/ 468364 h 839878"/>
                <a:gd name="connsiteX67" fmla="*/ 82479 w 1034979"/>
                <a:gd name="connsiteY67" fmla="*/ 470269 h 839878"/>
                <a:gd name="connsiteX68" fmla="*/ 76764 w 1034979"/>
                <a:gd name="connsiteY68" fmla="*/ 474079 h 839878"/>
                <a:gd name="connsiteX69" fmla="*/ 65334 w 1034979"/>
                <a:gd name="connsiteY69" fmla="*/ 475984 h 839878"/>
                <a:gd name="connsiteX70" fmla="*/ 27234 w 1034979"/>
                <a:gd name="connsiteY70" fmla="*/ 477889 h 839878"/>
                <a:gd name="connsiteX71" fmla="*/ 15804 w 1034979"/>
                <a:gd name="connsiteY71" fmla="*/ 483604 h 839878"/>
                <a:gd name="connsiteX72" fmla="*/ 6279 w 1034979"/>
                <a:gd name="connsiteY72" fmla="*/ 493129 h 839878"/>
                <a:gd name="connsiteX73" fmla="*/ 4374 w 1034979"/>
                <a:gd name="connsiteY73" fmla="*/ 498844 h 839878"/>
                <a:gd name="connsiteX74" fmla="*/ 564 w 1034979"/>
                <a:gd name="connsiteY74" fmla="*/ 504559 h 839878"/>
                <a:gd name="connsiteX75" fmla="*/ 6279 w 1034979"/>
                <a:gd name="connsiteY75" fmla="*/ 536944 h 839878"/>
                <a:gd name="connsiteX76" fmla="*/ 11994 w 1034979"/>
                <a:gd name="connsiteY76" fmla="*/ 540754 h 839878"/>
                <a:gd name="connsiteX77" fmla="*/ 17709 w 1034979"/>
                <a:gd name="connsiteY77" fmla="*/ 542659 h 839878"/>
                <a:gd name="connsiteX78" fmla="*/ 145344 w 1034979"/>
                <a:gd name="connsiteY78" fmla="*/ 540754 h 839878"/>
                <a:gd name="connsiteX79" fmla="*/ 152964 w 1034979"/>
                <a:gd name="connsiteY79" fmla="*/ 538849 h 839878"/>
                <a:gd name="connsiteX80" fmla="*/ 303459 w 1034979"/>
                <a:gd name="connsiteY80" fmla="*/ 533134 h 839878"/>
                <a:gd name="connsiteX81" fmla="*/ 318699 w 1034979"/>
                <a:gd name="connsiteY81" fmla="*/ 540754 h 839878"/>
                <a:gd name="connsiteX82" fmla="*/ 330129 w 1034979"/>
                <a:gd name="connsiteY82" fmla="*/ 546469 h 839878"/>
                <a:gd name="connsiteX83" fmla="*/ 333939 w 1034979"/>
                <a:gd name="connsiteY83" fmla="*/ 552184 h 839878"/>
                <a:gd name="connsiteX84" fmla="*/ 339654 w 1034979"/>
                <a:gd name="connsiteY84" fmla="*/ 554089 h 839878"/>
                <a:gd name="connsiteX85" fmla="*/ 351084 w 1034979"/>
                <a:gd name="connsiteY85" fmla="*/ 561709 h 839878"/>
                <a:gd name="connsiteX86" fmla="*/ 356799 w 1034979"/>
                <a:gd name="connsiteY86" fmla="*/ 565519 h 839878"/>
                <a:gd name="connsiteX87" fmla="*/ 360609 w 1034979"/>
                <a:gd name="connsiteY87" fmla="*/ 571234 h 839878"/>
                <a:gd name="connsiteX88" fmla="*/ 366324 w 1034979"/>
                <a:gd name="connsiteY88" fmla="*/ 582664 h 839878"/>
                <a:gd name="connsiteX89" fmla="*/ 362514 w 1034979"/>
                <a:gd name="connsiteY89" fmla="*/ 609334 h 839878"/>
                <a:gd name="connsiteX90" fmla="*/ 358704 w 1034979"/>
                <a:gd name="connsiteY90" fmla="*/ 615049 h 839878"/>
                <a:gd name="connsiteX91" fmla="*/ 356799 w 1034979"/>
                <a:gd name="connsiteY91" fmla="*/ 620764 h 839878"/>
                <a:gd name="connsiteX92" fmla="*/ 352989 w 1034979"/>
                <a:gd name="connsiteY92" fmla="*/ 626479 h 839878"/>
                <a:gd name="connsiteX93" fmla="*/ 351084 w 1034979"/>
                <a:gd name="connsiteY93" fmla="*/ 632194 h 839878"/>
                <a:gd name="connsiteX94" fmla="*/ 347274 w 1034979"/>
                <a:gd name="connsiteY94" fmla="*/ 637909 h 839878"/>
                <a:gd name="connsiteX95" fmla="*/ 330129 w 1034979"/>
                <a:gd name="connsiteY95" fmla="*/ 704584 h 839878"/>
                <a:gd name="connsiteX96" fmla="*/ 328224 w 1034979"/>
                <a:gd name="connsiteY96" fmla="*/ 756019 h 839878"/>
                <a:gd name="connsiteX97" fmla="*/ 330129 w 1034979"/>
                <a:gd name="connsiteY97" fmla="*/ 780784 h 839878"/>
                <a:gd name="connsiteX98" fmla="*/ 332034 w 1034979"/>
                <a:gd name="connsiteY98" fmla="*/ 786499 h 839878"/>
                <a:gd name="connsiteX99" fmla="*/ 335844 w 1034979"/>
                <a:gd name="connsiteY99" fmla="*/ 790309 h 839878"/>
                <a:gd name="connsiteX100" fmla="*/ 364419 w 1034979"/>
                <a:gd name="connsiteY100" fmla="*/ 836029 h 839878"/>
                <a:gd name="connsiteX101" fmla="*/ 387279 w 1034979"/>
                <a:gd name="connsiteY101" fmla="*/ 837934 h 839878"/>
                <a:gd name="connsiteX102" fmla="*/ 392994 w 1034979"/>
                <a:gd name="connsiteY102" fmla="*/ 832219 h 839878"/>
                <a:gd name="connsiteX103" fmla="*/ 394899 w 1034979"/>
                <a:gd name="connsiteY103" fmla="*/ 820789 h 839878"/>
                <a:gd name="connsiteX104" fmla="*/ 396804 w 1034979"/>
                <a:gd name="connsiteY104" fmla="*/ 815074 h 839878"/>
                <a:gd name="connsiteX105" fmla="*/ 398709 w 1034979"/>
                <a:gd name="connsiteY105" fmla="*/ 797929 h 839878"/>
                <a:gd name="connsiteX106" fmla="*/ 400614 w 1034979"/>
                <a:gd name="connsiteY106" fmla="*/ 784594 h 839878"/>
                <a:gd name="connsiteX107" fmla="*/ 404424 w 1034979"/>
                <a:gd name="connsiteY107" fmla="*/ 727444 h 839878"/>
                <a:gd name="connsiteX108" fmla="*/ 410139 w 1034979"/>
                <a:gd name="connsiteY108" fmla="*/ 716014 h 839878"/>
                <a:gd name="connsiteX109" fmla="*/ 413949 w 1034979"/>
                <a:gd name="connsiteY109" fmla="*/ 702679 h 839878"/>
                <a:gd name="connsiteX110" fmla="*/ 415854 w 1034979"/>
                <a:gd name="connsiteY110" fmla="*/ 696964 h 839878"/>
                <a:gd name="connsiteX111" fmla="*/ 417759 w 1034979"/>
                <a:gd name="connsiteY111" fmla="*/ 683629 h 839878"/>
                <a:gd name="connsiteX112" fmla="*/ 421569 w 1034979"/>
                <a:gd name="connsiteY112" fmla="*/ 672199 h 839878"/>
                <a:gd name="connsiteX113" fmla="*/ 427284 w 1034979"/>
                <a:gd name="connsiteY113" fmla="*/ 658864 h 839878"/>
                <a:gd name="connsiteX114" fmla="*/ 436809 w 1034979"/>
                <a:gd name="connsiteY114" fmla="*/ 647434 h 839878"/>
                <a:gd name="connsiteX115" fmla="*/ 450144 w 1034979"/>
                <a:gd name="connsiteY115" fmla="*/ 632194 h 839878"/>
                <a:gd name="connsiteX116" fmla="*/ 457764 w 1034979"/>
                <a:gd name="connsiteY116" fmla="*/ 620764 h 839878"/>
                <a:gd name="connsiteX117" fmla="*/ 461574 w 1034979"/>
                <a:gd name="connsiteY117" fmla="*/ 609334 h 839878"/>
                <a:gd name="connsiteX118" fmla="*/ 465384 w 1034979"/>
                <a:gd name="connsiteY118" fmla="*/ 594094 h 839878"/>
                <a:gd name="connsiteX119" fmla="*/ 467289 w 1034979"/>
                <a:gd name="connsiteY119" fmla="*/ 588379 h 839878"/>
                <a:gd name="connsiteX120" fmla="*/ 507294 w 1034979"/>
                <a:gd name="connsiteY120" fmla="*/ 582664 h 839878"/>
                <a:gd name="connsiteX121" fmla="*/ 535869 w 1034979"/>
                <a:gd name="connsiteY121" fmla="*/ 573139 h 839878"/>
                <a:gd name="connsiteX122" fmla="*/ 541584 w 1034979"/>
                <a:gd name="connsiteY122" fmla="*/ 571234 h 839878"/>
                <a:gd name="connsiteX123" fmla="*/ 547299 w 1034979"/>
                <a:gd name="connsiteY123" fmla="*/ 569329 h 839878"/>
                <a:gd name="connsiteX124" fmla="*/ 554919 w 1034979"/>
                <a:gd name="connsiteY124" fmla="*/ 567424 h 839878"/>
                <a:gd name="connsiteX125" fmla="*/ 573969 w 1034979"/>
                <a:gd name="connsiteY125" fmla="*/ 559804 h 839878"/>
                <a:gd name="connsiteX126" fmla="*/ 585399 w 1034979"/>
                <a:gd name="connsiteY126" fmla="*/ 555994 h 839878"/>
                <a:gd name="connsiteX127" fmla="*/ 720654 w 1034979"/>
                <a:gd name="connsiteY127" fmla="*/ 639814 h 839878"/>
                <a:gd name="connsiteX128" fmla="*/ 733989 w 1034979"/>
                <a:gd name="connsiteY128" fmla="*/ 649339 h 839878"/>
                <a:gd name="connsiteX129" fmla="*/ 743514 w 1034979"/>
                <a:gd name="connsiteY129" fmla="*/ 651244 h 839878"/>
                <a:gd name="connsiteX130" fmla="*/ 749229 w 1034979"/>
                <a:gd name="connsiteY130" fmla="*/ 653149 h 839878"/>
                <a:gd name="connsiteX131" fmla="*/ 762564 w 1034979"/>
                <a:gd name="connsiteY131" fmla="*/ 658864 h 839878"/>
                <a:gd name="connsiteX132" fmla="*/ 777804 w 1034979"/>
                <a:gd name="connsiteY132" fmla="*/ 656959 h 839878"/>
                <a:gd name="connsiteX133" fmla="*/ 789234 w 1034979"/>
                <a:gd name="connsiteY133" fmla="*/ 651244 h 839878"/>
                <a:gd name="connsiteX134" fmla="*/ 794949 w 1034979"/>
                <a:gd name="connsiteY134" fmla="*/ 649339 h 839878"/>
                <a:gd name="connsiteX135" fmla="*/ 802569 w 1034979"/>
                <a:gd name="connsiteY135" fmla="*/ 632194 h 839878"/>
                <a:gd name="connsiteX136" fmla="*/ 800664 w 1034979"/>
                <a:gd name="connsiteY136" fmla="*/ 607429 h 839878"/>
                <a:gd name="connsiteX137" fmla="*/ 798759 w 1034979"/>
                <a:gd name="connsiteY137" fmla="*/ 601714 h 839878"/>
                <a:gd name="connsiteX138" fmla="*/ 796854 w 1034979"/>
                <a:gd name="connsiteY138" fmla="*/ 594094 h 839878"/>
                <a:gd name="connsiteX139" fmla="*/ 783519 w 1034979"/>
                <a:gd name="connsiteY139" fmla="*/ 576949 h 839878"/>
                <a:gd name="connsiteX140" fmla="*/ 773994 w 1034979"/>
                <a:gd name="connsiteY140" fmla="*/ 571234 h 839878"/>
                <a:gd name="connsiteX141" fmla="*/ 648264 w 1034979"/>
                <a:gd name="connsiteY141" fmla="*/ 479794 h 839878"/>
                <a:gd name="connsiteX142" fmla="*/ 644454 w 1034979"/>
                <a:gd name="connsiteY142" fmla="*/ 462649 h 839878"/>
                <a:gd name="connsiteX143" fmla="*/ 646359 w 1034979"/>
                <a:gd name="connsiteY143" fmla="*/ 455029 h 839878"/>
                <a:gd name="connsiteX144" fmla="*/ 650169 w 1034979"/>
                <a:gd name="connsiteY144" fmla="*/ 437884 h 839878"/>
                <a:gd name="connsiteX145" fmla="*/ 653979 w 1034979"/>
                <a:gd name="connsiteY145" fmla="*/ 432169 h 839878"/>
                <a:gd name="connsiteX146" fmla="*/ 655884 w 1034979"/>
                <a:gd name="connsiteY146" fmla="*/ 426454 h 839878"/>
                <a:gd name="connsiteX147" fmla="*/ 661599 w 1034979"/>
                <a:gd name="connsiteY147" fmla="*/ 424549 h 839878"/>
                <a:gd name="connsiteX148" fmla="*/ 671124 w 1034979"/>
                <a:gd name="connsiteY148" fmla="*/ 413119 h 839878"/>
                <a:gd name="connsiteX149" fmla="*/ 724464 w 1034979"/>
                <a:gd name="connsiteY149" fmla="*/ 405499 h 839878"/>
                <a:gd name="connsiteX150" fmla="*/ 842574 w 1034979"/>
                <a:gd name="connsiteY150" fmla="*/ 407404 h 839878"/>
                <a:gd name="connsiteX151" fmla="*/ 871149 w 1034979"/>
                <a:gd name="connsiteY151" fmla="*/ 409309 h 839878"/>
                <a:gd name="connsiteX152" fmla="*/ 899724 w 1034979"/>
                <a:gd name="connsiteY152" fmla="*/ 415024 h 839878"/>
                <a:gd name="connsiteX153" fmla="*/ 922584 w 1034979"/>
                <a:gd name="connsiteY153" fmla="*/ 418834 h 839878"/>
                <a:gd name="connsiteX154" fmla="*/ 951159 w 1034979"/>
                <a:gd name="connsiteY154" fmla="*/ 424549 h 839878"/>
                <a:gd name="connsiteX155" fmla="*/ 956874 w 1034979"/>
                <a:gd name="connsiteY155" fmla="*/ 424549 h 839878"/>
                <a:gd name="connsiteX156" fmla="*/ 1002594 w 1034979"/>
                <a:gd name="connsiteY156" fmla="*/ 422644 h 839878"/>
                <a:gd name="connsiteX157" fmla="*/ 1031169 w 1034979"/>
                <a:gd name="connsiteY157" fmla="*/ 415024 h 839878"/>
                <a:gd name="connsiteX158" fmla="*/ 1034979 w 1034979"/>
                <a:gd name="connsiteY158" fmla="*/ 409309 h 839878"/>
                <a:gd name="connsiteX159" fmla="*/ 1033074 w 1034979"/>
                <a:gd name="connsiteY159" fmla="*/ 390259 h 839878"/>
                <a:gd name="connsiteX160" fmla="*/ 1027359 w 1034979"/>
                <a:gd name="connsiteY160" fmla="*/ 386449 h 839878"/>
                <a:gd name="connsiteX161" fmla="*/ 1012119 w 1034979"/>
                <a:gd name="connsiteY161" fmla="*/ 384544 h 839878"/>
                <a:gd name="connsiteX162" fmla="*/ 1006404 w 1034979"/>
                <a:gd name="connsiteY162" fmla="*/ 382639 h 839878"/>
                <a:gd name="connsiteX163" fmla="*/ 998784 w 1034979"/>
                <a:gd name="connsiteY163" fmla="*/ 380734 h 839878"/>
                <a:gd name="connsiteX164" fmla="*/ 987354 w 1034979"/>
                <a:gd name="connsiteY164" fmla="*/ 373114 h 839878"/>
                <a:gd name="connsiteX165" fmla="*/ 975924 w 1034979"/>
                <a:gd name="connsiteY165" fmla="*/ 369304 h 839878"/>
                <a:gd name="connsiteX166" fmla="*/ 970209 w 1034979"/>
                <a:gd name="connsiteY166" fmla="*/ 367399 h 839878"/>
                <a:gd name="connsiteX167" fmla="*/ 962589 w 1034979"/>
                <a:gd name="connsiteY167" fmla="*/ 365494 h 839878"/>
                <a:gd name="connsiteX168" fmla="*/ 956874 w 1034979"/>
                <a:gd name="connsiteY168" fmla="*/ 363589 h 839878"/>
                <a:gd name="connsiteX169" fmla="*/ 935919 w 1034979"/>
                <a:gd name="connsiteY169" fmla="*/ 357874 h 839878"/>
                <a:gd name="connsiteX170" fmla="*/ 930204 w 1034979"/>
                <a:gd name="connsiteY170" fmla="*/ 355969 h 839878"/>
                <a:gd name="connsiteX171" fmla="*/ 825429 w 1034979"/>
                <a:gd name="connsiteY171" fmla="*/ 357874 h 839878"/>
                <a:gd name="connsiteX172" fmla="*/ 819714 w 1034979"/>
                <a:gd name="connsiteY172" fmla="*/ 359779 h 839878"/>
                <a:gd name="connsiteX173" fmla="*/ 730179 w 1034979"/>
                <a:gd name="connsiteY173" fmla="*/ 361684 h 839878"/>
                <a:gd name="connsiteX174" fmla="*/ 716844 w 1034979"/>
                <a:gd name="connsiteY174" fmla="*/ 365494 h 839878"/>
                <a:gd name="connsiteX175" fmla="*/ 695889 w 1034979"/>
                <a:gd name="connsiteY175" fmla="*/ 367399 h 839878"/>
                <a:gd name="connsiteX176" fmla="*/ 669219 w 1034979"/>
                <a:gd name="connsiteY176" fmla="*/ 369304 h 839878"/>
                <a:gd name="connsiteX177" fmla="*/ 669219 w 1034979"/>
                <a:gd name="connsiteY177" fmla="*/ 369304 h 839878"/>
                <a:gd name="connsiteX178" fmla="*/ 646359 w 1034979"/>
                <a:gd name="connsiteY178" fmla="*/ 373114 h 839878"/>
                <a:gd name="connsiteX179" fmla="*/ 642549 w 1034979"/>
                <a:gd name="connsiteY179" fmla="*/ 361684 h 839878"/>
                <a:gd name="connsiteX180" fmla="*/ 640644 w 1034979"/>
                <a:gd name="connsiteY180" fmla="*/ 355969 h 839878"/>
                <a:gd name="connsiteX181" fmla="*/ 642549 w 1034979"/>
                <a:gd name="connsiteY181" fmla="*/ 338824 h 839878"/>
                <a:gd name="connsiteX182" fmla="*/ 644454 w 1034979"/>
                <a:gd name="connsiteY182" fmla="*/ 333109 h 839878"/>
                <a:gd name="connsiteX183" fmla="*/ 661599 w 1034979"/>
                <a:gd name="connsiteY183" fmla="*/ 323584 h 839878"/>
                <a:gd name="connsiteX184" fmla="*/ 673029 w 1034979"/>
                <a:gd name="connsiteY184" fmla="*/ 315964 h 839878"/>
                <a:gd name="connsiteX185" fmla="*/ 674934 w 1034979"/>
                <a:gd name="connsiteY185" fmla="*/ 310249 h 839878"/>
                <a:gd name="connsiteX186" fmla="*/ 680649 w 1034979"/>
                <a:gd name="connsiteY186" fmla="*/ 308344 h 839878"/>
                <a:gd name="connsiteX187" fmla="*/ 686364 w 1034979"/>
                <a:gd name="connsiteY187" fmla="*/ 304534 h 839878"/>
                <a:gd name="connsiteX188" fmla="*/ 695889 w 1034979"/>
                <a:gd name="connsiteY188" fmla="*/ 295009 h 839878"/>
                <a:gd name="connsiteX189" fmla="*/ 705414 w 1034979"/>
                <a:gd name="connsiteY189" fmla="*/ 283579 h 839878"/>
                <a:gd name="connsiteX190" fmla="*/ 716844 w 1034979"/>
                <a:gd name="connsiteY190" fmla="*/ 275959 h 839878"/>
                <a:gd name="connsiteX191" fmla="*/ 732084 w 1034979"/>
                <a:gd name="connsiteY191" fmla="*/ 262624 h 839878"/>
                <a:gd name="connsiteX192" fmla="*/ 741609 w 1034979"/>
                <a:gd name="connsiteY192" fmla="*/ 251194 h 839878"/>
                <a:gd name="connsiteX193" fmla="*/ 753039 w 1034979"/>
                <a:gd name="connsiteY193" fmla="*/ 241669 h 839878"/>
                <a:gd name="connsiteX194" fmla="*/ 758754 w 1034979"/>
                <a:gd name="connsiteY194" fmla="*/ 230239 h 839878"/>
                <a:gd name="connsiteX195" fmla="*/ 760659 w 1034979"/>
                <a:gd name="connsiteY195" fmla="*/ 224524 h 839878"/>
                <a:gd name="connsiteX196" fmla="*/ 766374 w 1034979"/>
                <a:gd name="connsiteY196" fmla="*/ 213094 h 839878"/>
                <a:gd name="connsiteX197" fmla="*/ 764469 w 1034979"/>
                <a:gd name="connsiteY197" fmla="*/ 197854 h 839878"/>
                <a:gd name="connsiteX198" fmla="*/ 758754 w 1034979"/>
                <a:gd name="connsiteY198" fmla="*/ 195949 h 839878"/>
                <a:gd name="connsiteX199" fmla="*/ 737799 w 1034979"/>
                <a:gd name="connsiteY199" fmla="*/ 197854 h 839878"/>
                <a:gd name="connsiteX200" fmla="*/ 732084 w 1034979"/>
                <a:gd name="connsiteY200" fmla="*/ 201664 h 839878"/>
                <a:gd name="connsiteX201" fmla="*/ 720654 w 1034979"/>
                <a:gd name="connsiteY201" fmla="*/ 205474 h 839878"/>
                <a:gd name="connsiteX202" fmla="*/ 716844 w 1034979"/>
                <a:gd name="connsiteY202" fmla="*/ 211189 h 839878"/>
                <a:gd name="connsiteX203" fmla="*/ 711129 w 1034979"/>
                <a:gd name="connsiteY203" fmla="*/ 213094 h 839878"/>
                <a:gd name="connsiteX204" fmla="*/ 705414 w 1034979"/>
                <a:gd name="connsiteY204" fmla="*/ 216904 h 839878"/>
                <a:gd name="connsiteX205" fmla="*/ 699699 w 1034979"/>
                <a:gd name="connsiteY205" fmla="*/ 222619 h 839878"/>
                <a:gd name="connsiteX206" fmla="*/ 692079 w 1034979"/>
                <a:gd name="connsiteY206" fmla="*/ 226429 h 839878"/>
                <a:gd name="connsiteX207" fmla="*/ 650169 w 1034979"/>
                <a:gd name="connsiteY207" fmla="*/ 255004 h 839878"/>
                <a:gd name="connsiteX208" fmla="*/ 636834 w 1034979"/>
                <a:gd name="connsiteY208" fmla="*/ 266434 h 839878"/>
                <a:gd name="connsiteX209" fmla="*/ 627309 w 1034979"/>
                <a:gd name="connsiteY209" fmla="*/ 283579 h 839878"/>
                <a:gd name="connsiteX210" fmla="*/ 602544 w 1034979"/>
                <a:gd name="connsiteY210" fmla="*/ 289294 h 839878"/>
                <a:gd name="connsiteX211" fmla="*/ 589209 w 1034979"/>
                <a:gd name="connsiteY211" fmla="*/ 293104 h 839878"/>
                <a:gd name="connsiteX212" fmla="*/ 573969 w 1034979"/>
                <a:gd name="connsiteY212" fmla="*/ 291199 h 839878"/>
                <a:gd name="connsiteX213" fmla="*/ 562539 w 1034979"/>
                <a:gd name="connsiteY213" fmla="*/ 287389 h 839878"/>
                <a:gd name="connsiteX214" fmla="*/ 551109 w 1034979"/>
                <a:gd name="connsiteY214" fmla="*/ 283579 h 839878"/>
                <a:gd name="connsiteX215" fmla="*/ 539679 w 1034979"/>
                <a:gd name="connsiteY215" fmla="*/ 279769 h 839878"/>
                <a:gd name="connsiteX216" fmla="*/ 533964 w 1034979"/>
                <a:gd name="connsiteY216" fmla="*/ 277864 h 839878"/>
                <a:gd name="connsiteX217" fmla="*/ 528249 w 1034979"/>
                <a:gd name="connsiteY217" fmla="*/ 274054 h 839878"/>
                <a:gd name="connsiteX218" fmla="*/ 516819 w 1034979"/>
                <a:gd name="connsiteY218" fmla="*/ 268339 h 839878"/>
                <a:gd name="connsiteX219" fmla="*/ 509199 w 1034979"/>
                <a:gd name="connsiteY219" fmla="*/ 256909 h 839878"/>
                <a:gd name="connsiteX220" fmla="*/ 505389 w 1034979"/>
                <a:gd name="connsiteY220" fmla="*/ 235954 h 839878"/>
                <a:gd name="connsiteX221" fmla="*/ 507294 w 1034979"/>
                <a:gd name="connsiteY221" fmla="*/ 171184 h 839878"/>
                <a:gd name="connsiteX222" fmla="*/ 513009 w 1034979"/>
                <a:gd name="connsiteY222" fmla="*/ 157849 h 839878"/>
                <a:gd name="connsiteX223" fmla="*/ 505996 w 1034979"/>
                <a:gd name="connsiteY223" fmla="*/ 73485 h 839878"/>
                <a:gd name="connsiteX224" fmla="*/ 451798 w 1034979"/>
                <a:gd name="connsiteY224" fmla="*/ 11248 h 839878"/>
                <a:gd name="connsiteX225" fmla="*/ 433083 w 1034979"/>
                <a:gd name="connsiteY225" fmla="*/ 68523 h 839878"/>
                <a:gd name="connsiteX226" fmla="*/ 425379 w 1034979"/>
                <a:gd name="connsiteY226" fmla="*/ 137103 h 839878"/>
                <a:gd name="connsiteX227" fmla="*/ 417759 w 1034979"/>
                <a:gd name="connsiteY227" fmla="*/ 169279 h 839878"/>
                <a:gd name="connsiteX228" fmla="*/ 413949 w 1034979"/>
                <a:gd name="connsiteY228" fmla="*/ 186424 h 839878"/>
                <a:gd name="connsiteX229" fmla="*/ 417759 w 1034979"/>
                <a:gd name="connsiteY229" fmla="*/ 207379 h 839878"/>
                <a:gd name="connsiteX230" fmla="*/ 421569 w 1034979"/>
                <a:gd name="connsiteY230" fmla="*/ 213094 h 839878"/>
                <a:gd name="connsiteX231" fmla="*/ 425379 w 1034979"/>
                <a:gd name="connsiteY231" fmla="*/ 224524 h 839878"/>
                <a:gd name="connsiteX232" fmla="*/ 423474 w 1034979"/>
                <a:gd name="connsiteY232" fmla="*/ 251194 h 839878"/>
                <a:gd name="connsiteX233" fmla="*/ 417759 w 1034979"/>
                <a:gd name="connsiteY233" fmla="*/ 253099 h 839878"/>
                <a:gd name="connsiteX234" fmla="*/ 412044 w 1034979"/>
                <a:gd name="connsiteY234" fmla="*/ 256909 h 839878"/>
                <a:gd name="connsiteX235" fmla="*/ 421569 w 1034979"/>
                <a:gd name="connsiteY235" fmla="*/ 253099 h 839878"/>
                <a:gd name="connsiteX0" fmla="*/ 421005 w 1034415"/>
                <a:gd name="connsiteY0" fmla="*/ 253099 h 839878"/>
                <a:gd name="connsiteX1" fmla="*/ 421005 w 1034415"/>
                <a:gd name="connsiteY1" fmla="*/ 253099 h 839878"/>
                <a:gd name="connsiteX2" fmla="*/ 394335 w 1034415"/>
                <a:gd name="connsiteY2" fmla="*/ 262624 h 839878"/>
                <a:gd name="connsiteX3" fmla="*/ 386715 w 1034415"/>
                <a:gd name="connsiteY3" fmla="*/ 264529 h 839878"/>
                <a:gd name="connsiteX4" fmla="*/ 356235 w 1034415"/>
                <a:gd name="connsiteY4" fmla="*/ 266434 h 839878"/>
                <a:gd name="connsiteX5" fmla="*/ 350520 w 1034415"/>
                <a:gd name="connsiteY5" fmla="*/ 270244 h 839878"/>
                <a:gd name="connsiteX6" fmla="*/ 339090 w 1034415"/>
                <a:gd name="connsiteY6" fmla="*/ 279769 h 839878"/>
                <a:gd name="connsiteX7" fmla="*/ 327660 w 1034415"/>
                <a:gd name="connsiteY7" fmla="*/ 283579 h 839878"/>
                <a:gd name="connsiteX8" fmla="*/ 312420 w 1034415"/>
                <a:gd name="connsiteY8" fmla="*/ 289294 h 839878"/>
                <a:gd name="connsiteX9" fmla="*/ 264795 w 1034415"/>
                <a:gd name="connsiteY9" fmla="*/ 285484 h 839878"/>
                <a:gd name="connsiteX10" fmla="*/ 253365 w 1034415"/>
                <a:gd name="connsiteY10" fmla="*/ 281674 h 839878"/>
                <a:gd name="connsiteX11" fmla="*/ 241935 w 1034415"/>
                <a:gd name="connsiteY11" fmla="*/ 277864 h 839878"/>
                <a:gd name="connsiteX12" fmla="*/ 236220 w 1034415"/>
                <a:gd name="connsiteY12" fmla="*/ 275959 h 839878"/>
                <a:gd name="connsiteX13" fmla="*/ 230505 w 1034415"/>
                <a:gd name="connsiteY13" fmla="*/ 274054 h 839878"/>
                <a:gd name="connsiteX14" fmla="*/ 219075 w 1034415"/>
                <a:gd name="connsiteY14" fmla="*/ 272149 h 839878"/>
                <a:gd name="connsiteX15" fmla="*/ 213360 w 1034415"/>
                <a:gd name="connsiteY15" fmla="*/ 270244 h 839878"/>
                <a:gd name="connsiteX16" fmla="*/ 205740 w 1034415"/>
                <a:gd name="connsiteY16" fmla="*/ 268339 h 839878"/>
                <a:gd name="connsiteX17" fmla="*/ 194310 w 1034415"/>
                <a:gd name="connsiteY17" fmla="*/ 264529 h 839878"/>
                <a:gd name="connsiteX18" fmla="*/ 188595 w 1034415"/>
                <a:gd name="connsiteY18" fmla="*/ 262624 h 839878"/>
                <a:gd name="connsiteX19" fmla="*/ 180975 w 1034415"/>
                <a:gd name="connsiteY19" fmla="*/ 260719 h 839878"/>
                <a:gd name="connsiteX20" fmla="*/ 169545 w 1034415"/>
                <a:gd name="connsiteY20" fmla="*/ 255004 h 839878"/>
                <a:gd name="connsiteX21" fmla="*/ 163830 w 1034415"/>
                <a:gd name="connsiteY21" fmla="*/ 251194 h 839878"/>
                <a:gd name="connsiteX22" fmla="*/ 156210 w 1034415"/>
                <a:gd name="connsiteY22" fmla="*/ 239764 h 839878"/>
                <a:gd name="connsiteX23" fmla="*/ 144780 w 1034415"/>
                <a:gd name="connsiteY23" fmla="*/ 235954 h 839878"/>
                <a:gd name="connsiteX24" fmla="*/ 139065 w 1034415"/>
                <a:gd name="connsiteY24" fmla="*/ 232144 h 839878"/>
                <a:gd name="connsiteX25" fmla="*/ 133350 w 1034415"/>
                <a:gd name="connsiteY25" fmla="*/ 230239 h 839878"/>
                <a:gd name="connsiteX26" fmla="*/ 116205 w 1034415"/>
                <a:gd name="connsiteY26" fmla="*/ 226429 h 839878"/>
                <a:gd name="connsiteX27" fmla="*/ 110490 w 1034415"/>
                <a:gd name="connsiteY27" fmla="*/ 220714 h 839878"/>
                <a:gd name="connsiteX28" fmla="*/ 100965 w 1034415"/>
                <a:gd name="connsiteY28" fmla="*/ 203569 h 839878"/>
                <a:gd name="connsiteX29" fmla="*/ 83820 w 1034415"/>
                <a:gd name="connsiteY29" fmla="*/ 195949 h 839878"/>
                <a:gd name="connsiteX30" fmla="*/ 78105 w 1034415"/>
                <a:gd name="connsiteY30" fmla="*/ 194044 h 839878"/>
                <a:gd name="connsiteX31" fmla="*/ 59055 w 1034415"/>
                <a:gd name="connsiteY31" fmla="*/ 197854 h 839878"/>
                <a:gd name="connsiteX32" fmla="*/ 53340 w 1034415"/>
                <a:gd name="connsiteY32" fmla="*/ 201664 h 839878"/>
                <a:gd name="connsiteX33" fmla="*/ 49530 w 1034415"/>
                <a:gd name="connsiteY33" fmla="*/ 207379 h 839878"/>
                <a:gd name="connsiteX34" fmla="*/ 45720 w 1034415"/>
                <a:gd name="connsiteY34" fmla="*/ 218809 h 839878"/>
                <a:gd name="connsiteX35" fmla="*/ 49530 w 1034415"/>
                <a:gd name="connsiteY35" fmla="*/ 256909 h 839878"/>
                <a:gd name="connsiteX36" fmla="*/ 53340 w 1034415"/>
                <a:gd name="connsiteY36" fmla="*/ 262624 h 839878"/>
                <a:gd name="connsiteX37" fmla="*/ 59055 w 1034415"/>
                <a:gd name="connsiteY37" fmla="*/ 266434 h 839878"/>
                <a:gd name="connsiteX38" fmla="*/ 62865 w 1034415"/>
                <a:gd name="connsiteY38" fmla="*/ 272149 h 839878"/>
                <a:gd name="connsiteX39" fmla="*/ 80010 w 1034415"/>
                <a:gd name="connsiteY39" fmla="*/ 281674 h 839878"/>
                <a:gd name="connsiteX40" fmla="*/ 102870 w 1034415"/>
                <a:gd name="connsiteY40" fmla="*/ 283579 h 839878"/>
                <a:gd name="connsiteX41" fmla="*/ 123825 w 1034415"/>
                <a:gd name="connsiteY41" fmla="*/ 289294 h 839878"/>
                <a:gd name="connsiteX42" fmla="*/ 129540 w 1034415"/>
                <a:gd name="connsiteY42" fmla="*/ 291199 h 839878"/>
                <a:gd name="connsiteX43" fmla="*/ 135255 w 1034415"/>
                <a:gd name="connsiteY43" fmla="*/ 296914 h 839878"/>
                <a:gd name="connsiteX44" fmla="*/ 142875 w 1034415"/>
                <a:gd name="connsiteY44" fmla="*/ 298819 h 839878"/>
                <a:gd name="connsiteX45" fmla="*/ 165735 w 1034415"/>
                <a:gd name="connsiteY45" fmla="*/ 302629 h 839878"/>
                <a:gd name="connsiteX46" fmla="*/ 190500 w 1034415"/>
                <a:gd name="connsiteY46" fmla="*/ 308344 h 839878"/>
                <a:gd name="connsiteX47" fmla="*/ 207645 w 1034415"/>
                <a:gd name="connsiteY47" fmla="*/ 314059 h 839878"/>
                <a:gd name="connsiteX48" fmla="*/ 213360 w 1034415"/>
                <a:gd name="connsiteY48" fmla="*/ 315964 h 839878"/>
                <a:gd name="connsiteX49" fmla="*/ 228600 w 1034415"/>
                <a:gd name="connsiteY49" fmla="*/ 319774 h 839878"/>
                <a:gd name="connsiteX50" fmla="*/ 247650 w 1034415"/>
                <a:gd name="connsiteY50" fmla="*/ 325489 h 839878"/>
                <a:gd name="connsiteX51" fmla="*/ 253365 w 1034415"/>
                <a:gd name="connsiteY51" fmla="*/ 329299 h 839878"/>
                <a:gd name="connsiteX52" fmla="*/ 266700 w 1034415"/>
                <a:gd name="connsiteY52" fmla="*/ 344539 h 839878"/>
                <a:gd name="connsiteX53" fmla="*/ 272415 w 1034415"/>
                <a:gd name="connsiteY53" fmla="*/ 363589 h 839878"/>
                <a:gd name="connsiteX54" fmla="*/ 274320 w 1034415"/>
                <a:gd name="connsiteY54" fmla="*/ 369304 h 839878"/>
                <a:gd name="connsiteX55" fmla="*/ 276225 w 1034415"/>
                <a:gd name="connsiteY55" fmla="*/ 375019 h 839878"/>
                <a:gd name="connsiteX56" fmla="*/ 278130 w 1034415"/>
                <a:gd name="connsiteY56" fmla="*/ 399784 h 839878"/>
                <a:gd name="connsiteX57" fmla="*/ 280035 w 1034415"/>
                <a:gd name="connsiteY57" fmla="*/ 405499 h 839878"/>
                <a:gd name="connsiteX58" fmla="*/ 278130 w 1034415"/>
                <a:gd name="connsiteY58" fmla="*/ 424549 h 839878"/>
                <a:gd name="connsiteX59" fmla="*/ 276225 w 1034415"/>
                <a:gd name="connsiteY59" fmla="*/ 434074 h 839878"/>
                <a:gd name="connsiteX60" fmla="*/ 262890 w 1034415"/>
                <a:gd name="connsiteY60" fmla="*/ 447409 h 839878"/>
                <a:gd name="connsiteX61" fmla="*/ 251460 w 1034415"/>
                <a:gd name="connsiteY61" fmla="*/ 455029 h 839878"/>
                <a:gd name="connsiteX62" fmla="*/ 240030 w 1034415"/>
                <a:gd name="connsiteY62" fmla="*/ 458839 h 839878"/>
                <a:gd name="connsiteX63" fmla="*/ 125730 w 1034415"/>
                <a:gd name="connsiteY63" fmla="*/ 458839 h 839878"/>
                <a:gd name="connsiteX64" fmla="*/ 120015 w 1034415"/>
                <a:gd name="connsiteY64" fmla="*/ 460744 h 839878"/>
                <a:gd name="connsiteX65" fmla="*/ 104775 w 1034415"/>
                <a:gd name="connsiteY65" fmla="*/ 462649 h 839878"/>
                <a:gd name="connsiteX66" fmla="*/ 87630 w 1034415"/>
                <a:gd name="connsiteY66" fmla="*/ 468364 h 839878"/>
                <a:gd name="connsiteX67" fmla="*/ 81915 w 1034415"/>
                <a:gd name="connsiteY67" fmla="*/ 470269 h 839878"/>
                <a:gd name="connsiteX68" fmla="*/ 76200 w 1034415"/>
                <a:gd name="connsiteY68" fmla="*/ 474079 h 839878"/>
                <a:gd name="connsiteX69" fmla="*/ 64770 w 1034415"/>
                <a:gd name="connsiteY69" fmla="*/ 475984 h 839878"/>
                <a:gd name="connsiteX70" fmla="*/ 26670 w 1034415"/>
                <a:gd name="connsiteY70" fmla="*/ 477889 h 839878"/>
                <a:gd name="connsiteX71" fmla="*/ 15240 w 1034415"/>
                <a:gd name="connsiteY71" fmla="*/ 483604 h 839878"/>
                <a:gd name="connsiteX72" fmla="*/ 5715 w 1034415"/>
                <a:gd name="connsiteY72" fmla="*/ 493129 h 839878"/>
                <a:gd name="connsiteX73" fmla="*/ 3810 w 1034415"/>
                <a:gd name="connsiteY73" fmla="*/ 498844 h 839878"/>
                <a:gd name="connsiteX74" fmla="*/ 0 w 1034415"/>
                <a:gd name="connsiteY74" fmla="*/ 504559 h 839878"/>
                <a:gd name="connsiteX75" fmla="*/ 11430 w 1034415"/>
                <a:gd name="connsiteY75" fmla="*/ 540754 h 839878"/>
                <a:gd name="connsiteX76" fmla="*/ 17145 w 1034415"/>
                <a:gd name="connsiteY76" fmla="*/ 542659 h 839878"/>
                <a:gd name="connsiteX77" fmla="*/ 144780 w 1034415"/>
                <a:gd name="connsiteY77" fmla="*/ 540754 h 839878"/>
                <a:gd name="connsiteX78" fmla="*/ 152400 w 1034415"/>
                <a:gd name="connsiteY78" fmla="*/ 538849 h 839878"/>
                <a:gd name="connsiteX79" fmla="*/ 302895 w 1034415"/>
                <a:gd name="connsiteY79" fmla="*/ 533134 h 839878"/>
                <a:gd name="connsiteX80" fmla="*/ 318135 w 1034415"/>
                <a:gd name="connsiteY80" fmla="*/ 540754 h 839878"/>
                <a:gd name="connsiteX81" fmla="*/ 329565 w 1034415"/>
                <a:gd name="connsiteY81" fmla="*/ 546469 h 839878"/>
                <a:gd name="connsiteX82" fmla="*/ 333375 w 1034415"/>
                <a:gd name="connsiteY82" fmla="*/ 552184 h 839878"/>
                <a:gd name="connsiteX83" fmla="*/ 339090 w 1034415"/>
                <a:gd name="connsiteY83" fmla="*/ 554089 h 839878"/>
                <a:gd name="connsiteX84" fmla="*/ 350520 w 1034415"/>
                <a:gd name="connsiteY84" fmla="*/ 561709 h 839878"/>
                <a:gd name="connsiteX85" fmla="*/ 356235 w 1034415"/>
                <a:gd name="connsiteY85" fmla="*/ 565519 h 839878"/>
                <a:gd name="connsiteX86" fmla="*/ 360045 w 1034415"/>
                <a:gd name="connsiteY86" fmla="*/ 571234 h 839878"/>
                <a:gd name="connsiteX87" fmla="*/ 365760 w 1034415"/>
                <a:gd name="connsiteY87" fmla="*/ 582664 h 839878"/>
                <a:gd name="connsiteX88" fmla="*/ 361950 w 1034415"/>
                <a:gd name="connsiteY88" fmla="*/ 609334 h 839878"/>
                <a:gd name="connsiteX89" fmla="*/ 358140 w 1034415"/>
                <a:gd name="connsiteY89" fmla="*/ 615049 h 839878"/>
                <a:gd name="connsiteX90" fmla="*/ 356235 w 1034415"/>
                <a:gd name="connsiteY90" fmla="*/ 620764 h 839878"/>
                <a:gd name="connsiteX91" fmla="*/ 352425 w 1034415"/>
                <a:gd name="connsiteY91" fmla="*/ 626479 h 839878"/>
                <a:gd name="connsiteX92" fmla="*/ 350520 w 1034415"/>
                <a:gd name="connsiteY92" fmla="*/ 632194 h 839878"/>
                <a:gd name="connsiteX93" fmla="*/ 346710 w 1034415"/>
                <a:gd name="connsiteY93" fmla="*/ 637909 h 839878"/>
                <a:gd name="connsiteX94" fmla="*/ 329565 w 1034415"/>
                <a:gd name="connsiteY94" fmla="*/ 704584 h 839878"/>
                <a:gd name="connsiteX95" fmla="*/ 327660 w 1034415"/>
                <a:gd name="connsiteY95" fmla="*/ 756019 h 839878"/>
                <a:gd name="connsiteX96" fmla="*/ 329565 w 1034415"/>
                <a:gd name="connsiteY96" fmla="*/ 780784 h 839878"/>
                <a:gd name="connsiteX97" fmla="*/ 331470 w 1034415"/>
                <a:gd name="connsiteY97" fmla="*/ 786499 h 839878"/>
                <a:gd name="connsiteX98" fmla="*/ 335280 w 1034415"/>
                <a:gd name="connsiteY98" fmla="*/ 790309 h 839878"/>
                <a:gd name="connsiteX99" fmla="*/ 363855 w 1034415"/>
                <a:gd name="connsiteY99" fmla="*/ 836029 h 839878"/>
                <a:gd name="connsiteX100" fmla="*/ 386715 w 1034415"/>
                <a:gd name="connsiteY100" fmla="*/ 837934 h 839878"/>
                <a:gd name="connsiteX101" fmla="*/ 392430 w 1034415"/>
                <a:gd name="connsiteY101" fmla="*/ 832219 h 839878"/>
                <a:gd name="connsiteX102" fmla="*/ 394335 w 1034415"/>
                <a:gd name="connsiteY102" fmla="*/ 820789 h 839878"/>
                <a:gd name="connsiteX103" fmla="*/ 396240 w 1034415"/>
                <a:gd name="connsiteY103" fmla="*/ 815074 h 839878"/>
                <a:gd name="connsiteX104" fmla="*/ 398145 w 1034415"/>
                <a:gd name="connsiteY104" fmla="*/ 797929 h 839878"/>
                <a:gd name="connsiteX105" fmla="*/ 400050 w 1034415"/>
                <a:gd name="connsiteY105" fmla="*/ 784594 h 839878"/>
                <a:gd name="connsiteX106" fmla="*/ 403860 w 1034415"/>
                <a:gd name="connsiteY106" fmla="*/ 727444 h 839878"/>
                <a:gd name="connsiteX107" fmla="*/ 409575 w 1034415"/>
                <a:gd name="connsiteY107" fmla="*/ 716014 h 839878"/>
                <a:gd name="connsiteX108" fmla="*/ 413385 w 1034415"/>
                <a:gd name="connsiteY108" fmla="*/ 702679 h 839878"/>
                <a:gd name="connsiteX109" fmla="*/ 415290 w 1034415"/>
                <a:gd name="connsiteY109" fmla="*/ 696964 h 839878"/>
                <a:gd name="connsiteX110" fmla="*/ 417195 w 1034415"/>
                <a:gd name="connsiteY110" fmla="*/ 683629 h 839878"/>
                <a:gd name="connsiteX111" fmla="*/ 421005 w 1034415"/>
                <a:gd name="connsiteY111" fmla="*/ 672199 h 839878"/>
                <a:gd name="connsiteX112" fmla="*/ 426720 w 1034415"/>
                <a:gd name="connsiteY112" fmla="*/ 658864 h 839878"/>
                <a:gd name="connsiteX113" fmla="*/ 436245 w 1034415"/>
                <a:gd name="connsiteY113" fmla="*/ 647434 h 839878"/>
                <a:gd name="connsiteX114" fmla="*/ 449580 w 1034415"/>
                <a:gd name="connsiteY114" fmla="*/ 632194 h 839878"/>
                <a:gd name="connsiteX115" fmla="*/ 457200 w 1034415"/>
                <a:gd name="connsiteY115" fmla="*/ 620764 h 839878"/>
                <a:gd name="connsiteX116" fmla="*/ 461010 w 1034415"/>
                <a:gd name="connsiteY116" fmla="*/ 609334 h 839878"/>
                <a:gd name="connsiteX117" fmla="*/ 464820 w 1034415"/>
                <a:gd name="connsiteY117" fmla="*/ 594094 h 839878"/>
                <a:gd name="connsiteX118" fmla="*/ 466725 w 1034415"/>
                <a:gd name="connsiteY118" fmla="*/ 588379 h 839878"/>
                <a:gd name="connsiteX119" fmla="*/ 506730 w 1034415"/>
                <a:gd name="connsiteY119" fmla="*/ 582664 h 839878"/>
                <a:gd name="connsiteX120" fmla="*/ 535305 w 1034415"/>
                <a:gd name="connsiteY120" fmla="*/ 573139 h 839878"/>
                <a:gd name="connsiteX121" fmla="*/ 541020 w 1034415"/>
                <a:gd name="connsiteY121" fmla="*/ 571234 h 839878"/>
                <a:gd name="connsiteX122" fmla="*/ 546735 w 1034415"/>
                <a:gd name="connsiteY122" fmla="*/ 569329 h 839878"/>
                <a:gd name="connsiteX123" fmla="*/ 554355 w 1034415"/>
                <a:gd name="connsiteY123" fmla="*/ 567424 h 839878"/>
                <a:gd name="connsiteX124" fmla="*/ 573405 w 1034415"/>
                <a:gd name="connsiteY124" fmla="*/ 559804 h 839878"/>
                <a:gd name="connsiteX125" fmla="*/ 584835 w 1034415"/>
                <a:gd name="connsiteY125" fmla="*/ 555994 h 839878"/>
                <a:gd name="connsiteX126" fmla="*/ 720090 w 1034415"/>
                <a:gd name="connsiteY126" fmla="*/ 639814 h 839878"/>
                <a:gd name="connsiteX127" fmla="*/ 733425 w 1034415"/>
                <a:gd name="connsiteY127" fmla="*/ 649339 h 839878"/>
                <a:gd name="connsiteX128" fmla="*/ 742950 w 1034415"/>
                <a:gd name="connsiteY128" fmla="*/ 651244 h 839878"/>
                <a:gd name="connsiteX129" fmla="*/ 748665 w 1034415"/>
                <a:gd name="connsiteY129" fmla="*/ 653149 h 839878"/>
                <a:gd name="connsiteX130" fmla="*/ 762000 w 1034415"/>
                <a:gd name="connsiteY130" fmla="*/ 658864 h 839878"/>
                <a:gd name="connsiteX131" fmla="*/ 777240 w 1034415"/>
                <a:gd name="connsiteY131" fmla="*/ 656959 h 839878"/>
                <a:gd name="connsiteX132" fmla="*/ 788670 w 1034415"/>
                <a:gd name="connsiteY132" fmla="*/ 651244 h 839878"/>
                <a:gd name="connsiteX133" fmla="*/ 794385 w 1034415"/>
                <a:gd name="connsiteY133" fmla="*/ 649339 h 839878"/>
                <a:gd name="connsiteX134" fmla="*/ 802005 w 1034415"/>
                <a:gd name="connsiteY134" fmla="*/ 632194 h 839878"/>
                <a:gd name="connsiteX135" fmla="*/ 800100 w 1034415"/>
                <a:gd name="connsiteY135" fmla="*/ 607429 h 839878"/>
                <a:gd name="connsiteX136" fmla="*/ 798195 w 1034415"/>
                <a:gd name="connsiteY136" fmla="*/ 601714 h 839878"/>
                <a:gd name="connsiteX137" fmla="*/ 796290 w 1034415"/>
                <a:gd name="connsiteY137" fmla="*/ 594094 h 839878"/>
                <a:gd name="connsiteX138" fmla="*/ 782955 w 1034415"/>
                <a:gd name="connsiteY138" fmla="*/ 576949 h 839878"/>
                <a:gd name="connsiteX139" fmla="*/ 773430 w 1034415"/>
                <a:gd name="connsiteY139" fmla="*/ 571234 h 839878"/>
                <a:gd name="connsiteX140" fmla="*/ 647700 w 1034415"/>
                <a:gd name="connsiteY140" fmla="*/ 479794 h 839878"/>
                <a:gd name="connsiteX141" fmla="*/ 643890 w 1034415"/>
                <a:gd name="connsiteY141" fmla="*/ 462649 h 839878"/>
                <a:gd name="connsiteX142" fmla="*/ 645795 w 1034415"/>
                <a:gd name="connsiteY142" fmla="*/ 455029 h 839878"/>
                <a:gd name="connsiteX143" fmla="*/ 649605 w 1034415"/>
                <a:gd name="connsiteY143" fmla="*/ 437884 h 839878"/>
                <a:gd name="connsiteX144" fmla="*/ 653415 w 1034415"/>
                <a:gd name="connsiteY144" fmla="*/ 432169 h 839878"/>
                <a:gd name="connsiteX145" fmla="*/ 655320 w 1034415"/>
                <a:gd name="connsiteY145" fmla="*/ 426454 h 839878"/>
                <a:gd name="connsiteX146" fmla="*/ 661035 w 1034415"/>
                <a:gd name="connsiteY146" fmla="*/ 424549 h 839878"/>
                <a:gd name="connsiteX147" fmla="*/ 670560 w 1034415"/>
                <a:gd name="connsiteY147" fmla="*/ 413119 h 839878"/>
                <a:gd name="connsiteX148" fmla="*/ 723900 w 1034415"/>
                <a:gd name="connsiteY148" fmla="*/ 405499 h 839878"/>
                <a:gd name="connsiteX149" fmla="*/ 842010 w 1034415"/>
                <a:gd name="connsiteY149" fmla="*/ 407404 h 839878"/>
                <a:gd name="connsiteX150" fmla="*/ 870585 w 1034415"/>
                <a:gd name="connsiteY150" fmla="*/ 409309 h 839878"/>
                <a:gd name="connsiteX151" fmla="*/ 899160 w 1034415"/>
                <a:gd name="connsiteY151" fmla="*/ 415024 h 839878"/>
                <a:gd name="connsiteX152" fmla="*/ 922020 w 1034415"/>
                <a:gd name="connsiteY152" fmla="*/ 418834 h 839878"/>
                <a:gd name="connsiteX153" fmla="*/ 950595 w 1034415"/>
                <a:gd name="connsiteY153" fmla="*/ 424549 h 839878"/>
                <a:gd name="connsiteX154" fmla="*/ 956310 w 1034415"/>
                <a:gd name="connsiteY154" fmla="*/ 424549 h 839878"/>
                <a:gd name="connsiteX155" fmla="*/ 1002030 w 1034415"/>
                <a:gd name="connsiteY155" fmla="*/ 422644 h 839878"/>
                <a:gd name="connsiteX156" fmla="*/ 1030605 w 1034415"/>
                <a:gd name="connsiteY156" fmla="*/ 415024 h 839878"/>
                <a:gd name="connsiteX157" fmla="*/ 1034415 w 1034415"/>
                <a:gd name="connsiteY157" fmla="*/ 409309 h 839878"/>
                <a:gd name="connsiteX158" fmla="*/ 1032510 w 1034415"/>
                <a:gd name="connsiteY158" fmla="*/ 390259 h 839878"/>
                <a:gd name="connsiteX159" fmla="*/ 1026795 w 1034415"/>
                <a:gd name="connsiteY159" fmla="*/ 386449 h 839878"/>
                <a:gd name="connsiteX160" fmla="*/ 1011555 w 1034415"/>
                <a:gd name="connsiteY160" fmla="*/ 384544 h 839878"/>
                <a:gd name="connsiteX161" fmla="*/ 1005840 w 1034415"/>
                <a:gd name="connsiteY161" fmla="*/ 382639 h 839878"/>
                <a:gd name="connsiteX162" fmla="*/ 998220 w 1034415"/>
                <a:gd name="connsiteY162" fmla="*/ 380734 h 839878"/>
                <a:gd name="connsiteX163" fmla="*/ 986790 w 1034415"/>
                <a:gd name="connsiteY163" fmla="*/ 373114 h 839878"/>
                <a:gd name="connsiteX164" fmla="*/ 975360 w 1034415"/>
                <a:gd name="connsiteY164" fmla="*/ 369304 h 839878"/>
                <a:gd name="connsiteX165" fmla="*/ 969645 w 1034415"/>
                <a:gd name="connsiteY165" fmla="*/ 367399 h 839878"/>
                <a:gd name="connsiteX166" fmla="*/ 962025 w 1034415"/>
                <a:gd name="connsiteY166" fmla="*/ 365494 h 839878"/>
                <a:gd name="connsiteX167" fmla="*/ 956310 w 1034415"/>
                <a:gd name="connsiteY167" fmla="*/ 363589 h 839878"/>
                <a:gd name="connsiteX168" fmla="*/ 935355 w 1034415"/>
                <a:gd name="connsiteY168" fmla="*/ 357874 h 839878"/>
                <a:gd name="connsiteX169" fmla="*/ 929640 w 1034415"/>
                <a:gd name="connsiteY169" fmla="*/ 355969 h 839878"/>
                <a:gd name="connsiteX170" fmla="*/ 824865 w 1034415"/>
                <a:gd name="connsiteY170" fmla="*/ 357874 h 839878"/>
                <a:gd name="connsiteX171" fmla="*/ 819150 w 1034415"/>
                <a:gd name="connsiteY171" fmla="*/ 359779 h 839878"/>
                <a:gd name="connsiteX172" fmla="*/ 729615 w 1034415"/>
                <a:gd name="connsiteY172" fmla="*/ 361684 h 839878"/>
                <a:gd name="connsiteX173" fmla="*/ 716280 w 1034415"/>
                <a:gd name="connsiteY173" fmla="*/ 365494 h 839878"/>
                <a:gd name="connsiteX174" fmla="*/ 695325 w 1034415"/>
                <a:gd name="connsiteY174" fmla="*/ 367399 h 839878"/>
                <a:gd name="connsiteX175" fmla="*/ 668655 w 1034415"/>
                <a:gd name="connsiteY175" fmla="*/ 369304 h 839878"/>
                <a:gd name="connsiteX176" fmla="*/ 668655 w 1034415"/>
                <a:gd name="connsiteY176" fmla="*/ 369304 h 839878"/>
                <a:gd name="connsiteX177" fmla="*/ 645795 w 1034415"/>
                <a:gd name="connsiteY177" fmla="*/ 373114 h 839878"/>
                <a:gd name="connsiteX178" fmla="*/ 641985 w 1034415"/>
                <a:gd name="connsiteY178" fmla="*/ 361684 h 839878"/>
                <a:gd name="connsiteX179" fmla="*/ 640080 w 1034415"/>
                <a:gd name="connsiteY179" fmla="*/ 355969 h 839878"/>
                <a:gd name="connsiteX180" fmla="*/ 641985 w 1034415"/>
                <a:gd name="connsiteY180" fmla="*/ 338824 h 839878"/>
                <a:gd name="connsiteX181" fmla="*/ 643890 w 1034415"/>
                <a:gd name="connsiteY181" fmla="*/ 333109 h 839878"/>
                <a:gd name="connsiteX182" fmla="*/ 661035 w 1034415"/>
                <a:gd name="connsiteY182" fmla="*/ 323584 h 839878"/>
                <a:gd name="connsiteX183" fmla="*/ 672465 w 1034415"/>
                <a:gd name="connsiteY183" fmla="*/ 315964 h 839878"/>
                <a:gd name="connsiteX184" fmla="*/ 674370 w 1034415"/>
                <a:gd name="connsiteY184" fmla="*/ 310249 h 839878"/>
                <a:gd name="connsiteX185" fmla="*/ 680085 w 1034415"/>
                <a:gd name="connsiteY185" fmla="*/ 308344 h 839878"/>
                <a:gd name="connsiteX186" fmla="*/ 685800 w 1034415"/>
                <a:gd name="connsiteY186" fmla="*/ 304534 h 839878"/>
                <a:gd name="connsiteX187" fmla="*/ 695325 w 1034415"/>
                <a:gd name="connsiteY187" fmla="*/ 295009 h 839878"/>
                <a:gd name="connsiteX188" fmla="*/ 704850 w 1034415"/>
                <a:gd name="connsiteY188" fmla="*/ 283579 h 839878"/>
                <a:gd name="connsiteX189" fmla="*/ 716280 w 1034415"/>
                <a:gd name="connsiteY189" fmla="*/ 275959 h 839878"/>
                <a:gd name="connsiteX190" fmla="*/ 731520 w 1034415"/>
                <a:gd name="connsiteY190" fmla="*/ 262624 h 839878"/>
                <a:gd name="connsiteX191" fmla="*/ 741045 w 1034415"/>
                <a:gd name="connsiteY191" fmla="*/ 251194 h 839878"/>
                <a:gd name="connsiteX192" fmla="*/ 752475 w 1034415"/>
                <a:gd name="connsiteY192" fmla="*/ 241669 h 839878"/>
                <a:gd name="connsiteX193" fmla="*/ 758190 w 1034415"/>
                <a:gd name="connsiteY193" fmla="*/ 230239 h 839878"/>
                <a:gd name="connsiteX194" fmla="*/ 760095 w 1034415"/>
                <a:gd name="connsiteY194" fmla="*/ 224524 h 839878"/>
                <a:gd name="connsiteX195" fmla="*/ 765810 w 1034415"/>
                <a:gd name="connsiteY195" fmla="*/ 213094 h 839878"/>
                <a:gd name="connsiteX196" fmla="*/ 763905 w 1034415"/>
                <a:gd name="connsiteY196" fmla="*/ 197854 h 839878"/>
                <a:gd name="connsiteX197" fmla="*/ 758190 w 1034415"/>
                <a:gd name="connsiteY197" fmla="*/ 195949 h 839878"/>
                <a:gd name="connsiteX198" fmla="*/ 737235 w 1034415"/>
                <a:gd name="connsiteY198" fmla="*/ 197854 h 839878"/>
                <a:gd name="connsiteX199" fmla="*/ 731520 w 1034415"/>
                <a:gd name="connsiteY199" fmla="*/ 201664 h 839878"/>
                <a:gd name="connsiteX200" fmla="*/ 720090 w 1034415"/>
                <a:gd name="connsiteY200" fmla="*/ 205474 h 839878"/>
                <a:gd name="connsiteX201" fmla="*/ 716280 w 1034415"/>
                <a:gd name="connsiteY201" fmla="*/ 211189 h 839878"/>
                <a:gd name="connsiteX202" fmla="*/ 710565 w 1034415"/>
                <a:gd name="connsiteY202" fmla="*/ 213094 h 839878"/>
                <a:gd name="connsiteX203" fmla="*/ 704850 w 1034415"/>
                <a:gd name="connsiteY203" fmla="*/ 216904 h 839878"/>
                <a:gd name="connsiteX204" fmla="*/ 699135 w 1034415"/>
                <a:gd name="connsiteY204" fmla="*/ 222619 h 839878"/>
                <a:gd name="connsiteX205" fmla="*/ 691515 w 1034415"/>
                <a:gd name="connsiteY205" fmla="*/ 226429 h 839878"/>
                <a:gd name="connsiteX206" fmla="*/ 649605 w 1034415"/>
                <a:gd name="connsiteY206" fmla="*/ 255004 h 839878"/>
                <a:gd name="connsiteX207" fmla="*/ 636270 w 1034415"/>
                <a:gd name="connsiteY207" fmla="*/ 266434 h 839878"/>
                <a:gd name="connsiteX208" fmla="*/ 626745 w 1034415"/>
                <a:gd name="connsiteY208" fmla="*/ 283579 h 839878"/>
                <a:gd name="connsiteX209" fmla="*/ 601980 w 1034415"/>
                <a:gd name="connsiteY209" fmla="*/ 289294 h 839878"/>
                <a:gd name="connsiteX210" fmla="*/ 588645 w 1034415"/>
                <a:gd name="connsiteY210" fmla="*/ 293104 h 839878"/>
                <a:gd name="connsiteX211" fmla="*/ 573405 w 1034415"/>
                <a:gd name="connsiteY211" fmla="*/ 291199 h 839878"/>
                <a:gd name="connsiteX212" fmla="*/ 561975 w 1034415"/>
                <a:gd name="connsiteY212" fmla="*/ 287389 h 839878"/>
                <a:gd name="connsiteX213" fmla="*/ 550545 w 1034415"/>
                <a:gd name="connsiteY213" fmla="*/ 283579 h 839878"/>
                <a:gd name="connsiteX214" fmla="*/ 539115 w 1034415"/>
                <a:gd name="connsiteY214" fmla="*/ 279769 h 839878"/>
                <a:gd name="connsiteX215" fmla="*/ 533400 w 1034415"/>
                <a:gd name="connsiteY215" fmla="*/ 277864 h 839878"/>
                <a:gd name="connsiteX216" fmla="*/ 527685 w 1034415"/>
                <a:gd name="connsiteY216" fmla="*/ 274054 h 839878"/>
                <a:gd name="connsiteX217" fmla="*/ 516255 w 1034415"/>
                <a:gd name="connsiteY217" fmla="*/ 268339 h 839878"/>
                <a:gd name="connsiteX218" fmla="*/ 508635 w 1034415"/>
                <a:gd name="connsiteY218" fmla="*/ 256909 h 839878"/>
                <a:gd name="connsiteX219" fmla="*/ 504825 w 1034415"/>
                <a:gd name="connsiteY219" fmla="*/ 235954 h 839878"/>
                <a:gd name="connsiteX220" fmla="*/ 506730 w 1034415"/>
                <a:gd name="connsiteY220" fmla="*/ 171184 h 839878"/>
                <a:gd name="connsiteX221" fmla="*/ 512445 w 1034415"/>
                <a:gd name="connsiteY221" fmla="*/ 157849 h 839878"/>
                <a:gd name="connsiteX222" fmla="*/ 505432 w 1034415"/>
                <a:gd name="connsiteY222" fmla="*/ 73485 h 839878"/>
                <a:gd name="connsiteX223" fmla="*/ 451234 w 1034415"/>
                <a:gd name="connsiteY223" fmla="*/ 11248 h 839878"/>
                <a:gd name="connsiteX224" fmla="*/ 432519 w 1034415"/>
                <a:gd name="connsiteY224" fmla="*/ 68523 h 839878"/>
                <a:gd name="connsiteX225" fmla="*/ 424815 w 1034415"/>
                <a:gd name="connsiteY225" fmla="*/ 137103 h 839878"/>
                <a:gd name="connsiteX226" fmla="*/ 417195 w 1034415"/>
                <a:gd name="connsiteY226" fmla="*/ 169279 h 839878"/>
                <a:gd name="connsiteX227" fmla="*/ 413385 w 1034415"/>
                <a:gd name="connsiteY227" fmla="*/ 186424 h 839878"/>
                <a:gd name="connsiteX228" fmla="*/ 417195 w 1034415"/>
                <a:gd name="connsiteY228" fmla="*/ 207379 h 839878"/>
                <a:gd name="connsiteX229" fmla="*/ 421005 w 1034415"/>
                <a:gd name="connsiteY229" fmla="*/ 213094 h 839878"/>
                <a:gd name="connsiteX230" fmla="*/ 424815 w 1034415"/>
                <a:gd name="connsiteY230" fmla="*/ 224524 h 839878"/>
                <a:gd name="connsiteX231" fmla="*/ 422910 w 1034415"/>
                <a:gd name="connsiteY231" fmla="*/ 251194 h 839878"/>
                <a:gd name="connsiteX232" fmla="*/ 417195 w 1034415"/>
                <a:gd name="connsiteY232" fmla="*/ 253099 h 839878"/>
                <a:gd name="connsiteX233" fmla="*/ 411480 w 1034415"/>
                <a:gd name="connsiteY233" fmla="*/ 256909 h 839878"/>
                <a:gd name="connsiteX234" fmla="*/ 421005 w 1034415"/>
                <a:gd name="connsiteY234" fmla="*/ 253099 h 839878"/>
                <a:gd name="connsiteX0" fmla="*/ 423886 w 1037296"/>
                <a:gd name="connsiteY0" fmla="*/ 253099 h 839878"/>
                <a:gd name="connsiteX1" fmla="*/ 423886 w 1037296"/>
                <a:gd name="connsiteY1" fmla="*/ 253099 h 839878"/>
                <a:gd name="connsiteX2" fmla="*/ 397216 w 1037296"/>
                <a:gd name="connsiteY2" fmla="*/ 262624 h 839878"/>
                <a:gd name="connsiteX3" fmla="*/ 389596 w 1037296"/>
                <a:gd name="connsiteY3" fmla="*/ 264529 h 839878"/>
                <a:gd name="connsiteX4" fmla="*/ 359116 w 1037296"/>
                <a:gd name="connsiteY4" fmla="*/ 266434 h 839878"/>
                <a:gd name="connsiteX5" fmla="*/ 353401 w 1037296"/>
                <a:gd name="connsiteY5" fmla="*/ 270244 h 839878"/>
                <a:gd name="connsiteX6" fmla="*/ 341971 w 1037296"/>
                <a:gd name="connsiteY6" fmla="*/ 279769 h 839878"/>
                <a:gd name="connsiteX7" fmla="*/ 330541 w 1037296"/>
                <a:gd name="connsiteY7" fmla="*/ 283579 h 839878"/>
                <a:gd name="connsiteX8" fmla="*/ 315301 w 1037296"/>
                <a:gd name="connsiteY8" fmla="*/ 289294 h 839878"/>
                <a:gd name="connsiteX9" fmla="*/ 267676 w 1037296"/>
                <a:gd name="connsiteY9" fmla="*/ 285484 h 839878"/>
                <a:gd name="connsiteX10" fmla="*/ 256246 w 1037296"/>
                <a:gd name="connsiteY10" fmla="*/ 281674 h 839878"/>
                <a:gd name="connsiteX11" fmla="*/ 244816 w 1037296"/>
                <a:gd name="connsiteY11" fmla="*/ 277864 h 839878"/>
                <a:gd name="connsiteX12" fmla="*/ 239101 w 1037296"/>
                <a:gd name="connsiteY12" fmla="*/ 275959 h 839878"/>
                <a:gd name="connsiteX13" fmla="*/ 233386 w 1037296"/>
                <a:gd name="connsiteY13" fmla="*/ 274054 h 839878"/>
                <a:gd name="connsiteX14" fmla="*/ 221956 w 1037296"/>
                <a:gd name="connsiteY14" fmla="*/ 272149 h 839878"/>
                <a:gd name="connsiteX15" fmla="*/ 216241 w 1037296"/>
                <a:gd name="connsiteY15" fmla="*/ 270244 h 839878"/>
                <a:gd name="connsiteX16" fmla="*/ 208621 w 1037296"/>
                <a:gd name="connsiteY16" fmla="*/ 268339 h 839878"/>
                <a:gd name="connsiteX17" fmla="*/ 197191 w 1037296"/>
                <a:gd name="connsiteY17" fmla="*/ 264529 h 839878"/>
                <a:gd name="connsiteX18" fmla="*/ 191476 w 1037296"/>
                <a:gd name="connsiteY18" fmla="*/ 262624 h 839878"/>
                <a:gd name="connsiteX19" fmla="*/ 183856 w 1037296"/>
                <a:gd name="connsiteY19" fmla="*/ 260719 h 839878"/>
                <a:gd name="connsiteX20" fmla="*/ 172426 w 1037296"/>
                <a:gd name="connsiteY20" fmla="*/ 255004 h 839878"/>
                <a:gd name="connsiteX21" fmla="*/ 166711 w 1037296"/>
                <a:gd name="connsiteY21" fmla="*/ 251194 h 839878"/>
                <a:gd name="connsiteX22" fmla="*/ 159091 w 1037296"/>
                <a:gd name="connsiteY22" fmla="*/ 239764 h 839878"/>
                <a:gd name="connsiteX23" fmla="*/ 147661 w 1037296"/>
                <a:gd name="connsiteY23" fmla="*/ 235954 h 839878"/>
                <a:gd name="connsiteX24" fmla="*/ 141946 w 1037296"/>
                <a:gd name="connsiteY24" fmla="*/ 232144 h 839878"/>
                <a:gd name="connsiteX25" fmla="*/ 136231 w 1037296"/>
                <a:gd name="connsiteY25" fmla="*/ 230239 h 839878"/>
                <a:gd name="connsiteX26" fmla="*/ 119086 w 1037296"/>
                <a:gd name="connsiteY26" fmla="*/ 226429 h 839878"/>
                <a:gd name="connsiteX27" fmla="*/ 113371 w 1037296"/>
                <a:gd name="connsiteY27" fmla="*/ 220714 h 839878"/>
                <a:gd name="connsiteX28" fmla="*/ 103846 w 1037296"/>
                <a:gd name="connsiteY28" fmla="*/ 203569 h 839878"/>
                <a:gd name="connsiteX29" fmla="*/ 86701 w 1037296"/>
                <a:gd name="connsiteY29" fmla="*/ 195949 h 839878"/>
                <a:gd name="connsiteX30" fmla="*/ 80986 w 1037296"/>
                <a:gd name="connsiteY30" fmla="*/ 194044 h 839878"/>
                <a:gd name="connsiteX31" fmla="*/ 61936 w 1037296"/>
                <a:gd name="connsiteY31" fmla="*/ 197854 h 839878"/>
                <a:gd name="connsiteX32" fmla="*/ 56221 w 1037296"/>
                <a:gd name="connsiteY32" fmla="*/ 201664 h 839878"/>
                <a:gd name="connsiteX33" fmla="*/ 52411 w 1037296"/>
                <a:gd name="connsiteY33" fmla="*/ 207379 h 839878"/>
                <a:gd name="connsiteX34" fmla="*/ 48601 w 1037296"/>
                <a:gd name="connsiteY34" fmla="*/ 218809 h 839878"/>
                <a:gd name="connsiteX35" fmla="*/ 52411 w 1037296"/>
                <a:gd name="connsiteY35" fmla="*/ 256909 h 839878"/>
                <a:gd name="connsiteX36" fmla="*/ 56221 w 1037296"/>
                <a:gd name="connsiteY36" fmla="*/ 262624 h 839878"/>
                <a:gd name="connsiteX37" fmla="*/ 61936 w 1037296"/>
                <a:gd name="connsiteY37" fmla="*/ 266434 h 839878"/>
                <a:gd name="connsiteX38" fmla="*/ 65746 w 1037296"/>
                <a:gd name="connsiteY38" fmla="*/ 272149 h 839878"/>
                <a:gd name="connsiteX39" fmla="*/ 82891 w 1037296"/>
                <a:gd name="connsiteY39" fmla="*/ 281674 h 839878"/>
                <a:gd name="connsiteX40" fmla="*/ 105751 w 1037296"/>
                <a:gd name="connsiteY40" fmla="*/ 283579 h 839878"/>
                <a:gd name="connsiteX41" fmla="*/ 126706 w 1037296"/>
                <a:gd name="connsiteY41" fmla="*/ 289294 h 839878"/>
                <a:gd name="connsiteX42" fmla="*/ 132421 w 1037296"/>
                <a:gd name="connsiteY42" fmla="*/ 291199 h 839878"/>
                <a:gd name="connsiteX43" fmla="*/ 138136 w 1037296"/>
                <a:gd name="connsiteY43" fmla="*/ 296914 h 839878"/>
                <a:gd name="connsiteX44" fmla="*/ 145756 w 1037296"/>
                <a:gd name="connsiteY44" fmla="*/ 298819 h 839878"/>
                <a:gd name="connsiteX45" fmla="*/ 168616 w 1037296"/>
                <a:gd name="connsiteY45" fmla="*/ 302629 h 839878"/>
                <a:gd name="connsiteX46" fmla="*/ 193381 w 1037296"/>
                <a:gd name="connsiteY46" fmla="*/ 308344 h 839878"/>
                <a:gd name="connsiteX47" fmla="*/ 210526 w 1037296"/>
                <a:gd name="connsiteY47" fmla="*/ 314059 h 839878"/>
                <a:gd name="connsiteX48" fmla="*/ 216241 w 1037296"/>
                <a:gd name="connsiteY48" fmla="*/ 315964 h 839878"/>
                <a:gd name="connsiteX49" fmla="*/ 231481 w 1037296"/>
                <a:gd name="connsiteY49" fmla="*/ 319774 h 839878"/>
                <a:gd name="connsiteX50" fmla="*/ 250531 w 1037296"/>
                <a:gd name="connsiteY50" fmla="*/ 325489 h 839878"/>
                <a:gd name="connsiteX51" fmla="*/ 256246 w 1037296"/>
                <a:gd name="connsiteY51" fmla="*/ 329299 h 839878"/>
                <a:gd name="connsiteX52" fmla="*/ 269581 w 1037296"/>
                <a:gd name="connsiteY52" fmla="*/ 344539 h 839878"/>
                <a:gd name="connsiteX53" fmla="*/ 275296 w 1037296"/>
                <a:gd name="connsiteY53" fmla="*/ 363589 h 839878"/>
                <a:gd name="connsiteX54" fmla="*/ 277201 w 1037296"/>
                <a:gd name="connsiteY54" fmla="*/ 369304 h 839878"/>
                <a:gd name="connsiteX55" fmla="*/ 279106 w 1037296"/>
                <a:gd name="connsiteY55" fmla="*/ 375019 h 839878"/>
                <a:gd name="connsiteX56" fmla="*/ 281011 w 1037296"/>
                <a:gd name="connsiteY56" fmla="*/ 399784 h 839878"/>
                <a:gd name="connsiteX57" fmla="*/ 282916 w 1037296"/>
                <a:gd name="connsiteY57" fmla="*/ 405499 h 839878"/>
                <a:gd name="connsiteX58" fmla="*/ 281011 w 1037296"/>
                <a:gd name="connsiteY58" fmla="*/ 424549 h 839878"/>
                <a:gd name="connsiteX59" fmla="*/ 279106 w 1037296"/>
                <a:gd name="connsiteY59" fmla="*/ 434074 h 839878"/>
                <a:gd name="connsiteX60" fmla="*/ 265771 w 1037296"/>
                <a:gd name="connsiteY60" fmla="*/ 447409 h 839878"/>
                <a:gd name="connsiteX61" fmla="*/ 254341 w 1037296"/>
                <a:gd name="connsiteY61" fmla="*/ 455029 h 839878"/>
                <a:gd name="connsiteX62" fmla="*/ 242911 w 1037296"/>
                <a:gd name="connsiteY62" fmla="*/ 458839 h 839878"/>
                <a:gd name="connsiteX63" fmla="*/ 128611 w 1037296"/>
                <a:gd name="connsiteY63" fmla="*/ 458839 h 839878"/>
                <a:gd name="connsiteX64" fmla="*/ 122896 w 1037296"/>
                <a:gd name="connsiteY64" fmla="*/ 460744 h 839878"/>
                <a:gd name="connsiteX65" fmla="*/ 107656 w 1037296"/>
                <a:gd name="connsiteY65" fmla="*/ 462649 h 839878"/>
                <a:gd name="connsiteX66" fmla="*/ 90511 w 1037296"/>
                <a:gd name="connsiteY66" fmla="*/ 468364 h 839878"/>
                <a:gd name="connsiteX67" fmla="*/ 84796 w 1037296"/>
                <a:gd name="connsiteY67" fmla="*/ 470269 h 839878"/>
                <a:gd name="connsiteX68" fmla="*/ 79081 w 1037296"/>
                <a:gd name="connsiteY68" fmla="*/ 474079 h 839878"/>
                <a:gd name="connsiteX69" fmla="*/ 67651 w 1037296"/>
                <a:gd name="connsiteY69" fmla="*/ 475984 h 839878"/>
                <a:gd name="connsiteX70" fmla="*/ 29551 w 1037296"/>
                <a:gd name="connsiteY70" fmla="*/ 477889 h 839878"/>
                <a:gd name="connsiteX71" fmla="*/ 18121 w 1037296"/>
                <a:gd name="connsiteY71" fmla="*/ 483604 h 839878"/>
                <a:gd name="connsiteX72" fmla="*/ 8596 w 1037296"/>
                <a:gd name="connsiteY72" fmla="*/ 493129 h 839878"/>
                <a:gd name="connsiteX73" fmla="*/ 6691 w 1037296"/>
                <a:gd name="connsiteY73" fmla="*/ 498844 h 839878"/>
                <a:gd name="connsiteX74" fmla="*/ 2881 w 1037296"/>
                <a:gd name="connsiteY74" fmla="*/ 504559 h 839878"/>
                <a:gd name="connsiteX75" fmla="*/ 14311 w 1037296"/>
                <a:gd name="connsiteY75" fmla="*/ 540754 h 839878"/>
                <a:gd name="connsiteX76" fmla="*/ 147661 w 1037296"/>
                <a:gd name="connsiteY76" fmla="*/ 540754 h 839878"/>
                <a:gd name="connsiteX77" fmla="*/ 155281 w 1037296"/>
                <a:gd name="connsiteY77" fmla="*/ 538849 h 839878"/>
                <a:gd name="connsiteX78" fmla="*/ 305776 w 1037296"/>
                <a:gd name="connsiteY78" fmla="*/ 533134 h 839878"/>
                <a:gd name="connsiteX79" fmla="*/ 321016 w 1037296"/>
                <a:gd name="connsiteY79" fmla="*/ 540754 h 839878"/>
                <a:gd name="connsiteX80" fmla="*/ 332446 w 1037296"/>
                <a:gd name="connsiteY80" fmla="*/ 546469 h 839878"/>
                <a:gd name="connsiteX81" fmla="*/ 336256 w 1037296"/>
                <a:gd name="connsiteY81" fmla="*/ 552184 h 839878"/>
                <a:gd name="connsiteX82" fmla="*/ 341971 w 1037296"/>
                <a:gd name="connsiteY82" fmla="*/ 554089 h 839878"/>
                <a:gd name="connsiteX83" fmla="*/ 353401 w 1037296"/>
                <a:gd name="connsiteY83" fmla="*/ 561709 h 839878"/>
                <a:gd name="connsiteX84" fmla="*/ 359116 w 1037296"/>
                <a:gd name="connsiteY84" fmla="*/ 565519 h 839878"/>
                <a:gd name="connsiteX85" fmla="*/ 362926 w 1037296"/>
                <a:gd name="connsiteY85" fmla="*/ 571234 h 839878"/>
                <a:gd name="connsiteX86" fmla="*/ 368641 w 1037296"/>
                <a:gd name="connsiteY86" fmla="*/ 582664 h 839878"/>
                <a:gd name="connsiteX87" fmla="*/ 364831 w 1037296"/>
                <a:gd name="connsiteY87" fmla="*/ 609334 h 839878"/>
                <a:gd name="connsiteX88" fmla="*/ 361021 w 1037296"/>
                <a:gd name="connsiteY88" fmla="*/ 615049 h 839878"/>
                <a:gd name="connsiteX89" fmla="*/ 359116 w 1037296"/>
                <a:gd name="connsiteY89" fmla="*/ 620764 h 839878"/>
                <a:gd name="connsiteX90" fmla="*/ 355306 w 1037296"/>
                <a:gd name="connsiteY90" fmla="*/ 626479 h 839878"/>
                <a:gd name="connsiteX91" fmla="*/ 353401 w 1037296"/>
                <a:gd name="connsiteY91" fmla="*/ 632194 h 839878"/>
                <a:gd name="connsiteX92" fmla="*/ 349591 w 1037296"/>
                <a:gd name="connsiteY92" fmla="*/ 637909 h 839878"/>
                <a:gd name="connsiteX93" fmla="*/ 332446 w 1037296"/>
                <a:gd name="connsiteY93" fmla="*/ 704584 h 839878"/>
                <a:gd name="connsiteX94" fmla="*/ 330541 w 1037296"/>
                <a:gd name="connsiteY94" fmla="*/ 756019 h 839878"/>
                <a:gd name="connsiteX95" fmla="*/ 332446 w 1037296"/>
                <a:gd name="connsiteY95" fmla="*/ 780784 h 839878"/>
                <a:gd name="connsiteX96" fmla="*/ 334351 w 1037296"/>
                <a:gd name="connsiteY96" fmla="*/ 786499 h 839878"/>
                <a:gd name="connsiteX97" fmla="*/ 338161 w 1037296"/>
                <a:gd name="connsiteY97" fmla="*/ 790309 h 839878"/>
                <a:gd name="connsiteX98" fmla="*/ 366736 w 1037296"/>
                <a:gd name="connsiteY98" fmla="*/ 836029 h 839878"/>
                <a:gd name="connsiteX99" fmla="*/ 389596 w 1037296"/>
                <a:gd name="connsiteY99" fmla="*/ 837934 h 839878"/>
                <a:gd name="connsiteX100" fmla="*/ 395311 w 1037296"/>
                <a:gd name="connsiteY100" fmla="*/ 832219 h 839878"/>
                <a:gd name="connsiteX101" fmla="*/ 397216 w 1037296"/>
                <a:gd name="connsiteY101" fmla="*/ 820789 h 839878"/>
                <a:gd name="connsiteX102" fmla="*/ 399121 w 1037296"/>
                <a:gd name="connsiteY102" fmla="*/ 815074 h 839878"/>
                <a:gd name="connsiteX103" fmla="*/ 401026 w 1037296"/>
                <a:gd name="connsiteY103" fmla="*/ 797929 h 839878"/>
                <a:gd name="connsiteX104" fmla="*/ 402931 w 1037296"/>
                <a:gd name="connsiteY104" fmla="*/ 784594 h 839878"/>
                <a:gd name="connsiteX105" fmla="*/ 406741 w 1037296"/>
                <a:gd name="connsiteY105" fmla="*/ 727444 h 839878"/>
                <a:gd name="connsiteX106" fmla="*/ 412456 w 1037296"/>
                <a:gd name="connsiteY106" fmla="*/ 716014 h 839878"/>
                <a:gd name="connsiteX107" fmla="*/ 416266 w 1037296"/>
                <a:gd name="connsiteY107" fmla="*/ 702679 h 839878"/>
                <a:gd name="connsiteX108" fmla="*/ 418171 w 1037296"/>
                <a:gd name="connsiteY108" fmla="*/ 696964 h 839878"/>
                <a:gd name="connsiteX109" fmla="*/ 420076 w 1037296"/>
                <a:gd name="connsiteY109" fmla="*/ 683629 h 839878"/>
                <a:gd name="connsiteX110" fmla="*/ 423886 w 1037296"/>
                <a:gd name="connsiteY110" fmla="*/ 672199 h 839878"/>
                <a:gd name="connsiteX111" fmla="*/ 429601 w 1037296"/>
                <a:gd name="connsiteY111" fmla="*/ 658864 h 839878"/>
                <a:gd name="connsiteX112" fmla="*/ 439126 w 1037296"/>
                <a:gd name="connsiteY112" fmla="*/ 647434 h 839878"/>
                <a:gd name="connsiteX113" fmla="*/ 452461 w 1037296"/>
                <a:gd name="connsiteY113" fmla="*/ 632194 h 839878"/>
                <a:gd name="connsiteX114" fmla="*/ 460081 w 1037296"/>
                <a:gd name="connsiteY114" fmla="*/ 620764 h 839878"/>
                <a:gd name="connsiteX115" fmla="*/ 463891 w 1037296"/>
                <a:gd name="connsiteY115" fmla="*/ 609334 h 839878"/>
                <a:gd name="connsiteX116" fmla="*/ 467701 w 1037296"/>
                <a:gd name="connsiteY116" fmla="*/ 594094 h 839878"/>
                <a:gd name="connsiteX117" fmla="*/ 469606 w 1037296"/>
                <a:gd name="connsiteY117" fmla="*/ 588379 h 839878"/>
                <a:gd name="connsiteX118" fmla="*/ 509611 w 1037296"/>
                <a:gd name="connsiteY118" fmla="*/ 582664 h 839878"/>
                <a:gd name="connsiteX119" fmla="*/ 538186 w 1037296"/>
                <a:gd name="connsiteY119" fmla="*/ 573139 h 839878"/>
                <a:gd name="connsiteX120" fmla="*/ 543901 w 1037296"/>
                <a:gd name="connsiteY120" fmla="*/ 571234 h 839878"/>
                <a:gd name="connsiteX121" fmla="*/ 549616 w 1037296"/>
                <a:gd name="connsiteY121" fmla="*/ 569329 h 839878"/>
                <a:gd name="connsiteX122" fmla="*/ 557236 w 1037296"/>
                <a:gd name="connsiteY122" fmla="*/ 567424 h 839878"/>
                <a:gd name="connsiteX123" fmla="*/ 576286 w 1037296"/>
                <a:gd name="connsiteY123" fmla="*/ 559804 h 839878"/>
                <a:gd name="connsiteX124" fmla="*/ 587716 w 1037296"/>
                <a:gd name="connsiteY124" fmla="*/ 555994 h 839878"/>
                <a:gd name="connsiteX125" fmla="*/ 722971 w 1037296"/>
                <a:gd name="connsiteY125" fmla="*/ 639814 h 839878"/>
                <a:gd name="connsiteX126" fmla="*/ 736306 w 1037296"/>
                <a:gd name="connsiteY126" fmla="*/ 649339 h 839878"/>
                <a:gd name="connsiteX127" fmla="*/ 745831 w 1037296"/>
                <a:gd name="connsiteY127" fmla="*/ 651244 h 839878"/>
                <a:gd name="connsiteX128" fmla="*/ 751546 w 1037296"/>
                <a:gd name="connsiteY128" fmla="*/ 653149 h 839878"/>
                <a:gd name="connsiteX129" fmla="*/ 764881 w 1037296"/>
                <a:gd name="connsiteY129" fmla="*/ 658864 h 839878"/>
                <a:gd name="connsiteX130" fmla="*/ 780121 w 1037296"/>
                <a:gd name="connsiteY130" fmla="*/ 656959 h 839878"/>
                <a:gd name="connsiteX131" fmla="*/ 791551 w 1037296"/>
                <a:gd name="connsiteY131" fmla="*/ 651244 h 839878"/>
                <a:gd name="connsiteX132" fmla="*/ 797266 w 1037296"/>
                <a:gd name="connsiteY132" fmla="*/ 649339 h 839878"/>
                <a:gd name="connsiteX133" fmla="*/ 804886 w 1037296"/>
                <a:gd name="connsiteY133" fmla="*/ 632194 h 839878"/>
                <a:gd name="connsiteX134" fmla="*/ 802981 w 1037296"/>
                <a:gd name="connsiteY134" fmla="*/ 607429 h 839878"/>
                <a:gd name="connsiteX135" fmla="*/ 801076 w 1037296"/>
                <a:gd name="connsiteY135" fmla="*/ 601714 h 839878"/>
                <a:gd name="connsiteX136" fmla="*/ 799171 w 1037296"/>
                <a:gd name="connsiteY136" fmla="*/ 594094 h 839878"/>
                <a:gd name="connsiteX137" fmla="*/ 785836 w 1037296"/>
                <a:gd name="connsiteY137" fmla="*/ 576949 h 839878"/>
                <a:gd name="connsiteX138" fmla="*/ 776311 w 1037296"/>
                <a:gd name="connsiteY138" fmla="*/ 571234 h 839878"/>
                <a:gd name="connsiteX139" fmla="*/ 650581 w 1037296"/>
                <a:gd name="connsiteY139" fmla="*/ 479794 h 839878"/>
                <a:gd name="connsiteX140" fmla="*/ 646771 w 1037296"/>
                <a:gd name="connsiteY140" fmla="*/ 462649 h 839878"/>
                <a:gd name="connsiteX141" fmla="*/ 648676 w 1037296"/>
                <a:gd name="connsiteY141" fmla="*/ 455029 h 839878"/>
                <a:gd name="connsiteX142" fmla="*/ 652486 w 1037296"/>
                <a:gd name="connsiteY142" fmla="*/ 437884 h 839878"/>
                <a:gd name="connsiteX143" fmla="*/ 656296 w 1037296"/>
                <a:gd name="connsiteY143" fmla="*/ 432169 h 839878"/>
                <a:gd name="connsiteX144" fmla="*/ 658201 w 1037296"/>
                <a:gd name="connsiteY144" fmla="*/ 426454 h 839878"/>
                <a:gd name="connsiteX145" fmla="*/ 663916 w 1037296"/>
                <a:gd name="connsiteY145" fmla="*/ 424549 h 839878"/>
                <a:gd name="connsiteX146" fmla="*/ 673441 w 1037296"/>
                <a:gd name="connsiteY146" fmla="*/ 413119 h 839878"/>
                <a:gd name="connsiteX147" fmla="*/ 726781 w 1037296"/>
                <a:gd name="connsiteY147" fmla="*/ 405499 h 839878"/>
                <a:gd name="connsiteX148" fmla="*/ 844891 w 1037296"/>
                <a:gd name="connsiteY148" fmla="*/ 407404 h 839878"/>
                <a:gd name="connsiteX149" fmla="*/ 873466 w 1037296"/>
                <a:gd name="connsiteY149" fmla="*/ 409309 h 839878"/>
                <a:gd name="connsiteX150" fmla="*/ 902041 w 1037296"/>
                <a:gd name="connsiteY150" fmla="*/ 415024 h 839878"/>
                <a:gd name="connsiteX151" fmla="*/ 924901 w 1037296"/>
                <a:gd name="connsiteY151" fmla="*/ 418834 h 839878"/>
                <a:gd name="connsiteX152" fmla="*/ 953476 w 1037296"/>
                <a:gd name="connsiteY152" fmla="*/ 424549 h 839878"/>
                <a:gd name="connsiteX153" fmla="*/ 959191 w 1037296"/>
                <a:gd name="connsiteY153" fmla="*/ 424549 h 839878"/>
                <a:gd name="connsiteX154" fmla="*/ 1004911 w 1037296"/>
                <a:gd name="connsiteY154" fmla="*/ 422644 h 839878"/>
                <a:gd name="connsiteX155" fmla="*/ 1033486 w 1037296"/>
                <a:gd name="connsiteY155" fmla="*/ 415024 h 839878"/>
                <a:gd name="connsiteX156" fmla="*/ 1037296 w 1037296"/>
                <a:gd name="connsiteY156" fmla="*/ 409309 h 839878"/>
                <a:gd name="connsiteX157" fmla="*/ 1035391 w 1037296"/>
                <a:gd name="connsiteY157" fmla="*/ 390259 h 839878"/>
                <a:gd name="connsiteX158" fmla="*/ 1029676 w 1037296"/>
                <a:gd name="connsiteY158" fmla="*/ 386449 h 839878"/>
                <a:gd name="connsiteX159" fmla="*/ 1014436 w 1037296"/>
                <a:gd name="connsiteY159" fmla="*/ 384544 h 839878"/>
                <a:gd name="connsiteX160" fmla="*/ 1008721 w 1037296"/>
                <a:gd name="connsiteY160" fmla="*/ 382639 h 839878"/>
                <a:gd name="connsiteX161" fmla="*/ 1001101 w 1037296"/>
                <a:gd name="connsiteY161" fmla="*/ 380734 h 839878"/>
                <a:gd name="connsiteX162" fmla="*/ 989671 w 1037296"/>
                <a:gd name="connsiteY162" fmla="*/ 373114 h 839878"/>
                <a:gd name="connsiteX163" fmla="*/ 978241 w 1037296"/>
                <a:gd name="connsiteY163" fmla="*/ 369304 h 839878"/>
                <a:gd name="connsiteX164" fmla="*/ 972526 w 1037296"/>
                <a:gd name="connsiteY164" fmla="*/ 367399 h 839878"/>
                <a:gd name="connsiteX165" fmla="*/ 964906 w 1037296"/>
                <a:gd name="connsiteY165" fmla="*/ 365494 h 839878"/>
                <a:gd name="connsiteX166" fmla="*/ 959191 w 1037296"/>
                <a:gd name="connsiteY166" fmla="*/ 363589 h 839878"/>
                <a:gd name="connsiteX167" fmla="*/ 938236 w 1037296"/>
                <a:gd name="connsiteY167" fmla="*/ 357874 h 839878"/>
                <a:gd name="connsiteX168" fmla="*/ 932521 w 1037296"/>
                <a:gd name="connsiteY168" fmla="*/ 355969 h 839878"/>
                <a:gd name="connsiteX169" fmla="*/ 827746 w 1037296"/>
                <a:gd name="connsiteY169" fmla="*/ 357874 h 839878"/>
                <a:gd name="connsiteX170" fmla="*/ 822031 w 1037296"/>
                <a:gd name="connsiteY170" fmla="*/ 359779 h 839878"/>
                <a:gd name="connsiteX171" fmla="*/ 732496 w 1037296"/>
                <a:gd name="connsiteY171" fmla="*/ 361684 h 839878"/>
                <a:gd name="connsiteX172" fmla="*/ 719161 w 1037296"/>
                <a:gd name="connsiteY172" fmla="*/ 365494 h 839878"/>
                <a:gd name="connsiteX173" fmla="*/ 698206 w 1037296"/>
                <a:gd name="connsiteY173" fmla="*/ 367399 h 839878"/>
                <a:gd name="connsiteX174" fmla="*/ 671536 w 1037296"/>
                <a:gd name="connsiteY174" fmla="*/ 369304 h 839878"/>
                <a:gd name="connsiteX175" fmla="*/ 671536 w 1037296"/>
                <a:gd name="connsiteY175" fmla="*/ 369304 h 839878"/>
                <a:gd name="connsiteX176" fmla="*/ 648676 w 1037296"/>
                <a:gd name="connsiteY176" fmla="*/ 373114 h 839878"/>
                <a:gd name="connsiteX177" fmla="*/ 644866 w 1037296"/>
                <a:gd name="connsiteY177" fmla="*/ 361684 h 839878"/>
                <a:gd name="connsiteX178" fmla="*/ 642961 w 1037296"/>
                <a:gd name="connsiteY178" fmla="*/ 355969 h 839878"/>
                <a:gd name="connsiteX179" fmla="*/ 644866 w 1037296"/>
                <a:gd name="connsiteY179" fmla="*/ 338824 h 839878"/>
                <a:gd name="connsiteX180" fmla="*/ 646771 w 1037296"/>
                <a:gd name="connsiteY180" fmla="*/ 333109 h 839878"/>
                <a:gd name="connsiteX181" fmla="*/ 663916 w 1037296"/>
                <a:gd name="connsiteY181" fmla="*/ 323584 h 839878"/>
                <a:gd name="connsiteX182" fmla="*/ 675346 w 1037296"/>
                <a:gd name="connsiteY182" fmla="*/ 315964 h 839878"/>
                <a:gd name="connsiteX183" fmla="*/ 677251 w 1037296"/>
                <a:gd name="connsiteY183" fmla="*/ 310249 h 839878"/>
                <a:gd name="connsiteX184" fmla="*/ 682966 w 1037296"/>
                <a:gd name="connsiteY184" fmla="*/ 308344 h 839878"/>
                <a:gd name="connsiteX185" fmla="*/ 688681 w 1037296"/>
                <a:gd name="connsiteY185" fmla="*/ 304534 h 839878"/>
                <a:gd name="connsiteX186" fmla="*/ 698206 w 1037296"/>
                <a:gd name="connsiteY186" fmla="*/ 295009 h 839878"/>
                <a:gd name="connsiteX187" fmla="*/ 707731 w 1037296"/>
                <a:gd name="connsiteY187" fmla="*/ 283579 h 839878"/>
                <a:gd name="connsiteX188" fmla="*/ 719161 w 1037296"/>
                <a:gd name="connsiteY188" fmla="*/ 275959 h 839878"/>
                <a:gd name="connsiteX189" fmla="*/ 734401 w 1037296"/>
                <a:gd name="connsiteY189" fmla="*/ 262624 h 839878"/>
                <a:gd name="connsiteX190" fmla="*/ 743926 w 1037296"/>
                <a:gd name="connsiteY190" fmla="*/ 251194 h 839878"/>
                <a:gd name="connsiteX191" fmla="*/ 755356 w 1037296"/>
                <a:gd name="connsiteY191" fmla="*/ 241669 h 839878"/>
                <a:gd name="connsiteX192" fmla="*/ 761071 w 1037296"/>
                <a:gd name="connsiteY192" fmla="*/ 230239 h 839878"/>
                <a:gd name="connsiteX193" fmla="*/ 762976 w 1037296"/>
                <a:gd name="connsiteY193" fmla="*/ 224524 h 839878"/>
                <a:gd name="connsiteX194" fmla="*/ 768691 w 1037296"/>
                <a:gd name="connsiteY194" fmla="*/ 213094 h 839878"/>
                <a:gd name="connsiteX195" fmla="*/ 766786 w 1037296"/>
                <a:gd name="connsiteY195" fmla="*/ 197854 h 839878"/>
                <a:gd name="connsiteX196" fmla="*/ 761071 w 1037296"/>
                <a:gd name="connsiteY196" fmla="*/ 195949 h 839878"/>
                <a:gd name="connsiteX197" fmla="*/ 740116 w 1037296"/>
                <a:gd name="connsiteY197" fmla="*/ 197854 h 839878"/>
                <a:gd name="connsiteX198" fmla="*/ 734401 w 1037296"/>
                <a:gd name="connsiteY198" fmla="*/ 201664 h 839878"/>
                <a:gd name="connsiteX199" fmla="*/ 722971 w 1037296"/>
                <a:gd name="connsiteY199" fmla="*/ 205474 h 839878"/>
                <a:gd name="connsiteX200" fmla="*/ 719161 w 1037296"/>
                <a:gd name="connsiteY200" fmla="*/ 211189 h 839878"/>
                <a:gd name="connsiteX201" fmla="*/ 713446 w 1037296"/>
                <a:gd name="connsiteY201" fmla="*/ 213094 h 839878"/>
                <a:gd name="connsiteX202" fmla="*/ 707731 w 1037296"/>
                <a:gd name="connsiteY202" fmla="*/ 216904 h 839878"/>
                <a:gd name="connsiteX203" fmla="*/ 702016 w 1037296"/>
                <a:gd name="connsiteY203" fmla="*/ 222619 h 839878"/>
                <a:gd name="connsiteX204" fmla="*/ 694396 w 1037296"/>
                <a:gd name="connsiteY204" fmla="*/ 226429 h 839878"/>
                <a:gd name="connsiteX205" fmla="*/ 652486 w 1037296"/>
                <a:gd name="connsiteY205" fmla="*/ 255004 h 839878"/>
                <a:gd name="connsiteX206" fmla="*/ 639151 w 1037296"/>
                <a:gd name="connsiteY206" fmla="*/ 266434 h 839878"/>
                <a:gd name="connsiteX207" fmla="*/ 629626 w 1037296"/>
                <a:gd name="connsiteY207" fmla="*/ 283579 h 839878"/>
                <a:gd name="connsiteX208" fmla="*/ 604861 w 1037296"/>
                <a:gd name="connsiteY208" fmla="*/ 289294 h 839878"/>
                <a:gd name="connsiteX209" fmla="*/ 591526 w 1037296"/>
                <a:gd name="connsiteY209" fmla="*/ 293104 h 839878"/>
                <a:gd name="connsiteX210" fmla="*/ 576286 w 1037296"/>
                <a:gd name="connsiteY210" fmla="*/ 291199 h 839878"/>
                <a:gd name="connsiteX211" fmla="*/ 564856 w 1037296"/>
                <a:gd name="connsiteY211" fmla="*/ 287389 h 839878"/>
                <a:gd name="connsiteX212" fmla="*/ 553426 w 1037296"/>
                <a:gd name="connsiteY212" fmla="*/ 283579 h 839878"/>
                <a:gd name="connsiteX213" fmla="*/ 541996 w 1037296"/>
                <a:gd name="connsiteY213" fmla="*/ 279769 h 839878"/>
                <a:gd name="connsiteX214" fmla="*/ 536281 w 1037296"/>
                <a:gd name="connsiteY214" fmla="*/ 277864 h 839878"/>
                <a:gd name="connsiteX215" fmla="*/ 530566 w 1037296"/>
                <a:gd name="connsiteY215" fmla="*/ 274054 h 839878"/>
                <a:gd name="connsiteX216" fmla="*/ 519136 w 1037296"/>
                <a:gd name="connsiteY216" fmla="*/ 268339 h 839878"/>
                <a:gd name="connsiteX217" fmla="*/ 511516 w 1037296"/>
                <a:gd name="connsiteY217" fmla="*/ 256909 h 839878"/>
                <a:gd name="connsiteX218" fmla="*/ 507706 w 1037296"/>
                <a:gd name="connsiteY218" fmla="*/ 235954 h 839878"/>
                <a:gd name="connsiteX219" fmla="*/ 509611 w 1037296"/>
                <a:gd name="connsiteY219" fmla="*/ 171184 h 839878"/>
                <a:gd name="connsiteX220" fmla="*/ 515326 w 1037296"/>
                <a:gd name="connsiteY220" fmla="*/ 157849 h 839878"/>
                <a:gd name="connsiteX221" fmla="*/ 508313 w 1037296"/>
                <a:gd name="connsiteY221" fmla="*/ 73485 h 839878"/>
                <a:gd name="connsiteX222" fmla="*/ 454115 w 1037296"/>
                <a:gd name="connsiteY222" fmla="*/ 11248 h 839878"/>
                <a:gd name="connsiteX223" fmla="*/ 435400 w 1037296"/>
                <a:gd name="connsiteY223" fmla="*/ 68523 h 839878"/>
                <a:gd name="connsiteX224" fmla="*/ 427696 w 1037296"/>
                <a:gd name="connsiteY224" fmla="*/ 137103 h 839878"/>
                <a:gd name="connsiteX225" fmla="*/ 420076 w 1037296"/>
                <a:gd name="connsiteY225" fmla="*/ 169279 h 839878"/>
                <a:gd name="connsiteX226" fmla="*/ 416266 w 1037296"/>
                <a:gd name="connsiteY226" fmla="*/ 186424 h 839878"/>
                <a:gd name="connsiteX227" fmla="*/ 420076 w 1037296"/>
                <a:gd name="connsiteY227" fmla="*/ 207379 h 839878"/>
                <a:gd name="connsiteX228" fmla="*/ 423886 w 1037296"/>
                <a:gd name="connsiteY228" fmla="*/ 213094 h 839878"/>
                <a:gd name="connsiteX229" fmla="*/ 427696 w 1037296"/>
                <a:gd name="connsiteY229" fmla="*/ 224524 h 839878"/>
                <a:gd name="connsiteX230" fmla="*/ 425791 w 1037296"/>
                <a:gd name="connsiteY230" fmla="*/ 251194 h 839878"/>
                <a:gd name="connsiteX231" fmla="*/ 420076 w 1037296"/>
                <a:gd name="connsiteY231" fmla="*/ 253099 h 839878"/>
                <a:gd name="connsiteX232" fmla="*/ 414361 w 1037296"/>
                <a:gd name="connsiteY232" fmla="*/ 256909 h 839878"/>
                <a:gd name="connsiteX233" fmla="*/ 423886 w 1037296"/>
                <a:gd name="connsiteY233"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1027 w 1037297"/>
                <a:gd name="connsiteY103" fmla="*/ 797929 h 839878"/>
                <a:gd name="connsiteX104" fmla="*/ 402932 w 1037297"/>
                <a:gd name="connsiteY104" fmla="*/ 784594 h 839878"/>
                <a:gd name="connsiteX105" fmla="*/ 406742 w 1037297"/>
                <a:gd name="connsiteY105" fmla="*/ 727444 h 839878"/>
                <a:gd name="connsiteX106" fmla="*/ 412457 w 1037297"/>
                <a:gd name="connsiteY106" fmla="*/ 716014 h 839878"/>
                <a:gd name="connsiteX107" fmla="*/ 416267 w 1037297"/>
                <a:gd name="connsiteY107" fmla="*/ 702679 h 839878"/>
                <a:gd name="connsiteX108" fmla="*/ 418172 w 1037297"/>
                <a:gd name="connsiteY108" fmla="*/ 696964 h 839878"/>
                <a:gd name="connsiteX109" fmla="*/ 420077 w 1037297"/>
                <a:gd name="connsiteY109" fmla="*/ 683629 h 839878"/>
                <a:gd name="connsiteX110" fmla="*/ 423887 w 1037297"/>
                <a:gd name="connsiteY110" fmla="*/ 672199 h 839878"/>
                <a:gd name="connsiteX111" fmla="*/ 429602 w 1037297"/>
                <a:gd name="connsiteY111" fmla="*/ 658864 h 839878"/>
                <a:gd name="connsiteX112" fmla="*/ 439127 w 1037297"/>
                <a:gd name="connsiteY112" fmla="*/ 647434 h 839878"/>
                <a:gd name="connsiteX113" fmla="*/ 452462 w 1037297"/>
                <a:gd name="connsiteY113" fmla="*/ 632194 h 839878"/>
                <a:gd name="connsiteX114" fmla="*/ 460082 w 1037297"/>
                <a:gd name="connsiteY114" fmla="*/ 620764 h 839878"/>
                <a:gd name="connsiteX115" fmla="*/ 463892 w 1037297"/>
                <a:gd name="connsiteY115" fmla="*/ 609334 h 839878"/>
                <a:gd name="connsiteX116" fmla="*/ 467702 w 1037297"/>
                <a:gd name="connsiteY116" fmla="*/ 594094 h 839878"/>
                <a:gd name="connsiteX117" fmla="*/ 469607 w 1037297"/>
                <a:gd name="connsiteY117" fmla="*/ 588379 h 839878"/>
                <a:gd name="connsiteX118" fmla="*/ 509612 w 1037297"/>
                <a:gd name="connsiteY118" fmla="*/ 582664 h 839878"/>
                <a:gd name="connsiteX119" fmla="*/ 538187 w 1037297"/>
                <a:gd name="connsiteY119" fmla="*/ 573139 h 839878"/>
                <a:gd name="connsiteX120" fmla="*/ 543902 w 1037297"/>
                <a:gd name="connsiteY120" fmla="*/ 571234 h 839878"/>
                <a:gd name="connsiteX121" fmla="*/ 549617 w 1037297"/>
                <a:gd name="connsiteY121" fmla="*/ 569329 h 839878"/>
                <a:gd name="connsiteX122" fmla="*/ 557237 w 1037297"/>
                <a:gd name="connsiteY122" fmla="*/ 567424 h 839878"/>
                <a:gd name="connsiteX123" fmla="*/ 576287 w 1037297"/>
                <a:gd name="connsiteY123" fmla="*/ 559804 h 839878"/>
                <a:gd name="connsiteX124" fmla="*/ 587717 w 1037297"/>
                <a:gd name="connsiteY124" fmla="*/ 555994 h 839878"/>
                <a:gd name="connsiteX125" fmla="*/ 722972 w 1037297"/>
                <a:gd name="connsiteY125" fmla="*/ 639814 h 839878"/>
                <a:gd name="connsiteX126" fmla="*/ 736307 w 1037297"/>
                <a:gd name="connsiteY126" fmla="*/ 649339 h 839878"/>
                <a:gd name="connsiteX127" fmla="*/ 745832 w 1037297"/>
                <a:gd name="connsiteY127" fmla="*/ 651244 h 839878"/>
                <a:gd name="connsiteX128" fmla="*/ 751547 w 1037297"/>
                <a:gd name="connsiteY128" fmla="*/ 653149 h 839878"/>
                <a:gd name="connsiteX129" fmla="*/ 764882 w 1037297"/>
                <a:gd name="connsiteY129" fmla="*/ 658864 h 839878"/>
                <a:gd name="connsiteX130" fmla="*/ 780122 w 1037297"/>
                <a:gd name="connsiteY130" fmla="*/ 656959 h 839878"/>
                <a:gd name="connsiteX131" fmla="*/ 791552 w 1037297"/>
                <a:gd name="connsiteY131" fmla="*/ 651244 h 839878"/>
                <a:gd name="connsiteX132" fmla="*/ 797267 w 1037297"/>
                <a:gd name="connsiteY132" fmla="*/ 649339 h 839878"/>
                <a:gd name="connsiteX133" fmla="*/ 804887 w 1037297"/>
                <a:gd name="connsiteY133" fmla="*/ 632194 h 839878"/>
                <a:gd name="connsiteX134" fmla="*/ 802982 w 1037297"/>
                <a:gd name="connsiteY134" fmla="*/ 607429 h 839878"/>
                <a:gd name="connsiteX135" fmla="*/ 801077 w 1037297"/>
                <a:gd name="connsiteY135" fmla="*/ 601714 h 839878"/>
                <a:gd name="connsiteX136" fmla="*/ 799172 w 1037297"/>
                <a:gd name="connsiteY136" fmla="*/ 594094 h 839878"/>
                <a:gd name="connsiteX137" fmla="*/ 785837 w 1037297"/>
                <a:gd name="connsiteY137" fmla="*/ 576949 h 839878"/>
                <a:gd name="connsiteX138" fmla="*/ 776312 w 1037297"/>
                <a:gd name="connsiteY138" fmla="*/ 571234 h 839878"/>
                <a:gd name="connsiteX139" fmla="*/ 650582 w 1037297"/>
                <a:gd name="connsiteY139" fmla="*/ 479794 h 839878"/>
                <a:gd name="connsiteX140" fmla="*/ 646772 w 1037297"/>
                <a:gd name="connsiteY140" fmla="*/ 462649 h 839878"/>
                <a:gd name="connsiteX141" fmla="*/ 648677 w 1037297"/>
                <a:gd name="connsiteY141" fmla="*/ 455029 h 839878"/>
                <a:gd name="connsiteX142" fmla="*/ 652487 w 1037297"/>
                <a:gd name="connsiteY142" fmla="*/ 437884 h 839878"/>
                <a:gd name="connsiteX143" fmla="*/ 656297 w 1037297"/>
                <a:gd name="connsiteY143" fmla="*/ 432169 h 839878"/>
                <a:gd name="connsiteX144" fmla="*/ 658202 w 1037297"/>
                <a:gd name="connsiteY144" fmla="*/ 426454 h 839878"/>
                <a:gd name="connsiteX145" fmla="*/ 663917 w 1037297"/>
                <a:gd name="connsiteY145" fmla="*/ 424549 h 839878"/>
                <a:gd name="connsiteX146" fmla="*/ 673442 w 1037297"/>
                <a:gd name="connsiteY146" fmla="*/ 413119 h 839878"/>
                <a:gd name="connsiteX147" fmla="*/ 726782 w 1037297"/>
                <a:gd name="connsiteY147" fmla="*/ 405499 h 839878"/>
                <a:gd name="connsiteX148" fmla="*/ 844892 w 1037297"/>
                <a:gd name="connsiteY148" fmla="*/ 407404 h 839878"/>
                <a:gd name="connsiteX149" fmla="*/ 873467 w 1037297"/>
                <a:gd name="connsiteY149" fmla="*/ 409309 h 839878"/>
                <a:gd name="connsiteX150" fmla="*/ 902042 w 1037297"/>
                <a:gd name="connsiteY150" fmla="*/ 415024 h 839878"/>
                <a:gd name="connsiteX151" fmla="*/ 924902 w 1037297"/>
                <a:gd name="connsiteY151" fmla="*/ 418834 h 839878"/>
                <a:gd name="connsiteX152" fmla="*/ 953477 w 1037297"/>
                <a:gd name="connsiteY152" fmla="*/ 424549 h 839878"/>
                <a:gd name="connsiteX153" fmla="*/ 959192 w 1037297"/>
                <a:gd name="connsiteY153" fmla="*/ 424549 h 839878"/>
                <a:gd name="connsiteX154" fmla="*/ 1004912 w 1037297"/>
                <a:gd name="connsiteY154" fmla="*/ 422644 h 839878"/>
                <a:gd name="connsiteX155" fmla="*/ 1033487 w 1037297"/>
                <a:gd name="connsiteY155" fmla="*/ 415024 h 839878"/>
                <a:gd name="connsiteX156" fmla="*/ 1037297 w 1037297"/>
                <a:gd name="connsiteY156" fmla="*/ 409309 h 839878"/>
                <a:gd name="connsiteX157" fmla="*/ 1035392 w 1037297"/>
                <a:gd name="connsiteY157" fmla="*/ 390259 h 839878"/>
                <a:gd name="connsiteX158" fmla="*/ 1029677 w 1037297"/>
                <a:gd name="connsiteY158" fmla="*/ 386449 h 839878"/>
                <a:gd name="connsiteX159" fmla="*/ 1014437 w 1037297"/>
                <a:gd name="connsiteY159" fmla="*/ 384544 h 839878"/>
                <a:gd name="connsiteX160" fmla="*/ 1008722 w 1037297"/>
                <a:gd name="connsiteY160" fmla="*/ 382639 h 839878"/>
                <a:gd name="connsiteX161" fmla="*/ 1001102 w 1037297"/>
                <a:gd name="connsiteY161" fmla="*/ 380734 h 839878"/>
                <a:gd name="connsiteX162" fmla="*/ 989672 w 1037297"/>
                <a:gd name="connsiteY162" fmla="*/ 373114 h 839878"/>
                <a:gd name="connsiteX163" fmla="*/ 978242 w 1037297"/>
                <a:gd name="connsiteY163" fmla="*/ 369304 h 839878"/>
                <a:gd name="connsiteX164" fmla="*/ 972527 w 1037297"/>
                <a:gd name="connsiteY164" fmla="*/ 367399 h 839878"/>
                <a:gd name="connsiteX165" fmla="*/ 964907 w 1037297"/>
                <a:gd name="connsiteY165" fmla="*/ 365494 h 839878"/>
                <a:gd name="connsiteX166" fmla="*/ 959192 w 1037297"/>
                <a:gd name="connsiteY166" fmla="*/ 363589 h 839878"/>
                <a:gd name="connsiteX167" fmla="*/ 938237 w 1037297"/>
                <a:gd name="connsiteY167" fmla="*/ 357874 h 839878"/>
                <a:gd name="connsiteX168" fmla="*/ 932522 w 1037297"/>
                <a:gd name="connsiteY168" fmla="*/ 355969 h 839878"/>
                <a:gd name="connsiteX169" fmla="*/ 827747 w 1037297"/>
                <a:gd name="connsiteY169" fmla="*/ 357874 h 839878"/>
                <a:gd name="connsiteX170" fmla="*/ 822032 w 1037297"/>
                <a:gd name="connsiteY170" fmla="*/ 359779 h 839878"/>
                <a:gd name="connsiteX171" fmla="*/ 732497 w 1037297"/>
                <a:gd name="connsiteY171" fmla="*/ 361684 h 839878"/>
                <a:gd name="connsiteX172" fmla="*/ 719162 w 1037297"/>
                <a:gd name="connsiteY172" fmla="*/ 365494 h 839878"/>
                <a:gd name="connsiteX173" fmla="*/ 698207 w 1037297"/>
                <a:gd name="connsiteY173" fmla="*/ 367399 h 839878"/>
                <a:gd name="connsiteX174" fmla="*/ 671537 w 1037297"/>
                <a:gd name="connsiteY174" fmla="*/ 369304 h 839878"/>
                <a:gd name="connsiteX175" fmla="*/ 671537 w 1037297"/>
                <a:gd name="connsiteY175" fmla="*/ 369304 h 839878"/>
                <a:gd name="connsiteX176" fmla="*/ 648677 w 1037297"/>
                <a:gd name="connsiteY176" fmla="*/ 373114 h 839878"/>
                <a:gd name="connsiteX177" fmla="*/ 644867 w 1037297"/>
                <a:gd name="connsiteY177" fmla="*/ 361684 h 839878"/>
                <a:gd name="connsiteX178" fmla="*/ 642962 w 1037297"/>
                <a:gd name="connsiteY178" fmla="*/ 355969 h 839878"/>
                <a:gd name="connsiteX179" fmla="*/ 644867 w 1037297"/>
                <a:gd name="connsiteY179" fmla="*/ 338824 h 839878"/>
                <a:gd name="connsiteX180" fmla="*/ 646772 w 1037297"/>
                <a:gd name="connsiteY180" fmla="*/ 333109 h 839878"/>
                <a:gd name="connsiteX181" fmla="*/ 663917 w 1037297"/>
                <a:gd name="connsiteY181" fmla="*/ 323584 h 839878"/>
                <a:gd name="connsiteX182" fmla="*/ 675347 w 1037297"/>
                <a:gd name="connsiteY182" fmla="*/ 315964 h 839878"/>
                <a:gd name="connsiteX183" fmla="*/ 677252 w 1037297"/>
                <a:gd name="connsiteY183" fmla="*/ 310249 h 839878"/>
                <a:gd name="connsiteX184" fmla="*/ 682967 w 1037297"/>
                <a:gd name="connsiteY184" fmla="*/ 308344 h 839878"/>
                <a:gd name="connsiteX185" fmla="*/ 688682 w 1037297"/>
                <a:gd name="connsiteY185" fmla="*/ 304534 h 839878"/>
                <a:gd name="connsiteX186" fmla="*/ 698207 w 1037297"/>
                <a:gd name="connsiteY186" fmla="*/ 295009 h 839878"/>
                <a:gd name="connsiteX187" fmla="*/ 707732 w 1037297"/>
                <a:gd name="connsiteY187" fmla="*/ 283579 h 839878"/>
                <a:gd name="connsiteX188" fmla="*/ 719162 w 1037297"/>
                <a:gd name="connsiteY188" fmla="*/ 275959 h 839878"/>
                <a:gd name="connsiteX189" fmla="*/ 734402 w 1037297"/>
                <a:gd name="connsiteY189" fmla="*/ 262624 h 839878"/>
                <a:gd name="connsiteX190" fmla="*/ 743927 w 1037297"/>
                <a:gd name="connsiteY190" fmla="*/ 251194 h 839878"/>
                <a:gd name="connsiteX191" fmla="*/ 755357 w 1037297"/>
                <a:gd name="connsiteY191" fmla="*/ 241669 h 839878"/>
                <a:gd name="connsiteX192" fmla="*/ 761072 w 1037297"/>
                <a:gd name="connsiteY192" fmla="*/ 230239 h 839878"/>
                <a:gd name="connsiteX193" fmla="*/ 762977 w 1037297"/>
                <a:gd name="connsiteY193" fmla="*/ 224524 h 839878"/>
                <a:gd name="connsiteX194" fmla="*/ 768692 w 1037297"/>
                <a:gd name="connsiteY194" fmla="*/ 213094 h 839878"/>
                <a:gd name="connsiteX195" fmla="*/ 766787 w 1037297"/>
                <a:gd name="connsiteY195" fmla="*/ 197854 h 839878"/>
                <a:gd name="connsiteX196" fmla="*/ 761072 w 1037297"/>
                <a:gd name="connsiteY196" fmla="*/ 195949 h 839878"/>
                <a:gd name="connsiteX197" fmla="*/ 740117 w 1037297"/>
                <a:gd name="connsiteY197" fmla="*/ 197854 h 839878"/>
                <a:gd name="connsiteX198" fmla="*/ 734402 w 1037297"/>
                <a:gd name="connsiteY198" fmla="*/ 201664 h 839878"/>
                <a:gd name="connsiteX199" fmla="*/ 722972 w 1037297"/>
                <a:gd name="connsiteY199" fmla="*/ 205474 h 839878"/>
                <a:gd name="connsiteX200" fmla="*/ 719162 w 1037297"/>
                <a:gd name="connsiteY200" fmla="*/ 211189 h 839878"/>
                <a:gd name="connsiteX201" fmla="*/ 713447 w 1037297"/>
                <a:gd name="connsiteY201" fmla="*/ 213094 h 839878"/>
                <a:gd name="connsiteX202" fmla="*/ 707732 w 1037297"/>
                <a:gd name="connsiteY202" fmla="*/ 216904 h 839878"/>
                <a:gd name="connsiteX203" fmla="*/ 702017 w 1037297"/>
                <a:gd name="connsiteY203" fmla="*/ 222619 h 839878"/>
                <a:gd name="connsiteX204" fmla="*/ 694397 w 1037297"/>
                <a:gd name="connsiteY204" fmla="*/ 226429 h 839878"/>
                <a:gd name="connsiteX205" fmla="*/ 652487 w 1037297"/>
                <a:gd name="connsiteY205" fmla="*/ 255004 h 839878"/>
                <a:gd name="connsiteX206" fmla="*/ 639152 w 1037297"/>
                <a:gd name="connsiteY206" fmla="*/ 266434 h 839878"/>
                <a:gd name="connsiteX207" fmla="*/ 629627 w 1037297"/>
                <a:gd name="connsiteY207" fmla="*/ 283579 h 839878"/>
                <a:gd name="connsiteX208" fmla="*/ 604862 w 1037297"/>
                <a:gd name="connsiteY208" fmla="*/ 289294 h 839878"/>
                <a:gd name="connsiteX209" fmla="*/ 591527 w 1037297"/>
                <a:gd name="connsiteY209" fmla="*/ 293104 h 839878"/>
                <a:gd name="connsiteX210" fmla="*/ 576287 w 1037297"/>
                <a:gd name="connsiteY210" fmla="*/ 291199 h 839878"/>
                <a:gd name="connsiteX211" fmla="*/ 564857 w 1037297"/>
                <a:gd name="connsiteY211" fmla="*/ 287389 h 839878"/>
                <a:gd name="connsiteX212" fmla="*/ 553427 w 1037297"/>
                <a:gd name="connsiteY212" fmla="*/ 283579 h 839878"/>
                <a:gd name="connsiteX213" fmla="*/ 541997 w 1037297"/>
                <a:gd name="connsiteY213" fmla="*/ 279769 h 839878"/>
                <a:gd name="connsiteX214" fmla="*/ 536282 w 1037297"/>
                <a:gd name="connsiteY214" fmla="*/ 277864 h 839878"/>
                <a:gd name="connsiteX215" fmla="*/ 530567 w 1037297"/>
                <a:gd name="connsiteY215" fmla="*/ 274054 h 839878"/>
                <a:gd name="connsiteX216" fmla="*/ 519137 w 1037297"/>
                <a:gd name="connsiteY216" fmla="*/ 268339 h 839878"/>
                <a:gd name="connsiteX217" fmla="*/ 511517 w 1037297"/>
                <a:gd name="connsiteY217" fmla="*/ 256909 h 839878"/>
                <a:gd name="connsiteX218" fmla="*/ 507707 w 1037297"/>
                <a:gd name="connsiteY218" fmla="*/ 235954 h 839878"/>
                <a:gd name="connsiteX219" fmla="*/ 509612 w 1037297"/>
                <a:gd name="connsiteY219" fmla="*/ 171184 h 839878"/>
                <a:gd name="connsiteX220" fmla="*/ 508314 w 1037297"/>
                <a:gd name="connsiteY220" fmla="*/ 73485 h 839878"/>
                <a:gd name="connsiteX221" fmla="*/ 454116 w 1037297"/>
                <a:gd name="connsiteY221" fmla="*/ 11248 h 839878"/>
                <a:gd name="connsiteX222" fmla="*/ 435401 w 1037297"/>
                <a:gd name="connsiteY222" fmla="*/ 68523 h 839878"/>
                <a:gd name="connsiteX223" fmla="*/ 427697 w 1037297"/>
                <a:gd name="connsiteY223" fmla="*/ 137103 h 839878"/>
                <a:gd name="connsiteX224" fmla="*/ 420077 w 1037297"/>
                <a:gd name="connsiteY224" fmla="*/ 169279 h 839878"/>
                <a:gd name="connsiteX225" fmla="*/ 416267 w 1037297"/>
                <a:gd name="connsiteY225" fmla="*/ 186424 h 839878"/>
                <a:gd name="connsiteX226" fmla="*/ 420077 w 1037297"/>
                <a:gd name="connsiteY226" fmla="*/ 207379 h 839878"/>
                <a:gd name="connsiteX227" fmla="*/ 423887 w 1037297"/>
                <a:gd name="connsiteY227" fmla="*/ 213094 h 839878"/>
                <a:gd name="connsiteX228" fmla="*/ 427697 w 1037297"/>
                <a:gd name="connsiteY228" fmla="*/ 224524 h 839878"/>
                <a:gd name="connsiteX229" fmla="*/ 425792 w 1037297"/>
                <a:gd name="connsiteY229" fmla="*/ 251194 h 839878"/>
                <a:gd name="connsiteX230" fmla="*/ 420077 w 1037297"/>
                <a:gd name="connsiteY230" fmla="*/ 253099 h 839878"/>
                <a:gd name="connsiteX231" fmla="*/ 414362 w 1037297"/>
                <a:gd name="connsiteY231" fmla="*/ 256909 h 839878"/>
                <a:gd name="connsiteX232" fmla="*/ 423887 w 1037297"/>
                <a:gd name="connsiteY232"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1027 w 1037297"/>
                <a:gd name="connsiteY103" fmla="*/ 797929 h 839878"/>
                <a:gd name="connsiteX104" fmla="*/ 402932 w 1037297"/>
                <a:gd name="connsiteY104" fmla="*/ 784594 h 839878"/>
                <a:gd name="connsiteX105" fmla="*/ 406742 w 1037297"/>
                <a:gd name="connsiteY105" fmla="*/ 727444 h 839878"/>
                <a:gd name="connsiteX106" fmla="*/ 412457 w 1037297"/>
                <a:gd name="connsiteY106" fmla="*/ 716014 h 839878"/>
                <a:gd name="connsiteX107" fmla="*/ 416267 w 1037297"/>
                <a:gd name="connsiteY107" fmla="*/ 702679 h 839878"/>
                <a:gd name="connsiteX108" fmla="*/ 418172 w 1037297"/>
                <a:gd name="connsiteY108" fmla="*/ 696964 h 839878"/>
                <a:gd name="connsiteX109" fmla="*/ 420077 w 1037297"/>
                <a:gd name="connsiteY109" fmla="*/ 683629 h 839878"/>
                <a:gd name="connsiteX110" fmla="*/ 423887 w 1037297"/>
                <a:gd name="connsiteY110" fmla="*/ 672199 h 839878"/>
                <a:gd name="connsiteX111" fmla="*/ 429602 w 1037297"/>
                <a:gd name="connsiteY111" fmla="*/ 658864 h 839878"/>
                <a:gd name="connsiteX112" fmla="*/ 439127 w 1037297"/>
                <a:gd name="connsiteY112" fmla="*/ 647434 h 839878"/>
                <a:gd name="connsiteX113" fmla="*/ 452462 w 1037297"/>
                <a:gd name="connsiteY113" fmla="*/ 632194 h 839878"/>
                <a:gd name="connsiteX114" fmla="*/ 460082 w 1037297"/>
                <a:gd name="connsiteY114" fmla="*/ 620764 h 839878"/>
                <a:gd name="connsiteX115" fmla="*/ 463892 w 1037297"/>
                <a:gd name="connsiteY115" fmla="*/ 609334 h 839878"/>
                <a:gd name="connsiteX116" fmla="*/ 467702 w 1037297"/>
                <a:gd name="connsiteY116" fmla="*/ 594094 h 839878"/>
                <a:gd name="connsiteX117" fmla="*/ 469607 w 1037297"/>
                <a:gd name="connsiteY117" fmla="*/ 588379 h 839878"/>
                <a:gd name="connsiteX118" fmla="*/ 509612 w 1037297"/>
                <a:gd name="connsiteY118" fmla="*/ 582664 h 839878"/>
                <a:gd name="connsiteX119" fmla="*/ 538187 w 1037297"/>
                <a:gd name="connsiteY119" fmla="*/ 573139 h 839878"/>
                <a:gd name="connsiteX120" fmla="*/ 543902 w 1037297"/>
                <a:gd name="connsiteY120" fmla="*/ 571234 h 839878"/>
                <a:gd name="connsiteX121" fmla="*/ 549617 w 1037297"/>
                <a:gd name="connsiteY121" fmla="*/ 569329 h 839878"/>
                <a:gd name="connsiteX122" fmla="*/ 557237 w 1037297"/>
                <a:gd name="connsiteY122" fmla="*/ 567424 h 839878"/>
                <a:gd name="connsiteX123" fmla="*/ 576287 w 1037297"/>
                <a:gd name="connsiteY123" fmla="*/ 559804 h 839878"/>
                <a:gd name="connsiteX124" fmla="*/ 587717 w 1037297"/>
                <a:gd name="connsiteY124" fmla="*/ 555994 h 839878"/>
                <a:gd name="connsiteX125" fmla="*/ 722972 w 1037297"/>
                <a:gd name="connsiteY125" fmla="*/ 639814 h 839878"/>
                <a:gd name="connsiteX126" fmla="*/ 736307 w 1037297"/>
                <a:gd name="connsiteY126" fmla="*/ 649339 h 839878"/>
                <a:gd name="connsiteX127" fmla="*/ 745832 w 1037297"/>
                <a:gd name="connsiteY127" fmla="*/ 651244 h 839878"/>
                <a:gd name="connsiteX128" fmla="*/ 751547 w 1037297"/>
                <a:gd name="connsiteY128" fmla="*/ 653149 h 839878"/>
                <a:gd name="connsiteX129" fmla="*/ 780122 w 1037297"/>
                <a:gd name="connsiteY129" fmla="*/ 656959 h 839878"/>
                <a:gd name="connsiteX130" fmla="*/ 791552 w 1037297"/>
                <a:gd name="connsiteY130" fmla="*/ 651244 h 839878"/>
                <a:gd name="connsiteX131" fmla="*/ 797267 w 1037297"/>
                <a:gd name="connsiteY131" fmla="*/ 649339 h 839878"/>
                <a:gd name="connsiteX132" fmla="*/ 804887 w 1037297"/>
                <a:gd name="connsiteY132" fmla="*/ 632194 h 839878"/>
                <a:gd name="connsiteX133" fmla="*/ 802982 w 1037297"/>
                <a:gd name="connsiteY133" fmla="*/ 607429 h 839878"/>
                <a:gd name="connsiteX134" fmla="*/ 801077 w 1037297"/>
                <a:gd name="connsiteY134" fmla="*/ 601714 h 839878"/>
                <a:gd name="connsiteX135" fmla="*/ 799172 w 1037297"/>
                <a:gd name="connsiteY135" fmla="*/ 594094 h 839878"/>
                <a:gd name="connsiteX136" fmla="*/ 785837 w 1037297"/>
                <a:gd name="connsiteY136" fmla="*/ 576949 h 839878"/>
                <a:gd name="connsiteX137" fmla="*/ 776312 w 1037297"/>
                <a:gd name="connsiteY137" fmla="*/ 571234 h 839878"/>
                <a:gd name="connsiteX138" fmla="*/ 650582 w 1037297"/>
                <a:gd name="connsiteY138" fmla="*/ 479794 h 839878"/>
                <a:gd name="connsiteX139" fmla="*/ 646772 w 1037297"/>
                <a:gd name="connsiteY139" fmla="*/ 462649 h 839878"/>
                <a:gd name="connsiteX140" fmla="*/ 648677 w 1037297"/>
                <a:gd name="connsiteY140" fmla="*/ 455029 h 839878"/>
                <a:gd name="connsiteX141" fmla="*/ 652487 w 1037297"/>
                <a:gd name="connsiteY141" fmla="*/ 437884 h 839878"/>
                <a:gd name="connsiteX142" fmla="*/ 656297 w 1037297"/>
                <a:gd name="connsiteY142" fmla="*/ 432169 h 839878"/>
                <a:gd name="connsiteX143" fmla="*/ 658202 w 1037297"/>
                <a:gd name="connsiteY143" fmla="*/ 426454 h 839878"/>
                <a:gd name="connsiteX144" fmla="*/ 663917 w 1037297"/>
                <a:gd name="connsiteY144" fmla="*/ 424549 h 839878"/>
                <a:gd name="connsiteX145" fmla="*/ 673442 w 1037297"/>
                <a:gd name="connsiteY145" fmla="*/ 413119 h 839878"/>
                <a:gd name="connsiteX146" fmla="*/ 726782 w 1037297"/>
                <a:gd name="connsiteY146" fmla="*/ 405499 h 839878"/>
                <a:gd name="connsiteX147" fmla="*/ 844892 w 1037297"/>
                <a:gd name="connsiteY147" fmla="*/ 407404 h 839878"/>
                <a:gd name="connsiteX148" fmla="*/ 873467 w 1037297"/>
                <a:gd name="connsiteY148" fmla="*/ 409309 h 839878"/>
                <a:gd name="connsiteX149" fmla="*/ 902042 w 1037297"/>
                <a:gd name="connsiteY149" fmla="*/ 415024 h 839878"/>
                <a:gd name="connsiteX150" fmla="*/ 924902 w 1037297"/>
                <a:gd name="connsiteY150" fmla="*/ 418834 h 839878"/>
                <a:gd name="connsiteX151" fmla="*/ 953477 w 1037297"/>
                <a:gd name="connsiteY151" fmla="*/ 424549 h 839878"/>
                <a:gd name="connsiteX152" fmla="*/ 959192 w 1037297"/>
                <a:gd name="connsiteY152" fmla="*/ 424549 h 839878"/>
                <a:gd name="connsiteX153" fmla="*/ 1004912 w 1037297"/>
                <a:gd name="connsiteY153" fmla="*/ 422644 h 839878"/>
                <a:gd name="connsiteX154" fmla="*/ 1033487 w 1037297"/>
                <a:gd name="connsiteY154" fmla="*/ 415024 h 839878"/>
                <a:gd name="connsiteX155" fmla="*/ 1037297 w 1037297"/>
                <a:gd name="connsiteY155" fmla="*/ 409309 h 839878"/>
                <a:gd name="connsiteX156" fmla="*/ 1035392 w 1037297"/>
                <a:gd name="connsiteY156" fmla="*/ 390259 h 839878"/>
                <a:gd name="connsiteX157" fmla="*/ 1029677 w 1037297"/>
                <a:gd name="connsiteY157" fmla="*/ 386449 h 839878"/>
                <a:gd name="connsiteX158" fmla="*/ 1014437 w 1037297"/>
                <a:gd name="connsiteY158" fmla="*/ 384544 h 839878"/>
                <a:gd name="connsiteX159" fmla="*/ 1008722 w 1037297"/>
                <a:gd name="connsiteY159" fmla="*/ 382639 h 839878"/>
                <a:gd name="connsiteX160" fmla="*/ 1001102 w 1037297"/>
                <a:gd name="connsiteY160" fmla="*/ 380734 h 839878"/>
                <a:gd name="connsiteX161" fmla="*/ 989672 w 1037297"/>
                <a:gd name="connsiteY161" fmla="*/ 373114 h 839878"/>
                <a:gd name="connsiteX162" fmla="*/ 978242 w 1037297"/>
                <a:gd name="connsiteY162" fmla="*/ 369304 h 839878"/>
                <a:gd name="connsiteX163" fmla="*/ 972527 w 1037297"/>
                <a:gd name="connsiteY163" fmla="*/ 367399 h 839878"/>
                <a:gd name="connsiteX164" fmla="*/ 964907 w 1037297"/>
                <a:gd name="connsiteY164" fmla="*/ 365494 h 839878"/>
                <a:gd name="connsiteX165" fmla="*/ 959192 w 1037297"/>
                <a:gd name="connsiteY165" fmla="*/ 363589 h 839878"/>
                <a:gd name="connsiteX166" fmla="*/ 938237 w 1037297"/>
                <a:gd name="connsiteY166" fmla="*/ 357874 h 839878"/>
                <a:gd name="connsiteX167" fmla="*/ 932522 w 1037297"/>
                <a:gd name="connsiteY167" fmla="*/ 355969 h 839878"/>
                <a:gd name="connsiteX168" fmla="*/ 827747 w 1037297"/>
                <a:gd name="connsiteY168" fmla="*/ 357874 h 839878"/>
                <a:gd name="connsiteX169" fmla="*/ 822032 w 1037297"/>
                <a:gd name="connsiteY169" fmla="*/ 359779 h 839878"/>
                <a:gd name="connsiteX170" fmla="*/ 732497 w 1037297"/>
                <a:gd name="connsiteY170" fmla="*/ 361684 h 839878"/>
                <a:gd name="connsiteX171" fmla="*/ 719162 w 1037297"/>
                <a:gd name="connsiteY171" fmla="*/ 365494 h 839878"/>
                <a:gd name="connsiteX172" fmla="*/ 698207 w 1037297"/>
                <a:gd name="connsiteY172" fmla="*/ 367399 h 839878"/>
                <a:gd name="connsiteX173" fmla="*/ 671537 w 1037297"/>
                <a:gd name="connsiteY173" fmla="*/ 369304 h 839878"/>
                <a:gd name="connsiteX174" fmla="*/ 671537 w 1037297"/>
                <a:gd name="connsiteY174" fmla="*/ 369304 h 839878"/>
                <a:gd name="connsiteX175" fmla="*/ 648677 w 1037297"/>
                <a:gd name="connsiteY175" fmla="*/ 373114 h 839878"/>
                <a:gd name="connsiteX176" fmla="*/ 644867 w 1037297"/>
                <a:gd name="connsiteY176" fmla="*/ 361684 h 839878"/>
                <a:gd name="connsiteX177" fmla="*/ 642962 w 1037297"/>
                <a:gd name="connsiteY177" fmla="*/ 355969 h 839878"/>
                <a:gd name="connsiteX178" fmla="*/ 644867 w 1037297"/>
                <a:gd name="connsiteY178" fmla="*/ 338824 h 839878"/>
                <a:gd name="connsiteX179" fmla="*/ 646772 w 1037297"/>
                <a:gd name="connsiteY179" fmla="*/ 333109 h 839878"/>
                <a:gd name="connsiteX180" fmla="*/ 663917 w 1037297"/>
                <a:gd name="connsiteY180" fmla="*/ 323584 h 839878"/>
                <a:gd name="connsiteX181" fmla="*/ 675347 w 1037297"/>
                <a:gd name="connsiteY181" fmla="*/ 315964 h 839878"/>
                <a:gd name="connsiteX182" fmla="*/ 677252 w 1037297"/>
                <a:gd name="connsiteY182" fmla="*/ 310249 h 839878"/>
                <a:gd name="connsiteX183" fmla="*/ 682967 w 1037297"/>
                <a:gd name="connsiteY183" fmla="*/ 308344 h 839878"/>
                <a:gd name="connsiteX184" fmla="*/ 688682 w 1037297"/>
                <a:gd name="connsiteY184" fmla="*/ 304534 h 839878"/>
                <a:gd name="connsiteX185" fmla="*/ 698207 w 1037297"/>
                <a:gd name="connsiteY185" fmla="*/ 295009 h 839878"/>
                <a:gd name="connsiteX186" fmla="*/ 707732 w 1037297"/>
                <a:gd name="connsiteY186" fmla="*/ 283579 h 839878"/>
                <a:gd name="connsiteX187" fmla="*/ 719162 w 1037297"/>
                <a:gd name="connsiteY187" fmla="*/ 275959 h 839878"/>
                <a:gd name="connsiteX188" fmla="*/ 734402 w 1037297"/>
                <a:gd name="connsiteY188" fmla="*/ 262624 h 839878"/>
                <a:gd name="connsiteX189" fmla="*/ 743927 w 1037297"/>
                <a:gd name="connsiteY189" fmla="*/ 251194 h 839878"/>
                <a:gd name="connsiteX190" fmla="*/ 755357 w 1037297"/>
                <a:gd name="connsiteY190" fmla="*/ 241669 h 839878"/>
                <a:gd name="connsiteX191" fmla="*/ 761072 w 1037297"/>
                <a:gd name="connsiteY191" fmla="*/ 230239 h 839878"/>
                <a:gd name="connsiteX192" fmla="*/ 762977 w 1037297"/>
                <a:gd name="connsiteY192" fmla="*/ 224524 h 839878"/>
                <a:gd name="connsiteX193" fmla="*/ 768692 w 1037297"/>
                <a:gd name="connsiteY193" fmla="*/ 213094 h 839878"/>
                <a:gd name="connsiteX194" fmla="*/ 766787 w 1037297"/>
                <a:gd name="connsiteY194" fmla="*/ 197854 h 839878"/>
                <a:gd name="connsiteX195" fmla="*/ 761072 w 1037297"/>
                <a:gd name="connsiteY195" fmla="*/ 195949 h 839878"/>
                <a:gd name="connsiteX196" fmla="*/ 740117 w 1037297"/>
                <a:gd name="connsiteY196" fmla="*/ 197854 h 839878"/>
                <a:gd name="connsiteX197" fmla="*/ 734402 w 1037297"/>
                <a:gd name="connsiteY197" fmla="*/ 201664 h 839878"/>
                <a:gd name="connsiteX198" fmla="*/ 722972 w 1037297"/>
                <a:gd name="connsiteY198" fmla="*/ 205474 h 839878"/>
                <a:gd name="connsiteX199" fmla="*/ 719162 w 1037297"/>
                <a:gd name="connsiteY199" fmla="*/ 211189 h 839878"/>
                <a:gd name="connsiteX200" fmla="*/ 713447 w 1037297"/>
                <a:gd name="connsiteY200" fmla="*/ 213094 h 839878"/>
                <a:gd name="connsiteX201" fmla="*/ 707732 w 1037297"/>
                <a:gd name="connsiteY201" fmla="*/ 216904 h 839878"/>
                <a:gd name="connsiteX202" fmla="*/ 702017 w 1037297"/>
                <a:gd name="connsiteY202" fmla="*/ 222619 h 839878"/>
                <a:gd name="connsiteX203" fmla="*/ 694397 w 1037297"/>
                <a:gd name="connsiteY203" fmla="*/ 226429 h 839878"/>
                <a:gd name="connsiteX204" fmla="*/ 652487 w 1037297"/>
                <a:gd name="connsiteY204" fmla="*/ 255004 h 839878"/>
                <a:gd name="connsiteX205" fmla="*/ 639152 w 1037297"/>
                <a:gd name="connsiteY205" fmla="*/ 266434 h 839878"/>
                <a:gd name="connsiteX206" fmla="*/ 629627 w 1037297"/>
                <a:gd name="connsiteY206" fmla="*/ 283579 h 839878"/>
                <a:gd name="connsiteX207" fmla="*/ 604862 w 1037297"/>
                <a:gd name="connsiteY207" fmla="*/ 289294 h 839878"/>
                <a:gd name="connsiteX208" fmla="*/ 591527 w 1037297"/>
                <a:gd name="connsiteY208" fmla="*/ 293104 h 839878"/>
                <a:gd name="connsiteX209" fmla="*/ 576287 w 1037297"/>
                <a:gd name="connsiteY209" fmla="*/ 291199 h 839878"/>
                <a:gd name="connsiteX210" fmla="*/ 564857 w 1037297"/>
                <a:gd name="connsiteY210" fmla="*/ 287389 h 839878"/>
                <a:gd name="connsiteX211" fmla="*/ 553427 w 1037297"/>
                <a:gd name="connsiteY211" fmla="*/ 283579 h 839878"/>
                <a:gd name="connsiteX212" fmla="*/ 541997 w 1037297"/>
                <a:gd name="connsiteY212" fmla="*/ 279769 h 839878"/>
                <a:gd name="connsiteX213" fmla="*/ 536282 w 1037297"/>
                <a:gd name="connsiteY213" fmla="*/ 277864 h 839878"/>
                <a:gd name="connsiteX214" fmla="*/ 530567 w 1037297"/>
                <a:gd name="connsiteY214" fmla="*/ 274054 h 839878"/>
                <a:gd name="connsiteX215" fmla="*/ 519137 w 1037297"/>
                <a:gd name="connsiteY215" fmla="*/ 268339 h 839878"/>
                <a:gd name="connsiteX216" fmla="*/ 511517 w 1037297"/>
                <a:gd name="connsiteY216" fmla="*/ 256909 h 839878"/>
                <a:gd name="connsiteX217" fmla="*/ 507707 w 1037297"/>
                <a:gd name="connsiteY217" fmla="*/ 235954 h 839878"/>
                <a:gd name="connsiteX218" fmla="*/ 509612 w 1037297"/>
                <a:gd name="connsiteY218" fmla="*/ 171184 h 839878"/>
                <a:gd name="connsiteX219" fmla="*/ 508314 w 1037297"/>
                <a:gd name="connsiteY219" fmla="*/ 73485 h 839878"/>
                <a:gd name="connsiteX220" fmla="*/ 454116 w 1037297"/>
                <a:gd name="connsiteY220" fmla="*/ 11248 h 839878"/>
                <a:gd name="connsiteX221" fmla="*/ 435401 w 1037297"/>
                <a:gd name="connsiteY221" fmla="*/ 68523 h 839878"/>
                <a:gd name="connsiteX222" fmla="*/ 427697 w 1037297"/>
                <a:gd name="connsiteY222" fmla="*/ 137103 h 839878"/>
                <a:gd name="connsiteX223" fmla="*/ 420077 w 1037297"/>
                <a:gd name="connsiteY223" fmla="*/ 169279 h 839878"/>
                <a:gd name="connsiteX224" fmla="*/ 416267 w 1037297"/>
                <a:gd name="connsiteY224" fmla="*/ 186424 h 839878"/>
                <a:gd name="connsiteX225" fmla="*/ 420077 w 1037297"/>
                <a:gd name="connsiteY225" fmla="*/ 207379 h 839878"/>
                <a:gd name="connsiteX226" fmla="*/ 423887 w 1037297"/>
                <a:gd name="connsiteY226" fmla="*/ 213094 h 839878"/>
                <a:gd name="connsiteX227" fmla="*/ 427697 w 1037297"/>
                <a:gd name="connsiteY227" fmla="*/ 224524 h 839878"/>
                <a:gd name="connsiteX228" fmla="*/ 425792 w 1037297"/>
                <a:gd name="connsiteY228" fmla="*/ 251194 h 839878"/>
                <a:gd name="connsiteX229" fmla="*/ 420077 w 1037297"/>
                <a:gd name="connsiteY229" fmla="*/ 253099 h 839878"/>
                <a:gd name="connsiteX230" fmla="*/ 414362 w 1037297"/>
                <a:gd name="connsiteY230" fmla="*/ 256909 h 839878"/>
                <a:gd name="connsiteX231" fmla="*/ 423887 w 1037297"/>
                <a:gd name="connsiteY231"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1027 w 1037297"/>
                <a:gd name="connsiteY103" fmla="*/ 797929 h 839878"/>
                <a:gd name="connsiteX104" fmla="*/ 402932 w 1037297"/>
                <a:gd name="connsiteY104" fmla="*/ 784594 h 839878"/>
                <a:gd name="connsiteX105" fmla="*/ 406742 w 1037297"/>
                <a:gd name="connsiteY105" fmla="*/ 727444 h 839878"/>
                <a:gd name="connsiteX106" fmla="*/ 412457 w 1037297"/>
                <a:gd name="connsiteY106" fmla="*/ 716014 h 839878"/>
                <a:gd name="connsiteX107" fmla="*/ 416267 w 1037297"/>
                <a:gd name="connsiteY107" fmla="*/ 702679 h 839878"/>
                <a:gd name="connsiteX108" fmla="*/ 418172 w 1037297"/>
                <a:gd name="connsiteY108" fmla="*/ 696964 h 839878"/>
                <a:gd name="connsiteX109" fmla="*/ 420077 w 1037297"/>
                <a:gd name="connsiteY109" fmla="*/ 683629 h 839878"/>
                <a:gd name="connsiteX110" fmla="*/ 423887 w 1037297"/>
                <a:gd name="connsiteY110" fmla="*/ 672199 h 839878"/>
                <a:gd name="connsiteX111" fmla="*/ 429602 w 1037297"/>
                <a:gd name="connsiteY111" fmla="*/ 658864 h 839878"/>
                <a:gd name="connsiteX112" fmla="*/ 439127 w 1037297"/>
                <a:gd name="connsiteY112" fmla="*/ 647434 h 839878"/>
                <a:gd name="connsiteX113" fmla="*/ 452462 w 1037297"/>
                <a:gd name="connsiteY113" fmla="*/ 632194 h 839878"/>
                <a:gd name="connsiteX114" fmla="*/ 460082 w 1037297"/>
                <a:gd name="connsiteY114" fmla="*/ 620764 h 839878"/>
                <a:gd name="connsiteX115" fmla="*/ 463892 w 1037297"/>
                <a:gd name="connsiteY115" fmla="*/ 609334 h 839878"/>
                <a:gd name="connsiteX116" fmla="*/ 467702 w 1037297"/>
                <a:gd name="connsiteY116" fmla="*/ 594094 h 839878"/>
                <a:gd name="connsiteX117" fmla="*/ 469607 w 1037297"/>
                <a:gd name="connsiteY117" fmla="*/ 588379 h 839878"/>
                <a:gd name="connsiteX118" fmla="*/ 509612 w 1037297"/>
                <a:gd name="connsiteY118" fmla="*/ 582664 h 839878"/>
                <a:gd name="connsiteX119" fmla="*/ 538187 w 1037297"/>
                <a:gd name="connsiteY119" fmla="*/ 573139 h 839878"/>
                <a:gd name="connsiteX120" fmla="*/ 543902 w 1037297"/>
                <a:gd name="connsiteY120" fmla="*/ 571234 h 839878"/>
                <a:gd name="connsiteX121" fmla="*/ 549617 w 1037297"/>
                <a:gd name="connsiteY121" fmla="*/ 569329 h 839878"/>
                <a:gd name="connsiteX122" fmla="*/ 557237 w 1037297"/>
                <a:gd name="connsiteY122" fmla="*/ 567424 h 839878"/>
                <a:gd name="connsiteX123" fmla="*/ 576287 w 1037297"/>
                <a:gd name="connsiteY123" fmla="*/ 559804 h 839878"/>
                <a:gd name="connsiteX124" fmla="*/ 587717 w 1037297"/>
                <a:gd name="connsiteY124" fmla="*/ 555994 h 839878"/>
                <a:gd name="connsiteX125" fmla="*/ 722972 w 1037297"/>
                <a:gd name="connsiteY125" fmla="*/ 639814 h 839878"/>
                <a:gd name="connsiteX126" fmla="*/ 736307 w 1037297"/>
                <a:gd name="connsiteY126" fmla="*/ 649339 h 839878"/>
                <a:gd name="connsiteX127" fmla="*/ 745832 w 1037297"/>
                <a:gd name="connsiteY127" fmla="*/ 651244 h 839878"/>
                <a:gd name="connsiteX128" fmla="*/ 780122 w 1037297"/>
                <a:gd name="connsiteY128" fmla="*/ 656959 h 839878"/>
                <a:gd name="connsiteX129" fmla="*/ 791552 w 1037297"/>
                <a:gd name="connsiteY129" fmla="*/ 651244 h 839878"/>
                <a:gd name="connsiteX130" fmla="*/ 797267 w 1037297"/>
                <a:gd name="connsiteY130" fmla="*/ 649339 h 839878"/>
                <a:gd name="connsiteX131" fmla="*/ 804887 w 1037297"/>
                <a:gd name="connsiteY131" fmla="*/ 632194 h 839878"/>
                <a:gd name="connsiteX132" fmla="*/ 802982 w 1037297"/>
                <a:gd name="connsiteY132" fmla="*/ 607429 h 839878"/>
                <a:gd name="connsiteX133" fmla="*/ 801077 w 1037297"/>
                <a:gd name="connsiteY133" fmla="*/ 601714 h 839878"/>
                <a:gd name="connsiteX134" fmla="*/ 799172 w 1037297"/>
                <a:gd name="connsiteY134" fmla="*/ 594094 h 839878"/>
                <a:gd name="connsiteX135" fmla="*/ 785837 w 1037297"/>
                <a:gd name="connsiteY135" fmla="*/ 576949 h 839878"/>
                <a:gd name="connsiteX136" fmla="*/ 776312 w 1037297"/>
                <a:gd name="connsiteY136" fmla="*/ 571234 h 839878"/>
                <a:gd name="connsiteX137" fmla="*/ 650582 w 1037297"/>
                <a:gd name="connsiteY137" fmla="*/ 479794 h 839878"/>
                <a:gd name="connsiteX138" fmla="*/ 646772 w 1037297"/>
                <a:gd name="connsiteY138" fmla="*/ 462649 h 839878"/>
                <a:gd name="connsiteX139" fmla="*/ 648677 w 1037297"/>
                <a:gd name="connsiteY139" fmla="*/ 455029 h 839878"/>
                <a:gd name="connsiteX140" fmla="*/ 652487 w 1037297"/>
                <a:gd name="connsiteY140" fmla="*/ 437884 h 839878"/>
                <a:gd name="connsiteX141" fmla="*/ 656297 w 1037297"/>
                <a:gd name="connsiteY141" fmla="*/ 432169 h 839878"/>
                <a:gd name="connsiteX142" fmla="*/ 658202 w 1037297"/>
                <a:gd name="connsiteY142" fmla="*/ 426454 h 839878"/>
                <a:gd name="connsiteX143" fmla="*/ 663917 w 1037297"/>
                <a:gd name="connsiteY143" fmla="*/ 424549 h 839878"/>
                <a:gd name="connsiteX144" fmla="*/ 673442 w 1037297"/>
                <a:gd name="connsiteY144" fmla="*/ 413119 h 839878"/>
                <a:gd name="connsiteX145" fmla="*/ 726782 w 1037297"/>
                <a:gd name="connsiteY145" fmla="*/ 405499 h 839878"/>
                <a:gd name="connsiteX146" fmla="*/ 844892 w 1037297"/>
                <a:gd name="connsiteY146" fmla="*/ 407404 h 839878"/>
                <a:gd name="connsiteX147" fmla="*/ 873467 w 1037297"/>
                <a:gd name="connsiteY147" fmla="*/ 409309 h 839878"/>
                <a:gd name="connsiteX148" fmla="*/ 902042 w 1037297"/>
                <a:gd name="connsiteY148" fmla="*/ 415024 h 839878"/>
                <a:gd name="connsiteX149" fmla="*/ 924902 w 1037297"/>
                <a:gd name="connsiteY149" fmla="*/ 418834 h 839878"/>
                <a:gd name="connsiteX150" fmla="*/ 953477 w 1037297"/>
                <a:gd name="connsiteY150" fmla="*/ 424549 h 839878"/>
                <a:gd name="connsiteX151" fmla="*/ 959192 w 1037297"/>
                <a:gd name="connsiteY151" fmla="*/ 424549 h 839878"/>
                <a:gd name="connsiteX152" fmla="*/ 1004912 w 1037297"/>
                <a:gd name="connsiteY152" fmla="*/ 422644 h 839878"/>
                <a:gd name="connsiteX153" fmla="*/ 1033487 w 1037297"/>
                <a:gd name="connsiteY153" fmla="*/ 415024 h 839878"/>
                <a:gd name="connsiteX154" fmla="*/ 1037297 w 1037297"/>
                <a:gd name="connsiteY154" fmla="*/ 409309 h 839878"/>
                <a:gd name="connsiteX155" fmla="*/ 1035392 w 1037297"/>
                <a:gd name="connsiteY155" fmla="*/ 390259 h 839878"/>
                <a:gd name="connsiteX156" fmla="*/ 1029677 w 1037297"/>
                <a:gd name="connsiteY156" fmla="*/ 386449 h 839878"/>
                <a:gd name="connsiteX157" fmla="*/ 1014437 w 1037297"/>
                <a:gd name="connsiteY157" fmla="*/ 384544 h 839878"/>
                <a:gd name="connsiteX158" fmla="*/ 1008722 w 1037297"/>
                <a:gd name="connsiteY158" fmla="*/ 382639 h 839878"/>
                <a:gd name="connsiteX159" fmla="*/ 1001102 w 1037297"/>
                <a:gd name="connsiteY159" fmla="*/ 380734 h 839878"/>
                <a:gd name="connsiteX160" fmla="*/ 989672 w 1037297"/>
                <a:gd name="connsiteY160" fmla="*/ 373114 h 839878"/>
                <a:gd name="connsiteX161" fmla="*/ 978242 w 1037297"/>
                <a:gd name="connsiteY161" fmla="*/ 369304 h 839878"/>
                <a:gd name="connsiteX162" fmla="*/ 972527 w 1037297"/>
                <a:gd name="connsiteY162" fmla="*/ 367399 h 839878"/>
                <a:gd name="connsiteX163" fmla="*/ 964907 w 1037297"/>
                <a:gd name="connsiteY163" fmla="*/ 365494 h 839878"/>
                <a:gd name="connsiteX164" fmla="*/ 959192 w 1037297"/>
                <a:gd name="connsiteY164" fmla="*/ 363589 h 839878"/>
                <a:gd name="connsiteX165" fmla="*/ 938237 w 1037297"/>
                <a:gd name="connsiteY165" fmla="*/ 357874 h 839878"/>
                <a:gd name="connsiteX166" fmla="*/ 932522 w 1037297"/>
                <a:gd name="connsiteY166" fmla="*/ 355969 h 839878"/>
                <a:gd name="connsiteX167" fmla="*/ 827747 w 1037297"/>
                <a:gd name="connsiteY167" fmla="*/ 357874 h 839878"/>
                <a:gd name="connsiteX168" fmla="*/ 822032 w 1037297"/>
                <a:gd name="connsiteY168" fmla="*/ 359779 h 839878"/>
                <a:gd name="connsiteX169" fmla="*/ 732497 w 1037297"/>
                <a:gd name="connsiteY169" fmla="*/ 361684 h 839878"/>
                <a:gd name="connsiteX170" fmla="*/ 719162 w 1037297"/>
                <a:gd name="connsiteY170" fmla="*/ 365494 h 839878"/>
                <a:gd name="connsiteX171" fmla="*/ 698207 w 1037297"/>
                <a:gd name="connsiteY171" fmla="*/ 367399 h 839878"/>
                <a:gd name="connsiteX172" fmla="*/ 671537 w 1037297"/>
                <a:gd name="connsiteY172" fmla="*/ 369304 h 839878"/>
                <a:gd name="connsiteX173" fmla="*/ 671537 w 1037297"/>
                <a:gd name="connsiteY173" fmla="*/ 369304 h 839878"/>
                <a:gd name="connsiteX174" fmla="*/ 648677 w 1037297"/>
                <a:gd name="connsiteY174" fmla="*/ 373114 h 839878"/>
                <a:gd name="connsiteX175" fmla="*/ 644867 w 1037297"/>
                <a:gd name="connsiteY175" fmla="*/ 361684 h 839878"/>
                <a:gd name="connsiteX176" fmla="*/ 642962 w 1037297"/>
                <a:gd name="connsiteY176" fmla="*/ 355969 h 839878"/>
                <a:gd name="connsiteX177" fmla="*/ 644867 w 1037297"/>
                <a:gd name="connsiteY177" fmla="*/ 338824 h 839878"/>
                <a:gd name="connsiteX178" fmla="*/ 646772 w 1037297"/>
                <a:gd name="connsiteY178" fmla="*/ 333109 h 839878"/>
                <a:gd name="connsiteX179" fmla="*/ 663917 w 1037297"/>
                <a:gd name="connsiteY179" fmla="*/ 323584 h 839878"/>
                <a:gd name="connsiteX180" fmla="*/ 675347 w 1037297"/>
                <a:gd name="connsiteY180" fmla="*/ 315964 h 839878"/>
                <a:gd name="connsiteX181" fmla="*/ 677252 w 1037297"/>
                <a:gd name="connsiteY181" fmla="*/ 310249 h 839878"/>
                <a:gd name="connsiteX182" fmla="*/ 682967 w 1037297"/>
                <a:gd name="connsiteY182" fmla="*/ 308344 h 839878"/>
                <a:gd name="connsiteX183" fmla="*/ 688682 w 1037297"/>
                <a:gd name="connsiteY183" fmla="*/ 304534 h 839878"/>
                <a:gd name="connsiteX184" fmla="*/ 698207 w 1037297"/>
                <a:gd name="connsiteY184" fmla="*/ 295009 h 839878"/>
                <a:gd name="connsiteX185" fmla="*/ 707732 w 1037297"/>
                <a:gd name="connsiteY185" fmla="*/ 283579 h 839878"/>
                <a:gd name="connsiteX186" fmla="*/ 719162 w 1037297"/>
                <a:gd name="connsiteY186" fmla="*/ 275959 h 839878"/>
                <a:gd name="connsiteX187" fmla="*/ 734402 w 1037297"/>
                <a:gd name="connsiteY187" fmla="*/ 262624 h 839878"/>
                <a:gd name="connsiteX188" fmla="*/ 743927 w 1037297"/>
                <a:gd name="connsiteY188" fmla="*/ 251194 h 839878"/>
                <a:gd name="connsiteX189" fmla="*/ 755357 w 1037297"/>
                <a:gd name="connsiteY189" fmla="*/ 241669 h 839878"/>
                <a:gd name="connsiteX190" fmla="*/ 761072 w 1037297"/>
                <a:gd name="connsiteY190" fmla="*/ 230239 h 839878"/>
                <a:gd name="connsiteX191" fmla="*/ 762977 w 1037297"/>
                <a:gd name="connsiteY191" fmla="*/ 224524 h 839878"/>
                <a:gd name="connsiteX192" fmla="*/ 768692 w 1037297"/>
                <a:gd name="connsiteY192" fmla="*/ 213094 h 839878"/>
                <a:gd name="connsiteX193" fmla="*/ 766787 w 1037297"/>
                <a:gd name="connsiteY193" fmla="*/ 197854 h 839878"/>
                <a:gd name="connsiteX194" fmla="*/ 761072 w 1037297"/>
                <a:gd name="connsiteY194" fmla="*/ 195949 h 839878"/>
                <a:gd name="connsiteX195" fmla="*/ 740117 w 1037297"/>
                <a:gd name="connsiteY195" fmla="*/ 197854 h 839878"/>
                <a:gd name="connsiteX196" fmla="*/ 734402 w 1037297"/>
                <a:gd name="connsiteY196" fmla="*/ 201664 h 839878"/>
                <a:gd name="connsiteX197" fmla="*/ 722972 w 1037297"/>
                <a:gd name="connsiteY197" fmla="*/ 205474 h 839878"/>
                <a:gd name="connsiteX198" fmla="*/ 719162 w 1037297"/>
                <a:gd name="connsiteY198" fmla="*/ 211189 h 839878"/>
                <a:gd name="connsiteX199" fmla="*/ 713447 w 1037297"/>
                <a:gd name="connsiteY199" fmla="*/ 213094 h 839878"/>
                <a:gd name="connsiteX200" fmla="*/ 707732 w 1037297"/>
                <a:gd name="connsiteY200" fmla="*/ 216904 h 839878"/>
                <a:gd name="connsiteX201" fmla="*/ 702017 w 1037297"/>
                <a:gd name="connsiteY201" fmla="*/ 222619 h 839878"/>
                <a:gd name="connsiteX202" fmla="*/ 694397 w 1037297"/>
                <a:gd name="connsiteY202" fmla="*/ 226429 h 839878"/>
                <a:gd name="connsiteX203" fmla="*/ 652487 w 1037297"/>
                <a:gd name="connsiteY203" fmla="*/ 255004 h 839878"/>
                <a:gd name="connsiteX204" fmla="*/ 639152 w 1037297"/>
                <a:gd name="connsiteY204" fmla="*/ 266434 h 839878"/>
                <a:gd name="connsiteX205" fmla="*/ 629627 w 1037297"/>
                <a:gd name="connsiteY205" fmla="*/ 283579 h 839878"/>
                <a:gd name="connsiteX206" fmla="*/ 604862 w 1037297"/>
                <a:gd name="connsiteY206" fmla="*/ 289294 h 839878"/>
                <a:gd name="connsiteX207" fmla="*/ 591527 w 1037297"/>
                <a:gd name="connsiteY207" fmla="*/ 293104 h 839878"/>
                <a:gd name="connsiteX208" fmla="*/ 576287 w 1037297"/>
                <a:gd name="connsiteY208" fmla="*/ 291199 h 839878"/>
                <a:gd name="connsiteX209" fmla="*/ 564857 w 1037297"/>
                <a:gd name="connsiteY209" fmla="*/ 287389 h 839878"/>
                <a:gd name="connsiteX210" fmla="*/ 553427 w 1037297"/>
                <a:gd name="connsiteY210" fmla="*/ 283579 h 839878"/>
                <a:gd name="connsiteX211" fmla="*/ 541997 w 1037297"/>
                <a:gd name="connsiteY211" fmla="*/ 279769 h 839878"/>
                <a:gd name="connsiteX212" fmla="*/ 536282 w 1037297"/>
                <a:gd name="connsiteY212" fmla="*/ 277864 h 839878"/>
                <a:gd name="connsiteX213" fmla="*/ 530567 w 1037297"/>
                <a:gd name="connsiteY213" fmla="*/ 274054 h 839878"/>
                <a:gd name="connsiteX214" fmla="*/ 519137 w 1037297"/>
                <a:gd name="connsiteY214" fmla="*/ 268339 h 839878"/>
                <a:gd name="connsiteX215" fmla="*/ 511517 w 1037297"/>
                <a:gd name="connsiteY215" fmla="*/ 256909 h 839878"/>
                <a:gd name="connsiteX216" fmla="*/ 507707 w 1037297"/>
                <a:gd name="connsiteY216" fmla="*/ 235954 h 839878"/>
                <a:gd name="connsiteX217" fmla="*/ 509612 w 1037297"/>
                <a:gd name="connsiteY217" fmla="*/ 171184 h 839878"/>
                <a:gd name="connsiteX218" fmla="*/ 508314 w 1037297"/>
                <a:gd name="connsiteY218" fmla="*/ 73485 h 839878"/>
                <a:gd name="connsiteX219" fmla="*/ 454116 w 1037297"/>
                <a:gd name="connsiteY219" fmla="*/ 11248 h 839878"/>
                <a:gd name="connsiteX220" fmla="*/ 435401 w 1037297"/>
                <a:gd name="connsiteY220" fmla="*/ 68523 h 839878"/>
                <a:gd name="connsiteX221" fmla="*/ 427697 w 1037297"/>
                <a:gd name="connsiteY221" fmla="*/ 137103 h 839878"/>
                <a:gd name="connsiteX222" fmla="*/ 420077 w 1037297"/>
                <a:gd name="connsiteY222" fmla="*/ 169279 h 839878"/>
                <a:gd name="connsiteX223" fmla="*/ 416267 w 1037297"/>
                <a:gd name="connsiteY223" fmla="*/ 186424 h 839878"/>
                <a:gd name="connsiteX224" fmla="*/ 420077 w 1037297"/>
                <a:gd name="connsiteY224" fmla="*/ 207379 h 839878"/>
                <a:gd name="connsiteX225" fmla="*/ 423887 w 1037297"/>
                <a:gd name="connsiteY225" fmla="*/ 213094 h 839878"/>
                <a:gd name="connsiteX226" fmla="*/ 427697 w 1037297"/>
                <a:gd name="connsiteY226" fmla="*/ 224524 h 839878"/>
                <a:gd name="connsiteX227" fmla="*/ 425792 w 1037297"/>
                <a:gd name="connsiteY227" fmla="*/ 251194 h 839878"/>
                <a:gd name="connsiteX228" fmla="*/ 420077 w 1037297"/>
                <a:gd name="connsiteY228" fmla="*/ 253099 h 839878"/>
                <a:gd name="connsiteX229" fmla="*/ 414362 w 1037297"/>
                <a:gd name="connsiteY229" fmla="*/ 256909 h 839878"/>
                <a:gd name="connsiteX230" fmla="*/ 423887 w 1037297"/>
                <a:gd name="connsiteY230"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1027 w 1037297"/>
                <a:gd name="connsiteY103" fmla="*/ 797929 h 839878"/>
                <a:gd name="connsiteX104" fmla="*/ 402932 w 1037297"/>
                <a:gd name="connsiteY104" fmla="*/ 784594 h 839878"/>
                <a:gd name="connsiteX105" fmla="*/ 406742 w 1037297"/>
                <a:gd name="connsiteY105" fmla="*/ 727444 h 839878"/>
                <a:gd name="connsiteX106" fmla="*/ 412457 w 1037297"/>
                <a:gd name="connsiteY106" fmla="*/ 716014 h 839878"/>
                <a:gd name="connsiteX107" fmla="*/ 416267 w 1037297"/>
                <a:gd name="connsiteY107" fmla="*/ 702679 h 839878"/>
                <a:gd name="connsiteX108" fmla="*/ 418172 w 1037297"/>
                <a:gd name="connsiteY108" fmla="*/ 696964 h 839878"/>
                <a:gd name="connsiteX109" fmla="*/ 420077 w 1037297"/>
                <a:gd name="connsiteY109" fmla="*/ 683629 h 839878"/>
                <a:gd name="connsiteX110" fmla="*/ 423887 w 1037297"/>
                <a:gd name="connsiteY110" fmla="*/ 672199 h 839878"/>
                <a:gd name="connsiteX111" fmla="*/ 429602 w 1037297"/>
                <a:gd name="connsiteY111" fmla="*/ 658864 h 839878"/>
                <a:gd name="connsiteX112" fmla="*/ 439127 w 1037297"/>
                <a:gd name="connsiteY112" fmla="*/ 647434 h 839878"/>
                <a:gd name="connsiteX113" fmla="*/ 452462 w 1037297"/>
                <a:gd name="connsiteY113" fmla="*/ 632194 h 839878"/>
                <a:gd name="connsiteX114" fmla="*/ 460082 w 1037297"/>
                <a:gd name="connsiteY114" fmla="*/ 620764 h 839878"/>
                <a:gd name="connsiteX115" fmla="*/ 463892 w 1037297"/>
                <a:gd name="connsiteY115" fmla="*/ 609334 h 839878"/>
                <a:gd name="connsiteX116" fmla="*/ 467702 w 1037297"/>
                <a:gd name="connsiteY116" fmla="*/ 594094 h 839878"/>
                <a:gd name="connsiteX117" fmla="*/ 469607 w 1037297"/>
                <a:gd name="connsiteY117" fmla="*/ 588379 h 839878"/>
                <a:gd name="connsiteX118" fmla="*/ 509612 w 1037297"/>
                <a:gd name="connsiteY118" fmla="*/ 582664 h 839878"/>
                <a:gd name="connsiteX119" fmla="*/ 538187 w 1037297"/>
                <a:gd name="connsiteY119" fmla="*/ 573139 h 839878"/>
                <a:gd name="connsiteX120" fmla="*/ 543902 w 1037297"/>
                <a:gd name="connsiteY120" fmla="*/ 571234 h 839878"/>
                <a:gd name="connsiteX121" fmla="*/ 549617 w 1037297"/>
                <a:gd name="connsiteY121" fmla="*/ 569329 h 839878"/>
                <a:gd name="connsiteX122" fmla="*/ 557237 w 1037297"/>
                <a:gd name="connsiteY122" fmla="*/ 567424 h 839878"/>
                <a:gd name="connsiteX123" fmla="*/ 576287 w 1037297"/>
                <a:gd name="connsiteY123" fmla="*/ 559804 h 839878"/>
                <a:gd name="connsiteX124" fmla="*/ 587717 w 1037297"/>
                <a:gd name="connsiteY124" fmla="*/ 555994 h 839878"/>
                <a:gd name="connsiteX125" fmla="*/ 722972 w 1037297"/>
                <a:gd name="connsiteY125" fmla="*/ 639814 h 839878"/>
                <a:gd name="connsiteX126" fmla="*/ 736307 w 1037297"/>
                <a:gd name="connsiteY126" fmla="*/ 649339 h 839878"/>
                <a:gd name="connsiteX127" fmla="*/ 780122 w 1037297"/>
                <a:gd name="connsiteY127" fmla="*/ 656959 h 839878"/>
                <a:gd name="connsiteX128" fmla="*/ 791552 w 1037297"/>
                <a:gd name="connsiteY128" fmla="*/ 651244 h 839878"/>
                <a:gd name="connsiteX129" fmla="*/ 797267 w 1037297"/>
                <a:gd name="connsiteY129" fmla="*/ 649339 h 839878"/>
                <a:gd name="connsiteX130" fmla="*/ 804887 w 1037297"/>
                <a:gd name="connsiteY130" fmla="*/ 632194 h 839878"/>
                <a:gd name="connsiteX131" fmla="*/ 802982 w 1037297"/>
                <a:gd name="connsiteY131" fmla="*/ 607429 h 839878"/>
                <a:gd name="connsiteX132" fmla="*/ 801077 w 1037297"/>
                <a:gd name="connsiteY132" fmla="*/ 601714 h 839878"/>
                <a:gd name="connsiteX133" fmla="*/ 799172 w 1037297"/>
                <a:gd name="connsiteY133" fmla="*/ 594094 h 839878"/>
                <a:gd name="connsiteX134" fmla="*/ 785837 w 1037297"/>
                <a:gd name="connsiteY134" fmla="*/ 576949 h 839878"/>
                <a:gd name="connsiteX135" fmla="*/ 776312 w 1037297"/>
                <a:gd name="connsiteY135" fmla="*/ 571234 h 839878"/>
                <a:gd name="connsiteX136" fmla="*/ 650582 w 1037297"/>
                <a:gd name="connsiteY136" fmla="*/ 479794 h 839878"/>
                <a:gd name="connsiteX137" fmla="*/ 646772 w 1037297"/>
                <a:gd name="connsiteY137" fmla="*/ 462649 h 839878"/>
                <a:gd name="connsiteX138" fmla="*/ 648677 w 1037297"/>
                <a:gd name="connsiteY138" fmla="*/ 455029 h 839878"/>
                <a:gd name="connsiteX139" fmla="*/ 652487 w 1037297"/>
                <a:gd name="connsiteY139" fmla="*/ 437884 h 839878"/>
                <a:gd name="connsiteX140" fmla="*/ 656297 w 1037297"/>
                <a:gd name="connsiteY140" fmla="*/ 432169 h 839878"/>
                <a:gd name="connsiteX141" fmla="*/ 658202 w 1037297"/>
                <a:gd name="connsiteY141" fmla="*/ 426454 h 839878"/>
                <a:gd name="connsiteX142" fmla="*/ 663917 w 1037297"/>
                <a:gd name="connsiteY142" fmla="*/ 424549 h 839878"/>
                <a:gd name="connsiteX143" fmla="*/ 673442 w 1037297"/>
                <a:gd name="connsiteY143" fmla="*/ 413119 h 839878"/>
                <a:gd name="connsiteX144" fmla="*/ 726782 w 1037297"/>
                <a:gd name="connsiteY144" fmla="*/ 405499 h 839878"/>
                <a:gd name="connsiteX145" fmla="*/ 844892 w 1037297"/>
                <a:gd name="connsiteY145" fmla="*/ 407404 h 839878"/>
                <a:gd name="connsiteX146" fmla="*/ 873467 w 1037297"/>
                <a:gd name="connsiteY146" fmla="*/ 409309 h 839878"/>
                <a:gd name="connsiteX147" fmla="*/ 902042 w 1037297"/>
                <a:gd name="connsiteY147" fmla="*/ 415024 h 839878"/>
                <a:gd name="connsiteX148" fmla="*/ 924902 w 1037297"/>
                <a:gd name="connsiteY148" fmla="*/ 418834 h 839878"/>
                <a:gd name="connsiteX149" fmla="*/ 953477 w 1037297"/>
                <a:gd name="connsiteY149" fmla="*/ 424549 h 839878"/>
                <a:gd name="connsiteX150" fmla="*/ 959192 w 1037297"/>
                <a:gd name="connsiteY150" fmla="*/ 424549 h 839878"/>
                <a:gd name="connsiteX151" fmla="*/ 1004912 w 1037297"/>
                <a:gd name="connsiteY151" fmla="*/ 422644 h 839878"/>
                <a:gd name="connsiteX152" fmla="*/ 1033487 w 1037297"/>
                <a:gd name="connsiteY152" fmla="*/ 415024 h 839878"/>
                <a:gd name="connsiteX153" fmla="*/ 1037297 w 1037297"/>
                <a:gd name="connsiteY153" fmla="*/ 409309 h 839878"/>
                <a:gd name="connsiteX154" fmla="*/ 1035392 w 1037297"/>
                <a:gd name="connsiteY154" fmla="*/ 390259 h 839878"/>
                <a:gd name="connsiteX155" fmla="*/ 1029677 w 1037297"/>
                <a:gd name="connsiteY155" fmla="*/ 386449 h 839878"/>
                <a:gd name="connsiteX156" fmla="*/ 1014437 w 1037297"/>
                <a:gd name="connsiteY156" fmla="*/ 384544 h 839878"/>
                <a:gd name="connsiteX157" fmla="*/ 1008722 w 1037297"/>
                <a:gd name="connsiteY157" fmla="*/ 382639 h 839878"/>
                <a:gd name="connsiteX158" fmla="*/ 1001102 w 1037297"/>
                <a:gd name="connsiteY158" fmla="*/ 380734 h 839878"/>
                <a:gd name="connsiteX159" fmla="*/ 989672 w 1037297"/>
                <a:gd name="connsiteY159" fmla="*/ 373114 h 839878"/>
                <a:gd name="connsiteX160" fmla="*/ 978242 w 1037297"/>
                <a:gd name="connsiteY160" fmla="*/ 369304 h 839878"/>
                <a:gd name="connsiteX161" fmla="*/ 972527 w 1037297"/>
                <a:gd name="connsiteY161" fmla="*/ 367399 h 839878"/>
                <a:gd name="connsiteX162" fmla="*/ 964907 w 1037297"/>
                <a:gd name="connsiteY162" fmla="*/ 365494 h 839878"/>
                <a:gd name="connsiteX163" fmla="*/ 959192 w 1037297"/>
                <a:gd name="connsiteY163" fmla="*/ 363589 h 839878"/>
                <a:gd name="connsiteX164" fmla="*/ 938237 w 1037297"/>
                <a:gd name="connsiteY164" fmla="*/ 357874 h 839878"/>
                <a:gd name="connsiteX165" fmla="*/ 932522 w 1037297"/>
                <a:gd name="connsiteY165" fmla="*/ 355969 h 839878"/>
                <a:gd name="connsiteX166" fmla="*/ 827747 w 1037297"/>
                <a:gd name="connsiteY166" fmla="*/ 357874 h 839878"/>
                <a:gd name="connsiteX167" fmla="*/ 822032 w 1037297"/>
                <a:gd name="connsiteY167" fmla="*/ 359779 h 839878"/>
                <a:gd name="connsiteX168" fmla="*/ 732497 w 1037297"/>
                <a:gd name="connsiteY168" fmla="*/ 361684 h 839878"/>
                <a:gd name="connsiteX169" fmla="*/ 719162 w 1037297"/>
                <a:gd name="connsiteY169" fmla="*/ 365494 h 839878"/>
                <a:gd name="connsiteX170" fmla="*/ 698207 w 1037297"/>
                <a:gd name="connsiteY170" fmla="*/ 367399 h 839878"/>
                <a:gd name="connsiteX171" fmla="*/ 671537 w 1037297"/>
                <a:gd name="connsiteY171" fmla="*/ 369304 h 839878"/>
                <a:gd name="connsiteX172" fmla="*/ 671537 w 1037297"/>
                <a:gd name="connsiteY172" fmla="*/ 369304 h 839878"/>
                <a:gd name="connsiteX173" fmla="*/ 648677 w 1037297"/>
                <a:gd name="connsiteY173" fmla="*/ 373114 h 839878"/>
                <a:gd name="connsiteX174" fmla="*/ 644867 w 1037297"/>
                <a:gd name="connsiteY174" fmla="*/ 361684 h 839878"/>
                <a:gd name="connsiteX175" fmla="*/ 642962 w 1037297"/>
                <a:gd name="connsiteY175" fmla="*/ 355969 h 839878"/>
                <a:gd name="connsiteX176" fmla="*/ 644867 w 1037297"/>
                <a:gd name="connsiteY176" fmla="*/ 338824 h 839878"/>
                <a:gd name="connsiteX177" fmla="*/ 646772 w 1037297"/>
                <a:gd name="connsiteY177" fmla="*/ 333109 h 839878"/>
                <a:gd name="connsiteX178" fmla="*/ 663917 w 1037297"/>
                <a:gd name="connsiteY178" fmla="*/ 323584 h 839878"/>
                <a:gd name="connsiteX179" fmla="*/ 675347 w 1037297"/>
                <a:gd name="connsiteY179" fmla="*/ 315964 h 839878"/>
                <a:gd name="connsiteX180" fmla="*/ 677252 w 1037297"/>
                <a:gd name="connsiteY180" fmla="*/ 310249 h 839878"/>
                <a:gd name="connsiteX181" fmla="*/ 682967 w 1037297"/>
                <a:gd name="connsiteY181" fmla="*/ 308344 h 839878"/>
                <a:gd name="connsiteX182" fmla="*/ 688682 w 1037297"/>
                <a:gd name="connsiteY182" fmla="*/ 304534 h 839878"/>
                <a:gd name="connsiteX183" fmla="*/ 698207 w 1037297"/>
                <a:gd name="connsiteY183" fmla="*/ 295009 h 839878"/>
                <a:gd name="connsiteX184" fmla="*/ 707732 w 1037297"/>
                <a:gd name="connsiteY184" fmla="*/ 283579 h 839878"/>
                <a:gd name="connsiteX185" fmla="*/ 719162 w 1037297"/>
                <a:gd name="connsiteY185" fmla="*/ 275959 h 839878"/>
                <a:gd name="connsiteX186" fmla="*/ 734402 w 1037297"/>
                <a:gd name="connsiteY186" fmla="*/ 262624 h 839878"/>
                <a:gd name="connsiteX187" fmla="*/ 743927 w 1037297"/>
                <a:gd name="connsiteY187" fmla="*/ 251194 h 839878"/>
                <a:gd name="connsiteX188" fmla="*/ 755357 w 1037297"/>
                <a:gd name="connsiteY188" fmla="*/ 241669 h 839878"/>
                <a:gd name="connsiteX189" fmla="*/ 761072 w 1037297"/>
                <a:gd name="connsiteY189" fmla="*/ 230239 h 839878"/>
                <a:gd name="connsiteX190" fmla="*/ 762977 w 1037297"/>
                <a:gd name="connsiteY190" fmla="*/ 224524 h 839878"/>
                <a:gd name="connsiteX191" fmla="*/ 768692 w 1037297"/>
                <a:gd name="connsiteY191" fmla="*/ 213094 h 839878"/>
                <a:gd name="connsiteX192" fmla="*/ 766787 w 1037297"/>
                <a:gd name="connsiteY192" fmla="*/ 197854 h 839878"/>
                <a:gd name="connsiteX193" fmla="*/ 761072 w 1037297"/>
                <a:gd name="connsiteY193" fmla="*/ 195949 h 839878"/>
                <a:gd name="connsiteX194" fmla="*/ 740117 w 1037297"/>
                <a:gd name="connsiteY194" fmla="*/ 197854 h 839878"/>
                <a:gd name="connsiteX195" fmla="*/ 734402 w 1037297"/>
                <a:gd name="connsiteY195" fmla="*/ 201664 h 839878"/>
                <a:gd name="connsiteX196" fmla="*/ 722972 w 1037297"/>
                <a:gd name="connsiteY196" fmla="*/ 205474 h 839878"/>
                <a:gd name="connsiteX197" fmla="*/ 719162 w 1037297"/>
                <a:gd name="connsiteY197" fmla="*/ 211189 h 839878"/>
                <a:gd name="connsiteX198" fmla="*/ 713447 w 1037297"/>
                <a:gd name="connsiteY198" fmla="*/ 213094 h 839878"/>
                <a:gd name="connsiteX199" fmla="*/ 707732 w 1037297"/>
                <a:gd name="connsiteY199" fmla="*/ 216904 h 839878"/>
                <a:gd name="connsiteX200" fmla="*/ 702017 w 1037297"/>
                <a:gd name="connsiteY200" fmla="*/ 222619 h 839878"/>
                <a:gd name="connsiteX201" fmla="*/ 694397 w 1037297"/>
                <a:gd name="connsiteY201" fmla="*/ 226429 h 839878"/>
                <a:gd name="connsiteX202" fmla="*/ 652487 w 1037297"/>
                <a:gd name="connsiteY202" fmla="*/ 255004 h 839878"/>
                <a:gd name="connsiteX203" fmla="*/ 639152 w 1037297"/>
                <a:gd name="connsiteY203" fmla="*/ 266434 h 839878"/>
                <a:gd name="connsiteX204" fmla="*/ 629627 w 1037297"/>
                <a:gd name="connsiteY204" fmla="*/ 283579 h 839878"/>
                <a:gd name="connsiteX205" fmla="*/ 604862 w 1037297"/>
                <a:gd name="connsiteY205" fmla="*/ 289294 h 839878"/>
                <a:gd name="connsiteX206" fmla="*/ 591527 w 1037297"/>
                <a:gd name="connsiteY206" fmla="*/ 293104 h 839878"/>
                <a:gd name="connsiteX207" fmla="*/ 576287 w 1037297"/>
                <a:gd name="connsiteY207" fmla="*/ 291199 h 839878"/>
                <a:gd name="connsiteX208" fmla="*/ 564857 w 1037297"/>
                <a:gd name="connsiteY208" fmla="*/ 287389 h 839878"/>
                <a:gd name="connsiteX209" fmla="*/ 553427 w 1037297"/>
                <a:gd name="connsiteY209" fmla="*/ 283579 h 839878"/>
                <a:gd name="connsiteX210" fmla="*/ 541997 w 1037297"/>
                <a:gd name="connsiteY210" fmla="*/ 279769 h 839878"/>
                <a:gd name="connsiteX211" fmla="*/ 536282 w 1037297"/>
                <a:gd name="connsiteY211" fmla="*/ 277864 h 839878"/>
                <a:gd name="connsiteX212" fmla="*/ 530567 w 1037297"/>
                <a:gd name="connsiteY212" fmla="*/ 274054 h 839878"/>
                <a:gd name="connsiteX213" fmla="*/ 519137 w 1037297"/>
                <a:gd name="connsiteY213" fmla="*/ 268339 h 839878"/>
                <a:gd name="connsiteX214" fmla="*/ 511517 w 1037297"/>
                <a:gd name="connsiteY214" fmla="*/ 256909 h 839878"/>
                <a:gd name="connsiteX215" fmla="*/ 507707 w 1037297"/>
                <a:gd name="connsiteY215" fmla="*/ 235954 h 839878"/>
                <a:gd name="connsiteX216" fmla="*/ 509612 w 1037297"/>
                <a:gd name="connsiteY216" fmla="*/ 171184 h 839878"/>
                <a:gd name="connsiteX217" fmla="*/ 508314 w 1037297"/>
                <a:gd name="connsiteY217" fmla="*/ 73485 h 839878"/>
                <a:gd name="connsiteX218" fmla="*/ 454116 w 1037297"/>
                <a:gd name="connsiteY218" fmla="*/ 11248 h 839878"/>
                <a:gd name="connsiteX219" fmla="*/ 435401 w 1037297"/>
                <a:gd name="connsiteY219" fmla="*/ 68523 h 839878"/>
                <a:gd name="connsiteX220" fmla="*/ 427697 w 1037297"/>
                <a:gd name="connsiteY220" fmla="*/ 137103 h 839878"/>
                <a:gd name="connsiteX221" fmla="*/ 420077 w 1037297"/>
                <a:gd name="connsiteY221" fmla="*/ 169279 h 839878"/>
                <a:gd name="connsiteX222" fmla="*/ 416267 w 1037297"/>
                <a:gd name="connsiteY222" fmla="*/ 186424 h 839878"/>
                <a:gd name="connsiteX223" fmla="*/ 420077 w 1037297"/>
                <a:gd name="connsiteY223" fmla="*/ 207379 h 839878"/>
                <a:gd name="connsiteX224" fmla="*/ 423887 w 1037297"/>
                <a:gd name="connsiteY224" fmla="*/ 213094 h 839878"/>
                <a:gd name="connsiteX225" fmla="*/ 427697 w 1037297"/>
                <a:gd name="connsiteY225" fmla="*/ 224524 h 839878"/>
                <a:gd name="connsiteX226" fmla="*/ 425792 w 1037297"/>
                <a:gd name="connsiteY226" fmla="*/ 251194 h 839878"/>
                <a:gd name="connsiteX227" fmla="*/ 420077 w 1037297"/>
                <a:gd name="connsiteY227" fmla="*/ 253099 h 839878"/>
                <a:gd name="connsiteX228" fmla="*/ 414362 w 1037297"/>
                <a:gd name="connsiteY228" fmla="*/ 256909 h 839878"/>
                <a:gd name="connsiteX229" fmla="*/ 423887 w 1037297"/>
                <a:gd name="connsiteY229"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1027 w 1037297"/>
                <a:gd name="connsiteY103" fmla="*/ 797929 h 839878"/>
                <a:gd name="connsiteX104" fmla="*/ 402932 w 1037297"/>
                <a:gd name="connsiteY104" fmla="*/ 784594 h 839878"/>
                <a:gd name="connsiteX105" fmla="*/ 406742 w 1037297"/>
                <a:gd name="connsiteY105" fmla="*/ 727444 h 839878"/>
                <a:gd name="connsiteX106" fmla="*/ 412457 w 1037297"/>
                <a:gd name="connsiteY106" fmla="*/ 716014 h 839878"/>
                <a:gd name="connsiteX107" fmla="*/ 416267 w 1037297"/>
                <a:gd name="connsiteY107" fmla="*/ 702679 h 839878"/>
                <a:gd name="connsiteX108" fmla="*/ 418172 w 1037297"/>
                <a:gd name="connsiteY108" fmla="*/ 696964 h 839878"/>
                <a:gd name="connsiteX109" fmla="*/ 420077 w 1037297"/>
                <a:gd name="connsiteY109" fmla="*/ 683629 h 839878"/>
                <a:gd name="connsiteX110" fmla="*/ 423887 w 1037297"/>
                <a:gd name="connsiteY110" fmla="*/ 672199 h 839878"/>
                <a:gd name="connsiteX111" fmla="*/ 429602 w 1037297"/>
                <a:gd name="connsiteY111" fmla="*/ 658864 h 839878"/>
                <a:gd name="connsiteX112" fmla="*/ 439127 w 1037297"/>
                <a:gd name="connsiteY112" fmla="*/ 647434 h 839878"/>
                <a:gd name="connsiteX113" fmla="*/ 452462 w 1037297"/>
                <a:gd name="connsiteY113" fmla="*/ 632194 h 839878"/>
                <a:gd name="connsiteX114" fmla="*/ 460082 w 1037297"/>
                <a:gd name="connsiteY114" fmla="*/ 620764 h 839878"/>
                <a:gd name="connsiteX115" fmla="*/ 463892 w 1037297"/>
                <a:gd name="connsiteY115" fmla="*/ 609334 h 839878"/>
                <a:gd name="connsiteX116" fmla="*/ 467702 w 1037297"/>
                <a:gd name="connsiteY116" fmla="*/ 594094 h 839878"/>
                <a:gd name="connsiteX117" fmla="*/ 469607 w 1037297"/>
                <a:gd name="connsiteY117" fmla="*/ 588379 h 839878"/>
                <a:gd name="connsiteX118" fmla="*/ 509612 w 1037297"/>
                <a:gd name="connsiteY118" fmla="*/ 582664 h 839878"/>
                <a:gd name="connsiteX119" fmla="*/ 538187 w 1037297"/>
                <a:gd name="connsiteY119" fmla="*/ 573139 h 839878"/>
                <a:gd name="connsiteX120" fmla="*/ 543902 w 1037297"/>
                <a:gd name="connsiteY120" fmla="*/ 571234 h 839878"/>
                <a:gd name="connsiteX121" fmla="*/ 549617 w 1037297"/>
                <a:gd name="connsiteY121" fmla="*/ 569329 h 839878"/>
                <a:gd name="connsiteX122" fmla="*/ 557237 w 1037297"/>
                <a:gd name="connsiteY122" fmla="*/ 567424 h 839878"/>
                <a:gd name="connsiteX123" fmla="*/ 576287 w 1037297"/>
                <a:gd name="connsiteY123" fmla="*/ 559804 h 839878"/>
                <a:gd name="connsiteX124" fmla="*/ 587717 w 1037297"/>
                <a:gd name="connsiteY124" fmla="*/ 555994 h 839878"/>
                <a:gd name="connsiteX125" fmla="*/ 722972 w 1037297"/>
                <a:gd name="connsiteY125" fmla="*/ 639814 h 839878"/>
                <a:gd name="connsiteX126" fmla="*/ 780122 w 1037297"/>
                <a:gd name="connsiteY126" fmla="*/ 656959 h 839878"/>
                <a:gd name="connsiteX127" fmla="*/ 791552 w 1037297"/>
                <a:gd name="connsiteY127" fmla="*/ 651244 h 839878"/>
                <a:gd name="connsiteX128" fmla="*/ 797267 w 1037297"/>
                <a:gd name="connsiteY128" fmla="*/ 649339 h 839878"/>
                <a:gd name="connsiteX129" fmla="*/ 804887 w 1037297"/>
                <a:gd name="connsiteY129" fmla="*/ 632194 h 839878"/>
                <a:gd name="connsiteX130" fmla="*/ 802982 w 1037297"/>
                <a:gd name="connsiteY130" fmla="*/ 607429 h 839878"/>
                <a:gd name="connsiteX131" fmla="*/ 801077 w 1037297"/>
                <a:gd name="connsiteY131" fmla="*/ 601714 h 839878"/>
                <a:gd name="connsiteX132" fmla="*/ 799172 w 1037297"/>
                <a:gd name="connsiteY132" fmla="*/ 594094 h 839878"/>
                <a:gd name="connsiteX133" fmla="*/ 785837 w 1037297"/>
                <a:gd name="connsiteY133" fmla="*/ 576949 h 839878"/>
                <a:gd name="connsiteX134" fmla="*/ 776312 w 1037297"/>
                <a:gd name="connsiteY134" fmla="*/ 571234 h 839878"/>
                <a:gd name="connsiteX135" fmla="*/ 650582 w 1037297"/>
                <a:gd name="connsiteY135" fmla="*/ 479794 h 839878"/>
                <a:gd name="connsiteX136" fmla="*/ 646772 w 1037297"/>
                <a:gd name="connsiteY136" fmla="*/ 462649 h 839878"/>
                <a:gd name="connsiteX137" fmla="*/ 648677 w 1037297"/>
                <a:gd name="connsiteY137" fmla="*/ 455029 h 839878"/>
                <a:gd name="connsiteX138" fmla="*/ 652487 w 1037297"/>
                <a:gd name="connsiteY138" fmla="*/ 437884 h 839878"/>
                <a:gd name="connsiteX139" fmla="*/ 656297 w 1037297"/>
                <a:gd name="connsiteY139" fmla="*/ 432169 h 839878"/>
                <a:gd name="connsiteX140" fmla="*/ 658202 w 1037297"/>
                <a:gd name="connsiteY140" fmla="*/ 426454 h 839878"/>
                <a:gd name="connsiteX141" fmla="*/ 663917 w 1037297"/>
                <a:gd name="connsiteY141" fmla="*/ 424549 h 839878"/>
                <a:gd name="connsiteX142" fmla="*/ 673442 w 1037297"/>
                <a:gd name="connsiteY142" fmla="*/ 413119 h 839878"/>
                <a:gd name="connsiteX143" fmla="*/ 726782 w 1037297"/>
                <a:gd name="connsiteY143" fmla="*/ 405499 h 839878"/>
                <a:gd name="connsiteX144" fmla="*/ 844892 w 1037297"/>
                <a:gd name="connsiteY144" fmla="*/ 407404 h 839878"/>
                <a:gd name="connsiteX145" fmla="*/ 873467 w 1037297"/>
                <a:gd name="connsiteY145" fmla="*/ 409309 h 839878"/>
                <a:gd name="connsiteX146" fmla="*/ 902042 w 1037297"/>
                <a:gd name="connsiteY146" fmla="*/ 415024 h 839878"/>
                <a:gd name="connsiteX147" fmla="*/ 924902 w 1037297"/>
                <a:gd name="connsiteY147" fmla="*/ 418834 h 839878"/>
                <a:gd name="connsiteX148" fmla="*/ 953477 w 1037297"/>
                <a:gd name="connsiteY148" fmla="*/ 424549 h 839878"/>
                <a:gd name="connsiteX149" fmla="*/ 959192 w 1037297"/>
                <a:gd name="connsiteY149" fmla="*/ 424549 h 839878"/>
                <a:gd name="connsiteX150" fmla="*/ 1004912 w 1037297"/>
                <a:gd name="connsiteY150" fmla="*/ 422644 h 839878"/>
                <a:gd name="connsiteX151" fmla="*/ 1033487 w 1037297"/>
                <a:gd name="connsiteY151" fmla="*/ 415024 h 839878"/>
                <a:gd name="connsiteX152" fmla="*/ 1037297 w 1037297"/>
                <a:gd name="connsiteY152" fmla="*/ 409309 h 839878"/>
                <a:gd name="connsiteX153" fmla="*/ 1035392 w 1037297"/>
                <a:gd name="connsiteY153" fmla="*/ 390259 h 839878"/>
                <a:gd name="connsiteX154" fmla="*/ 1029677 w 1037297"/>
                <a:gd name="connsiteY154" fmla="*/ 386449 h 839878"/>
                <a:gd name="connsiteX155" fmla="*/ 1014437 w 1037297"/>
                <a:gd name="connsiteY155" fmla="*/ 384544 h 839878"/>
                <a:gd name="connsiteX156" fmla="*/ 1008722 w 1037297"/>
                <a:gd name="connsiteY156" fmla="*/ 382639 h 839878"/>
                <a:gd name="connsiteX157" fmla="*/ 1001102 w 1037297"/>
                <a:gd name="connsiteY157" fmla="*/ 380734 h 839878"/>
                <a:gd name="connsiteX158" fmla="*/ 989672 w 1037297"/>
                <a:gd name="connsiteY158" fmla="*/ 373114 h 839878"/>
                <a:gd name="connsiteX159" fmla="*/ 978242 w 1037297"/>
                <a:gd name="connsiteY159" fmla="*/ 369304 h 839878"/>
                <a:gd name="connsiteX160" fmla="*/ 972527 w 1037297"/>
                <a:gd name="connsiteY160" fmla="*/ 367399 h 839878"/>
                <a:gd name="connsiteX161" fmla="*/ 964907 w 1037297"/>
                <a:gd name="connsiteY161" fmla="*/ 365494 h 839878"/>
                <a:gd name="connsiteX162" fmla="*/ 959192 w 1037297"/>
                <a:gd name="connsiteY162" fmla="*/ 363589 h 839878"/>
                <a:gd name="connsiteX163" fmla="*/ 938237 w 1037297"/>
                <a:gd name="connsiteY163" fmla="*/ 357874 h 839878"/>
                <a:gd name="connsiteX164" fmla="*/ 932522 w 1037297"/>
                <a:gd name="connsiteY164" fmla="*/ 355969 h 839878"/>
                <a:gd name="connsiteX165" fmla="*/ 827747 w 1037297"/>
                <a:gd name="connsiteY165" fmla="*/ 357874 h 839878"/>
                <a:gd name="connsiteX166" fmla="*/ 822032 w 1037297"/>
                <a:gd name="connsiteY166" fmla="*/ 359779 h 839878"/>
                <a:gd name="connsiteX167" fmla="*/ 732497 w 1037297"/>
                <a:gd name="connsiteY167" fmla="*/ 361684 h 839878"/>
                <a:gd name="connsiteX168" fmla="*/ 719162 w 1037297"/>
                <a:gd name="connsiteY168" fmla="*/ 365494 h 839878"/>
                <a:gd name="connsiteX169" fmla="*/ 698207 w 1037297"/>
                <a:gd name="connsiteY169" fmla="*/ 367399 h 839878"/>
                <a:gd name="connsiteX170" fmla="*/ 671537 w 1037297"/>
                <a:gd name="connsiteY170" fmla="*/ 369304 h 839878"/>
                <a:gd name="connsiteX171" fmla="*/ 671537 w 1037297"/>
                <a:gd name="connsiteY171" fmla="*/ 369304 h 839878"/>
                <a:gd name="connsiteX172" fmla="*/ 648677 w 1037297"/>
                <a:gd name="connsiteY172" fmla="*/ 373114 h 839878"/>
                <a:gd name="connsiteX173" fmla="*/ 644867 w 1037297"/>
                <a:gd name="connsiteY173" fmla="*/ 361684 h 839878"/>
                <a:gd name="connsiteX174" fmla="*/ 642962 w 1037297"/>
                <a:gd name="connsiteY174" fmla="*/ 355969 h 839878"/>
                <a:gd name="connsiteX175" fmla="*/ 644867 w 1037297"/>
                <a:gd name="connsiteY175" fmla="*/ 338824 h 839878"/>
                <a:gd name="connsiteX176" fmla="*/ 646772 w 1037297"/>
                <a:gd name="connsiteY176" fmla="*/ 333109 h 839878"/>
                <a:gd name="connsiteX177" fmla="*/ 663917 w 1037297"/>
                <a:gd name="connsiteY177" fmla="*/ 323584 h 839878"/>
                <a:gd name="connsiteX178" fmla="*/ 675347 w 1037297"/>
                <a:gd name="connsiteY178" fmla="*/ 315964 h 839878"/>
                <a:gd name="connsiteX179" fmla="*/ 677252 w 1037297"/>
                <a:gd name="connsiteY179" fmla="*/ 310249 h 839878"/>
                <a:gd name="connsiteX180" fmla="*/ 682967 w 1037297"/>
                <a:gd name="connsiteY180" fmla="*/ 308344 h 839878"/>
                <a:gd name="connsiteX181" fmla="*/ 688682 w 1037297"/>
                <a:gd name="connsiteY181" fmla="*/ 304534 h 839878"/>
                <a:gd name="connsiteX182" fmla="*/ 698207 w 1037297"/>
                <a:gd name="connsiteY182" fmla="*/ 295009 h 839878"/>
                <a:gd name="connsiteX183" fmla="*/ 707732 w 1037297"/>
                <a:gd name="connsiteY183" fmla="*/ 283579 h 839878"/>
                <a:gd name="connsiteX184" fmla="*/ 719162 w 1037297"/>
                <a:gd name="connsiteY184" fmla="*/ 275959 h 839878"/>
                <a:gd name="connsiteX185" fmla="*/ 734402 w 1037297"/>
                <a:gd name="connsiteY185" fmla="*/ 262624 h 839878"/>
                <a:gd name="connsiteX186" fmla="*/ 743927 w 1037297"/>
                <a:gd name="connsiteY186" fmla="*/ 251194 h 839878"/>
                <a:gd name="connsiteX187" fmla="*/ 755357 w 1037297"/>
                <a:gd name="connsiteY187" fmla="*/ 241669 h 839878"/>
                <a:gd name="connsiteX188" fmla="*/ 761072 w 1037297"/>
                <a:gd name="connsiteY188" fmla="*/ 230239 h 839878"/>
                <a:gd name="connsiteX189" fmla="*/ 762977 w 1037297"/>
                <a:gd name="connsiteY189" fmla="*/ 224524 h 839878"/>
                <a:gd name="connsiteX190" fmla="*/ 768692 w 1037297"/>
                <a:gd name="connsiteY190" fmla="*/ 213094 h 839878"/>
                <a:gd name="connsiteX191" fmla="*/ 766787 w 1037297"/>
                <a:gd name="connsiteY191" fmla="*/ 197854 h 839878"/>
                <a:gd name="connsiteX192" fmla="*/ 761072 w 1037297"/>
                <a:gd name="connsiteY192" fmla="*/ 195949 h 839878"/>
                <a:gd name="connsiteX193" fmla="*/ 740117 w 1037297"/>
                <a:gd name="connsiteY193" fmla="*/ 197854 h 839878"/>
                <a:gd name="connsiteX194" fmla="*/ 734402 w 1037297"/>
                <a:gd name="connsiteY194" fmla="*/ 201664 h 839878"/>
                <a:gd name="connsiteX195" fmla="*/ 722972 w 1037297"/>
                <a:gd name="connsiteY195" fmla="*/ 205474 h 839878"/>
                <a:gd name="connsiteX196" fmla="*/ 719162 w 1037297"/>
                <a:gd name="connsiteY196" fmla="*/ 211189 h 839878"/>
                <a:gd name="connsiteX197" fmla="*/ 713447 w 1037297"/>
                <a:gd name="connsiteY197" fmla="*/ 213094 h 839878"/>
                <a:gd name="connsiteX198" fmla="*/ 707732 w 1037297"/>
                <a:gd name="connsiteY198" fmla="*/ 216904 h 839878"/>
                <a:gd name="connsiteX199" fmla="*/ 702017 w 1037297"/>
                <a:gd name="connsiteY199" fmla="*/ 222619 h 839878"/>
                <a:gd name="connsiteX200" fmla="*/ 694397 w 1037297"/>
                <a:gd name="connsiteY200" fmla="*/ 226429 h 839878"/>
                <a:gd name="connsiteX201" fmla="*/ 652487 w 1037297"/>
                <a:gd name="connsiteY201" fmla="*/ 255004 h 839878"/>
                <a:gd name="connsiteX202" fmla="*/ 639152 w 1037297"/>
                <a:gd name="connsiteY202" fmla="*/ 266434 h 839878"/>
                <a:gd name="connsiteX203" fmla="*/ 629627 w 1037297"/>
                <a:gd name="connsiteY203" fmla="*/ 283579 h 839878"/>
                <a:gd name="connsiteX204" fmla="*/ 604862 w 1037297"/>
                <a:gd name="connsiteY204" fmla="*/ 289294 h 839878"/>
                <a:gd name="connsiteX205" fmla="*/ 591527 w 1037297"/>
                <a:gd name="connsiteY205" fmla="*/ 293104 h 839878"/>
                <a:gd name="connsiteX206" fmla="*/ 576287 w 1037297"/>
                <a:gd name="connsiteY206" fmla="*/ 291199 h 839878"/>
                <a:gd name="connsiteX207" fmla="*/ 564857 w 1037297"/>
                <a:gd name="connsiteY207" fmla="*/ 287389 h 839878"/>
                <a:gd name="connsiteX208" fmla="*/ 553427 w 1037297"/>
                <a:gd name="connsiteY208" fmla="*/ 283579 h 839878"/>
                <a:gd name="connsiteX209" fmla="*/ 541997 w 1037297"/>
                <a:gd name="connsiteY209" fmla="*/ 279769 h 839878"/>
                <a:gd name="connsiteX210" fmla="*/ 536282 w 1037297"/>
                <a:gd name="connsiteY210" fmla="*/ 277864 h 839878"/>
                <a:gd name="connsiteX211" fmla="*/ 530567 w 1037297"/>
                <a:gd name="connsiteY211" fmla="*/ 274054 h 839878"/>
                <a:gd name="connsiteX212" fmla="*/ 519137 w 1037297"/>
                <a:gd name="connsiteY212" fmla="*/ 268339 h 839878"/>
                <a:gd name="connsiteX213" fmla="*/ 511517 w 1037297"/>
                <a:gd name="connsiteY213" fmla="*/ 256909 h 839878"/>
                <a:gd name="connsiteX214" fmla="*/ 507707 w 1037297"/>
                <a:gd name="connsiteY214" fmla="*/ 235954 h 839878"/>
                <a:gd name="connsiteX215" fmla="*/ 509612 w 1037297"/>
                <a:gd name="connsiteY215" fmla="*/ 171184 h 839878"/>
                <a:gd name="connsiteX216" fmla="*/ 508314 w 1037297"/>
                <a:gd name="connsiteY216" fmla="*/ 73485 h 839878"/>
                <a:gd name="connsiteX217" fmla="*/ 454116 w 1037297"/>
                <a:gd name="connsiteY217" fmla="*/ 11248 h 839878"/>
                <a:gd name="connsiteX218" fmla="*/ 435401 w 1037297"/>
                <a:gd name="connsiteY218" fmla="*/ 68523 h 839878"/>
                <a:gd name="connsiteX219" fmla="*/ 427697 w 1037297"/>
                <a:gd name="connsiteY219" fmla="*/ 137103 h 839878"/>
                <a:gd name="connsiteX220" fmla="*/ 420077 w 1037297"/>
                <a:gd name="connsiteY220" fmla="*/ 169279 h 839878"/>
                <a:gd name="connsiteX221" fmla="*/ 416267 w 1037297"/>
                <a:gd name="connsiteY221" fmla="*/ 186424 h 839878"/>
                <a:gd name="connsiteX222" fmla="*/ 420077 w 1037297"/>
                <a:gd name="connsiteY222" fmla="*/ 207379 h 839878"/>
                <a:gd name="connsiteX223" fmla="*/ 423887 w 1037297"/>
                <a:gd name="connsiteY223" fmla="*/ 213094 h 839878"/>
                <a:gd name="connsiteX224" fmla="*/ 427697 w 1037297"/>
                <a:gd name="connsiteY224" fmla="*/ 224524 h 839878"/>
                <a:gd name="connsiteX225" fmla="*/ 425792 w 1037297"/>
                <a:gd name="connsiteY225" fmla="*/ 251194 h 839878"/>
                <a:gd name="connsiteX226" fmla="*/ 420077 w 1037297"/>
                <a:gd name="connsiteY226" fmla="*/ 253099 h 839878"/>
                <a:gd name="connsiteX227" fmla="*/ 414362 w 1037297"/>
                <a:gd name="connsiteY227" fmla="*/ 256909 h 839878"/>
                <a:gd name="connsiteX228" fmla="*/ 423887 w 1037297"/>
                <a:gd name="connsiteY228"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399122 w 1037297"/>
                <a:gd name="connsiteY102" fmla="*/ 815074 h 839878"/>
                <a:gd name="connsiteX103" fmla="*/ 402932 w 1037297"/>
                <a:gd name="connsiteY103" fmla="*/ 784594 h 839878"/>
                <a:gd name="connsiteX104" fmla="*/ 406742 w 1037297"/>
                <a:gd name="connsiteY104" fmla="*/ 727444 h 839878"/>
                <a:gd name="connsiteX105" fmla="*/ 412457 w 1037297"/>
                <a:gd name="connsiteY105" fmla="*/ 716014 h 839878"/>
                <a:gd name="connsiteX106" fmla="*/ 416267 w 1037297"/>
                <a:gd name="connsiteY106" fmla="*/ 702679 h 839878"/>
                <a:gd name="connsiteX107" fmla="*/ 418172 w 1037297"/>
                <a:gd name="connsiteY107" fmla="*/ 696964 h 839878"/>
                <a:gd name="connsiteX108" fmla="*/ 420077 w 1037297"/>
                <a:gd name="connsiteY108" fmla="*/ 683629 h 839878"/>
                <a:gd name="connsiteX109" fmla="*/ 423887 w 1037297"/>
                <a:gd name="connsiteY109" fmla="*/ 672199 h 839878"/>
                <a:gd name="connsiteX110" fmla="*/ 429602 w 1037297"/>
                <a:gd name="connsiteY110" fmla="*/ 658864 h 839878"/>
                <a:gd name="connsiteX111" fmla="*/ 439127 w 1037297"/>
                <a:gd name="connsiteY111" fmla="*/ 647434 h 839878"/>
                <a:gd name="connsiteX112" fmla="*/ 452462 w 1037297"/>
                <a:gd name="connsiteY112" fmla="*/ 632194 h 839878"/>
                <a:gd name="connsiteX113" fmla="*/ 460082 w 1037297"/>
                <a:gd name="connsiteY113" fmla="*/ 620764 h 839878"/>
                <a:gd name="connsiteX114" fmla="*/ 463892 w 1037297"/>
                <a:gd name="connsiteY114" fmla="*/ 609334 h 839878"/>
                <a:gd name="connsiteX115" fmla="*/ 467702 w 1037297"/>
                <a:gd name="connsiteY115" fmla="*/ 594094 h 839878"/>
                <a:gd name="connsiteX116" fmla="*/ 469607 w 1037297"/>
                <a:gd name="connsiteY116" fmla="*/ 588379 h 839878"/>
                <a:gd name="connsiteX117" fmla="*/ 509612 w 1037297"/>
                <a:gd name="connsiteY117" fmla="*/ 582664 h 839878"/>
                <a:gd name="connsiteX118" fmla="*/ 538187 w 1037297"/>
                <a:gd name="connsiteY118" fmla="*/ 573139 h 839878"/>
                <a:gd name="connsiteX119" fmla="*/ 543902 w 1037297"/>
                <a:gd name="connsiteY119" fmla="*/ 571234 h 839878"/>
                <a:gd name="connsiteX120" fmla="*/ 549617 w 1037297"/>
                <a:gd name="connsiteY120" fmla="*/ 569329 h 839878"/>
                <a:gd name="connsiteX121" fmla="*/ 557237 w 1037297"/>
                <a:gd name="connsiteY121" fmla="*/ 567424 h 839878"/>
                <a:gd name="connsiteX122" fmla="*/ 576287 w 1037297"/>
                <a:gd name="connsiteY122" fmla="*/ 559804 h 839878"/>
                <a:gd name="connsiteX123" fmla="*/ 587717 w 1037297"/>
                <a:gd name="connsiteY123" fmla="*/ 555994 h 839878"/>
                <a:gd name="connsiteX124" fmla="*/ 722972 w 1037297"/>
                <a:gd name="connsiteY124" fmla="*/ 639814 h 839878"/>
                <a:gd name="connsiteX125" fmla="*/ 780122 w 1037297"/>
                <a:gd name="connsiteY125" fmla="*/ 656959 h 839878"/>
                <a:gd name="connsiteX126" fmla="*/ 791552 w 1037297"/>
                <a:gd name="connsiteY126" fmla="*/ 651244 h 839878"/>
                <a:gd name="connsiteX127" fmla="*/ 797267 w 1037297"/>
                <a:gd name="connsiteY127" fmla="*/ 649339 h 839878"/>
                <a:gd name="connsiteX128" fmla="*/ 804887 w 1037297"/>
                <a:gd name="connsiteY128" fmla="*/ 632194 h 839878"/>
                <a:gd name="connsiteX129" fmla="*/ 802982 w 1037297"/>
                <a:gd name="connsiteY129" fmla="*/ 607429 h 839878"/>
                <a:gd name="connsiteX130" fmla="*/ 801077 w 1037297"/>
                <a:gd name="connsiteY130" fmla="*/ 601714 h 839878"/>
                <a:gd name="connsiteX131" fmla="*/ 799172 w 1037297"/>
                <a:gd name="connsiteY131" fmla="*/ 594094 h 839878"/>
                <a:gd name="connsiteX132" fmla="*/ 785837 w 1037297"/>
                <a:gd name="connsiteY132" fmla="*/ 576949 h 839878"/>
                <a:gd name="connsiteX133" fmla="*/ 776312 w 1037297"/>
                <a:gd name="connsiteY133" fmla="*/ 571234 h 839878"/>
                <a:gd name="connsiteX134" fmla="*/ 650582 w 1037297"/>
                <a:gd name="connsiteY134" fmla="*/ 479794 h 839878"/>
                <a:gd name="connsiteX135" fmla="*/ 646772 w 1037297"/>
                <a:gd name="connsiteY135" fmla="*/ 462649 h 839878"/>
                <a:gd name="connsiteX136" fmla="*/ 648677 w 1037297"/>
                <a:gd name="connsiteY136" fmla="*/ 455029 h 839878"/>
                <a:gd name="connsiteX137" fmla="*/ 652487 w 1037297"/>
                <a:gd name="connsiteY137" fmla="*/ 437884 h 839878"/>
                <a:gd name="connsiteX138" fmla="*/ 656297 w 1037297"/>
                <a:gd name="connsiteY138" fmla="*/ 432169 h 839878"/>
                <a:gd name="connsiteX139" fmla="*/ 658202 w 1037297"/>
                <a:gd name="connsiteY139" fmla="*/ 426454 h 839878"/>
                <a:gd name="connsiteX140" fmla="*/ 663917 w 1037297"/>
                <a:gd name="connsiteY140" fmla="*/ 424549 h 839878"/>
                <a:gd name="connsiteX141" fmla="*/ 673442 w 1037297"/>
                <a:gd name="connsiteY141" fmla="*/ 413119 h 839878"/>
                <a:gd name="connsiteX142" fmla="*/ 726782 w 1037297"/>
                <a:gd name="connsiteY142" fmla="*/ 405499 h 839878"/>
                <a:gd name="connsiteX143" fmla="*/ 844892 w 1037297"/>
                <a:gd name="connsiteY143" fmla="*/ 407404 h 839878"/>
                <a:gd name="connsiteX144" fmla="*/ 873467 w 1037297"/>
                <a:gd name="connsiteY144" fmla="*/ 409309 h 839878"/>
                <a:gd name="connsiteX145" fmla="*/ 902042 w 1037297"/>
                <a:gd name="connsiteY145" fmla="*/ 415024 h 839878"/>
                <a:gd name="connsiteX146" fmla="*/ 924902 w 1037297"/>
                <a:gd name="connsiteY146" fmla="*/ 418834 h 839878"/>
                <a:gd name="connsiteX147" fmla="*/ 953477 w 1037297"/>
                <a:gd name="connsiteY147" fmla="*/ 424549 h 839878"/>
                <a:gd name="connsiteX148" fmla="*/ 959192 w 1037297"/>
                <a:gd name="connsiteY148" fmla="*/ 424549 h 839878"/>
                <a:gd name="connsiteX149" fmla="*/ 1004912 w 1037297"/>
                <a:gd name="connsiteY149" fmla="*/ 422644 h 839878"/>
                <a:gd name="connsiteX150" fmla="*/ 1033487 w 1037297"/>
                <a:gd name="connsiteY150" fmla="*/ 415024 h 839878"/>
                <a:gd name="connsiteX151" fmla="*/ 1037297 w 1037297"/>
                <a:gd name="connsiteY151" fmla="*/ 409309 h 839878"/>
                <a:gd name="connsiteX152" fmla="*/ 1035392 w 1037297"/>
                <a:gd name="connsiteY152" fmla="*/ 390259 h 839878"/>
                <a:gd name="connsiteX153" fmla="*/ 1029677 w 1037297"/>
                <a:gd name="connsiteY153" fmla="*/ 386449 h 839878"/>
                <a:gd name="connsiteX154" fmla="*/ 1014437 w 1037297"/>
                <a:gd name="connsiteY154" fmla="*/ 384544 h 839878"/>
                <a:gd name="connsiteX155" fmla="*/ 1008722 w 1037297"/>
                <a:gd name="connsiteY155" fmla="*/ 382639 h 839878"/>
                <a:gd name="connsiteX156" fmla="*/ 1001102 w 1037297"/>
                <a:gd name="connsiteY156" fmla="*/ 380734 h 839878"/>
                <a:gd name="connsiteX157" fmla="*/ 989672 w 1037297"/>
                <a:gd name="connsiteY157" fmla="*/ 373114 h 839878"/>
                <a:gd name="connsiteX158" fmla="*/ 978242 w 1037297"/>
                <a:gd name="connsiteY158" fmla="*/ 369304 h 839878"/>
                <a:gd name="connsiteX159" fmla="*/ 972527 w 1037297"/>
                <a:gd name="connsiteY159" fmla="*/ 367399 h 839878"/>
                <a:gd name="connsiteX160" fmla="*/ 964907 w 1037297"/>
                <a:gd name="connsiteY160" fmla="*/ 365494 h 839878"/>
                <a:gd name="connsiteX161" fmla="*/ 959192 w 1037297"/>
                <a:gd name="connsiteY161" fmla="*/ 363589 h 839878"/>
                <a:gd name="connsiteX162" fmla="*/ 938237 w 1037297"/>
                <a:gd name="connsiteY162" fmla="*/ 357874 h 839878"/>
                <a:gd name="connsiteX163" fmla="*/ 932522 w 1037297"/>
                <a:gd name="connsiteY163" fmla="*/ 355969 h 839878"/>
                <a:gd name="connsiteX164" fmla="*/ 827747 w 1037297"/>
                <a:gd name="connsiteY164" fmla="*/ 357874 h 839878"/>
                <a:gd name="connsiteX165" fmla="*/ 822032 w 1037297"/>
                <a:gd name="connsiteY165" fmla="*/ 359779 h 839878"/>
                <a:gd name="connsiteX166" fmla="*/ 732497 w 1037297"/>
                <a:gd name="connsiteY166" fmla="*/ 361684 h 839878"/>
                <a:gd name="connsiteX167" fmla="*/ 719162 w 1037297"/>
                <a:gd name="connsiteY167" fmla="*/ 365494 h 839878"/>
                <a:gd name="connsiteX168" fmla="*/ 698207 w 1037297"/>
                <a:gd name="connsiteY168" fmla="*/ 367399 h 839878"/>
                <a:gd name="connsiteX169" fmla="*/ 671537 w 1037297"/>
                <a:gd name="connsiteY169" fmla="*/ 369304 h 839878"/>
                <a:gd name="connsiteX170" fmla="*/ 671537 w 1037297"/>
                <a:gd name="connsiteY170" fmla="*/ 369304 h 839878"/>
                <a:gd name="connsiteX171" fmla="*/ 648677 w 1037297"/>
                <a:gd name="connsiteY171" fmla="*/ 373114 h 839878"/>
                <a:gd name="connsiteX172" fmla="*/ 644867 w 1037297"/>
                <a:gd name="connsiteY172" fmla="*/ 361684 h 839878"/>
                <a:gd name="connsiteX173" fmla="*/ 642962 w 1037297"/>
                <a:gd name="connsiteY173" fmla="*/ 355969 h 839878"/>
                <a:gd name="connsiteX174" fmla="*/ 644867 w 1037297"/>
                <a:gd name="connsiteY174" fmla="*/ 338824 h 839878"/>
                <a:gd name="connsiteX175" fmla="*/ 646772 w 1037297"/>
                <a:gd name="connsiteY175" fmla="*/ 333109 h 839878"/>
                <a:gd name="connsiteX176" fmla="*/ 663917 w 1037297"/>
                <a:gd name="connsiteY176" fmla="*/ 323584 h 839878"/>
                <a:gd name="connsiteX177" fmla="*/ 675347 w 1037297"/>
                <a:gd name="connsiteY177" fmla="*/ 315964 h 839878"/>
                <a:gd name="connsiteX178" fmla="*/ 677252 w 1037297"/>
                <a:gd name="connsiteY178" fmla="*/ 310249 h 839878"/>
                <a:gd name="connsiteX179" fmla="*/ 682967 w 1037297"/>
                <a:gd name="connsiteY179" fmla="*/ 308344 h 839878"/>
                <a:gd name="connsiteX180" fmla="*/ 688682 w 1037297"/>
                <a:gd name="connsiteY180" fmla="*/ 304534 h 839878"/>
                <a:gd name="connsiteX181" fmla="*/ 698207 w 1037297"/>
                <a:gd name="connsiteY181" fmla="*/ 295009 h 839878"/>
                <a:gd name="connsiteX182" fmla="*/ 707732 w 1037297"/>
                <a:gd name="connsiteY182" fmla="*/ 283579 h 839878"/>
                <a:gd name="connsiteX183" fmla="*/ 719162 w 1037297"/>
                <a:gd name="connsiteY183" fmla="*/ 275959 h 839878"/>
                <a:gd name="connsiteX184" fmla="*/ 734402 w 1037297"/>
                <a:gd name="connsiteY184" fmla="*/ 262624 h 839878"/>
                <a:gd name="connsiteX185" fmla="*/ 743927 w 1037297"/>
                <a:gd name="connsiteY185" fmla="*/ 251194 h 839878"/>
                <a:gd name="connsiteX186" fmla="*/ 755357 w 1037297"/>
                <a:gd name="connsiteY186" fmla="*/ 241669 h 839878"/>
                <a:gd name="connsiteX187" fmla="*/ 761072 w 1037297"/>
                <a:gd name="connsiteY187" fmla="*/ 230239 h 839878"/>
                <a:gd name="connsiteX188" fmla="*/ 762977 w 1037297"/>
                <a:gd name="connsiteY188" fmla="*/ 224524 h 839878"/>
                <a:gd name="connsiteX189" fmla="*/ 768692 w 1037297"/>
                <a:gd name="connsiteY189" fmla="*/ 213094 h 839878"/>
                <a:gd name="connsiteX190" fmla="*/ 766787 w 1037297"/>
                <a:gd name="connsiteY190" fmla="*/ 197854 h 839878"/>
                <a:gd name="connsiteX191" fmla="*/ 761072 w 1037297"/>
                <a:gd name="connsiteY191" fmla="*/ 195949 h 839878"/>
                <a:gd name="connsiteX192" fmla="*/ 740117 w 1037297"/>
                <a:gd name="connsiteY192" fmla="*/ 197854 h 839878"/>
                <a:gd name="connsiteX193" fmla="*/ 734402 w 1037297"/>
                <a:gd name="connsiteY193" fmla="*/ 201664 h 839878"/>
                <a:gd name="connsiteX194" fmla="*/ 722972 w 1037297"/>
                <a:gd name="connsiteY194" fmla="*/ 205474 h 839878"/>
                <a:gd name="connsiteX195" fmla="*/ 719162 w 1037297"/>
                <a:gd name="connsiteY195" fmla="*/ 211189 h 839878"/>
                <a:gd name="connsiteX196" fmla="*/ 713447 w 1037297"/>
                <a:gd name="connsiteY196" fmla="*/ 213094 h 839878"/>
                <a:gd name="connsiteX197" fmla="*/ 707732 w 1037297"/>
                <a:gd name="connsiteY197" fmla="*/ 216904 h 839878"/>
                <a:gd name="connsiteX198" fmla="*/ 702017 w 1037297"/>
                <a:gd name="connsiteY198" fmla="*/ 222619 h 839878"/>
                <a:gd name="connsiteX199" fmla="*/ 694397 w 1037297"/>
                <a:gd name="connsiteY199" fmla="*/ 226429 h 839878"/>
                <a:gd name="connsiteX200" fmla="*/ 652487 w 1037297"/>
                <a:gd name="connsiteY200" fmla="*/ 255004 h 839878"/>
                <a:gd name="connsiteX201" fmla="*/ 639152 w 1037297"/>
                <a:gd name="connsiteY201" fmla="*/ 266434 h 839878"/>
                <a:gd name="connsiteX202" fmla="*/ 629627 w 1037297"/>
                <a:gd name="connsiteY202" fmla="*/ 283579 h 839878"/>
                <a:gd name="connsiteX203" fmla="*/ 604862 w 1037297"/>
                <a:gd name="connsiteY203" fmla="*/ 289294 h 839878"/>
                <a:gd name="connsiteX204" fmla="*/ 591527 w 1037297"/>
                <a:gd name="connsiteY204" fmla="*/ 293104 h 839878"/>
                <a:gd name="connsiteX205" fmla="*/ 576287 w 1037297"/>
                <a:gd name="connsiteY205" fmla="*/ 291199 h 839878"/>
                <a:gd name="connsiteX206" fmla="*/ 564857 w 1037297"/>
                <a:gd name="connsiteY206" fmla="*/ 287389 h 839878"/>
                <a:gd name="connsiteX207" fmla="*/ 553427 w 1037297"/>
                <a:gd name="connsiteY207" fmla="*/ 283579 h 839878"/>
                <a:gd name="connsiteX208" fmla="*/ 541997 w 1037297"/>
                <a:gd name="connsiteY208" fmla="*/ 279769 h 839878"/>
                <a:gd name="connsiteX209" fmla="*/ 536282 w 1037297"/>
                <a:gd name="connsiteY209" fmla="*/ 277864 h 839878"/>
                <a:gd name="connsiteX210" fmla="*/ 530567 w 1037297"/>
                <a:gd name="connsiteY210" fmla="*/ 274054 h 839878"/>
                <a:gd name="connsiteX211" fmla="*/ 519137 w 1037297"/>
                <a:gd name="connsiteY211" fmla="*/ 268339 h 839878"/>
                <a:gd name="connsiteX212" fmla="*/ 511517 w 1037297"/>
                <a:gd name="connsiteY212" fmla="*/ 256909 h 839878"/>
                <a:gd name="connsiteX213" fmla="*/ 507707 w 1037297"/>
                <a:gd name="connsiteY213" fmla="*/ 235954 h 839878"/>
                <a:gd name="connsiteX214" fmla="*/ 509612 w 1037297"/>
                <a:gd name="connsiteY214" fmla="*/ 171184 h 839878"/>
                <a:gd name="connsiteX215" fmla="*/ 508314 w 1037297"/>
                <a:gd name="connsiteY215" fmla="*/ 73485 h 839878"/>
                <a:gd name="connsiteX216" fmla="*/ 454116 w 1037297"/>
                <a:gd name="connsiteY216" fmla="*/ 11248 h 839878"/>
                <a:gd name="connsiteX217" fmla="*/ 435401 w 1037297"/>
                <a:gd name="connsiteY217" fmla="*/ 68523 h 839878"/>
                <a:gd name="connsiteX218" fmla="*/ 427697 w 1037297"/>
                <a:gd name="connsiteY218" fmla="*/ 137103 h 839878"/>
                <a:gd name="connsiteX219" fmla="*/ 420077 w 1037297"/>
                <a:gd name="connsiteY219" fmla="*/ 169279 h 839878"/>
                <a:gd name="connsiteX220" fmla="*/ 416267 w 1037297"/>
                <a:gd name="connsiteY220" fmla="*/ 186424 h 839878"/>
                <a:gd name="connsiteX221" fmla="*/ 420077 w 1037297"/>
                <a:gd name="connsiteY221" fmla="*/ 207379 h 839878"/>
                <a:gd name="connsiteX222" fmla="*/ 423887 w 1037297"/>
                <a:gd name="connsiteY222" fmla="*/ 213094 h 839878"/>
                <a:gd name="connsiteX223" fmla="*/ 427697 w 1037297"/>
                <a:gd name="connsiteY223" fmla="*/ 224524 h 839878"/>
                <a:gd name="connsiteX224" fmla="*/ 425792 w 1037297"/>
                <a:gd name="connsiteY224" fmla="*/ 251194 h 839878"/>
                <a:gd name="connsiteX225" fmla="*/ 420077 w 1037297"/>
                <a:gd name="connsiteY225" fmla="*/ 253099 h 839878"/>
                <a:gd name="connsiteX226" fmla="*/ 414362 w 1037297"/>
                <a:gd name="connsiteY226" fmla="*/ 256909 h 839878"/>
                <a:gd name="connsiteX227" fmla="*/ 423887 w 1037297"/>
                <a:gd name="connsiteY227"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397217 w 1037297"/>
                <a:gd name="connsiteY101" fmla="*/ 820789 h 839878"/>
                <a:gd name="connsiteX102" fmla="*/ 402932 w 1037297"/>
                <a:gd name="connsiteY102" fmla="*/ 784594 h 839878"/>
                <a:gd name="connsiteX103" fmla="*/ 406742 w 1037297"/>
                <a:gd name="connsiteY103" fmla="*/ 727444 h 839878"/>
                <a:gd name="connsiteX104" fmla="*/ 412457 w 1037297"/>
                <a:gd name="connsiteY104" fmla="*/ 716014 h 839878"/>
                <a:gd name="connsiteX105" fmla="*/ 416267 w 1037297"/>
                <a:gd name="connsiteY105" fmla="*/ 702679 h 839878"/>
                <a:gd name="connsiteX106" fmla="*/ 418172 w 1037297"/>
                <a:gd name="connsiteY106" fmla="*/ 696964 h 839878"/>
                <a:gd name="connsiteX107" fmla="*/ 420077 w 1037297"/>
                <a:gd name="connsiteY107" fmla="*/ 683629 h 839878"/>
                <a:gd name="connsiteX108" fmla="*/ 423887 w 1037297"/>
                <a:gd name="connsiteY108" fmla="*/ 672199 h 839878"/>
                <a:gd name="connsiteX109" fmla="*/ 429602 w 1037297"/>
                <a:gd name="connsiteY109" fmla="*/ 658864 h 839878"/>
                <a:gd name="connsiteX110" fmla="*/ 439127 w 1037297"/>
                <a:gd name="connsiteY110" fmla="*/ 647434 h 839878"/>
                <a:gd name="connsiteX111" fmla="*/ 452462 w 1037297"/>
                <a:gd name="connsiteY111" fmla="*/ 632194 h 839878"/>
                <a:gd name="connsiteX112" fmla="*/ 460082 w 1037297"/>
                <a:gd name="connsiteY112" fmla="*/ 620764 h 839878"/>
                <a:gd name="connsiteX113" fmla="*/ 463892 w 1037297"/>
                <a:gd name="connsiteY113" fmla="*/ 609334 h 839878"/>
                <a:gd name="connsiteX114" fmla="*/ 467702 w 1037297"/>
                <a:gd name="connsiteY114" fmla="*/ 594094 h 839878"/>
                <a:gd name="connsiteX115" fmla="*/ 469607 w 1037297"/>
                <a:gd name="connsiteY115" fmla="*/ 588379 h 839878"/>
                <a:gd name="connsiteX116" fmla="*/ 509612 w 1037297"/>
                <a:gd name="connsiteY116" fmla="*/ 582664 h 839878"/>
                <a:gd name="connsiteX117" fmla="*/ 538187 w 1037297"/>
                <a:gd name="connsiteY117" fmla="*/ 573139 h 839878"/>
                <a:gd name="connsiteX118" fmla="*/ 543902 w 1037297"/>
                <a:gd name="connsiteY118" fmla="*/ 571234 h 839878"/>
                <a:gd name="connsiteX119" fmla="*/ 549617 w 1037297"/>
                <a:gd name="connsiteY119" fmla="*/ 569329 h 839878"/>
                <a:gd name="connsiteX120" fmla="*/ 557237 w 1037297"/>
                <a:gd name="connsiteY120" fmla="*/ 567424 h 839878"/>
                <a:gd name="connsiteX121" fmla="*/ 576287 w 1037297"/>
                <a:gd name="connsiteY121" fmla="*/ 559804 h 839878"/>
                <a:gd name="connsiteX122" fmla="*/ 587717 w 1037297"/>
                <a:gd name="connsiteY122" fmla="*/ 555994 h 839878"/>
                <a:gd name="connsiteX123" fmla="*/ 722972 w 1037297"/>
                <a:gd name="connsiteY123" fmla="*/ 639814 h 839878"/>
                <a:gd name="connsiteX124" fmla="*/ 780122 w 1037297"/>
                <a:gd name="connsiteY124" fmla="*/ 656959 h 839878"/>
                <a:gd name="connsiteX125" fmla="*/ 791552 w 1037297"/>
                <a:gd name="connsiteY125" fmla="*/ 651244 h 839878"/>
                <a:gd name="connsiteX126" fmla="*/ 797267 w 1037297"/>
                <a:gd name="connsiteY126" fmla="*/ 649339 h 839878"/>
                <a:gd name="connsiteX127" fmla="*/ 804887 w 1037297"/>
                <a:gd name="connsiteY127" fmla="*/ 632194 h 839878"/>
                <a:gd name="connsiteX128" fmla="*/ 802982 w 1037297"/>
                <a:gd name="connsiteY128" fmla="*/ 607429 h 839878"/>
                <a:gd name="connsiteX129" fmla="*/ 801077 w 1037297"/>
                <a:gd name="connsiteY129" fmla="*/ 601714 h 839878"/>
                <a:gd name="connsiteX130" fmla="*/ 799172 w 1037297"/>
                <a:gd name="connsiteY130" fmla="*/ 594094 h 839878"/>
                <a:gd name="connsiteX131" fmla="*/ 785837 w 1037297"/>
                <a:gd name="connsiteY131" fmla="*/ 576949 h 839878"/>
                <a:gd name="connsiteX132" fmla="*/ 776312 w 1037297"/>
                <a:gd name="connsiteY132" fmla="*/ 571234 h 839878"/>
                <a:gd name="connsiteX133" fmla="*/ 650582 w 1037297"/>
                <a:gd name="connsiteY133" fmla="*/ 479794 h 839878"/>
                <a:gd name="connsiteX134" fmla="*/ 646772 w 1037297"/>
                <a:gd name="connsiteY134" fmla="*/ 462649 h 839878"/>
                <a:gd name="connsiteX135" fmla="*/ 648677 w 1037297"/>
                <a:gd name="connsiteY135" fmla="*/ 455029 h 839878"/>
                <a:gd name="connsiteX136" fmla="*/ 652487 w 1037297"/>
                <a:gd name="connsiteY136" fmla="*/ 437884 h 839878"/>
                <a:gd name="connsiteX137" fmla="*/ 656297 w 1037297"/>
                <a:gd name="connsiteY137" fmla="*/ 432169 h 839878"/>
                <a:gd name="connsiteX138" fmla="*/ 658202 w 1037297"/>
                <a:gd name="connsiteY138" fmla="*/ 426454 h 839878"/>
                <a:gd name="connsiteX139" fmla="*/ 663917 w 1037297"/>
                <a:gd name="connsiteY139" fmla="*/ 424549 h 839878"/>
                <a:gd name="connsiteX140" fmla="*/ 673442 w 1037297"/>
                <a:gd name="connsiteY140" fmla="*/ 413119 h 839878"/>
                <a:gd name="connsiteX141" fmla="*/ 726782 w 1037297"/>
                <a:gd name="connsiteY141" fmla="*/ 405499 h 839878"/>
                <a:gd name="connsiteX142" fmla="*/ 844892 w 1037297"/>
                <a:gd name="connsiteY142" fmla="*/ 407404 h 839878"/>
                <a:gd name="connsiteX143" fmla="*/ 873467 w 1037297"/>
                <a:gd name="connsiteY143" fmla="*/ 409309 h 839878"/>
                <a:gd name="connsiteX144" fmla="*/ 902042 w 1037297"/>
                <a:gd name="connsiteY144" fmla="*/ 415024 h 839878"/>
                <a:gd name="connsiteX145" fmla="*/ 924902 w 1037297"/>
                <a:gd name="connsiteY145" fmla="*/ 418834 h 839878"/>
                <a:gd name="connsiteX146" fmla="*/ 953477 w 1037297"/>
                <a:gd name="connsiteY146" fmla="*/ 424549 h 839878"/>
                <a:gd name="connsiteX147" fmla="*/ 959192 w 1037297"/>
                <a:gd name="connsiteY147" fmla="*/ 424549 h 839878"/>
                <a:gd name="connsiteX148" fmla="*/ 1004912 w 1037297"/>
                <a:gd name="connsiteY148" fmla="*/ 422644 h 839878"/>
                <a:gd name="connsiteX149" fmla="*/ 1033487 w 1037297"/>
                <a:gd name="connsiteY149" fmla="*/ 415024 h 839878"/>
                <a:gd name="connsiteX150" fmla="*/ 1037297 w 1037297"/>
                <a:gd name="connsiteY150" fmla="*/ 409309 h 839878"/>
                <a:gd name="connsiteX151" fmla="*/ 1035392 w 1037297"/>
                <a:gd name="connsiteY151" fmla="*/ 390259 h 839878"/>
                <a:gd name="connsiteX152" fmla="*/ 1029677 w 1037297"/>
                <a:gd name="connsiteY152" fmla="*/ 386449 h 839878"/>
                <a:gd name="connsiteX153" fmla="*/ 1014437 w 1037297"/>
                <a:gd name="connsiteY153" fmla="*/ 384544 h 839878"/>
                <a:gd name="connsiteX154" fmla="*/ 1008722 w 1037297"/>
                <a:gd name="connsiteY154" fmla="*/ 382639 h 839878"/>
                <a:gd name="connsiteX155" fmla="*/ 1001102 w 1037297"/>
                <a:gd name="connsiteY155" fmla="*/ 380734 h 839878"/>
                <a:gd name="connsiteX156" fmla="*/ 989672 w 1037297"/>
                <a:gd name="connsiteY156" fmla="*/ 373114 h 839878"/>
                <a:gd name="connsiteX157" fmla="*/ 978242 w 1037297"/>
                <a:gd name="connsiteY157" fmla="*/ 369304 h 839878"/>
                <a:gd name="connsiteX158" fmla="*/ 972527 w 1037297"/>
                <a:gd name="connsiteY158" fmla="*/ 367399 h 839878"/>
                <a:gd name="connsiteX159" fmla="*/ 964907 w 1037297"/>
                <a:gd name="connsiteY159" fmla="*/ 365494 h 839878"/>
                <a:gd name="connsiteX160" fmla="*/ 959192 w 1037297"/>
                <a:gd name="connsiteY160" fmla="*/ 363589 h 839878"/>
                <a:gd name="connsiteX161" fmla="*/ 938237 w 1037297"/>
                <a:gd name="connsiteY161" fmla="*/ 357874 h 839878"/>
                <a:gd name="connsiteX162" fmla="*/ 932522 w 1037297"/>
                <a:gd name="connsiteY162" fmla="*/ 355969 h 839878"/>
                <a:gd name="connsiteX163" fmla="*/ 827747 w 1037297"/>
                <a:gd name="connsiteY163" fmla="*/ 357874 h 839878"/>
                <a:gd name="connsiteX164" fmla="*/ 822032 w 1037297"/>
                <a:gd name="connsiteY164" fmla="*/ 359779 h 839878"/>
                <a:gd name="connsiteX165" fmla="*/ 732497 w 1037297"/>
                <a:gd name="connsiteY165" fmla="*/ 361684 h 839878"/>
                <a:gd name="connsiteX166" fmla="*/ 719162 w 1037297"/>
                <a:gd name="connsiteY166" fmla="*/ 365494 h 839878"/>
                <a:gd name="connsiteX167" fmla="*/ 698207 w 1037297"/>
                <a:gd name="connsiteY167" fmla="*/ 367399 h 839878"/>
                <a:gd name="connsiteX168" fmla="*/ 671537 w 1037297"/>
                <a:gd name="connsiteY168" fmla="*/ 369304 h 839878"/>
                <a:gd name="connsiteX169" fmla="*/ 671537 w 1037297"/>
                <a:gd name="connsiteY169" fmla="*/ 369304 h 839878"/>
                <a:gd name="connsiteX170" fmla="*/ 648677 w 1037297"/>
                <a:gd name="connsiteY170" fmla="*/ 373114 h 839878"/>
                <a:gd name="connsiteX171" fmla="*/ 644867 w 1037297"/>
                <a:gd name="connsiteY171" fmla="*/ 361684 h 839878"/>
                <a:gd name="connsiteX172" fmla="*/ 642962 w 1037297"/>
                <a:gd name="connsiteY172" fmla="*/ 355969 h 839878"/>
                <a:gd name="connsiteX173" fmla="*/ 644867 w 1037297"/>
                <a:gd name="connsiteY173" fmla="*/ 338824 h 839878"/>
                <a:gd name="connsiteX174" fmla="*/ 646772 w 1037297"/>
                <a:gd name="connsiteY174" fmla="*/ 333109 h 839878"/>
                <a:gd name="connsiteX175" fmla="*/ 663917 w 1037297"/>
                <a:gd name="connsiteY175" fmla="*/ 323584 h 839878"/>
                <a:gd name="connsiteX176" fmla="*/ 675347 w 1037297"/>
                <a:gd name="connsiteY176" fmla="*/ 315964 h 839878"/>
                <a:gd name="connsiteX177" fmla="*/ 677252 w 1037297"/>
                <a:gd name="connsiteY177" fmla="*/ 310249 h 839878"/>
                <a:gd name="connsiteX178" fmla="*/ 682967 w 1037297"/>
                <a:gd name="connsiteY178" fmla="*/ 308344 h 839878"/>
                <a:gd name="connsiteX179" fmla="*/ 688682 w 1037297"/>
                <a:gd name="connsiteY179" fmla="*/ 304534 h 839878"/>
                <a:gd name="connsiteX180" fmla="*/ 698207 w 1037297"/>
                <a:gd name="connsiteY180" fmla="*/ 295009 h 839878"/>
                <a:gd name="connsiteX181" fmla="*/ 707732 w 1037297"/>
                <a:gd name="connsiteY181" fmla="*/ 283579 h 839878"/>
                <a:gd name="connsiteX182" fmla="*/ 719162 w 1037297"/>
                <a:gd name="connsiteY182" fmla="*/ 275959 h 839878"/>
                <a:gd name="connsiteX183" fmla="*/ 734402 w 1037297"/>
                <a:gd name="connsiteY183" fmla="*/ 262624 h 839878"/>
                <a:gd name="connsiteX184" fmla="*/ 743927 w 1037297"/>
                <a:gd name="connsiteY184" fmla="*/ 251194 h 839878"/>
                <a:gd name="connsiteX185" fmla="*/ 755357 w 1037297"/>
                <a:gd name="connsiteY185" fmla="*/ 241669 h 839878"/>
                <a:gd name="connsiteX186" fmla="*/ 761072 w 1037297"/>
                <a:gd name="connsiteY186" fmla="*/ 230239 h 839878"/>
                <a:gd name="connsiteX187" fmla="*/ 762977 w 1037297"/>
                <a:gd name="connsiteY187" fmla="*/ 224524 h 839878"/>
                <a:gd name="connsiteX188" fmla="*/ 768692 w 1037297"/>
                <a:gd name="connsiteY188" fmla="*/ 213094 h 839878"/>
                <a:gd name="connsiteX189" fmla="*/ 766787 w 1037297"/>
                <a:gd name="connsiteY189" fmla="*/ 197854 h 839878"/>
                <a:gd name="connsiteX190" fmla="*/ 761072 w 1037297"/>
                <a:gd name="connsiteY190" fmla="*/ 195949 h 839878"/>
                <a:gd name="connsiteX191" fmla="*/ 740117 w 1037297"/>
                <a:gd name="connsiteY191" fmla="*/ 197854 h 839878"/>
                <a:gd name="connsiteX192" fmla="*/ 734402 w 1037297"/>
                <a:gd name="connsiteY192" fmla="*/ 201664 h 839878"/>
                <a:gd name="connsiteX193" fmla="*/ 722972 w 1037297"/>
                <a:gd name="connsiteY193" fmla="*/ 205474 h 839878"/>
                <a:gd name="connsiteX194" fmla="*/ 719162 w 1037297"/>
                <a:gd name="connsiteY194" fmla="*/ 211189 h 839878"/>
                <a:gd name="connsiteX195" fmla="*/ 713447 w 1037297"/>
                <a:gd name="connsiteY195" fmla="*/ 213094 h 839878"/>
                <a:gd name="connsiteX196" fmla="*/ 707732 w 1037297"/>
                <a:gd name="connsiteY196" fmla="*/ 216904 h 839878"/>
                <a:gd name="connsiteX197" fmla="*/ 702017 w 1037297"/>
                <a:gd name="connsiteY197" fmla="*/ 222619 h 839878"/>
                <a:gd name="connsiteX198" fmla="*/ 694397 w 1037297"/>
                <a:gd name="connsiteY198" fmla="*/ 226429 h 839878"/>
                <a:gd name="connsiteX199" fmla="*/ 652487 w 1037297"/>
                <a:gd name="connsiteY199" fmla="*/ 255004 h 839878"/>
                <a:gd name="connsiteX200" fmla="*/ 639152 w 1037297"/>
                <a:gd name="connsiteY200" fmla="*/ 266434 h 839878"/>
                <a:gd name="connsiteX201" fmla="*/ 629627 w 1037297"/>
                <a:gd name="connsiteY201" fmla="*/ 283579 h 839878"/>
                <a:gd name="connsiteX202" fmla="*/ 604862 w 1037297"/>
                <a:gd name="connsiteY202" fmla="*/ 289294 h 839878"/>
                <a:gd name="connsiteX203" fmla="*/ 591527 w 1037297"/>
                <a:gd name="connsiteY203" fmla="*/ 293104 h 839878"/>
                <a:gd name="connsiteX204" fmla="*/ 576287 w 1037297"/>
                <a:gd name="connsiteY204" fmla="*/ 291199 h 839878"/>
                <a:gd name="connsiteX205" fmla="*/ 564857 w 1037297"/>
                <a:gd name="connsiteY205" fmla="*/ 287389 h 839878"/>
                <a:gd name="connsiteX206" fmla="*/ 553427 w 1037297"/>
                <a:gd name="connsiteY206" fmla="*/ 283579 h 839878"/>
                <a:gd name="connsiteX207" fmla="*/ 541997 w 1037297"/>
                <a:gd name="connsiteY207" fmla="*/ 279769 h 839878"/>
                <a:gd name="connsiteX208" fmla="*/ 536282 w 1037297"/>
                <a:gd name="connsiteY208" fmla="*/ 277864 h 839878"/>
                <a:gd name="connsiteX209" fmla="*/ 530567 w 1037297"/>
                <a:gd name="connsiteY209" fmla="*/ 274054 h 839878"/>
                <a:gd name="connsiteX210" fmla="*/ 519137 w 1037297"/>
                <a:gd name="connsiteY210" fmla="*/ 268339 h 839878"/>
                <a:gd name="connsiteX211" fmla="*/ 511517 w 1037297"/>
                <a:gd name="connsiteY211" fmla="*/ 256909 h 839878"/>
                <a:gd name="connsiteX212" fmla="*/ 507707 w 1037297"/>
                <a:gd name="connsiteY212" fmla="*/ 235954 h 839878"/>
                <a:gd name="connsiteX213" fmla="*/ 509612 w 1037297"/>
                <a:gd name="connsiteY213" fmla="*/ 171184 h 839878"/>
                <a:gd name="connsiteX214" fmla="*/ 508314 w 1037297"/>
                <a:gd name="connsiteY214" fmla="*/ 73485 h 839878"/>
                <a:gd name="connsiteX215" fmla="*/ 454116 w 1037297"/>
                <a:gd name="connsiteY215" fmla="*/ 11248 h 839878"/>
                <a:gd name="connsiteX216" fmla="*/ 435401 w 1037297"/>
                <a:gd name="connsiteY216" fmla="*/ 68523 h 839878"/>
                <a:gd name="connsiteX217" fmla="*/ 427697 w 1037297"/>
                <a:gd name="connsiteY217" fmla="*/ 137103 h 839878"/>
                <a:gd name="connsiteX218" fmla="*/ 420077 w 1037297"/>
                <a:gd name="connsiteY218" fmla="*/ 169279 h 839878"/>
                <a:gd name="connsiteX219" fmla="*/ 416267 w 1037297"/>
                <a:gd name="connsiteY219" fmla="*/ 186424 h 839878"/>
                <a:gd name="connsiteX220" fmla="*/ 420077 w 1037297"/>
                <a:gd name="connsiteY220" fmla="*/ 207379 h 839878"/>
                <a:gd name="connsiteX221" fmla="*/ 423887 w 1037297"/>
                <a:gd name="connsiteY221" fmla="*/ 213094 h 839878"/>
                <a:gd name="connsiteX222" fmla="*/ 427697 w 1037297"/>
                <a:gd name="connsiteY222" fmla="*/ 224524 h 839878"/>
                <a:gd name="connsiteX223" fmla="*/ 425792 w 1037297"/>
                <a:gd name="connsiteY223" fmla="*/ 251194 h 839878"/>
                <a:gd name="connsiteX224" fmla="*/ 420077 w 1037297"/>
                <a:gd name="connsiteY224" fmla="*/ 253099 h 839878"/>
                <a:gd name="connsiteX225" fmla="*/ 414362 w 1037297"/>
                <a:gd name="connsiteY225" fmla="*/ 256909 h 839878"/>
                <a:gd name="connsiteX226" fmla="*/ 423887 w 1037297"/>
                <a:gd name="connsiteY226" fmla="*/ 253099 h 839878"/>
                <a:gd name="connsiteX0" fmla="*/ 423887 w 1037297"/>
                <a:gd name="connsiteY0" fmla="*/ 253099 h 839878"/>
                <a:gd name="connsiteX1" fmla="*/ 423887 w 1037297"/>
                <a:gd name="connsiteY1" fmla="*/ 253099 h 839878"/>
                <a:gd name="connsiteX2" fmla="*/ 397217 w 1037297"/>
                <a:gd name="connsiteY2" fmla="*/ 262624 h 839878"/>
                <a:gd name="connsiteX3" fmla="*/ 389597 w 1037297"/>
                <a:gd name="connsiteY3" fmla="*/ 264529 h 839878"/>
                <a:gd name="connsiteX4" fmla="*/ 359117 w 1037297"/>
                <a:gd name="connsiteY4" fmla="*/ 266434 h 839878"/>
                <a:gd name="connsiteX5" fmla="*/ 353402 w 1037297"/>
                <a:gd name="connsiteY5" fmla="*/ 270244 h 839878"/>
                <a:gd name="connsiteX6" fmla="*/ 341972 w 1037297"/>
                <a:gd name="connsiteY6" fmla="*/ 279769 h 839878"/>
                <a:gd name="connsiteX7" fmla="*/ 330542 w 1037297"/>
                <a:gd name="connsiteY7" fmla="*/ 283579 h 839878"/>
                <a:gd name="connsiteX8" fmla="*/ 315302 w 1037297"/>
                <a:gd name="connsiteY8" fmla="*/ 289294 h 839878"/>
                <a:gd name="connsiteX9" fmla="*/ 267677 w 1037297"/>
                <a:gd name="connsiteY9" fmla="*/ 285484 h 839878"/>
                <a:gd name="connsiteX10" fmla="*/ 256247 w 1037297"/>
                <a:gd name="connsiteY10" fmla="*/ 281674 h 839878"/>
                <a:gd name="connsiteX11" fmla="*/ 244817 w 1037297"/>
                <a:gd name="connsiteY11" fmla="*/ 277864 h 839878"/>
                <a:gd name="connsiteX12" fmla="*/ 239102 w 1037297"/>
                <a:gd name="connsiteY12" fmla="*/ 275959 h 839878"/>
                <a:gd name="connsiteX13" fmla="*/ 233387 w 1037297"/>
                <a:gd name="connsiteY13" fmla="*/ 274054 h 839878"/>
                <a:gd name="connsiteX14" fmla="*/ 221957 w 1037297"/>
                <a:gd name="connsiteY14" fmla="*/ 272149 h 839878"/>
                <a:gd name="connsiteX15" fmla="*/ 216242 w 1037297"/>
                <a:gd name="connsiteY15" fmla="*/ 270244 h 839878"/>
                <a:gd name="connsiteX16" fmla="*/ 208622 w 1037297"/>
                <a:gd name="connsiteY16" fmla="*/ 268339 h 839878"/>
                <a:gd name="connsiteX17" fmla="*/ 197192 w 1037297"/>
                <a:gd name="connsiteY17" fmla="*/ 264529 h 839878"/>
                <a:gd name="connsiteX18" fmla="*/ 191477 w 1037297"/>
                <a:gd name="connsiteY18" fmla="*/ 262624 h 839878"/>
                <a:gd name="connsiteX19" fmla="*/ 183857 w 1037297"/>
                <a:gd name="connsiteY19" fmla="*/ 260719 h 839878"/>
                <a:gd name="connsiteX20" fmla="*/ 172427 w 1037297"/>
                <a:gd name="connsiteY20" fmla="*/ 255004 h 839878"/>
                <a:gd name="connsiteX21" fmla="*/ 166712 w 1037297"/>
                <a:gd name="connsiteY21" fmla="*/ 251194 h 839878"/>
                <a:gd name="connsiteX22" fmla="*/ 159092 w 1037297"/>
                <a:gd name="connsiteY22" fmla="*/ 239764 h 839878"/>
                <a:gd name="connsiteX23" fmla="*/ 147662 w 1037297"/>
                <a:gd name="connsiteY23" fmla="*/ 235954 h 839878"/>
                <a:gd name="connsiteX24" fmla="*/ 141947 w 1037297"/>
                <a:gd name="connsiteY24" fmla="*/ 232144 h 839878"/>
                <a:gd name="connsiteX25" fmla="*/ 136232 w 1037297"/>
                <a:gd name="connsiteY25" fmla="*/ 230239 h 839878"/>
                <a:gd name="connsiteX26" fmla="*/ 119087 w 1037297"/>
                <a:gd name="connsiteY26" fmla="*/ 226429 h 839878"/>
                <a:gd name="connsiteX27" fmla="*/ 113372 w 1037297"/>
                <a:gd name="connsiteY27" fmla="*/ 220714 h 839878"/>
                <a:gd name="connsiteX28" fmla="*/ 103847 w 1037297"/>
                <a:gd name="connsiteY28" fmla="*/ 203569 h 839878"/>
                <a:gd name="connsiteX29" fmla="*/ 86702 w 1037297"/>
                <a:gd name="connsiteY29" fmla="*/ 195949 h 839878"/>
                <a:gd name="connsiteX30" fmla="*/ 80987 w 1037297"/>
                <a:gd name="connsiteY30" fmla="*/ 194044 h 839878"/>
                <a:gd name="connsiteX31" fmla="*/ 61937 w 1037297"/>
                <a:gd name="connsiteY31" fmla="*/ 197854 h 839878"/>
                <a:gd name="connsiteX32" fmla="*/ 56222 w 1037297"/>
                <a:gd name="connsiteY32" fmla="*/ 201664 h 839878"/>
                <a:gd name="connsiteX33" fmla="*/ 52412 w 1037297"/>
                <a:gd name="connsiteY33" fmla="*/ 207379 h 839878"/>
                <a:gd name="connsiteX34" fmla="*/ 48602 w 1037297"/>
                <a:gd name="connsiteY34" fmla="*/ 218809 h 839878"/>
                <a:gd name="connsiteX35" fmla="*/ 52412 w 1037297"/>
                <a:gd name="connsiteY35" fmla="*/ 256909 h 839878"/>
                <a:gd name="connsiteX36" fmla="*/ 56222 w 1037297"/>
                <a:gd name="connsiteY36" fmla="*/ 262624 h 839878"/>
                <a:gd name="connsiteX37" fmla="*/ 61937 w 1037297"/>
                <a:gd name="connsiteY37" fmla="*/ 266434 h 839878"/>
                <a:gd name="connsiteX38" fmla="*/ 65747 w 1037297"/>
                <a:gd name="connsiteY38" fmla="*/ 272149 h 839878"/>
                <a:gd name="connsiteX39" fmla="*/ 82892 w 1037297"/>
                <a:gd name="connsiteY39" fmla="*/ 281674 h 839878"/>
                <a:gd name="connsiteX40" fmla="*/ 105752 w 1037297"/>
                <a:gd name="connsiteY40" fmla="*/ 283579 h 839878"/>
                <a:gd name="connsiteX41" fmla="*/ 126707 w 1037297"/>
                <a:gd name="connsiteY41" fmla="*/ 289294 h 839878"/>
                <a:gd name="connsiteX42" fmla="*/ 132422 w 1037297"/>
                <a:gd name="connsiteY42" fmla="*/ 291199 h 839878"/>
                <a:gd name="connsiteX43" fmla="*/ 138137 w 1037297"/>
                <a:gd name="connsiteY43" fmla="*/ 296914 h 839878"/>
                <a:gd name="connsiteX44" fmla="*/ 145757 w 1037297"/>
                <a:gd name="connsiteY44" fmla="*/ 298819 h 839878"/>
                <a:gd name="connsiteX45" fmla="*/ 168617 w 1037297"/>
                <a:gd name="connsiteY45" fmla="*/ 302629 h 839878"/>
                <a:gd name="connsiteX46" fmla="*/ 193382 w 1037297"/>
                <a:gd name="connsiteY46" fmla="*/ 308344 h 839878"/>
                <a:gd name="connsiteX47" fmla="*/ 210527 w 1037297"/>
                <a:gd name="connsiteY47" fmla="*/ 314059 h 839878"/>
                <a:gd name="connsiteX48" fmla="*/ 216242 w 1037297"/>
                <a:gd name="connsiteY48" fmla="*/ 315964 h 839878"/>
                <a:gd name="connsiteX49" fmla="*/ 231482 w 1037297"/>
                <a:gd name="connsiteY49" fmla="*/ 319774 h 839878"/>
                <a:gd name="connsiteX50" fmla="*/ 250532 w 1037297"/>
                <a:gd name="connsiteY50" fmla="*/ 325489 h 839878"/>
                <a:gd name="connsiteX51" fmla="*/ 256247 w 1037297"/>
                <a:gd name="connsiteY51" fmla="*/ 329299 h 839878"/>
                <a:gd name="connsiteX52" fmla="*/ 269582 w 1037297"/>
                <a:gd name="connsiteY52" fmla="*/ 344539 h 839878"/>
                <a:gd name="connsiteX53" fmla="*/ 275297 w 1037297"/>
                <a:gd name="connsiteY53" fmla="*/ 363589 h 839878"/>
                <a:gd name="connsiteX54" fmla="*/ 277202 w 1037297"/>
                <a:gd name="connsiteY54" fmla="*/ 369304 h 839878"/>
                <a:gd name="connsiteX55" fmla="*/ 279107 w 1037297"/>
                <a:gd name="connsiteY55" fmla="*/ 375019 h 839878"/>
                <a:gd name="connsiteX56" fmla="*/ 281012 w 1037297"/>
                <a:gd name="connsiteY56" fmla="*/ 399784 h 839878"/>
                <a:gd name="connsiteX57" fmla="*/ 282917 w 1037297"/>
                <a:gd name="connsiteY57" fmla="*/ 405499 h 839878"/>
                <a:gd name="connsiteX58" fmla="*/ 281012 w 1037297"/>
                <a:gd name="connsiteY58" fmla="*/ 424549 h 839878"/>
                <a:gd name="connsiteX59" fmla="*/ 279107 w 1037297"/>
                <a:gd name="connsiteY59" fmla="*/ 434074 h 839878"/>
                <a:gd name="connsiteX60" fmla="*/ 265772 w 1037297"/>
                <a:gd name="connsiteY60" fmla="*/ 447409 h 839878"/>
                <a:gd name="connsiteX61" fmla="*/ 254342 w 1037297"/>
                <a:gd name="connsiteY61" fmla="*/ 455029 h 839878"/>
                <a:gd name="connsiteX62" fmla="*/ 242912 w 1037297"/>
                <a:gd name="connsiteY62" fmla="*/ 458839 h 839878"/>
                <a:gd name="connsiteX63" fmla="*/ 128612 w 1037297"/>
                <a:gd name="connsiteY63" fmla="*/ 458839 h 839878"/>
                <a:gd name="connsiteX64" fmla="*/ 122897 w 1037297"/>
                <a:gd name="connsiteY64" fmla="*/ 460744 h 839878"/>
                <a:gd name="connsiteX65" fmla="*/ 107657 w 1037297"/>
                <a:gd name="connsiteY65" fmla="*/ 462649 h 839878"/>
                <a:gd name="connsiteX66" fmla="*/ 90512 w 1037297"/>
                <a:gd name="connsiteY66" fmla="*/ 468364 h 839878"/>
                <a:gd name="connsiteX67" fmla="*/ 84797 w 1037297"/>
                <a:gd name="connsiteY67" fmla="*/ 470269 h 839878"/>
                <a:gd name="connsiteX68" fmla="*/ 79082 w 1037297"/>
                <a:gd name="connsiteY68" fmla="*/ 474079 h 839878"/>
                <a:gd name="connsiteX69" fmla="*/ 67652 w 1037297"/>
                <a:gd name="connsiteY69" fmla="*/ 475984 h 839878"/>
                <a:gd name="connsiteX70" fmla="*/ 29552 w 1037297"/>
                <a:gd name="connsiteY70" fmla="*/ 477889 h 839878"/>
                <a:gd name="connsiteX71" fmla="*/ 18122 w 1037297"/>
                <a:gd name="connsiteY71" fmla="*/ 483604 h 839878"/>
                <a:gd name="connsiteX72" fmla="*/ 8597 w 1037297"/>
                <a:gd name="connsiteY72" fmla="*/ 493129 h 839878"/>
                <a:gd name="connsiteX73" fmla="*/ 6692 w 1037297"/>
                <a:gd name="connsiteY73" fmla="*/ 498844 h 839878"/>
                <a:gd name="connsiteX74" fmla="*/ 2882 w 1037297"/>
                <a:gd name="connsiteY74" fmla="*/ 504559 h 839878"/>
                <a:gd name="connsiteX75" fmla="*/ 14312 w 1037297"/>
                <a:gd name="connsiteY75" fmla="*/ 540754 h 839878"/>
                <a:gd name="connsiteX76" fmla="*/ 147662 w 1037297"/>
                <a:gd name="connsiteY76" fmla="*/ 540754 h 839878"/>
                <a:gd name="connsiteX77" fmla="*/ 155282 w 1037297"/>
                <a:gd name="connsiteY77" fmla="*/ 538849 h 839878"/>
                <a:gd name="connsiteX78" fmla="*/ 305777 w 1037297"/>
                <a:gd name="connsiteY78" fmla="*/ 533134 h 839878"/>
                <a:gd name="connsiteX79" fmla="*/ 321017 w 1037297"/>
                <a:gd name="connsiteY79" fmla="*/ 540754 h 839878"/>
                <a:gd name="connsiteX80" fmla="*/ 332447 w 1037297"/>
                <a:gd name="connsiteY80" fmla="*/ 546469 h 839878"/>
                <a:gd name="connsiteX81" fmla="*/ 336257 w 1037297"/>
                <a:gd name="connsiteY81" fmla="*/ 552184 h 839878"/>
                <a:gd name="connsiteX82" fmla="*/ 341972 w 1037297"/>
                <a:gd name="connsiteY82" fmla="*/ 554089 h 839878"/>
                <a:gd name="connsiteX83" fmla="*/ 353402 w 1037297"/>
                <a:gd name="connsiteY83" fmla="*/ 561709 h 839878"/>
                <a:gd name="connsiteX84" fmla="*/ 359117 w 1037297"/>
                <a:gd name="connsiteY84" fmla="*/ 565519 h 839878"/>
                <a:gd name="connsiteX85" fmla="*/ 362927 w 1037297"/>
                <a:gd name="connsiteY85" fmla="*/ 571234 h 839878"/>
                <a:gd name="connsiteX86" fmla="*/ 368642 w 1037297"/>
                <a:gd name="connsiteY86" fmla="*/ 582664 h 839878"/>
                <a:gd name="connsiteX87" fmla="*/ 364832 w 1037297"/>
                <a:gd name="connsiteY87" fmla="*/ 609334 h 839878"/>
                <a:gd name="connsiteX88" fmla="*/ 361022 w 1037297"/>
                <a:gd name="connsiteY88" fmla="*/ 615049 h 839878"/>
                <a:gd name="connsiteX89" fmla="*/ 359117 w 1037297"/>
                <a:gd name="connsiteY89" fmla="*/ 620764 h 839878"/>
                <a:gd name="connsiteX90" fmla="*/ 355307 w 1037297"/>
                <a:gd name="connsiteY90" fmla="*/ 626479 h 839878"/>
                <a:gd name="connsiteX91" fmla="*/ 353402 w 1037297"/>
                <a:gd name="connsiteY91" fmla="*/ 632194 h 839878"/>
                <a:gd name="connsiteX92" fmla="*/ 349592 w 1037297"/>
                <a:gd name="connsiteY92" fmla="*/ 637909 h 839878"/>
                <a:gd name="connsiteX93" fmla="*/ 332447 w 1037297"/>
                <a:gd name="connsiteY93" fmla="*/ 704584 h 839878"/>
                <a:gd name="connsiteX94" fmla="*/ 330542 w 1037297"/>
                <a:gd name="connsiteY94" fmla="*/ 756019 h 839878"/>
                <a:gd name="connsiteX95" fmla="*/ 332447 w 1037297"/>
                <a:gd name="connsiteY95" fmla="*/ 780784 h 839878"/>
                <a:gd name="connsiteX96" fmla="*/ 334352 w 1037297"/>
                <a:gd name="connsiteY96" fmla="*/ 786499 h 839878"/>
                <a:gd name="connsiteX97" fmla="*/ 338162 w 1037297"/>
                <a:gd name="connsiteY97" fmla="*/ 790309 h 839878"/>
                <a:gd name="connsiteX98" fmla="*/ 366737 w 1037297"/>
                <a:gd name="connsiteY98" fmla="*/ 836029 h 839878"/>
                <a:gd name="connsiteX99" fmla="*/ 389597 w 1037297"/>
                <a:gd name="connsiteY99" fmla="*/ 837934 h 839878"/>
                <a:gd name="connsiteX100" fmla="*/ 395312 w 1037297"/>
                <a:gd name="connsiteY100" fmla="*/ 832219 h 839878"/>
                <a:gd name="connsiteX101" fmla="*/ 402932 w 1037297"/>
                <a:gd name="connsiteY101" fmla="*/ 784594 h 839878"/>
                <a:gd name="connsiteX102" fmla="*/ 406742 w 1037297"/>
                <a:gd name="connsiteY102" fmla="*/ 727444 h 839878"/>
                <a:gd name="connsiteX103" fmla="*/ 412457 w 1037297"/>
                <a:gd name="connsiteY103" fmla="*/ 716014 h 839878"/>
                <a:gd name="connsiteX104" fmla="*/ 416267 w 1037297"/>
                <a:gd name="connsiteY104" fmla="*/ 702679 h 839878"/>
                <a:gd name="connsiteX105" fmla="*/ 418172 w 1037297"/>
                <a:gd name="connsiteY105" fmla="*/ 696964 h 839878"/>
                <a:gd name="connsiteX106" fmla="*/ 420077 w 1037297"/>
                <a:gd name="connsiteY106" fmla="*/ 683629 h 839878"/>
                <a:gd name="connsiteX107" fmla="*/ 423887 w 1037297"/>
                <a:gd name="connsiteY107" fmla="*/ 672199 h 839878"/>
                <a:gd name="connsiteX108" fmla="*/ 429602 w 1037297"/>
                <a:gd name="connsiteY108" fmla="*/ 658864 h 839878"/>
                <a:gd name="connsiteX109" fmla="*/ 439127 w 1037297"/>
                <a:gd name="connsiteY109" fmla="*/ 647434 h 839878"/>
                <a:gd name="connsiteX110" fmla="*/ 452462 w 1037297"/>
                <a:gd name="connsiteY110" fmla="*/ 632194 h 839878"/>
                <a:gd name="connsiteX111" fmla="*/ 460082 w 1037297"/>
                <a:gd name="connsiteY111" fmla="*/ 620764 h 839878"/>
                <a:gd name="connsiteX112" fmla="*/ 463892 w 1037297"/>
                <a:gd name="connsiteY112" fmla="*/ 609334 h 839878"/>
                <a:gd name="connsiteX113" fmla="*/ 467702 w 1037297"/>
                <a:gd name="connsiteY113" fmla="*/ 594094 h 839878"/>
                <a:gd name="connsiteX114" fmla="*/ 469607 w 1037297"/>
                <a:gd name="connsiteY114" fmla="*/ 588379 h 839878"/>
                <a:gd name="connsiteX115" fmla="*/ 509612 w 1037297"/>
                <a:gd name="connsiteY115" fmla="*/ 582664 h 839878"/>
                <a:gd name="connsiteX116" fmla="*/ 538187 w 1037297"/>
                <a:gd name="connsiteY116" fmla="*/ 573139 h 839878"/>
                <a:gd name="connsiteX117" fmla="*/ 543902 w 1037297"/>
                <a:gd name="connsiteY117" fmla="*/ 571234 h 839878"/>
                <a:gd name="connsiteX118" fmla="*/ 549617 w 1037297"/>
                <a:gd name="connsiteY118" fmla="*/ 569329 h 839878"/>
                <a:gd name="connsiteX119" fmla="*/ 557237 w 1037297"/>
                <a:gd name="connsiteY119" fmla="*/ 567424 h 839878"/>
                <a:gd name="connsiteX120" fmla="*/ 576287 w 1037297"/>
                <a:gd name="connsiteY120" fmla="*/ 559804 h 839878"/>
                <a:gd name="connsiteX121" fmla="*/ 587717 w 1037297"/>
                <a:gd name="connsiteY121" fmla="*/ 555994 h 839878"/>
                <a:gd name="connsiteX122" fmla="*/ 722972 w 1037297"/>
                <a:gd name="connsiteY122" fmla="*/ 639814 h 839878"/>
                <a:gd name="connsiteX123" fmla="*/ 780122 w 1037297"/>
                <a:gd name="connsiteY123" fmla="*/ 656959 h 839878"/>
                <a:gd name="connsiteX124" fmla="*/ 791552 w 1037297"/>
                <a:gd name="connsiteY124" fmla="*/ 651244 h 839878"/>
                <a:gd name="connsiteX125" fmla="*/ 797267 w 1037297"/>
                <a:gd name="connsiteY125" fmla="*/ 649339 h 839878"/>
                <a:gd name="connsiteX126" fmla="*/ 804887 w 1037297"/>
                <a:gd name="connsiteY126" fmla="*/ 632194 h 839878"/>
                <a:gd name="connsiteX127" fmla="*/ 802982 w 1037297"/>
                <a:gd name="connsiteY127" fmla="*/ 607429 h 839878"/>
                <a:gd name="connsiteX128" fmla="*/ 801077 w 1037297"/>
                <a:gd name="connsiteY128" fmla="*/ 601714 h 839878"/>
                <a:gd name="connsiteX129" fmla="*/ 799172 w 1037297"/>
                <a:gd name="connsiteY129" fmla="*/ 594094 h 839878"/>
                <a:gd name="connsiteX130" fmla="*/ 785837 w 1037297"/>
                <a:gd name="connsiteY130" fmla="*/ 576949 h 839878"/>
                <a:gd name="connsiteX131" fmla="*/ 776312 w 1037297"/>
                <a:gd name="connsiteY131" fmla="*/ 571234 h 839878"/>
                <a:gd name="connsiteX132" fmla="*/ 650582 w 1037297"/>
                <a:gd name="connsiteY132" fmla="*/ 479794 h 839878"/>
                <a:gd name="connsiteX133" fmla="*/ 646772 w 1037297"/>
                <a:gd name="connsiteY133" fmla="*/ 462649 h 839878"/>
                <a:gd name="connsiteX134" fmla="*/ 648677 w 1037297"/>
                <a:gd name="connsiteY134" fmla="*/ 455029 h 839878"/>
                <a:gd name="connsiteX135" fmla="*/ 652487 w 1037297"/>
                <a:gd name="connsiteY135" fmla="*/ 437884 h 839878"/>
                <a:gd name="connsiteX136" fmla="*/ 656297 w 1037297"/>
                <a:gd name="connsiteY136" fmla="*/ 432169 h 839878"/>
                <a:gd name="connsiteX137" fmla="*/ 658202 w 1037297"/>
                <a:gd name="connsiteY137" fmla="*/ 426454 h 839878"/>
                <a:gd name="connsiteX138" fmla="*/ 663917 w 1037297"/>
                <a:gd name="connsiteY138" fmla="*/ 424549 h 839878"/>
                <a:gd name="connsiteX139" fmla="*/ 673442 w 1037297"/>
                <a:gd name="connsiteY139" fmla="*/ 413119 h 839878"/>
                <a:gd name="connsiteX140" fmla="*/ 726782 w 1037297"/>
                <a:gd name="connsiteY140" fmla="*/ 405499 h 839878"/>
                <a:gd name="connsiteX141" fmla="*/ 844892 w 1037297"/>
                <a:gd name="connsiteY141" fmla="*/ 407404 h 839878"/>
                <a:gd name="connsiteX142" fmla="*/ 873467 w 1037297"/>
                <a:gd name="connsiteY142" fmla="*/ 409309 h 839878"/>
                <a:gd name="connsiteX143" fmla="*/ 902042 w 1037297"/>
                <a:gd name="connsiteY143" fmla="*/ 415024 h 839878"/>
                <a:gd name="connsiteX144" fmla="*/ 924902 w 1037297"/>
                <a:gd name="connsiteY144" fmla="*/ 418834 h 839878"/>
                <a:gd name="connsiteX145" fmla="*/ 953477 w 1037297"/>
                <a:gd name="connsiteY145" fmla="*/ 424549 h 839878"/>
                <a:gd name="connsiteX146" fmla="*/ 959192 w 1037297"/>
                <a:gd name="connsiteY146" fmla="*/ 424549 h 839878"/>
                <a:gd name="connsiteX147" fmla="*/ 1004912 w 1037297"/>
                <a:gd name="connsiteY147" fmla="*/ 422644 h 839878"/>
                <a:gd name="connsiteX148" fmla="*/ 1033487 w 1037297"/>
                <a:gd name="connsiteY148" fmla="*/ 415024 h 839878"/>
                <a:gd name="connsiteX149" fmla="*/ 1037297 w 1037297"/>
                <a:gd name="connsiteY149" fmla="*/ 409309 h 839878"/>
                <a:gd name="connsiteX150" fmla="*/ 1035392 w 1037297"/>
                <a:gd name="connsiteY150" fmla="*/ 390259 h 839878"/>
                <a:gd name="connsiteX151" fmla="*/ 1029677 w 1037297"/>
                <a:gd name="connsiteY151" fmla="*/ 386449 h 839878"/>
                <a:gd name="connsiteX152" fmla="*/ 1014437 w 1037297"/>
                <a:gd name="connsiteY152" fmla="*/ 384544 h 839878"/>
                <a:gd name="connsiteX153" fmla="*/ 1008722 w 1037297"/>
                <a:gd name="connsiteY153" fmla="*/ 382639 h 839878"/>
                <a:gd name="connsiteX154" fmla="*/ 1001102 w 1037297"/>
                <a:gd name="connsiteY154" fmla="*/ 380734 h 839878"/>
                <a:gd name="connsiteX155" fmla="*/ 989672 w 1037297"/>
                <a:gd name="connsiteY155" fmla="*/ 373114 h 839878"/>
                <a:gd name="connsiteX156" fmla="*/ 978242 w 1037297"/>
                <a:gd name="connsiteY156" fmla="*/ 369304 h 839878"/>
                <a:gd name="connsiteX157" fmla="*/ 972527 w 1037297"/>
                <a:gd name="connsiteY157" fmla="*/ 367399 h 839878"/>
                <a:gd name="connsiteX158" fmla="*/ 964907 w 1037297"/>
                <a:gd name="connsiteY158" fmla="*/ 365494 h 839878"/>
                <a:gd name="connsiteX159" fmla="*/ 959192 w 1037297"/>
                <a:gd name="connsiteY159" fmla="*/ 363589 h 839878"/>
                <a:gd name="connsiteX160" fmla="*/ 938237 w 1037297"/>
                <a:gd name="connsiteY160" fmla="*/ 357874 h 839878"/>
                <a:gd name="connsiteX161" fmla="*/ 932522 w 1037297"/>
                <a:gd name="connsiteY161" fmla="*/ 355969 h 839878"/>
                <a:gd name="connsiteX162" fmla="*/ 827747 w 1037297"/>
                <a:gd name="connsiteY162" fmla="*/ 357874 h 839878"/>
                <a:gd name="connsiteX163" fmla="*/ 822032 w 1037297"/>
                <a:gd name="connsiteY163" fmla="*/ 359779 h 839878"/>
                <a:gd name="connsiteX164" fmla="*/ 732497 w 1037297"/>
                <a:gd name="connsiteY164" fmla="*/ 361684 h 839878"/>
                <a:gd name="connsiteX165" fmla="*/ 719162 w 1037297"/>
                <a:gd name="connsiteY165" fmla="*/ 365494 h 839878"/>
                <a:gd name="connsiteX166" fmla="*/ 698207 w 1037297"/>
                <a:gd name="connsiteY166" fmla="*/ 367399 h 839878"/>
                <a:gd name="connsiteX167" fmla="*/ 671537 w 1037297"/>
                <a:gd name="connsiteY167" fmla="*/ 369304 h 839878"/>
                <a:gd name="connsiteX168" fmla="*/ 671537 w 1037297"/>
                <a:gd name="connsiteY168" fmla="*/ 369304 h 839878"/>
                <a:gd name="connsiteX169" fmla="*/ 648677 w 1037297"/>
                <a:gd name="connsiteY169" fmla="*/ 373114 h 839878"/>
                <a:gd name="connsiteX170" fmla="*/ 644867 w 1037297"/>
                <a:gd name="connsiteY170" fmla="*/ 361684 h 839878"/>
                <a:gd name="connsiteX171" fmla="*/ 642962 w 1037297"/>
                <a:gd name="connsiteY171" fmla="*/ 355969 h 839878"/>
                <a:gd name="connsiteX172" fmla="*/ 644867 w 1037297"/>
                <a:gd name="connsiteY172" fmla="*/ 338824 h 839878"/>
                <a:gd name="connsiteX173" fmla="*/ 646772 w 1037297"/>
                <a:gd name="connsiteY173" fmla="*/ 333109 h 839878"/>
                <a:gd name="connsiteX174" fmla="*/ 663917 w 1037297"/>
                <a:gd name="connsiteY174" fmla="*/ 323584 h 839878"/>
                <a:gd name="connsiteX175" fmla="*/ 675347 w 1037297"/>
                <a:gd name="connsiteY175" fmla="*/ 315964 h 839878"/>
                <a:gd name="connsiteX176" fmla="*/ 677252 w 1037297"/>
                <a:gd name="connsiteY176" fmla="*/ 310249 h 839878"/>
                <a:gd name="connsiteX177" fmla="*/ 682967 w 1037297"/>
                <a:gd name="connsiteY177" fmla="*/ 308344 h 839878"/>
                <a:gd name="connsiteX178" fmla="*/ 688682 w 1037297"/>
                <a:gd name="connsiteY178" fmla="*/ 304534 h 839878"/>
                <a:gd name="connsiteX179" fmla="*/ 698207 w 1037297"/>
                <a:gd name="connsiteY179" fmla="*/ 295009 h 839878"/>
                <a:gd name="connsiteX180" fmla="*/ 707732 w 1037297"/>
                <a:gd name="connsiteY180" fmla="*/ 283579 h 839878"/>
                <a:gd name="connsiteX181" fmla="*/ 719162 w 1037297"/>
                <a:gd name="connsiteY181" fmla="*/ 275959 h 839878"/>
                <a:gd name="connsiteX182" fmla="*/ 734402 w 1037297"/>
                <a:gd name="connsiteY182" fmla="*/ 262624 h 839878"/>
                <a:gd name="connsiteX183" fmla="*/ 743927 w 1037297"/>
                <a:gd name="connsiteY183" fmla="*/ 251194 h 839878"/>
                <a:gd name="connsiteX184" fmla="*/ 755357 w 1037297"/>
                <a:gd name="connsiteY184" fmla="*/ 241669 h 839878"/>
                <a:gd name="connsiteX185" fmla="*/ 761072 w 1037297"/>
                <a:gd name="connsiteY185" fmla="*/ 230239 h 839878"/>
                <a:gd name="connsiteX186" fmla="*/ 762977 w 1037297"/>
                <a:gd name="connsiteY186" fmla="*/ 224524 h 839878"/>
                <a:gd name="connsiteX187" fmla="*/ 768692 w 1037297"/>
                <a:gd name="connsiteY187" fmla="*/ 213094 h 839878"/>
                <a:gd name="connsiteX188" fmla="*/ 766787 w 1037297"/>
                <a:gd name="connsiteY188" fmla="*/ 197854 h 839878"/>
                <a:gd name="connsiteX189" fmla="*/ 761072 w 1037297"/>
                <a:gd name="connsiteY189" fmla="*/ 195949 h 839878"/>
                <a:gd name="connsiteX190" fmla="*/ 740117 w 1037297"/>
                <a:gd name="connsiteY190" fmla="*/ 197854 h 839878"/>
                <a:gd name="connsiteX191" fmla="*/ 734402 w 1037297"/>
                <a:gd name="connsiteY191" fmla="*/ 201664 h 839878"/>
                <a:gd name="connsiteX192" fmla="*/ 722972 w 1037297"/>
                <a:gd name="connsiteY192" fmla="*/ 205474 h 839878"/>
                <a:gd name="connsiteX193" fmla="*/ 719162 w 1037297"/>
                <a:gd name="connsiteY193" fmla="*/ 211189 h 839878"/>
                <a:gd name="connsiteX194" fmla="*/ 713447 w 1037297"/>
                <a:gd name="connsiteY194" fmla="*/ 213094 h 839878"/>
                <a:gd name="connsiteX195" fmla="*/ 707732 w 1037297"/>
                <a:gd name="connsiteY195" fmla="*/ 216904 h 839878"/>
                <a:gd name="connsiteX196" fmla="*/ 702017 w 1037297"/>
                <a:gd name="connsiteY196" fmla="*/ 222619 h 839878"/>
                <a:gd name="connsiteX197" fmla="*/ 694397 w 1037297"/>
                <a:gd name="connsiteY197" fmla="*/ 226429 h 839878"/>
                <a:gd name="connsiteX198" fmla="*/ 652487 w 1037297"/>
                <a:gd name="connsiteY198" fmla="*/ 255004 h 839878"/>
                <a:gd name="connsiteX199" fmla="*/ 639152 w 1037297"/>
                <a:gd name="connsiteY199" fmla="*/ 266434 h 839878"/>
                <a:gd name="connsiteX200" fmla="*/ 629627 w 1037297"/>
                <a:gd name="connsiteY200" fmla="*/ 283579 h 839878"/>
                <a:gd name="connsiteX201" fmla="*/ 604862 w 1037297"/>
                <a:gd name="connsiteY201" fmla="*/ 289294 h 839878"/>
                <a:gd name="connsiteX202" fmla="*/ 591527 w 1037297"/>
                <a:gd name="connsiteY202" fmla="*/ 293104 h 839878"/>
                <a:gd name="connsiteX203" fmla="*/ 576287 w 1037297"/>
                <a:gd name="connsiteY203" fmla="*/ 291199 h 839878"/>
                <a:gd name="connsiteX204" fmla="*/ 564857 w 1037297"/>
                <a:gd name="connsiteY204" fmla="*/ 287389 h 839878"/>
                <a:gd name="connsiteX205" fmla="*/ 553427 w 1037297"/>
                <a:gd name="connsiteY205" fmla="*/ 283579 h 839878"/>
                <a:gd name="connsiteX206" fmla="*/ 541997 w 1037297"/>
                <a:gd name="connsiteY206" fmla="*/ 279769 h 839878"/>
                <a:gd name="connsiteX207" fmla="*/ 536282 w 1037297"/>
                <a:gd name="connsiteY207" fmla="*/ 277864 h 839878"/>
                <a:gd name="connsiteX208" fmla="*/ 530567 w 1037297"/>
                <a:gd name="connsiteY208" fmla="*/ 274054 h 839878"/>
                <a:gd name="connsiteX209" fmla="*/ 519137 w 1037297"/>
                <a:gd name="connsiteY209" fmla="*/ 268339 h 839878"/>
                <a:gd name="connsiteX210" fmla="*/ 511517 w 1037297"/>
                <a:gd name="connsiteY210" fmla="*/ 256909 h 839878"/>
                <a:gd name="connsiteX211" fmla="*/ 507707 w 1037297"/>
                <a:gd name="connsiteY211" fmla="*/ 235954 h 839878"/>
                <a:gd name="connsiteX212" fmla="*/ 509612 w 1037297"/>
                <a:gd name="connsiteY212" fmla="*/ 171184 h 839878"/>
                <a:gd name="connsiteX213" fmla="*/ 508314 w 1037297"/>
                <a:gd name="connsiteY213" fmla="*/ 73485 h 839878"/>
                <a:gd name="connsiteX214" fmla="*/ 454116 w 1037297"/>
                <a:gd name="connsiteY214" fmla="*/ 11248 h 839878"/>
                <a:gd name="connsiteX215" fmla="*/ 435401 w 1037297"/>
                <a:gd name="connsiteY215" fmla="*/ 68523 h 839878"/>
                <a:gd name="connsiteX216" fmla="*/ 427697 w 1037297"/>
                <a:gd name="connsiteY216" fmla="*/ 137103 h 839878"/>
                <a:gd name="connsiteX217" fmla="*/ 420077 w 1037297"/>
                <a:gd name="connsiteY217" fmla="*/ 169279 h 839878"/>
                <a:gd name="connsiteX218" fmla="*/ 416267 w 1037297"/>
                <a:gd name="connsiteY218" fmla="*/ 186424 h 839878"/>
                <a:gd name="connsiteX219" fmla="*/ 420077 w 1037297"/>
                <a:gd name="connsiteY219" fmla="*/ 207379 h 839878"/>
                <a:gd name="connsiteX220" fmla="*/ 423887 w 1037297"/>
                <a:gd name="connsiteY220" fmla="*/ 213094 h 839878"/>
                <a:gd name="connsiteX221" fmla="*/ 427697 w 1037297"/>
                <a:gd name="connsiteY221" fmla="*/ 224524 h 839878"/>
                <a:gd name="connsiteX222" fmla="*/ 425792 w 1037297"/>
                <a:gd name="connsiteY222" fmla="*/ 251194 h 839878"/>
                <a:gd name="connsiteX223" fmla="*/ 420077 w 1037297"/>
                <a:gd name="connsiteY223" fmla="*/ 253099 h 839878"/>
                <a:gd name="connsiteX224" fmla="*/ 414362 w 1037297"/>
                <a:gd name="connsiteY224" fmla="*/ 256909 h 839878"/>
                <a:gd name="connsiteX225" fmla="*/ 423887 w 1037297"/>
                <a:gd name="connsiteY225" fmla="*/ 253099 h 839878"/>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12457 w 1037297"/>
                <a:gd name="connsiteY103" fmla="*/ 716014 h 838042"/>
                <a:gd name="connsiteX104" fmla="*/ 416267 w 1037297"/>
                <a:gd name="connsiteY104" fmla="*/ 702679 h 838042"/>
                <a:gd name="connsiteX105" fmla="*/ 418172 w 1037297"/>
                <a:gd name="connsiteY105" fmla="*/ 696964 h 838042"/>
                <a:gd name="connsiteX106" fmla="*/ 420077 w 1037297"/>
                <a:gd name="connsiteY106" fmla="*/ 683629 h 838042"/>
                <a:gd name="connsiteX107" fmla="*/ 423887 w 1037297"/>
                <a:gd name="connsiteY107" fmla="*/ 672199 h 838042"/>
                <a:gd name="connsiteX108" fmla="*/ 429602 w 1037297"/>
                <a:gd name="connsiteY108" fmla="*/ 658864 h 838042"/>
                <a:gd name="connsiteX109" fmla="*/ 439127 w 1037297"/>
                <a:gd name="connsiteY109" fmla="*/ 647434 h 838042"/>
                <a:gd name="connsiteX110" fmla="*/ 452462 w 1037297"/>
                <a:gd name="connsiteY110" fmla="*/ 632194 h 838042"/>
                <a:gd name="connsiteX111" fmla="*/ 460082 w 1037297"/>
                <a:gd name="connsiteY111" fmla="*/ 620764 h 838042"/>
                <a:gd name="connsiteX112" fmla="*/ 463892 w 1037297"/>
                <a:gd name="connsiteY112" fmla="*/ 609334 h 838042"/>
                <a:gd name="connsiteX113" fmla="*/ 467702 w 1037297"/>
                <a:gd name="connsiteY113" fmla="*/ 594094 h 838042"/>
                <a:gd name="connsiteX114" fmla="*/ 469607 w 1037297"/>
                <a:gd name="connsiteY114" fmla="*/ 588379 h 838042"/>
                <a:gd name="connsiteX115" fmla="*/ 509612 w 1037297"/>
                <a:gd name="connsiteY115" fmla="*/ 582664 h 838042"/>
                <a:gd name="connsiteX116" fmla="*/ 538187 w 1037297"/>
                <a:gd name="connsiteY116" fmla="*/ 573139 h 838042"/>
                <a:gd name="connsiteX117" fmla="*/ 543902 w 1037297"/>
                <a:gd name="connsiteY117" fmla="*/ 571234 h 838042"/>
                <a:gd name="connsiteX118" fmla="*/ 549617 w 1037297"/>
                <a:gd name="connsiteY118" fmla="*/ 569329 h 838042"/>
                <a:gd name="connsiteX119" fmla="*/ 557237 w 1037297"/>
                <a:gd name="connsiteY119" fmla="*/ 567424 h 838042"/>
                <a:gd name="connsiteX120" fmla="*/ 576287 w 1037297"/>
                <a:gd name="connsiteY120" fmla="*/ 559804 h 838042"/>
                <a:gd name="connsiteX121" fmla="*/ 587717 w 1037297"/>
                <a:gd name="connsiteY121" fmla="*/ 555994 h 838042"/>
                <a:gd name="connsiteX122" fmla="*/ 722972 w 1037297"/>
                <a:gd name="connsiteY122" fmla="*/ 639814 h 838042"/>
                <a:gd name="connsiteX123" fmla="*/ 780122 w 1037297"/>
                <a:gd name="connsiteY123" fmla="*/ 656959 h 838042"/>
                <a:gd name="connsiteX124" fmla="*/ 791552 w 1037297"/>
                <a:gd name="connsiteY124" fmla="*/ 651244 h 838042"/>
                <a:gd name="connsiteX125" fmla="*/ 797267 w 1037297"/>
                <a:gd name="connsiteY125" fmla="*/ 649339 h 838042"/>
                <a:gd name="connsiteX126" fmla="*/ 804887 w 1037297"/>
                <a:gd name="connsiteY126" fmla="*/ 632194 h 838042"/>
                <a:gd name="connsiteX127" fmla="*/ 802982 w 1037297"/>
                <a:gd name="connsiteY127" fmla="*/ 607429 h 838042"/>
                <a:gd name="connsiteX128" fmla="*/ 801077 w 1037297"/>
                <a:gd name="connsiteY128" fmla="*/ 601714 h 838042"/>
                <a:gd name="connsiteX129" fmla="*/ 799172 w 1037297"/>
                <a:gd name="connsiteY129" fmla="*/ 594094 h 838042"/>
                <a:gd name="connsiteX130" fmla="*/ 785837 w 1037297"/>
                <a:gd name="connsiteY130" fmla="*/ 576949 h 838042"/>
                <a:gd name="connsiteX131" fmla="*/ 776312 w 1037297"/>
                <a:gd name="connsiteY131" fmla="*/ 571234 h 838042"/>
                <a:gd name="connsiteX132" fmla="*/ 650582 w 1037297"/>
                <a:gd name="connsiteY132" fmla="*/ 479794 h 838042"/>
                <a:gd name="connsiteX133" fmla="*/ 646772 w 1037297"/>
                <a:gd name="connsiteY133" fmla="*/ 462649 h 838042"/>
                <a:gd name="connsiteX134" fmla="*/ 648677 w 1037297"/>
                <a:gd name="connsiteY134" fmla="*/ 455029 h 838042"/>
                <a:gd name="connsiteX135" fmla="*/ 652487 w 1037297"/>
                <a:gd name="connsiteY135" fmla="*/ 437884 h 838042"/>
                <a:gd name="connsiteX136" fmla="*/ 656297 w 1037297"/>
                <a:gd name="connsiteY136" fmla="*/ 432169 h 838042"/>
                <a:gd name="connsiteX137" fmla="*/ 658202 w 1037297"/>
                <a:gd name="connsiteY137" fmla="*/ 426454 h 838042"/>
                <a:gd name="connsiteX138" fmla="*/ 663917 w 1037297"/>
                <a:gd name="connsiteY138" fmla="*/ 424549 h 838042"/>
                <a:gd name="connsiteX139" fmla="*/ 673442 w 1037297"/>
                <a:gd name="connsiteY139" fmla="*/ 413119 h 838042"/>
                <a:gd name="connsiteX140" fmla="*/ 726782 w 1037297"/>
                <a:gd name="connsiteY140" fmla="*/ 405499 h 838042"/>
                <a:gd name="connsiteX141" fmla="*/ 844892 w 1037297"/>
                <a:gd name="connsiteY141" fmla="*/ 407404 h 838042"/>
                <a:gd name="connsiteX142" fmla="*/ 873467 w 1037297"/>
                <a:gd name="connsiteY142" fmla="*/ 409309 h 838042"/>
                <a:gd name="connsiteX143" fmla="*/ 902042 w 1037297"/>
                <a:gd name="connsiteY143" fmla="*/ 415024 h 838042"/>
                <a:gd name="connsiteX144" fmla="*/ 924902 w 1037297"/>
                <a:gd name="connsiteY144" fmla="*/ 418834 h 838042"/>
                <a:gd name="connsiteX145" fmla="*/ 953477 w 1037297"/>
                <a:gd name="connsiteY145" fmla="*/ 424549 h 838042"/>
                <a:gd name="connsiteX146" fmla="*/ 959192 w 1037297"/>
                <a:gd name="connsiteY146" fmla="*/ 424549 h 838042"/>
                <a:gd name="connsiteX147" fmla="*/ 1004912 w 1037297"/>
                <a:gd name="connsiteY147" fmla="*/ 422644 h 838042"/>
                <a:gd name="connsiteX148" fmla="*/ 1033487 w 1037297"/>
                <a:gd name="connsiteY148" fmla="*/ 415024 h 838042"/>
                <a:gd name="connsiteX149" fmla="*/ 1037297 w 1037297"/>
                <a:gd name="connsiteY149" fmla="*/ 409309 h 838042"/>
                <a:gd name="connsiteX150" fmla="*/ 1035392 w 1037297"/>
                <a:gd name="connsiteY150" fmla="*/ 390259 h 838042"/>
                <a:gd name="connsiteX151" fmla="*/ 1029677 w 1037297"/>
                <a:gd name="connsiteY151" fmla="*/ 386449 h 838042"/>
                <a:gd name="connsiteX152" fmla="*/ 1014437 w 1037297"/>
                <a:gd name="connsiteY152" fmla="*/ 384544 h 838042"/>
                <a:gd name="connsiteX153" fmla="*/ 1008722 w 1037297"/>
                <a:gd name="connsiteY153" fmla="*/ 382639 h 838042"/>
                <a:gd name="connsiteX154" fmla="*/ 1001102 w 1037297"/>
                <a:gd name="connsiteY154" fmla="*/ 380734 h 838042"/>
                <a:gd name="connsiteX155" fmla="*/ 989672 w 1037297"/>
                <a:gd name="connsiteY155" fmla="*/ 373114 h 838042"/>
                <a:gd name="connsiteX156" fmla="*/ 978242 w 1037297"/>
                <a:gd name="connsiteY156" fmla="*/ 369304 h 838042"/>
                <a:gd name="connsiteX157" fmla="*/ 972527 w 1037297"/>
                <a:gd name="connsiteY157" fmla="*/ 367399 h 838042"/>
                <a:gd name="connsiteX158" fmla="*/ 964907 w 1037297"/>
                <a:gd name="connsiteY158" fmla="*/ 365494 h 838042"/>
                <a:gd name="connsiteX159" fmla="*/ 959192 w 1037297"/>
                <a:gd name="connsiteY159" fmla="*/ 363589 h 838042"/>
                <a:gd name="connsiteX160" fmla="*/ 938237 w 1037297"/>
                <a:gd name="connsiteY160" fmla="*/ 357874 h 838042"/>
                <a:gd name="connsiteX161" fmla="*/ 932522 w 1037297"/>
                <a:gd name="connsiteY161" fmla="*/ 355969 h 838042"/>
                <a:gd name="connsiteX162" fmla="*/ 827747 w 1037297"/>
                <a:gd name="connsiteY162" fmla="*/ 357874 h 838042"/>
                <a:gd name="connsiteX163" fmla="*/ 822032 w 1037297"/>
                <a:gd name="connsiteY163" fmla="*/ 359779 h 838042"/>
                <a:gd name="connsiteX164" fmla="*/ 732497 w 1037297"/>
                <a:gd name="connsiteY164" fmla="*/ 361684 h 838042"/>
                <a:gd name="connsiteX165" fmla="*/ 719162 w 1037297"/>
                <a:gd name="connsiteY165" fmla="*/ 365494 h 838042"/>
                <a:gd name="connsiteX166" fmla="*/ 698207 w 1037297"/>
                <a:gd name="connsiteY166" fmla="*/ 367399 h 838042"/>
                <a:gd name="connsiteX167" fmla="*/ 671537 w 1037297"/>
                <a:gd name="connsiteY167" fmla="*/ 369304 h 838042"/>
                <a:gd name="connsiteX168" fmla="*/ 671537 w 1037297"/>
                <a:gd name="connsiteY168" fmla="*/ 369304 h 838042"/>
                <a:gd name="connsiteX169" fmla="*/ 648677 w 1037297"/>
                <a:gd name="connsiteY169" fmla="*/ 373114 h 838042"/>
                <a:gd name="connsiteX170" fmla="*/ 644867 w 1037297"/>
                <a:gd name="connsiteY170" fmla="*/ 361684 h 838042"/>
                <a:gd name="connsiteX171" fmla="*/ 642962 w 1037297"/>
                <a:gd name="connsiteY171" fmla="*/ 355969 h 838042"/>
                <a:gd name="connsiteX172" fmla="*/ 644867 w 1037297"/>
                <a:gd name="connsiteY172" fmla="*/ 338824 h 838042"/>
                <a:gd name="connsiteX173" fmla="*/ 646772 w 1037297"/>
                <a:gd name="connsiteY173" fmla="*/ 333109 h 838042"/>
                <a:gd name="connsiteX174" fmla="*/ 663917 w 1037297"/>
                <a:gd name="connsiteY174" fmla="*/ 323584 h 838042"/>
                <a:gd name="connsiteX175" fmla="*/ 675347 w 1037297"/>
                <a:gd name="connsiteY175" fmla="*/ 315964 h 838042"/>
                <a:gd name="connsiteX176" fmla="*/ 677252 w 1037297"/>
                <a:gd name="connsiteY176" fmla="*/ 310249 h 838042"/>
                <a:gd name="connsiteX177" fmla="*/ 682967 w 1037297"/>
                <a:gd name="connsiteY177" fmla="*/ 308344 h 838042"/>
                <a:gd name="connsiteX178" fmla="*/ 688682 w 1037297"/>
                <a:gd name="connsiteY178" fmla="*/ 304534 h 838042"/>
                <a:gd name="connsiteX179" fmla="*/ 698207 w 1037297"/>
                <a:gd name="connsiteY179" fmla="*/ 295009 h 838042"/>
                <a:gd name="connsiteX180" fmla="*/ 707732 w 1037297"/>
                <a:gd name="connsiteY180" fmla="*/ 283579 h 838042"/>
                <a:gd name="connsiteX181" fmla="*/ 719162 w 1037297"/>
                <a:gd name="connsiteY181" fmla="*/ 275959 h 838042"/>
                <a:gd name="connsiteX182" fmla="*/ 734402 w 1037297"/>
                <a:gd name="connsiteY182" fmla="*/ 262624 h 838042"/>
                <a:gd name="connsiteX183" fmla="*/ 743927 w 1037297"/>
                <a:gd name="connsiteY183" fmla="*/ 251194 h 838042"/>
                <a:gd name="connsiteX184" fmla="*/ 755357 w 1037297"/>
                <a:gd name="connsiteY184" fmla="*/ 241669 h 838042"/>
                <a:gd name="connsiteX185" fmla="*/ 761072 w 1037297"/>
                <a:gd name="connsiteY185" fmla="*/ 230239 h 838042"/>
                <a:gd name="connsiteX186" fmla="*/ 762977 w 1037297"/>
                <a:gd name="connsiteY186" fmla="*/ 224524 h 838042"/>
                <a:gd name="connsiteX187" fmla="*/ 768692 w 1037297"/>
                <a:gd name="connsiteY187" fmla="*/ 213094 h 838042"/>
                <a:gd name="connsiteX188" fmla="*/ 766787 w 1037297"/>
                <a:gd name="connsiteY188" fmla="*/ 197854 h 838042"/>
                <a:gd name="connsiteX189" fmla="*/ 761072 w 1037297"/>
                <a:gd name="connsiteY189" fmla="*/ 195949 h 838042"/>
                <a:gd name="connsiteX190" fmla="*/ 740117 w 1037297"/>
                <a:gd name="connsiteY190" fmla="*/ 197854 h 838042"/>
                <a:gd name="connsiteX191" fmla="*/ 734402 w 1037297"/>
                <a:gd name="connsiteY191" fmla="*/ 201664 h 838042"/>
                <a:gd name="connsiteX192" fmla="*/ 722972 w 1037297"/>
                <a:gd name="connsiteY192" fmla="*/ 205474 h 838042"/>
                <a:gd name="connsiteX193" fmla="*/ 719162 w 1037297"/>
                <a:gd name="connsiteY193" fmla="*/ 211189 h 838042"/>
                <a:gd name="connsiteX194" fmla="*/ 713447 w 1037297"/>
                <a:gd name="connsiteY194" fmla="*/ 213094 h 838042"/>
                <a:gd name="connsiteX195" fmla="*/ 707732 w 1037297"/>
                <a:gd name="connsiteY195" fmla="*/ 216904 h 838042"/>
                <a:gd name="connsiteX196" fmla="*/ 702017 w 1037297"/>
                <a:gd name="connsiteY196" fmla="*/ 222619 h 838042"/>
                <a:gd name="connsiteX197" fmla="*/ 694397 w 1037297"/>
                <a:gd name="connsiteY197" fmla="*/ 226429 h 838042"/>
                <a:gd name="connsiteX198" fmla="*/ 652487 w 1037297"/>
                <a:gd name="connsiteY198" fmla="*/ 255004 h 838042"/>
                <a:gd name="connsiteX199" fmla="*/ 639152 w 1037297"/>
                <a:gd name="connsiteY199" fmla="*/ 266434 h 838042"/>
                <a:gd name="connsiteX200" fmla="*/ 629627 w 1037297"/>
                <a:gd name="connsiteY200" fmla="*/ 283579 h 838042"/>
                <a:gd name="connsiteX201" fmla="*/ 604862 w 1037297"/>
                <a:gd name="connsiteY201" fmla="*/ 289294 h 838042"/>
                <a:gd name="connsiteX202" fmla="*/ 591527 w 1037297"/>
                <a:gd name="connsiteY202" fmla="*/ 293104 h 838042"/>
                <a:gd name="connsiteX203" fmla="*/ 576287 w 1037297"/>
                <a:gd name="connsiteY203" fmla="*/ 291199 h 838042"/>
                <a:gd name="connsiteX204" fmla="*/ 564857 w 1037297"/>
                <a:gd name="connsiteY204" fmla="*/ 287389 h 838042"/>
                <a:gd name="connsiteX205" fmla="*/ 553427 w 1037297"/>
                <a:gd name="connsiteY205" fmla="*/ 283579 h 838042"/>
                <a:gd name="connsiteX206" fmla="*/ 541997 w 1037297"/>
                <a:gd name="connsiteY206" fmla="*/ 279769 h 838042"/>
                <a:gd name="connsiteX207" fmla="*/ 536282 w 1037297"/>
                <a:gd name="connsiteY207" fmla="*/ 277864 h 838042"/>
                <a:gd name="connsiteX208" fmla="*/ 530567 w 1037297"/>
                <a:gd name="connsiteY208" fmla="*/ 274054 h 838042"/>
                <a:gd name="connsiteX209" fmla="*/ 519137 w 1037297"/>
                <a:gd name="connsiteY209" fmla="*/ 268339 h 838042"/>
                <a:gd name="connsiteX210" fmla="*/ 511517 w 1037297"/>
                <a:gd name="connsiteY210" fmla="*/ 256909 h 838042"/>
                <a:gd name="connsiteX211" fmla="*/ 507707 w 1037297"/>
                <a:gd name="connsiteY211" fmla="*/ 235954 h 838042"/>
                <a:gd name="connsiteX212" fmla="*/ 509612 w 1037297"/>
                <a:gd name="connsiteY212" fmla="*/ 171184 h 838042"/>
                <a:gd name="connsiteX213" fmla="*/ 508314 w 1037297"/>
                <a:gd name="connsiteY213" fmla="*/ 73485 h 838042"/>
                <a:gd name="connsiteX214" fmla="*/ 454116 w 1037297"/>
                <a:gd name="connsiteY214" fmla="*/ 11248 h 838042"/>
                <a:gd name="connsiteX215" fmla="*/ 435401 w 1037297"/>
                <a:gd name="connsiteY215" fmla="*/ 68523 h 838042"/>
                <a:gd name="connsiteX216" fmla="*/ 427697 w 1037297"/>
                <a:gd name="connsiteY216" fmla="*/ 137103 h 838042"/>
                <a:gd name="connsiteX217" fmla="*/ 420077 w 1037297"/>
                <a:gd name="connsiteY217" fmla="*/ 169279 h 838042"/>
                <a:gd name="connsiteX218" fmla="*/ 416267 w 1037297"/>
                <a:gd name="connsiteY218" fmla="*/ 186424 h 838042"/>
                <a:gd name="connsiteX219" fmla="*/ 420077 w 1037297"/>
                <a:gd name="connsiteY219" fmla="*/ 207379 h 838042"/>
                <a:gd name="connsiteX220" fmla="*/ 423887 w 1037297"/>
                <a:gd name="connsiteY220" fmla="*/ 213094 h 838042"/>
                <a:gd name="connsiteX221" fmla="*/ 427697 w 1037297"/>
                <a:gd name="connsiteY221" fmla="*/ 224524 h 838042"/>
                <a:gd name="connsiteX222" fmla="*/ 425792 w 1037297"/>
                <a:gd name="connsiteY222" fmla="*/ 251194 h 838042"/>
                <a:gd name="connsiteX223" fmla="*/ 420077 w 1037297"/>
                <a:gd name="connsiteY223" fmla="*/ 253099 h 838042"/>
                <a:gd name="connsiteX224" fmla="*/ 414362 w 1037297"/>
                <a:gd name="connsiteY224" fmla="*/ 256909 h 838042"/>
                <a:gd name="connsiteX225" fmla="*/ 423887 w 1037297"/>
                <a:gd name="connsiteY225"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12457 w 1037297"/>
                <a:gd name="connsiteY103" fmla="*/ 716014 h 838042"/>
                <a:gd name="connsiteX104" fmla="*/ 416267 w 1037297"/>
                <a:gd name="connsiteY104" fmla="*/ 702679 h 838042"/>
                <a:gd name="connsiteX105" fmla="*/ 418172 w 1037297"/>
                <a:gd name="connsiteY105" fmla="*/ 696964 h 838042"/>
                <a:gd name="connsiteX106" fmla="*/ 423887 w 1037297"/>
                <a:gd name="connsiteY106" fmla="*/ 672199 h 838042"/>
                <a:gd name="connsiteX107" fmla="*/ 429602 w 1037297"/>
                <a:gd name="connsiteY107" fmla="*/ 658864 h 838042"/>
                <a:gd name="connsiteX108" fmla="*/ 439127 w 1037297"/>
                <a:gd name="connsiteY108" fmla="*/ 647434 h 838042"/>
                <a:gd name="connsiteX109" fmla="*/ 452462 w 1037297"/>
                <a:gd name="connsiteY109" fmla="*/ 632194 h 838042"/>
                <a:gd name="connsiteX110" fmla="*/ 460082 w 1037297"/>
                <a:gd name="connsiteY110" fmla="*/ 620764 h 838042"/>
                <a:gd name="connsiteX111" fmla="*/ 463892 w 1037297"/>
                <a:gd name="connsiteY111" fmla="*/ 609334 h 838042"/>
                <a:gd name="connsiteX112" fmla="*/ 467702 w 1037297"/>
                <a:gd name="connsiteY112" fmla="*/ 594094 h 838042"/>
                <a:gd name="connsiteX113" fmla="*/ 469607 w 1037297"/>
                <a:gd name="connsiteY113" fmla="*/ 588379 h 838042"/>
                <a:gd name="connsiteX114" fmla="*/ 509612 w 1037297"/>
                <a:gd name="connsiteY114" fmla="*/ 582664 h 838042"/>
                <a:gd name="connsiteX115" fmla="*/ 538187 w 1037297"/>
                <a:gd name="connsiteY115" fmla="*/ 573139 h 838042"/>
                <a:gd name="connsiteX116" fmla="*/ 543902 w 1037297"/>
                <a:gd name="connsiteY116" fmla="*/ 571234 h 838042"/>
                <a:gd name="connsiteX117" fmla="*/ 549617 w 1037297"/>
                <a:gd name="connsiteY117" fmla="*/ 569329 h 838042"/>
                <a:gd name="connsiteX118" fmla="*/ 557237 w 1037297"/>
                <a:gd name="connsiteY118" fmla="*/ 567424 h 838042"/>
                <a:gd name="connsiteX119" fmla="*/ 576287 w 1037297"/>
                <a:gd name="connsiteY119" fmla="*/ 559804 h 838042"/>
                <a:gd name="connsiteX120" fmla="*/ 587717 w 1037297"/>
                <a:gd name="connsiteY120" fmla="*/ 555994 h 838042"/>
                <a:gd name="connsiteX121" fmla="*/ 722972 w 1037297"/>
                <a:gd name="connsiteY121" fmla="*/ 639814 h 838042"/>
                <a:gd name="connsiteX122" fmla="*/ 780122 w 1037297"/>
                <a:gd name="connsiteY122" fmla="*/ 656959 h 838042"/>
                <a:gd name="connsiteX123" fmla="*/ 791552 w 1037297"/>
                <a:gd name="connsiteY123" fmla="*/ 651244 h 838042"/>
                <a:gd name="connsiteX124" fmla="*/ 797267 w 1037297"/>
                <a:gd name="connsiteY124" fmla="*/ 649339 h 838042"/>
                <a:gd name="connsiteX125" fmla="*/ 804887 w 1037297"/>
                <a:gd name="connsiteY125" fmla="*/ 632194 h 838042"/>
                <a:gd name="connsiteX126" fmla="*/ 802982 w 1037297"/>
                <a:gd name="connsiteY126" fmla="*/ 607429 h 838042"/>
                <a:gd name="connsiteX127" fmla="*/ 801077 w 1037297"/>
                <a:gd name="connsiteY127" fmla="*/ 601714 h 838042"/>
                <a:gd name="connsiteX128" fmla="*/ 799172 w 1037297"/>
                <a:gd name="connsiteY128" fmla="*/ 594094 h 838042"/>
                <a:gd name="connsiteX129" fmla="*/ 785837 w 1037297"/>
                <a:gd name="connsiteY129" fmla="*/ 576949 h 838042"/>
                <a:gd name="connsiteX130" fmla="*/ 776312 w 1037297"/>
                <a:gd name="connsiteY130" fmla="*/ 571234 h 838042"/>
                <a:gd name="connsiteX131" fmla="*/ 650582 w 1037297"/>
                <a:gd name="connsiteY131" fmla="*/ 479794 h 838042"/>
                <a:gd name="connsiteX132" fmla="*/ 646772 w 1037297"/>
                <a:gd name="connsiteY132" fmla="*/ 462649 h 838042"/>
                <a:gd name="connsiteX133" fmla="*/ 648677 w 1037297"/>
                <a:gd name="connsiteY133" fmla="*/ 455029 h 838042"/>
                <a:gd name="connsiteX134" fmla="*/ 652487 w 1037297"/>
                <a:gd name="connsiteY134" fmla="*/ 437884 h 838042"/>
                <a:gd name="connsiteX135" fmla="*/ 656297 w 1037297"/>
                <a:gd name="connsiteY135" fmla="*/ 432169 h 838042"/>
                <a:gd name="connsiteX136" fmla="*/ 658202 w 1037297"/>
                <a:gd name="connsiteY136" fmla="*/ 426454 h 838042"/>
                <a:gd name="connsiteX137" fmla="*/ 663917 w 1037297"/>
                <a:gd name="connsiteY137" fmla="*/ 424549 h 838042"/>
                <a:gd name="connsiteX138" fmla="*/ 673442 w 1037297"/>
                <a:gd name="connsiteY138" fmla="*/ 413119 h 838042"/>
                <a:gd name="connsiteX139" fmla="*/ 726782 w 1037297"/>
                <a:gd name="connsiteY139" fmla="*/ 405499 h 838042"/>
                <a:gd name="connsiteX140" fmla="*/ 844892 w 1037297"/>
                <a:gd name="connsiteY140" fmla="*/ 407404 h 838042"/>
                <a:gd name="connsiteX141" fmla="*/ 873467 w 1037297"/>
                <a:gd name="connsiteY141" fmla="*/ 409309 h 838042"/>
                <a:gd name="connsiteX142" fmla="*/ 902042 w 1037297"/>
                <a:gd name="connsiteY142" fmla="*/ 415024 h 838042"/>
                <a:gd name="connsiteX143" fmla="*/ 924902 w 1037297"/>
                <a:gd name="connsiteY143" fmla="*/ 418834 h 838042"/>
                <a:gd name="connsiteX144" fmla="*/ 953477 w 1037297"/>
                <a:gd name="connsiteY144" fmla="*/ 424549 h 838042"/>
                <a:gd name="connsiteX145" fmla="*/ 959192 w 1037297"/>
                <a:gd name="connsiteY145" fmla="*/ 424549 h 838042"/>
                <a:gd name="connsiteX146" fmla="*/ 1004912 w 1037297"/>
                <a:gd name="connsiteY146" fmla="*/ 422644 h 838042"/>
                <a:gd name="connsiteX147" fmla="*/ 1033487 w 1037297"/>
                <a:gd name="connsiteY147" fmla="*/ 415024 h 838042"/>
                <a:gd name="connsiteX148" fmla="*/ 1037297 w 1037297"/>
                <a:gd name="connsiteY148" fmla="*/ 409309 h 838042"/>
                <a:gd name="connsiteX149" fmla="*/ 1035392 w 1037297"/>
                <a:gd name="connsiteY149" fmla="*/ 390259 h 838042"/>
                <a:gd name="connsiteX150" fmla="*/ 1029677 w 1037297"/>
                <a:gd name="connsiteY150" fmla="*/ 386449 h 838042"/>
                <a:gd name="connsiteX151" fmla="*/ 1014437 w 1037297"/>
                <a:gd name="connsiteY151" fmla="*/ 384544 h 838042"/>
                <a:gd name="connsiteX152" fmla="*/ 1008722 w 1037297"/>
                <a:gd name="connsiteY152" fmla="*/ 382639 h 838042"/>
                <a:gd name="connsiteX153" fmla="*/ 1001102 w 1037297"/>
                <a:gd name="connsiteY153" fmla="*/ 380734 h 838042"/>
                <a:gd name="connsiteX154" fmla="*/ 989672 w 1037297"/>
                <a:gd name="connsiteY154" fmla="*/ 373114 h 838042"/>
                <a:gd name="connsiteX155" fmla="*/ 978242 w 1037297"/>
                <a:gd name="connsiteY155" fmla="*/ 369304 h 838042"/>
                <a:gd name="connsiteX156" fmla="*/ 972527 w 1037297"/>
                <a:gd name="connsiteY156" fmla="*/ 367399 h 838042"/>
                <a:gd name="connsiteX157" fmla="*/ 964907 w 1037297"/>
                <a:gd name="connsiteY157" fmla="*/ 365494 h 838042"/>
                <a:gd name="connsiteX158" fmla="*/ 959192 w 1037297"/>
                <a:gd name="connsiteY158" fmla="*/ 363589 h 838042"/>
                <a:gd name="connsiteX159" fmla="*/ 938237 w 1037297"/>
                <a:gd name="connsiteY159" fmla="*/ 357874 h 838042"/>
                <a:gd name="connsiteX160" fmla="*/ 932522 w 1037297"/>
                <a:gd name="connsiteY160" fmla="*/ 355969 h 838042"/>
                <a:gd name="connsiteX161" fmla="*/ 827747 w 1037297"/>
                <a:gd name="connsiteY161" fmla="*/ 357874 h 838042"/>
                <a:gd name="connsiteX162" fmla="*/ 822032 w 1037297"/>
                <a:gd name="connsiteY162" fmla="*/ 359779 h 838042"/>
                <a:gd name="connsiteX163" fmla="*/ 732497 w 1037297"/>
                <a:gd name="connsiteY163" fmla="*/ 361684 h 838042"/>
                <a:gd name="connsiteX164" fmla="*/ 719162 w 1037297"/>
                <a:gd name="connsiteY164" fmla="*/ 365494 h 838042"/>
                <a:gd name="connsiteX165" fmla="*/ 698207 w 1037297"/>
                <a:gd name="connsiteY165" fmla="*/ 367399 h 838042"/>
                <a:gd name="connsiteX166" fmla="*/ 671537 w 1037297"/>
                <a:gd name="connsiteY166" fmla="*/ 369304 h 838042"/>
                <a:gd name="connsiteX167" fmla="*/ 671537 w 1037297"/>
                <a:gd name="connsiteY167" fmla="*/ 369304 h 838042"/>
                <a:gd name="connsiteX168" fmla="*/ 648677 w 1037297"/>
                <a:gd name="connsiteY168" fmla="*/ 373114 h 838042"/>
                <a:gd name="connsiteX169" fmla="*/ 644867 w 1037297"/>
                <a:gd name="connsiteY169" fmla="*/ 361684 h 838042"/>
                <a:gd name="connsiteX170" fmla="*/ 642962 w 1037297"/>
                <a:gd name="connsiteY170" fmla="*/ 355969 h 838042"/>
                <a:gd name="connsiteX171" fmla="*/ 644867 w 1037297"/>
                <a:gd name="connsiteY171" fmla="*/ 338824 h 838042"/>
                <a:gd name="connsiteX172" fmla="*/ 646772 w 1037297"/>
                <a:gd name="connsiteY172" fmla="*/ 333109 h 838042"/>
                <a:gd name="connsiteX173" fmla="*/ 663917 w 1037297"/>
                <a:gd name="connsiteY173" fmla="*/ 323584 h 838042"/>
                <a:gd name="connsiteX174" fmla="*/ 675347 w 1037297"/>
                <a:gd name="connsiteY174" fmla="*/ 315964 h 838042"/>
                <a:gd name="connsiteX175" fmla="*/ 677252 w 1037297"/>
                <a:gd name="connsiteY175" fmla="*/ 310249 h 838042"/>
                <a:gd name="connsiteX176" fmla="*/ 682967 w 1037297"/>
                <a:gd name="connsiteY176" fmla="*/ 308344 h 838042"/>
                <a:gd name="connsiteX177" fmla="*/ 688682 w 1037297"/>
                <a:gd name="connsiteY177" fmla="*/ 304534 h 838042"/>
                <a:gd name="connsiteX178" fmla="*/ 698207 w 1037297"/>
                <a:gd name="connsiteY178" fmla="*/ 295009 h 838042"/>
                <a:gd name="connsiteX179" fmla="*/ 707732 w 1037297"/>
                <a:gd name="connsiteY179" fmla="*/ 283579 h 838042"/>
                <a:gd name="connsiteX180" fmla="*/ 719162 w 1037297"/>
                <a:gd name="connsiteY180" fmla="*/ 275959 h 838042"/>
                <a:gd name="connsiteX181" fmla="*/ 734402 w 1037297"/>
                <a:gd name="connsiteY181" fmla="*/ 262624 h 838042"/>
                <a:gd name="connsiteX182" fmla="*/ 743927 w 1037297"/>
                <a:gd name="connsiteY182" fmla="*/ 251194 h 838042"/>
                <a:gd name="connsiteX183" fmla="*/ 755357 w 1037297"/>
                <a:gd name="connsiteY183" fmla="*/ 241669 h 838042"/>
                <a:gd name="connsiteX184" fmla="*/ 761072 w 1037297"/>
                <a:gd name="connsiteY184" fmla="*/ 230239 h 838042"/>
                <a:gd name="connsiteX185" fmla="*/ 762977 w 1037297"/>
                <a:gd name="connsiteY185" fmla="*/ 224524 h 838042"/>
                <a:gd name="connsiteX186" fmla="*/ 768692 w 1037297"/>
                <a:gd name="connsiteY186" fmla="*/ 213094 h 838042"/>
                <a:gd name="connsiteX187" fmla="*/ 766787 w 1037297"/>
                <a:gd name="connsiteY187" fmla="*/ 197854 h 838042"/>
                <a:gd name="connsiteX188" fmla="*/ 761072 w 1037297"/>
                <a:gd name="connsiteY188" fmla="*/ 195949 h 838042"/>
                <a:gd name="connsiteX189" fmla="*/ 740117 w 1037297"/>
                <a:gd name="connsiteY189" fmla="*/ 197854 h 838042"/>
                <a:gd name="connsiteX190" fmla="*/ 734402 w 1037297"/>
                <a:gd name="connsiteY190" fmla="*/ 201664 h 838042"/>
                <a:gd name="connsiteX191" fmla="*/ 722972 w 1037297"/>
                <a:gd name="connsiteY191" fmla="*/ 205474 h 838042"/>
                <a:gd name="connsiteX192" fmla="*/ 719162 w 1037297"/>
                <a:gd name="connsiteY192" fmla="*/ 211189 h 838042"/>
                <a:gd name="connsiteX193" fmla="*/ 713447 w 1037297"/>
                <a:gd name="connsiteY193" fmla="*/ 213094 h 838042"/>
                <a:gd name="connsiteX194" fmla="*/ 707732 w 1037297"/>
                <a:gd name="connsiteY194" fmla="*/ 216904 h 838042"/>
                <a:gd name="connsiteX195" fmla="*/ 702017 w 1037297"/>
                <a:gd name="connsiteY195" fmla="*/ 222619 h 838042"/>
                <a:gd name="connsiteX196" fmla="*/ 694397 w 1037297"/>
                <a:gd name="connsiteY196" fmla="*/ 226429 h 838042"/>
                <a:gd name="connsiteX197" fmla="*/ 652487 w 1037297"/>
                <a:gd name="connsiteY197" fmla="*/ 255004 h 838042"/>
                <a:gd name="connsiteX198" fmla="*/ 639152 w 1037297"/>
                <a:gd name="connsiteY198" fmla="*/ 266434 h 838042"/>
                <a:gd name="connsiteX199" fmla="*/ 629627 w 1037297"/>
                <a:gd name="connsiteY199" fmla="*/ 283579 h 838042"/>
                <a:gd name="connsiteX200" fmla="*/ 604862 w 1037297"/>
                <a:gd name="connsiteY200" fmla="*/ 289294 h 838042"/>
                <a:gd name="connsiteX201" fmla="*/ 591527 w 1037297"/>
                <a:gd name="connsiteY201" fmla="*/ 293104 h 838042"/>
                <a:gd name="connsiteX202" fmla="*/ 576287 w 1037297"/>
                <a:gd name="connsiteY202" fmla="*/ 291199 h 838042"/>
                <a:gd name="connsiteX203" fmla="*/ 564857 w 1037297"/>
                <a:gd name="connsiteY203" fmla="*/ 287389 h 838042"/>
                <a:gd name="connsiteX204" fmla="*/ 553427 w 1037297"/>
                <a:gd name="connsiteY204" fmla="*/ 283579 h 838042"/>
                <a:gd name="connsiteX205" fmla="*/ 541997 w 1037297"/>
                <a:gd name="connsiteY205" fmla="*/ 279769 h 838042"/>
                <a:gd name="connsiteX206" fmla="*/ 536282 w 1037297"/>
                <a:gd name="connsiteY206" fmla="*/ 277864 h 838042"/>
                <a:gd name="connsiteX207" fmla="*/ 530567 w 1037297"/>
                <a:gd name="connsiteY207" fmla="*/ 274054 h 838042"/>
                <a:gd name="connsiteX208" fmla="*/ 519137 w 1037297"/>
                <a:gd name="connsiteY208" fmla="*/ 268339 h 838042"/>
                <a:gd name="connsiteX209" fmla="*/ 511517 w 1037297"/>
                <a:gd name="connsiteY209" fmla="*/ 256909 h 838042"/>
                <a:gd name="connsiteX210" fmla="*/ 507707 w 1037297"/>
                <a:gd name="connsiteY210" fmla="*/ 235954 h 838042"/>
                <a:gd name="connsiteX211" fmla="*/ 509612 w 1037297"/>
                <a:gd name="connsiteY211" fmla="*/ 171184 h 838042"/>
                <a:gd name="connsiteX212" fmla="*/ 508314 w 1037297"/>
                <a:gd name="connsiteY212" fmla="*/ 73485 h 838042"/>
                <a:gd name="connsiteX213" fmla="*/ 454116 w 1037297"/>
                <a:gd name="connsiteY213" fmla="*/ 11248 h 838042"/>
                <a:gd name="connsiteX214" fmla="*/ 435401 w 1037297"/>
                <a:gd name="connsiteY214" fmla="*/ 68523 h 838042"/>
                <a:gd name="connsiteX215" fmla="*/ 427697 w 1037297"/>
                <a:gd name="connsiteY215" fmla="*/ 137103 h 838042"/>
                <a:gd name="connsiteX216" fmla="*/ 420077 w 1037297"/>
                <a:gd name="connsiteY216" fmla="*/ 169279 h 838042"/>
                <a:gd name="connsiteX217" fmla="*/ 416267 w 1037297"/>
                <a:gd name="connsiteY217" fmla="*/ 186424 h 838042"/>
                <a:gd name="connsiteX218" fmla="*/ 420077 w 1037297"/>
                <a:gd name="connsiteY218" fmla="*/ 207379 h 838042"/>
                <a:gd name="connsiteX219" fmla="*/ 423887 w 1037297"/>
                <a:gd name="connsiteY219" fmla="*/ 213094 h 838042"/>
                <a:gd name="connsiteX220" fmla="*/ 427697 w 1037297"/>
                <a:gd name="connsiteY220" fmla="*/ 224524 h 838042"/>
                <a:gd name="connsiteX221" fmla="*/ 425792 w 1037297"/>
                <a:gd name="connsiteY221" fmla="*/ 251194 h 838042"/>
                <a:gd name="connsiteX222" fmla="*/ 420077 w 1037297"/>
                <a:gd name="connsiteY222" fmla="*/ 253099 h 838042"/>
                <a:gd name="connsiteX223" fmla="*/ 414362 w 1037297"/>
                <a:gd name="connsiteY223" fmla="*/ 256909 h 838042"/>
                <a:gd name="connsiteX224" fmla="*/ 423887 w 1037297"/>
                <a:gd name="connsiteY22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12457 w 1037297"/>
                <a:gd name="connsiteY103" fmla="*/ 716014 h 838042"/>
                <a:gd name="connsiteX104" fmla="*/ 416267 w 1037297"/>
                <a:gd name="connsiteY104" fmla="*/ 702679 h 838042"/>
                <a:gd name="connsiteX105" fmla="*/ 423887 w 1037297"/>
                <a:gd name="connsiteY105" fmla="*/ 672199 h 838042"/>
                <a:gd name="connsiteX106" fmla="*/ 429602 w 1037297"/>
                <a:gd name="connsiteY106" fmla="*/ 658864 h 838042"/>
                <a:gd name="connsiteX107" fmla="*/ 439127 w 1037297"/>
                <a:gd name="connsiteY107" fmla="*/ 647434 h 838042"/>
                <a:gd name="connsiteX108" fmla="*/ 452462 w 1037297"/>
                <a:gd name="connsiteY108" fmla="*/ 632194 h 838042"/>
                <a:gd name="connsiteX109" fmla="*/ 460082 w 1037297"/>
                <a:gd name="connsiteY109" fmla="*/ 620764 h 838042"/>
                <a:gd name="connsiteX110" fmla="*/ 463892 w 1037297"/>
                <a:gd name="connsiteY110" fmla="*/ 609334 h 838042"/>
                <a:gd name="connsiteX111" fmla="*/ 467702 w 1037297"/>
                <a:gd name="connsiteY111" fmla="*/ 594094 h 838042"/>
                <a:gd name="connsiteX112" fmla="*/ 469607 w 1037297"/>
                <a:gd name="connsiteY112" fmla="*/ 588379 h 838042"/>
                <a:gd name="connsiteX113" fmla="*/ 509612 w 1037297"/>
                <a:gd name="connsiteY113" fmla="*/ 582664 h 838042"/>
                <a:gd name="connsiteX114" fmla="*/ 538187 w 1037297"/>
                <a:gd name="connsiteY114" fmla="*/ 573139 h 838042"/>
                <a:gd name="connsiteX115" fmla="*/ 543902 w 1037297"/>
                <a:gd name="connsiteY115" fmla="*/ 571234 h 838042"/>
                <a:gd name="connsiteX116" fmla="*/ 549617 w 1037297"/>
                <a:gd name="connsiteY116" fmla="*/ 569329 h 838042"/>
                <a:gd name="connsiteX117" fmla="*/ 557237 w 1037297"/>
                <a:gd name="connsiteY117" fmla="*/ 567424 h 838042"/>
                <a:gd name="connsiteX118" fmla="*/ 576287 w 1037297"/>
                <a:gd name="connsiteY118" fmla="*/ 559804 h 838042"/>
                <a:gd name="connsiteX119" fmla="*/ 587717 w 1037297"/>
                <a:gd name="connsiteY119" fmla="*/ 555994 h 838042"/>
                <a:gd name="connsiteX120" fmla="*/ 722972 w 1037297"/>
                <a:gd name="connsiteY120" fmla="*/ 639814 h 838042"/>
                <a:gd name="connsiteX121" fmla="*/ 780122 w 1037297"/>
                <a:gd name="connsiteY121" fmla="*/ 656959 h 838042"/>
                <a:gd name="connsiteX122" fmla="*/ 791552 w 1037297"/>
                <a:gd name="connsiteY122" fmla="*/ 651244 h 838042"/>
                <a:gd name="connsiteX123" fmla="*/ 797267 w 1037297"/>
                <a:gd name="connsiteY123" fmla="*/ 649339 h 838042"/>
                <a:gd name="connsiteX124" fmla="*/ 804887 w 1037297"/>
                <a:gd name="connsiteY124" fmla="*/ 632194 h 838042"/>
                <a:gd name="connsiteX125" fmla="*/ 802982 w 1037297"/>
                <a:gd name="connsiteY125" fmla="*/ 607429 h 838042"/>
                <a:gd name="connsiteX126" fmla="*/ 801077 w 1037297"/>
                <a:gd name="connsiteY126" fmla="*/ 601714 h 838042"/>
                <a:gd name="connsiteX127" fmla="*/ 799172 w 1037297"/>
                <a:gd name="connsiteY127" fmla="*/ 594094 h 838042"/>
                <a:gd name="connsiteX128" fmla="*/ 785837 w 1037297"/>
                <a:gd name="connsiteY128" fmla="*/ 576949 h 838042"/>
                <a:gd name="connsiteX129" fmla="*/ 776312 w 1037297"/>
                <a:gd name="connsiteY129" fmla="*/ 571234 h 838042"/>
                <a:gd name="connsiteX130" fmla="*/ 650582 w 1037297"/>
                <a:gd name="connsiteY130" fmla="*/ 479794 h 838042"/>
                <a:gd name="connsiteX131" fmla="*/ 646772 w 1037297"/>
                <a:gd name="connsiteY131" fmla="*/ 462649 h 838042"/>
                <a:gd name="connsiteX132" fmla="*/ 648677 w 1037297"/>
                <a:gd name="connsiteY132" fmla="*/ 455029 h 838042"/>
                <a:gd name="connsiteX133" fmla="*/ 652487 w 1037297"/>
                <a:gd name="connsiteY133" fmla="*/ 437884 h 838042"/>
                <a:gd name="connsiteX134" fmla="*/ 656297 w 1037297"/>
                <a:gd name="connsiteY134" fmla="*/ 432169 h 838042"/>
                <a:gd name="connsiteX135" fmla="*/ 658202 w 1037297"/>
                <a:gd name="connsiteY135" fmla="*/ 426454 h 838042"/>
                <a:gd name="connsiteX136" fmla="*/ 663917 w 1037297"/>
                <a:gd name="connsiteY136" fmla="*/ 424549 h 838042"/>
                <a:gd name="connsiteX137" fmla="*/ 673442 w 1037297"/>
                <a:gd name="connsiteY137" fmla="*/ 413119 h 838042"/>
                <a:gd name="connsiteX138" fmla="*/ 726782 w 1037297"/>
                <a:gd name="connsiteY138" fmla="*/ 405499 h 838042"/>
                <a:gd name="connsiteX139" fmla="*/ 844892 w 1037297"/>
                <a:gd name="connsiteY139" fmla="*/ 407404 h 838042"/>
                <a:gd name="connsiteX140" fmla="*/ 873467 w 1037297"/>
                <a:gd name="connsiteY140" fmla="*/ 409309 h 838042"/>
                <a:gd name="connsiteX141" fmla="*/ 902042 w 1037297"/>
                <a:gd name="connsiteY141" fmla="*/ 415024 h 838042"/>
                <a:gd name="connsiteX142" fmla="*/ 924902 w 1037297"/>
                <a:gd name="connsiteY142" fmla="*/ 418834 h 838042"/>
                <a:gd name="connsiteX143" fmla="*/ 953477 w 1037297"/>
                <a:gd name="connsiteY143" fmla="*/ 424549 h 838042"/>
                <a:gd name="connsiteX144" fmla="*/ 959192 w 1037297"/>
                <a:gd name="connsiteY144" fmla="*/ 424549 h 838042"/>
                <a:gd name="connsiteX145" fmla="*/ 1004912 w 1037297"/>
                <a:gd name="connsiteY145" fmla="*/ 422644 h 838042"/>
                <a:gd name="connsiteX146" fmla="*/ 1033487 w 1037297"/>
                <a:gd name="connsiteY146" fmla="*/ 415024 h 838042"/>
                <a:gd name="connsiteX147" fmla="*/ 1037297 w 1037297"/>
                <a:gd name="connsiteY147" fmla="*/ 409309 h 838042"/>
                <a:gd name="connsiteX148" fmla="*/ 1035392 w 1037297"/>
                <a:gd name="connsiteY148" fmla="*/ 390259 h 838042"/>
                <a:gd name="connsiteX149" fmla="*/ 1029677 w 1037297"/>
                <a:gd name="connsiteY149" fmla="*/ 386449 h 838042"/>
                <a:gd name="connsiteX150" fmla="*/ 1014437 w 1037297"/>
                <a:gd name="connsiteY150" fmla="*/ 384544 h 838042"/>
                <a:gd name="connsiteX151" fmla="*/ 1008722 w 1037297"/>
                <a:gd name="connsiteY151" fmla="*/ 382639 h 838042"/>
                <a:gd name="connsiteX152" fmla="*/ 1001102 w 1037297"/>
                <a:gd name="connsiteY152" fmla="*/ 380734 h 838042"/>
                <a:gd name="connsiteX153" fmla="*/ 989672 w 1037297"/>
                <a:gd name="connsiteY153" fmla="*/ 373114 h 838042"/>
                <a:gd name="connsiteX154" fmla="*/ 978242 w 1037297"/>
                <a:gd name="connsiteY154" fmla="*/ 369304 h 838042"/>
                <a:gd name="connsiteX155" fmla="*/ 972527 w 1037297"/>
                <a:gd name="connsiteY155" fmla="*/ 367399 h 838042"/>
                <a:gd name="connsiteX156" fmla="*/ 964907 w 1037297"/>
                <a:gd name="connsiteY156" fmla="*/ 365494 h 838042"/>
                <a:gd name="connsiteX157" fmla="*/ 959192 w 1037297"/>
                <a:gd name="connsiteY157" fmla="*/ 363589 h 838042"/>
                <a:gd name="connsiteX158" fmla="*/ 938237 w 1037297"/>
                <a:gd name="connsiteY158" fmla="*/ 357874 h 838042"/>
                <a:gd name="connsiteX159" fmla="*/ 932522 w 1037297"/>
                <a:gd name="connsiteY159" fmla="*/ 355969 h 838042"/>
                <a:gd name="connsiteX160" fmla="*/ 827747 w 1037297"/>
                <a:gd name="connsiteY160" fmla="*/ 357874 h 838042"/>
                <a:gd name="connsiteX161" fmla="*/ 822032 w 1037297"/>
                <a:gd name="connsiteY161" fmla="*/ 359779 h 838042"/>
                <a:gd name="connsiteX162" fmla="*/ 732497 w 1037297"/>
                <a:gd name="connsiteY162" fmla="*/ 361684 h 838042"/>
                <a:gd name="connsiteX163" fmla="*/ 719162 w 1037297"/>
                <a:gd name="connsiteY163" fmla="*/ 365494 h 838042"/>
                <a:gd name="connsiteX164" fmla="*/ 698207 w 1037297"/>
                <a:gd name="connsiteY164" fmla="*/ 367399 h 838042"/>
                <a:gd name="connsiteX165" fmla="*/ 671537 w 1037297"/>
                <a:gd name="connsiteY165" fmla="*/ 369304 h 838042"/>
                <a:gd name="connsiteX166" fmla="*/ 671537 w 1037297"/>
                <a:gd name="connsiteY166" fmla="*/ 369304 h 838042"/>
                <a:gd name="connsiteX167" fmla="*/ 648677 w 1037297"/>
                <a:gd name="connsiteY167" fmla="*/ 373114 h 838042"/>
                <a:gd name="connsiteX168" fmla="*/ 644867 w 1037297"/>
                <a:gd name="connsiteY168" fmla="*/ 361684 h 838042"/>
                <a:gd name="connsiteX169" fmla="*/ 642962 w 1037297"/>
                <a:gd name="connsiteY169" fmla="*/ 355969 h 838042"/>
                <a:gd name="connsiteX170" fmla="*/ 644867 w 1037297"/>
                <a:gd name="connsiteY170" fmla="*/ 338824 h 838042"/>
                <a:gd name="connsiteX171" fmla="*/ 646772 w 1037297"/>
                <a:gd name="connsiteY171" fmla="*/ 333109 h 838042"/>
                <a:gd name="connsiteX172" fmla="*/ 663917 w 1037297"/>
                <a:gd name="connsiteY172" fmla="*/ 323584 h 838042"/>
                <a:gd name="connsiteX173" fmla="*/ 675347 w 1037297"/>
                <a:gd name="connsiteY173" fmla="*/ 315964 h 838042"/>
                <a:gd name="connsiteX174" fmla="*/ 677252 w 1037297"/>
                <a:gd name="connsiteY174" fmla="*/ 310249 h 838042"/>
                <a:gd name="connsiteX175" fmla="*/ 682967 w 1037297"/>
                <a:gd name="connsiteY175" fmla="*/ 308344 h 838042"/>
                <a:gd name="connsiteX176" fmla="*/ 688682 w 1037297"/>
                <a:gd name="connsiteY176" fmla="*/ 304534 h 838042"/>
                <a:gd name="connsiteX177" fmla="*/ 698207 w 1037297"/>
                <a:gd name="connsiteY177" fmla="*/ 295009 h 838042"/>
                <a:gd name="connsiteX178" fmla="*/ 707732 w 1037297"/>
                <a:gd name="connsiteY178" fmla="*/ 283579 h 838042"/>
                <a:gd name="connsiteX179" fmla="*/ 719162 w 1037297"/>
                <a:gd name="connsiteY179" fmla="*/ 275959 h 838042"/>
                <a:gd name="connsiteX180" fmla="*/ 734402 w 1037297"/>
                <a:gd name="connsiteY180" fmla="*/ 262624 h 838042"/>
                <a:gd name="connsiteX181" fmla="*/ 743927 w 1037297"/>
                <a:gd name="connsiteY181" fmla="*/ 251194 h 838042"/>
                <a:gd name="connsiteX182" fmla="*/ 755357 w 1037297"/>
                <a:gd name="connsiteY182" fmla="*/ 241669 h 838042"/>
                <a:gd name="connsiteX183" fmla="*/ 761072 w 1037297"/>
                <a:gd name="connsiteY183" fmla="*/ 230239 h 838042"/>
                <a:gd name="connsiteX184" fmla="*/ 762977 w 1037297"/>
                <a:gd name="connsiteY184" fmla="*/ 224524 h 838042"/>
                <a:gd name="connsiteX185" fmla="*/ 768692 w 1037297"/>
                <a:gd name="connsiteY185" fmla="*/ 213094 h 838042"/>
                <a:gd name="connsiteX186" fmla="*/ 766787 w 1037297"/>
                <a:gd name="connsiteY186" fmla="*/ 197854 h 838042"/>
                <a:gd name="connsiteX187" fmla="*/ 761072 w 1037297"/>
                <a:gd name="connsiteY187" fmla="*/ 195949 h 838042"/>
                <a:gd name="connsiteX188" fmla="*/ 740117 w 1037297"/>
                <a:gd name="connsiteY188" fmla="*/ 197854 h 838042"/>
                <a:gd name="connsiteX189" fmla="*/ 734402 w 1037297"/>
                <a:gd name="connsiteY189" fmla="*/ 201664 h 838042"/>
                <a:gd name="connsiteX190" fmla="*/ 722972 w 1037297"/>
                <a:gd name="connsiteY190" fmla="*/ 205474 h 838042"/>
                <a:gd name="connsiteX191" fmla="*/ 719162 w 1037297"/>
                <a:gd name="connsiteY191" fmla="*/ 211189 h 838042"/>
                <a:gd name="connsiteX192" fmla="*/ 713447 w 1037297"/>
                <a:gd name="connsiteY192" fmla="*/ 213094 h 838042"/>
                <a:gd name="connsiteX193" fmla="*/ 707732 w 1037297"/>
                <a:gd name="connsiteY193" fmla="*/ 216904 h 838042"/>
                <a:gd name="connsiteX194" fmla="*/ 702017 w 1037297"/>
                <a:gd name="connsiteY194" fmla="*/ 222619 h 838042"/>
                <a:gd name="connsiteX195" fmla="*/ 694397 w 1037297"/>
                <a:gd name="connsiteY195" fmla="*/ 226429 h 838042"/>
                <a:gd name="connsiteX196" fmla="*/ 652487 w 1037297"/>
                <a:gd name="connsiteY196" fmla="*/ 255004 h 838042"/>
                <a:gd name="connsiteX197" fmla="*/ 639152 w 1037297"/>
                <a:gd name="connsiteY197" fmla="*/ 266434 h 838042"/>
                <a:gd name="connsiteX198" fmla="*/ 629627 w 1037297"/>
                <a:gd name="connsiteY198" fmla="*/ 283579 h 838042"/>
                <a:gd name="connsiteX199" fmla="*/ 604862 w 1037297"/>
                <a:gd name="connsiteY199" fmla="*/ 289294 h 838042"/>
                <a:gd name="connsiteX200" fmla="*/ 591527 w 1037297"/>
                <a:gd name="connsiteY200" fmla="*/ 293104 h 838042"/>
                <a:gd name="connsiteX201" fmla="*/ 576287 w 1037297"/>
                <a:gd name="connsiteY201" fmla="*/ 291199 h 838042"/>
                <a:gd name="connsiteX202" fmla="*/ 564857 w 1037297"/>
                <a:gd name="connsiteY202" fmla="*/ 287389 h 838042"/>
                <a:gd name="connsiteX203" fmla="*/ 553427 w 1037297"/>
                <a:gd name="connsiteY203" fmla="*/ 283579 h 838042"/>
                <a:gd name="connsiteX204" fmla="*/ 541997 w 1037297"/>
                <a:gd name="connsiteY204" fmla="*/ 279769 h 838042"/>
                <a:gd name="connsiteX205" fmla="*/ 536282 w 1037297"/>
                <a:gd name="connsiteY205" fmla="*/ 277864 h 838042"/>
                <a:gd name="connsiteX206" fmla="*/ 530567 w 1037297"/>
                <a:gd name="connsiteY206" fmla="*/ 274054 h 838042"/>
                <a:gd name="connsiteX207" fmla="*/ 519137 w 1037297"/>
                <a:gd name="connsiteY207" fmla="*/ 268339 h 838042"/>
                <a:gd name="connsiteX208" fmla="*/ 511517 w 1037297"/>
                <a:gd name="connsiteY208" fmla="*/ 256909 h 838042"/>
                <a:gd name="connsiteX209" fmla="*/ 507707 w 1037297"/>
                <a:gd name="connsiteY209" fmla="*/ 235954 h 838042"/>
                <a:gd name="connsiteX210" fmla="*/ 509612 w 1037297"/>
                <a:gd name="connsiteY210" fmla="*/ 171184 h 838042"/>
                <a:gd name="connsiteX211" fmla="*/ 508314 w 1037297"/>
                <a:gd name="connsiteY211" fmla="*/ 73485 h 838042"/>
                <a:gd name="connsiteX212" fmla="*/ 454116 w 1037297"/>
                <a:gd name="connsiteY212" fmla="*/ 11248 h 838042"/>
                <a:gd name="connsiteX213" fmla="*/ 435401 w 1037297"/>
                <a:gd name="connsiteY213" fmla="*/ 68523 h 838042"/>
                <a:gd name="connsiteX214" fmla="*/ 427697 w 1037297"/>
                <a:gd name="connsiteY214" fmla="*/ 137103 h 838042"/>
                <a:gd name="connsiteX215" fmla="*/ 420077 w 1037297"/>
                <a:gd name="connsiteY215" fmla="*/ 169279 h 838042"/>
                <a:gd name="connsiteX216" fmla="*/ 416267 w 1037297"/>
                <a:gd name="connsiteY216" fmla="*/ 186424 h 838042"/>
                <a:gd name="connsiteX217" fmla="*/ 420077 w 1037297"/>
                <a:gd name="connsiteY217" fmla="*/ 207379 h 838042"/>
                <a:gd name="connsiteX218" fmla="*/ 423887 w 1037297"/>
                <a:gd name="connsiteY218" fmla="*/ 213094 h 838042"/>
                <a:gd name="connsiteX219" fmla="*/ 427697 w 1037297"/>
                <a:gd name="connsiteY219" fmla="*/ 224524 h 838042"/>
                <a:gd name="connsiteX220" fmla="*/ 425792 w 1037297"/>
                <a:gd name="connsiteY220" fmla="*/ 251194 h 838042"/>
                <a:gd name="connsiteX221" fmla="*/ 420077 w 1037297"/>
                <a:gd name="connsiteY221" fmla="*/ 253099 h 838042"/>
                <a:gd name="connsiteX222" fmla="*/ 414362 w 1037297"/>
                <a:gd name="connsiteY222" fmla="*/ 256909 h 838042"/>
                <a:gd name="connsiteX223" fmla="*/ 423887 w 1037297"/>
                <a:gd name="connsiteY223"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12457 w 1037297"/>
                <a:gd name="connsiteY103" fmla="*/ 716014 h 838042"/>
                <a:gd name="connsiteX104" fmla="*/ 423887 w 1037297"/>
                <a:gd name="connsiteY104" fmla="*/ 672199 h 838042"/>
                <a:gd name="connsiteX105" fmla="*/ 429602 w 1037297"/>
                <a:gd name="connsiteY105" fmla="*/ 658864 h 838042"/>
                <a:gd name="connsiteX106" fmla="*/ 439127 w 1037297"/>
                <a:gd name="connsiteY106" fmla="*/ 647434 h 838042"/>
                <a:gd name="connsiteX107" fmla="*/ 452462 w 1037297"/>
                <a:gd name="connsiteY107" fmla="*/ 632194 h 838042"/>
                <a:gd name="connsiteX108" fmla="*/ 460082 w 1037297"/>
                <a:gd name="connsiteY108" fmla="*/ 620764 h 838042"/>
                <a:gd name="connsiteX109" fmla="*/ 463892 w 1037297"/>
                <a:gd name="connsiteY109" fmla="*/ 609334 h 838042"/>
                <a:gd name="connsiteX110" fmla="*/ 467702 w 1037297"/>
                <a:gd name="connsiteY110" fmla="*/ 594094 h 838042"/>
                <a:gd name="connsiteX111" fmla="*/ 469607 w 1037297"/>
                <a:gd name="connsiteY111" fmla="*/ 588379 h 838042"/>
                <a:gd name="connsiteX112" fmla="*/ 509612 w 1037297"/>
                <a:gd name="connsiteY112" fmla="*/ 582664 h 838042"/>
                <a:gd name="connsiteX113" fmla="*/ 538187 w 1037297"/>
                <a:gd name="connsiteY113" fmla="*/ 573139 h 838042"/>
                <a:gd name="connsiteX114" fmla="*/ 543902 w 1037297"/>
                <a:gd name="connsiteY114" fmla="*/ 571234 h 838042"/>
                <a:gd name="connsiteX115" fmla="*/ 549617 w 1037297"/>
                <a:gd name="connsiteY115" fmla="*/ 569329 h 838042"/>
                <a:gd name="connsiteX116" fmla="*/ 557237 w 1037297"/>
                <a:gd name="connsiteY116" fmla="*/ 567424 h 838042"/>
                <a:gd name="connsiteX117" fmla="*/ 576287 w 1037297"/>
                <a:gd name="connsiteY117" fmla="*/ 559804 h 838042"/>
                <a:gd name="connsiteX118" fmla="*/ 587717 w 1037297"/>
                <a:gd name="connsiteY118" fmla="*/ 555994 h 838042"/>
                <a:gd name="connsiteX119" fmla="*/ 722972 w 1037297"/>
                <a:gd name="connsiteY119" fmla="*/ 639814 h 838042"/>
                <a:gd name="connsiteX120" fmla="*/ 780122 w 1037297"/>
                <a:gd name="connsiteY120" fmla="*/ 656959 h 838042"/>
                <a:gd name="connsiteX121" fmla="*/ 791552 w 1037297"/>
                <a:gd name="connsiteY121" fmla="*/ 651244 h 838042"/>
                <a:gd name="connsiteX122" fmla="*/ 797267 w 1037297"/>
                <a:gd name="connsiteY122" fmla="*/ 649339 h 838042"/>
                <a:gd name="connsiteX123" fmla="*/ 804887 w 1037297"/>
                <a:gd name="connsiteY123" fmla="*/ 632194 h 838042"/>
                <a:gd name="connsiteX124" fmla="*/ 802982 w 1037297"/>
                <a:gd name="connsiteY124" fmla="*/ 607429 h 838042"/>
                <a:gd name="connsiteX125" fmla="*/ 801077 w 1037297"/>
                <a:gd name="connsiteY125" fmla="*/ 601714 h 838042"/>
                <a:gd name="connsiteX126" fmla="*/ 799172 w 1037297"/>
                <a:gd name="connsiteY126" fmla="*/ 594094 h 838042"/>
                <a:gd name="connsiteX127" fmla="*/ 785837 w 1037297"/>
                <a:gd name="connsiteY127" fmla="*/ 576949 h 838042"/>
                <a:gd name="connsiteX128" fmla="*/ 776312 w 1037297"/>
                <a:gd name="connsiteY128" fmla="*/ 571234 h 838042"/>
                <a:gd name="connsiteX129" fmla="*/ 650582 w 1037297"/>
                <a:gd name="connsiteY129" fmla="*/ 479794 h 838042"/>
                <a:gd name="connsiteX130" fmla="*/ 646772 w 1037297"/>
                <a:gd name="connsiteY130" fmla="*/ 462649 h 838042"/>
                <a:gd name="connsiteX131" fmla="*/ 648677 w 1037297"/>
                <a:gd name="connsiteY131" fmla="*/ 455029 h 838042"/>
                <a:gd name="connsiteX132" fmla="*/ 652487 w 1037297"/>
                <a:gd name="connsiteY132" fmla="*/ 437884 h 838042"/>
                <a:gd name="connsiteX133" fmla="*/ 656297 w 1037297"/>
                <a:gd name="connsiteY133" fmla="*/ 432169 h 838042"/>
                <a:gd name="connsiteX134" fmla="*/ 658202 w 1037297"/>
                <a:gd name="connsiteY134" fmla="*/ 426454 h 838042"/>
                <a:gd name="connsiteX135" fmla="*/ 663917 w 1037297"/>
                <a:gd name="connsiteY135" fmla="*/ 424549 h 838042"/>
                <a:gd name="connsiteX136" fmla="*/ 673442 w 1037297"/>
                <a:gd name="connsiteY136" fmla="*/ 413119 h 838042"/>
                <a:gd name="connsiteX137" fmla="*/ 726782 w 1037297"/>
                <a:gd name="connsiteY137" fmla="*/ 405499 h 838042"/>
                <a:gd name="connsiteX138" fmla="*/ 844892 w 1037297"/>
                <a:gd name="connsiteY138" fmla="*/ 407404 h 838042"/>
                <a:gd name="connsiteX139" fmla="*/ 873467 w 1037297"/>
                <a:gd name="connsiteY139" fmla="*/ 409309 h 838042"/>
                <a:gd name="connsiteX140" fmla="*/ 902042 w 1037297"/>
                <a:gd name="connsiteY140" fmla="*/ 415024 h 838042"/>
                <a:gd name="connsiteX141" fmla="*/ 924902 w 1037297"/>
                <a:gd name="connsiteY141" fmla="*/ 418834 h 838042"/>
                <a:gd name="connsiteX142" fmla="*/ 953477 w 1037297"/>
                <a:gd name="connsiteY142" fmla="*/ 424549 h 838042"/>
                <a:gd name="connsiteX143" fmla="*/ 959192 w 1037297"/>
                <a:gd name="connsiteY143" fmla="*/ 424549 h 838042"/>
                <a:gd name="connsiteX144" fmla="*/ 1004912 w 1037297"/>
                <a:gd name="connsiteY144" fmla="*/ 422644 h 838042"/>
                <a:gd name="connsiteX145" fmla="*/ 1033487 w 1037297"/>
                <a:gd name="connsiteY145" fmla="*/ 415024 h 838042"/>
                <a:gd name="connsiteX146" fmla="*/ 1037297 w 1037297"/>
                <a:gd name="connsiteY146" fmla="*/ 409309 h 838042"/>
                <a:gd name="connsiteX147" fmla="*/ 1035392 w 1037297"/>
                <a:gd name="connsiteY147" fmla="*/ 390259 h 838042"/>
                <a:gd name="connsiteX148" fmla="*/ 1029677 w 1037297"/>
                <a:gd name="connsiteY148" fmla="*/ 386449 h 838042"/>
                <a:gd name="connsiteX149" fmla="*/ 1014437 w 1037297"/>
                <a:gd name="connsiteY149" fmla="*/ 384544 h 838042"/>
                <a:gd name="connsiteX150" fmla="*/ 1008722 w 1037297"/>
                <a:gd name="connsiteY150" fmla="*/ 382639 h 838042"/>
                <a:gd name="connsiteX151" fmla="*/ 1001102 w 1037297"/>
                <a:gd name="connsiteY151" fmla="*/ 380734 h 838042"/>
                <a:gd name="connsiteX152" fmla="*/ 989672 w 1037297"/>
                <a:gd name="connsiteY152" fmla="*/ 373114 h 838042"/>
                <a:gd name="connsiteX153" fmla="*/ 978242 w 1037297"/>
                <a:gd name="connsiteY153" fmla="*/ 369304 h 838042"/>
                <a:gd name="connsiteX154" fmla="*/ 972527 w 1037297"/>
                <a:gd name="connsiteY154" fmla="*/ 367399 h 838042"/>
                <a:gd name="connsiteX155" fmla="*/ 964907 w 1037297"/>
                <a:gd name="connsiteY155" fmla="*/ 365494 h 838042"/>
                <a:gd name="connsiteX156" fmla="*/ 959192 w 1037297"/>
                <a:gd name="connsiteY156" fmla="*/ 363589 h 838042"/>
                <a:gd name="connsiteX157" fmla="*/ 938237 w 1037297"/>
                <a:gd name="connsiteY157" fmla="*/ 357874 h 838042"/>
                <a:gd name="connsiteX158" fmla="*/ 932522 w 1037297"/>
                <a:gd name="connsiteY158" fmla="*/ 355969 h 838042"/>
                <a:gd name="connsiteX159" fmla="*/ 827747 w 1037297"/>
                <a:gd name="connsiteY159" fmla="*/ 357874 h 838042"/>
                <a:gd name="connsiteX160" fmla="*/ 822032 w 1037297"/>
                <a:gd name="connsiteY160" fmla="*/ 359779 h 838042"/>
                <a:gd name="connsiteX161" fmla="*/ 732497 w 1037297"/>
                <a:gd name="connsiteY161" fmla="*/ 361684 h 838042"/>
                <a:gd name="connsiteX162" fmla="*/ 719162 w 1037297"/>
                <a:gd name="connsiteY162" fmla="*/ 365494 h 838042"/>
                <a:gd name="connsiteX163" fmla="*/ 698207 w 1037297"/>
                <a:gd name="connsiteY163" fmla="*/ 367399 h 838042"/>
                <a:gd name="connsiteX164" fmla="*/ 671537 w 1037297"/>
                <a:gd name="connsiteY164" fmla="*/ 369304 h 838042"/>
                <a:gd name="connsiteX165" fmla="*/ 671537 w 1037297"/>
                <a:gd name="connsiteY165" fmla="*/ 369304 h 838042"/>
                <a:gd name="connsiteX166" fmla="*/ 648677 w 1037297"/>
                <a:gd name="connsiteY166" fmla="*/ 373114 h 838042"/>
                <a:gd name="connsiteX167" fmla="*/ 644867 w 1037297"/>
                <a:gd name="connsiteY167" fmla="*/ 361684 h 838042"/>
                <a:gd name="connsiteX168" fmla="*/ 642962 w 1037297"/>
                <a:gd name="connsiteY168" fmla="*/ 355969 h 838042"/>
                <a:gd name="connsiteX169" fmla="*/ 644867 w 1037297"/>
                <a:gd name="connsiteY169" fmla="*/ 338824 h 838042"/>
                <a:gd name="connsiteX170" fmla="*/ 646772 w 1037297"/>
                <a:gd name="connsiteY170" fmla="*/ 333109 h 838042"/>
                <a:gd name="connsiteX171" fmla="*/ 663917 w 1037297"/>
                <a:gd name="connsiteY171" fmla="*/ 323584 h 838042"/>
                <a:gd name="connsiteX172" fmla="*/ 675347 w 1037297"/>
                <a:gd name="connsiteY172" fmla="*/ 315964 h 838042"/>
                <a:gd name="connsiteX173" fmla="*/ 677252 w 1037297"/>
                <a:gd name="connsiteY173" fmla="*/ 310249 h 838042"/>
                <a:gd name="connsiteX174" fmla="*/ 682967 w 1037297"/>
                <a:gd name="connsiteY174" fmla="*/ 308344 h 838042"/>
                <a:gd name="connsiteX175" fmla="*/ 688682 w 1037297"/>
                <a:gd name="connsiteY175" fmla="*/ 304534 h 838042"/>
                <a:gd name="connsiteX176" fmla="*/ 698207 w 1037297"/>
                <a:gd name="connsiteY176" fmla="*/ 295009 h 838042"/>
                <a:gd name="connsiteX177" fmla="*/ 707732 w 1037297"/>
                <a:gd name="connsiteY177" fmla="*/ 283579 h 838042"/>
                <a:gd name="connsiteX178" fmla="*/ 719162 w 1037297"/>
                <a:gd name="connsiteY178" fmla="*/ 275959 h 838042"/>
                <a:gd name="connsiteX179" fmla="*/ 734402 w 1037297"/>
                <a:gd name="connsiteY179" fmla="*/ 262624 h 838042"/>
                <a:gd name="connsiteX180" fmla="*/ 743927 w 1037297"/>
                <a:gd name="connsiteY180" fmla="*/ 251194 h 838042"/>
                <a:gd name="connsiteX181" fmla="*/ 755357 w 1037297"/>
                <a:gd name="connsiteY181" fmla="*/ 241669 h 838042"/>
                <a:gd name="connsiteX182" fmla="*/ 761072 w 1037297"/>
                <a:gd name="connsiteY182" fmla="*/ 230239 h 838042"/>
                <a:gd name="connsiteX183" fmla="*/ 762977 w 1037297"/>
                <a:gd name="connsiteY183" fmla="*/ 224524 h 838042"/>
                <a:gd name="connsiteX184" fmla="*/ 768692 w 1037297"/>
                <a:gd name="connsiteY184" fmla="*/ 213094 h 838042"/>
                <a:gd name="connsiteX185" fmla="*/ 766787 w 1037297"/>
                <a:gd name="connsiteY185" fmla="*/ 197854 h 838042"/>
                <a:gd name="connsiteX186" fmla="*/ 761072 w 1037297"/>
                <a:gd name="connsiteY186" fmla="*/ 195949 h 838042"/>
                <a:gd name="connsiteX187" fmla="*/ 740117 w 1037297"/>
                <a:gd name="connsiteY187" fmla="*/ 197854 h 838042"/>
                <a:gd name="connsiteX188" fmla="*/ 734402 w 1037297"/>
                <a:gd name="connsiteY188" fmla="*/ 201664 h 838042"/>
                <a:gd name="connsiteX189" fmla="*/ 722972 w 1037297"/>
                <a:gd name="connsiteY189" fmla="*/ 205474 h 838042"/>
                <a:gd name="connsiteX190" fmla="*/ 719162 w 1037297"/>
                <a:gd name="connsiteY190" fmla="*/ 211189 h 838042"/>
                <a:gd name="connsiteX191" fmla="*/ 713447 w 1037297"/>
                <a:gd name="connsiteY191" fmla="*/ 213094 h 838042"/>
                <a:gd name="connsiteX192" fmla="*/ 707732 w 1037297"/>
                <a:gd name="connsiteY192" fmla="*/ 216904 h 838042"/>
                <a:gd name="connsiteX193" fmla="*/ 702017 w 1037297"/>
                <a:gd name="connsiteY193" fmla="*/ 222619 h 838042"/>
                <a:gd name="connsiteX194" fmla="*/ 694397 w 1037297"/>
                <a:gd name="connsiteY194" fmla="*/ 226429 h 838042"/>
                <a:gd name="connsiteX195" fmla="*/ 652487 w 1037297"/>
                <a:gd name="connsiteY195" fmla="*/ 255004 h 838042"/>
                <a:gd name="connsiteX196" fmla="*/ 639152 w 1037297"/>
                <a:gd name="connsiteY196" fmla="*/ 266434 h 838042"/>
                <a:gd name="connsiteX197" fmla="*/ 629627 w 1037297"/>
                <a:gd name="connsiteY197" fmla="*/ 283579 h 838042"/>
                <a:gd name="connsiteX198" fmla="*/ 604862 w 1037297"/>
                <a:gd name="connsiteY198" fmla="*/ 289294 h 838042"/>
                <a:gd name="connsiteX199" fmla="*/ 591527 w 1037297"/>
                <a:gd name="connsiteY199" fmla="*/ 293104 h 838042"/>
                <a:gd name="connsiteX200" fmla="*/ 576287 w 1037297"/>
                <a:gd name="connsiteY200" fmla="*/ 291199 h 838042"/>
                <a:gd name="connsiteX201" fmla="*/ 564857 w 1037297"/>
                <a:gd name="connsiteY201" fmla="*/ 287389 h 838042"/>
                <a:gd name="connsiteX202" fmla="*/ 553427 w 1037297"/>
                <a:gd name="connsiteY202" fmla="*/ 283579 h 838042"/>
                <a:gd name="connsiteX203" fmla="*/ 541997 w 1037297"/>
                <a:gd name="connsiteY203" fmla="*/ 279769 h 838042"/>
                <a:gd name="connsiteX204" fmla="*/ 536282 w 1037297"/>
                <a:gd name="connsiteY204" fmla="*/ 277864 h 838042"/>
                <a:gd name="connsiteX205" fmla="*/ 530567 w 1037297"/>
                <a:gd name="connsiteY205" fmla="*/ 274054 h 838042"/>
                <a:gd name="connsiteX206" fmla="*/ 519137 w 1037297"/>
                <a:gd name="connsiteY206" fmla="*/ 268339 h 838042"/>
                <a:gd name="connsiteX207" fmla="*/ 511517 w 1037297"/>
                <a:gd name="connsiteY207" fmla="*/ 256909 h 838042"/>
                <a:gd name="connsiteX208" fmla="*/ 507707 w 1037297"/>
                <a:gd name="connsiteY208" fmla="*/ 235954 h 838042"/>
                <a:gd name="connsiteX209" fmla="*/ 509612 w 1037297"/>
                <a:gd name="connsiteY209" fmla="*/ 171184 h 838042"/>
                <a:gd name="connsiteX210" fmla="*/ 508314 w 1037297"/>
                <a:gd name="connsiteY210" fmla="*/ 73485 h 838042"/>
                <a:gd name="connsiteX211" fmla="*/ 454116 w 1037297"/>
                <a:gd name="connsiteY211" fmla="*/ 11248 h 838042"/>
                <a:gd name="connsiteX212" fmla="*/ 435401 w 1037297"/>
                <a:gd name="connsiteY212" fmla="*/ 68523 h 838042"/>
                <a:gd name="connsiteX213" fmla="*/ 427697 w 1037297"/>
                <a:gd name="connsiteY213" fmla="*/ 137103 h 838042"/>
                <a:gd name="connsiteX214" fmla="*/ 420077 w 1037297"/>
                <a:gd name="connsiteY214" fmla="*/ 169279 h 838042"/>
                <a:gd name="connsiteX215" fmla="*/ 416267 w 1037297"/>
                <a:gd name="connsiteY215" fmla="*/ 186424 h 838042"/>
                <a:gd name="connsiteX216" fmla="*/ 420077 w 1037297"/>
                <a:gd name="connsiteY216" fmla="*/ 207379 h 838042"/>
                <a:gd name="connsiteX217" fmla="*/ 423887 w 1037297"/>
                <a:gd name="connsiteY217" fmla="*/ 213094 h 838042"/>
                <a:gd name="connsiteX218" fmla="*/ 427697 w 1037297"/>
                <a:gd name="connsiteY218" fmla="*/ 224524 h 838042"/>
                <a:gd name="connsiteX219" fmla="*/ 425792 w 1037297"/>
                <a:gd name="connsiteY219" fmla="*/ 251194 h 838042"/>
                <a:gd name="connsiteX220" fmla="*/ 420077 w 1037297"/>
                <a:gd name="connsiteY220" fmla="*/ 253099 h 838042"/>
                <a:gd name="connsiteX221" fmla="*/ 414362 w 1037297"/>
                <a:gd name="connsiteY221" fmla="*/ 256909 h 838042"/>
                <a:gd name="connsiteX222" fmla="*/ 423887 w 1037297"/>
                <a:gd name="connsiteY22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39127 w 1037297"/>
                <a:gd name="connsiteY105" fmla="*/ 647434 h 838042"/>
                <a:gd name="connsiteX106" fmla="*/ 452462 w 1037297"/>
                <a:gd name="connsiteY106" fmla="*/ 632194 h 838042"/>
                <a:gd name="connsiteX107" fmla="*/ 460082 w 1037297"/>
                <a:gd name="connsiteY107" fmla="*/ 620764 h 838042"/>
                <a:gd name="connsiteX108" fmla="*/ 463892 w 1037297"/>
                <a:gd name="connsiteY108" fmla="*/ 609334 h 838042"/>
                <a:gd name="connsiteX109" fmla="*/ 467702 w 1037297"/>
                <a:gd name="connsiteY109" fmla="*/ 594094 h 838042"/>
                <a:gd name="connsiteX110" fmla="*/ 469607 w 1037297"/>
                <a:gd name="connsiteY110" fmla="*/ 588379 h 838042"/>
                <a:gd name="connsiteX111" fmla="*/ 509612 w 1037297"/>
                <a:gd name="connsiteY111" fmla="*/ 582664 h 838042"/>
                <a:gd name="connsiteX112" fmla="*/ 538187 w 1037297"/>
                <a:gd name="connsiteY112" fmla="*/ 573139 h 838042"/>
                <a:gd name="connsiteX113" fmla="*/ 543902 w 1037297"/>
                <a:gd name="connsiteY113" fmla="*/ 571234 h 838042"/>
                <a:gd name="connsiteX114" fmla="*/ 549617 w 1037297"/>
                <a:gd name="connsiteY114" fmla="*/ 569329 h 838042"/>
                <a:gd name="connsiteX115" fmla="*/ 557237 w 1037297"/>
                <a:gd name="connsiteY115" fmla="*/ 567424 h 838042"/>
                <a:gd name="connsiteX116" fmla="*/ 576287 w 1037297"/>
                <a:gd name="connsiteY116" fmla="*/ 559804 h 838042"/>
                <a:gd name="connsiteX117" fmla="*/ 587717 w 1037297"/>
                <a:gd name="connsiteY117" fmla="*/ 555994 h 838042"/>
                <a:gd name="connsiteX118" fmla="*/ 722972 w 1037297"/>
                <a:gd name="connsiteY118" fmla="*/ 639814 h 838042"/>
                <a:gd name="connsiteX119" fmla="*/ 780122 w 1037297"/>
                <a:gd name="connsiteY119" fmla="*/ 656959 h 838042"/>
                <a:gd name="connsiteX120" fmla="*/ 791552 w 1037297"/>
                <a:gd name="connsiteY120" fmla="*/ 651244 h 838042"/>
                <a:gd name="connsiteX121" fmla="*/ 797267 w 1037297"/>
                <a:gd name="connsiteY121" fmla="*/ 649339 h 838042"/>
                <a:gd name="connsiteX122" fmla="*/ 804887 w 1037297"/>
                <a:gd name="connsiteY122" fmla="*/ 632194 h 838042"/>
                <a:gd name="connsiteX123" fmla="*/ 802982 w 1037297"/>
                <a:gd name="connsiteY123" fmla="*/ 607429 h 838042"/>
                <a:gd name="connsiteX124" fmla="*/ 801077 w 1037297"/>
                <a:gd name="connsiteY124" fmla="*/ 601714 h 838042"/>
                <a:gd name="connsiteX125" fmla="*/ 799172 w 1037297"/>
                <a:gd name="connsiteY125" fmla="*/ 594094 h 838042"/>
                <a:gd name="connsiteX126" fmla="*/ 785837 w 1037297"/>
                <a:gd name="connsiteY126" fmla="*/ 576949 h 838042"/>
                <a:gd name="connsiteX127" fmla="*/ 776312 w 1037297"/>
                <a:gd name="connsiteY127" fmla="*/ 571234 h 838042"/>
                <a:gd name="connsiteX128" fmla="*/ 650582 w 1037297"/>
                <a:gd name="connsiteY128" fmla="*/ 479794 h 838042"/>
                <a:gd name="connsiteX129" fmla="*/ 646772 w 1037297"/>
                <a:gd name="connsiteY129" fmla="*/ 462649 h 838042"/>
                <a:gd name="connsiteX130" fmla="*/ 648677 w 1037297"/>
                <a:gd name="connsiteY130" fmla="*/ 455029 h 838042"/>
                <a:gd name="connsiteX131" fmla="*/ 652487 w 1037297"/>
                <a:gd name="connsiteY131" fmla="*/ 437884 h 838042"/>
                <a:gd name="connsiteX132" fmla="*/ 656297 w 1037297"/>
                <a:gd name="connsiteY132" fmla="*/ 432169 h 838042"/>
                <a:gd name="connsiteX133" fmla="*/ 658202 w 1037297"/>
                <a:gd name="connsiteY133" fmla="*/ 426454 h 838042"/>
                <a:gd name="connsiteX134" fmla="*/ 663917 w 1037297"/>
                <a:gd name="connsiteY134" fmla="*/ 424549 h 838042"/>
                <a:gd name="connsiteX135" fmla="*/ 673442 w 1037297"/>
                <a:gd name="connsiteY135" fmla="*/ 413119 h 838042"/>
                <a:gd name="connsiteX136" fmla="*/ 726782 w 1037297"/>
                <a:gd name="connsiteY136" fmla="*/ 405499 h 838042"/>
                <a:gd name="connsiteX137" fmla="*/ 844892 w 1037297"/>
                <a:gd name="connsiteY137" fmla="*/ 407404 h 838042"/>
                <a:gd name="connsiteX138" fmla="*/ 873467 w 1037297"/>
                <a:gd name="connsiteY138" fmla="*/ 409309 h 838042"/>
                <a:gd name="connsiteX139" fmla="*/ 902042 w 1037297"/>
                <a:gd name="connsiteY139" fmla="*/ 415024 h 838042"/>
                <a:gd name="connsiteX140" fmla="*/ 924902 w 1037297"/>
                <a:gd name="connsiteY140" fmla="*/ 418834 h 838042"/>
                <a:gd name="connsiteX141" fmla="*/ 953477 w 1037297"/>
                <a:gd name="connsiteY141" fmla="*/ 424549 h 838042"/>
                <a:gd name="connsiteX142" fmla="*/ 959192 w 1037297"/>
                <a:gd name="connsiteY142" fmla="*/ 424549 h 838042"/>
                <a:gd name="connsiteX143" fmla="*/ 1004912 w 1037297"/>
                <a:gd name="connsiteY143" fmla="*/ 422644 h 838042"/>
                <a:gd name="connsiteX144" fmla="*/ 1033487 w 1037297"/>
                <a:gd name="connsiteY144" fmla="*/ 415024 h 838042"/>
                <a:gd name="connsiteX145" fmla="*/ 1037297 w 1037297"/>
                <a:gd name="connsiteY145" fmla="*/ 409309 h 838042"/>
                <a:gd name="connsiteX146" fmla="*/ 1035392 w 1037297"/>
                <a:gd name="connsiteY146" fmla="*/ 390259 h 838042"/>
                <a:gd name="connsiteX147" fmla="*/ 1029677 w 1037297"/>
                <a:gd name="connsiteY147" fmla="*/ 386449 h 838042"/>
                <a:gd name="connsiteX148" fmla="*/ 1014437 w 1037297"/>
                <a:gd name="connsiteY148" fmla="*/ 384544 h 838042"/>
                <a:gd name="connsiteX149" fmla="*/ 1008722 w 1037297"/>
                <a:gd name="connsiteY149" fmla="*/ 382639 h 838042"/>
                <a:gd name="connsiteX150" fmla="*/ 1001102 w 1037297"/>
                <a:gd name="connsiteY150" fmla="*/ 380734 h 838042"/>
                <a:gd name="connsiteX151" fmla="*/ 989672 w 1037297"/>
                <a:gd name="connsiteY151" fmla="*/ 373114 h 838042"/>
                <a:gd name="connsiteX152" fmla="*/ 978242 w 1037297"/>
                <a:gd name="connsiteY152" fmla="*/ 369304 h 838042"/>
                <a:gd name="connsiteX153" fmla="*/ 972527 w 1037297"/>
                <a:gd name="connsiteY153" fmla="*/ 367399 h 838042"/>
                <a:gd name="connsiteX154" fmla="*/ 964907 w 1037297"/>
                <a:gd name="connsiteY154" fmla="*/ 365494 h 838042"/>
                <a:gd name="connsiteX155" fmla="*/ 959192 w 1037297"/>
                <a:gd name="connsiteY155" fmla="*/ 363589 h 838042"/>
                <a:gd name="connsiteX156" fmla="*/ 938237 w 1037297"/>
                <a:gd name="connsiteY156" fmla="*/ 357874 h 838042"/>
                <a:gd name="connsiteX157" fmla="*/ 932522 w 1037297"/>
                <a:gd name="connsiteY157" fmla="*/ 355969 h 838042"/>
                <a:gd name="connsiteX158" fmla="*/ 827747 w 1037297"/>
                <a:gd name="connsiteY158" fmla="*/ 357874 h 838042"/>
                <a:gd name="connsiteX159" fmla="*/ 822032 w 1037297"/>
                <a:gd name="connsiteY159" fmla="*/ 359779 h 838042"/>
                <a:gd name="connsiteX160" fmla="*/ 732497 w 1037297"/>
                <a:gd name="connsiteY160" fmla="*/ 361684 h 838042"/>
                <a:gd name="connsiteX161" fmla="*/ 719162 w 1037297"/>
                <a:gd name="connsiteY161" fmla="*/ 365494 h 838042"/>
                <a:gd name="connsiteX162" fmla="*/ 698207 w 1037297"/>
                <a:gd name="connsiteY162" fmla="*/ 367399 h 838042"/>
                <a:gd name="connsiteX163" fmla="*/ 671537 w 1037297"/>
                <a:gd name="connsiteY163" fmla="*/ 369304 h 838042"/>
                <a:gd name="connsiteX164" fmla="*/ 671537 w 1037297"/>
                <a:gd name="connsiteY164" fmla="*/ 369304 h 838042"/>
                <a:gd name="connsiteX165" fmla="*/ 648677 w 1037297"/>
                <a:gd name="connsiteY165" fmla="*/ 373114 h 838042"/>
                <a:gd name="connsiteX166" fmla="*/ 644867 w 1037297"/>
                <a:gd name="connsiteY166" fmla="*/ 361684 h 838042"/>
                <a:gd name="connsiteX167" fmla="*/ 642962 w 1037297"/>
                <a:gd name="connsiteY167" fmla="*/ 355969 h 838042"/>
                <a:gd name="connsiteX168" fmla="*/ 644867 w 1037297"/>
                <a:gd name="connsiteY168" fmla="*/ 338824 h 838042"/>
                <a:gd name="connsiteX169" fmla="*/ 646772 w 1037297"/>
                <a:gd name="connsiteY169" fmla="*/ 333109 h 838042"/>
                <a:gd name="connsiteX170" fmla="*/ 663917 w 1037297"/>
                <a:gd name="connsiteY170" fmla="*/ 323584 h 838042"/>
                <a:gd name="connsiteX171" fmla="*/ 675347 w 1037297"/>
                <a:gd name="connsiteY171" fmla="*/ 315964 h 838042"/>
                <a:gd name="connsiteX172" fmla="*/ 677252 w 1037297"/>
                <a:gd name="connsiteY172" fmla="*/ 310249 h 838042"/>
                <a:gd name="connsiteX173" fmla="*/ 682967 w 1037297"/>
                <a:gd name="connsiteY173" fmla="*/ 308344 h 838042"/>
                <a:gd name="connsiteX174" fmla="*/ 688682 w 1037297"/>
                <a:gd name="connsiteY174" fmla="*/ 304534 h 838042"/>
                <a:gd name="connsiteX175" fmla="*/ 698207 w 1037297"/>
                <a:gd name="connsiteY175" fmla="*/ 295009 h 838042"/>
                <a:gd name="connsiteX176" fmla="*/ 707732 w 1037297"/>
                <a:gd name="connsiteY176" fmla="*/ 283579 h 838042"/>
                <a:gd name="connsiteX177" fmla="*/ 719162 w 1037297"/>
                <a:gd name="connsiteY177" fmla="*/ 275959 h 838042"/>
                <a:gd name="connsiteX178" fmla="*/ 734402 w 1037297"/>
                <a:gd name="connsiteY178" fmla="*/ 262624 h 838042"/>
                <a:gd name="connsiteX179" fmla="*/ 743927 w 1037297"/>
                <a:gd name="connsiteY179" fmla="*/ 251194 h 838042"/>
                <a:gd name="connsiteX180" fmla="*/ 755357 w 1037297"/>
                <a:gd name="connsiteY180" fmla="*/ 241669 h 838042"/>
                <a:gd name="connsiteX181" fmla="*/ 761072 w 1037297"/>
                <a:gd name="connsiteY181" fmla="*/ 230239 h 838042"/>
                <a:gd name="connsiteX182" fmla="*/ 762977 w 1037297"/>
                <a:gd name="connsiteY182" fmla="*/ 224524 h 838042"/>
                <a:gd name="connsiteX183" fmla="*/ 768692 w 1037297"/>
                <a:gd name="connsiteY183" fmla="*/ 213094 h 838042"/>
                <a:gd name="connsiteX184" fmla="*/ 766787 w 1037297"/>
                <a:gd name="connsiteY184" fmla="*/ 197854 h 838042"/>
                <a:gd name="connsiteX185" fmla="*/ 761072 w 1037297"/>
                <a:gd name="connsiteY185" fmla="*/ 195949 h 838042"/>
                <a:gd name="connsiteX186" fmla="*/ 740117 w 1037297"/>
                <a:gd name="connsiteY186" fmla="*/ 197854 h 838042"/>
                <a:gd name="connsiteX187" fmla="*/ 734402 w 1037297"/>
                <a:gd name="connsiteY187" fmla="*/ 201664 h 838042"/>
                <a:gd name="connsiteX188" fmla="*/ 722972 w 1037297"/>
                <a:gd name="connsiteY188" fmla="*/ 205474 h 838042"/>
                <a:gd name="connsiteX189" fmla="*/ 719162 w 1037297"/>
                <a:gd name="connsiteY189" fmla="*/ 211189 h 838042"/>
                <a:gd name="connsiteX190" fmla="*/ 713447 w 1037297"/>
                <a:gd name="connsiteY190" fmla="*/ 213094 h 838042"/>
                <a:gd name="connsiteX191" fmla="*/ 707732 w 1037297"/>
                <a:gd name="connsiteY191" fmla="*/ 216904 h 838042"/>
                <a:gd name="connsiteX192" fmla="*/ 702017 w 1037297"/>
                <a:gd name="connsiteY192" fmla="*/ 222619 h 838042"/>
                <a:gd name="connsiteX193" fmla="*/ 694397 w 1037297"/>
                <a:gd name="connsiteY193" fmla="*/ 226429 h 838042"/>
                <a:gd name="connsiteX194" fmla="*/ 652487 w 1037297"/>
                <a:gd name="connsiteY194" fmla="*/ 255004 h 838042"/>
                <a:gd name="connsiteX195" fmla="*/ 639152 w 1037297"/>
                <a:gd name="connsiteY195" fmla="*/ 266434 h 838042"/>
                <a:gd name="connsiteX196" fmla="*/ 629627 w 1037297"/>
                <a:gd name="connsiteY196" fmla="*/ 283579 h 838042"/>
                <a:gd name="connsiteX197" fmla="*/ 604862 w 1037297"/>
                <a:gd name="connsiteY197" fmla="*/ 289294 h 838042"/>
                <a:gd name="connsiteX198" fmla="*/ 591527 w 1037297"/>
                <a:gd name="connsiteY198" fmla="*/ 293104 h 838042"/>
                <a:gd name="connsiteX199" fmla="*/ 576287 w 1037297"/>
                <a:gd name="connsiteY199" fmla="*/ 291199 h 838042"/>
                <a:gd name="connsiteX200" fmla="*/ 564857 w 1037297"/>
                <a:gd name="connsiteY200" fmla="*/ 287389 h 838042"/>
                <a:gd name="connsiteX201" fmla="*/ 553427 w 1037297"/>
                <a:gd name="connsiteY201" fmla="*/ 283579 h 838042"/>
                <a:gd name="connsiteX202" fmla="*/ 541997 w 1037297"/>
                <a:gd name="connsiteY202" fmla="*/ 279769 h 838042"/>
                <a:gd name="connsiteX203" fmla="*/ 536282 w 1037297"/>
                <a:gd name="connsiteY203" fmla="*/ 277864 h 838042"/>
                <a:gd name="connsiteX204" fmla="*/ 530567 w 1037297"/>
                <a:gd name="connsiteY204" fmla="*/ 274054 h 838042"/>
                <a:gd name="connsiteX205" fmla="*/ 519137 w 1037297"/>
                <a:gd name="connsiteY205" fmla="*/ 268339 h 838042"/>
                <a:gd name="connsiteX206" fmla="*/ 511517 w 1037297"/>
                <a:gd name="connsiteY206" fmla="*/ 256909 h 838042"/>
                <a:gd name="connsiteX207" fmla="*/ 507707 w 1037297"/>
                <a:gd name="connsiteY207" fmla="*/ 235954 h 838042"/>
                <a:gd name="connsiteX208" fmla="*/ 509612 w 1037297"/>
                <a:gd name="connsiteY208" fmla="*/ 171184 h 838042"/>
                <a:gd name="connsiteX209" fmla="*/ 508314 w 1037297"/>
                <a:gd name="connsiteY209" fmla="*/ 73485 h 838042"/>
                <a:gd name="connsiteX210" fmla="*/ 454116 w 1037297"/>
                <a:gd name="connsiteY210" fmla="*/ 11248 h 838042"/>
                <a:gd name="connsiteX211" fmla="*/ 435401 w 1037297"/>
                <a:gd name="connsiteY211" fmla="*/ 68523 h 838042"/>
                <a:gd name="connsiteX212" fmla="*/ 427697 w 1037297"/>
                <a:gd name="connsiteY212" fmla="*/ 137103 h 838042"/>
                <a:gd name="connsiteX213" fmla="*/ 420077 w 1037297"/>
                <a:gd name="connsiteY213" fmla="*/ 169279 h 838042"/>
                <a:gd name="connsiteX214" fmla="*/ 416267 w 1037297"/>
                <a:gd name="connsiteY214" fmla="*/ 186424 h 838042"/>
                <a:gd name="connsiteX215" fmla="*/ 420077 w 1037297"/>
                <a:gd name="connsiteY215" fmla="*/ 207379 h 838042"/>
                <a:gd name="connsiteX216" fmla="*/ 423887 w 1037297"/>
                <a:gd name="connsiteY216" fmla="*/ 213094 h 838042"/>
                <a:gd name="connsiteX217" fmla="*/ 427697 w 1037297"/>
                <a:gd name="connsiteY217" fmla="*/ 224524 h 838042"/>
                <a:gd name="connsiteX218" fmla="*/ 425792 w 1037297"/>
                <a:gd name="connsiteY218" fmla="*/ 251194 h 838042"/>
                <a:gd name="connsiteX219" fmla="*/ 420077 w 1037297"/>
                <a:gd name="connsiteY219" fmla="*/ 253099 h 838042"/>
                <a:gd name="connsiteX220" fmla="*/ 414362 w 1037297"/>
                <a:gd name="connsiteY220" fmla="*/ 256909 h 838042"/>
                <a:gd name="connsiteX221" fmla="*/ 423887 w 1037297"/>
                <a:gd name="connsiteY221"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52462 w 1037297"/>
                <a:gd name="connsiteY105" fmla="*/ 632194 h 838042"/>
                <a:gd name="connsiteX106" fmla="*/ 460082 w 1037297"/>
                <a:gd name="connsiteY106" fmla="*/ 620764 h 838042"/>
                <a:gd name="connsiteX107" fmla="*/ 463892 w 1037297"/>
                <a:gd name="connsiteY107" fmla="*/ 609334 h 838042"/>
                <a:gd name="connsiteX108" fmla="*/ 467702 w 1037297"/>
                <a:gd name="connsiteY108" fmla="*/ 594094 h 838042"/>
                <a:gd name="connsiteX109" fmla="*/ 469607 w 1037297"/>
                <a:gd name="connsiteY109" fmla="*/ 588379 h 838042"/>
                <a:gd name="connsiteX110" fmla="*/ 509612 w 1037297"/>
                <a:gd name="connsiteY110" fmla="*/ 582664 h 838042"/>
                <a:gd name="connsiteX111" fmla="*/ 538187 w 1037297"/>
                <a:gd name="connsiteY111" fmla="*/ 573139 h 838042"/>
                <a:gd name="connsiteX112" fmla="*/ 543902 w 1037297"/>
                <a:gd name="connsiteY112" fmla="*/ 571234 h 838042"/>
                <a:gd name="connsiteX113" fmla="*/ 549617 w 1037297"/>
                <a:gd name="connsiteY113" fmla="*/ 569329 h 838042"/>
                <a:gd name="connsiteX114" fmla="*/ 557237 w 1037297"/>
                <a:gd name="connsiteY114" fmla="*/ 567424 h 838042"/>
                <a:gd name="connsiteX115" fmla="*/ 576287 w 1037297"/>
                <a:gd name="connsiteY115" fmla="*/ 559804 h 838042"/>
                <a:gd name="connsiteX116" fmla="*/ 587717 w 1037297"/>
                <a:gd name="connsiteY116" fmla="*/ 555994 h 838042"/>
                <a:gd name="connsiteX117" fmla="*/ 722972 w 1037297"/>
                <a:gd name="connsiteY117" fmla="*/ 639814 h 838042"/>
                <a:gd name="connsiteX118" fmla="*/ 780122 w 1037297"/>
                <a:gd name="connsiteY118" fmla="*/ 656959 h 838042"/>
                <a:gd name="connsiteX119" fmla="*/ 791552 w 1037297"/>
                <a:gd name="connsiteY119" fmla="*/ 651244 h 838042"/>
                <a:gd name="connsiteX120" fmla="*/ 797267 w 1037297"/>
                <a:gd name="connsiteY120" fmla="*/ 649339 h 838042"/>
                <a:gd name="connsiteX121" fmla="*/ 804887 w 1037297"/>
                <a:gd name="connsiteY121" fmla="*/ 632194 h 838042"/>
                <a:gd name="connsiteX122" fmla="*/ 802982 w 1037297"/>
                <a:gd name="connsiteY122" fmla="*/ 607429 h 838042"/>
                <a:gd name="connsiteX123" fmla="*/ 801077 w 1037297"/>
                <a:gd name="connsiteY123" fmla="*/ 601714 h 838042"/>
                <a:gd name="connsiteX124" fmla="*/ 799172 w 1037297"/>
                <a:gd name="connsiteY124" fmla="*/ 594094 h 838042"/>
                <a:gd name="connsiteX125" fmla="*/ 785837 w 1037297"/>
                <a:gd name="connsiteY125" fmla="*/ 576949 h 838042"/>
                <a:gd name="connsiteX126" fmla="*/ 776312 w 1037297"/>
                <a:gd name="connsiteY126" fmla="*/ 571234 h 838042"/>
                <a:gd name="connsiteX127" fmla="*/ 650582 w 1037297"/>
                <a:gd name="connsiteY127" fmla="*/ 479794 h 838042"/>
                <a:gd name="connsiteX128" fmla="*/ 646772 w 1037297"/>
                <a:gd name="connsiteY128" fmla="*/ 462649 h 838042"/>
                <a:gd name="connsiteX129" fmla="*/ 648677 w 1037297"/>
                <a:gd name="connsiteY129" fmla="*/ 455029 h 838042"/>
                <a:gd name="connsiteX130" fmla="*/ 652487 w 1037297"/>
                <a:gd name="connsiteY130" fmla="*/ 437884 h 838042"/>
                <a:gd name="connsiteX131" fmla="*/ 656297 w 1037297"/>
                <a:gd name="connsiteY131" fmla="*/ 432169 h 838042"/>
                <a:gd name="connsiteX132" fmla="*/ 658202 w 1037297"/>
                <a:gd name="connsiteY132" fmla="*/ 426454 h 838042"/>
                <a:gd name="connsiteX133" fmla="*/ 663917 w 1037297"/>
                <a:gd name="connsiteY133" fmla="*/ 424549 h 838042"/>
                <a:gd name="connsiteX134" fmla="*/ 673442 w 1037297"/>
                <a:gd name="connsiteY134" fmla="*/ 413119 h 838042"/>
                <a:gd name="connsiteX135" fmla="*/ 726782 w 1037297"/>
                <a:gd name="connsiteY135" fmla="*/ 405499 h 838042"/>
                <a:gd name="connsiteX136" fmla="*/ 844892 w 1037297"/>
                <a:gd name="connsiteY136" fmla="*/ 407404 h 838042"/>
                <a:gd name="connsiteX137" fmla="*/ 873467 w 1037297"/>
                <a:gd name="connsiteY137" fmla="*/ 409309 h 838042"/>
                <a:gd name="connsiteX138" fmla="*/ 902042 w 1037297"/>
                <a:gd name="connsiteY138" fmla="*/ 415024 h 838042"/>
                <a:gd name="connsiteX139" fmla="*/ 924902 w 1037297"/>
                <a:gd name="connsiteY139" fmla="*/ 418834 h 838042"/>
                <a:gd name="connsiteX140" fmla="*/ 953477 w 1037297"/>
                <a:gd name="connsiteY140" fmla="*/ 424549 h 838042"/>
                <a:gd name="connsiteX141" fmla="*/ 959192 w 1037297"/>
                <a:gd name="connsiteY141" fmla="*/ 424549 h 838042"/>
                <a:gd name="connsiteX142" fmla="*/ 1004912 w 1037297"/>
                <a:gd name="connsiteY142" fmla="*/ 422644 h 838042"/>
                <a:gd name="connsiteX143" fmla="*/ 1033487 w 1037297"/>
                <a:gd name="connsiteY143" fmla="*/ 415024 h 838042"/>
                <a:gd name="connsiteX144" fmla="*/ 1037297 w 1037297"/>
                <a:gd name="connsiteY144" fmla="*/ 409309 h 838042"/>
                <a:gd name="connsiteX145" fmla="*/ 1035392 w 1037297"/>
                <a:gd name="connsiteY145" fmla="*/ 390259 h 838042"/>
                <a:gd name="connsiteX146" fmla="*/ 1029677 w 1037297"/>
                <a:gd name="connsiteY146" fmla="*/ 386449 h 838042"/>
                <a:gd name="connsiteX147" fmla="*/ 1014437 w 1037297"/>
                <a:gd name="connsiteY147" fmla="*/ 384544 h 838042"/>
                <a:gd name="connsiteX148" fmla="*/ 1008722 w 1037297"/>
                <a:gd name="connsiteY148" fmla="*/ 382639 h 838042"/>
                <a:gd name="connsiteX149" fmla="*/ 1001102 w 1037297"/>
                <a:gd name="connsiteY149" fmla="*/ 380734 h 838042"/>
                <a:gd name="connsiteX150" fmla="*/ 989672 w 1037297"/>
                <a:gd name="connsiteY150" fmla="*/ 373114 h 838042"/>
                <a:gd name="connsiteX151" fmla="*/ 978242 w 1037297"/>
                <a:gd name="connsiteY151" fmla="*/ 369304 h 838042"/>
                <a:gd name="connsiteX152" fmla="*/ 972527 w 1037297"/>
                <a:gd name="connsiteY152" fmla="*/ 367399 h 838042"/>
                <a:gd name="connsiteX153" fmla="*/ 964907 w 1037297"/>
                <a:gd name="connsiteY153" fmla="*/ 365494 h 838042"/>
                <a:gd name="connsiteX154" fmla="*/ 959192 w 1037297"/>
                <a:gd name="connsiteY154" fmla="*/ 363589 h 838042"/>
                <a:gd name="connsiteX155" fmla="*/ 938237 w 1037297"/>
                <a:gd name="connsiteY155" fmla="*/ 357874 h 838042"/>
                <a:gd name="connsiteX156" fmla="*/ 932522 w 1037297"/>
                <a:gd name="connsiteY156" fmla="*/ 355969 h 838042"/>
                <a:gd name="connsiteX157" fmla="*/ 827747 w 1037297"/>
                <a:gd name="connsiteY157" fmla="*/ 357874 h 838042"/>
                <a:gd name="connsiteX158" fmla="*/ 822032 w 1037297"/>
                <a:gd name="connsiteY158" fmla="*/ 359779 h 838042"/>
                <a:gd name="connsiteX159" fmla="*/ 732497 w 1037297"/>
                <a:gd name="connsiteY159" fmla="*/ 361684 h 838042"/>
                <a:gd name="connsiteX160" fmla="*/ 719162 w 1037297"/>
                <a:gd name="connsiteY160" fmla="*/ 365494 h 838042"/>
                <a:gd name="connsiteX161" fmla="*/ 698207 w 1037297"/>
                <a:gd name="connsiteY161" fmla="*/ 367399 h 838042"/>
                <a:gd name="connsiteX162" fmla="*/ 671537 w 1037297"/>
                <a:gd name="connsiteY162" fmla="*/ 369304 h 838042"/>
                <a:gd name="connsiteX163" fmla="*/ 671537 w 1037297"/>
                <a:gd name="connsiteY163" fmla="*/ 369304 h 838042"/>
                <a:gd name="connsiteX164" fmla="*/ 648677 w 1037297"/>
                <a:gd name="connsiteY164" fmla="*/ 373114 h 838042"/>
                <a:gd name="connsiteX165" fmla="*/ 644867 w 1037297"/>
                <a:gd name="connsiteY165" fmla="*/ 361684 h 838042"/>
                <a:gd name="connsiteX166" fmla="*/ 642962 w 1037297"/>
                <a:gd name="connsiteY166" fmla="*/ 355969 h 838042"/>
                <a:gd name="connsiteX167" fmla="*/ 644867 w 1037297"/>
                <a:gd name="connsiteY167" fmla="*/ 338824 h 838042"/>
                <a:gd name="connsiteX168" fmla="*/ 646772 w 1037297"/>
                <a:gd name="connsiteY168" fmla="*/ 333109 h 838042"/>
                <a:gd name="connsiteX169" fmla="*/ 663917 w 1037297"/>
                <a:gd name="connsiteY169" fmla="*/ 323584 h 838042"/>
                <a:gd name="connsiteX170" fmla="*/ 675347 w 1037297"/>
                <a:gd name="connsiteY170" fmla="*/ 315964 h 838042"/>
                <a:gd name="connsiteX171" fmla="*/ 677252 w 1037297"/>
                <a:gd name="connsiteY171" fmla="*/ 310249 h 838042"/>
                <a:gd name="connsiteX172" fmla="*/ 682967 w 1037297"/>
                <a:gd name="connsiteY172" fmla="*/ 308344 h 838042"/>
                <a:gd name="connsiteX173" fmla="*/ 688682 w 1037297"/>
                <a:gd name="connsiteY173" fmla="*/ 304534 h 838042"/>
                <a:gd name="connsiteX174" fmla="*/ 698207 w 1037297"/>
                <a:gd name="connsiteY174" fmla="*/ 295009 h 838042"/>
                <a:gd name="connsiteX175" fmla="*/ 707732 w 1037297"/>
                <a:gd name="connsiteY175" fmla="*/ 283579 h 838042"/>
                <a:gd name="connsiteX176" fmla="*/ 719162 w 1037297"/>
                <a:gd name="connsiteY176" fmla="*/ 275959 h 838042"/>
                <a:gd name="connsiteX177" fmla="*/ 734402 w 1037297"/>
                <a:gd name="connsiteY177" fmla="*/ 262624 h 838042"/>
                <a:gd name="connsiteX178" fmla="*/ 743927 w 1037297"/>
                <a:gd name="connsiteY178" fmla="*/ 251194 h 838042"/>
                <a:gd name="connsiteX179" fmla="*/ 755357 w 1037297"/>
                <a:gd name="connsiteY179" fmla="*/ 241669 h 838042"/>
                <a:gd name="connsiteX180" fmla="*/ 761072 w 1037297"/>
                <a:gd name="connsiteY180" fmla="*/ 230239 h 838042"/>
                <a:gd name="connsiteX181" fmla="*/ 762977 w 1037297"/>
                <a:gd name="connsiteY181" fmla="*/ 224524 h 838042"/>
                <a:gd name="connsiteX182" fmla="*/ 768692 w 1037297"/>
                <a:gd name="connsiteY182" fmla="*/ 213094 h 838042"/>
                <a:gd name="connsiteX183" fmla="*/ 766787 w 1037297"/>
                <a:gd name="connsiteY183" fmla="*/ 197854 h 838042"/>
                <a:gd name="connsiteX184" fmla="*/ 761072 w 1037297"/>
                <a:gd name="connsiteY184" fmla="*/ 195949 h 838042"/>
                <a:gd name="connsiteX185" fmla="*/ 740117 w 1037297"/>
                <a:gd name="connsiteY185" fmla="*/ 197854 h 838042"/>
                <a:gd name="connsiteX186" fmla="*/ 734402 w 1037297"/>
                <a:gd name="connsiteY186" fmla="*/ 201664 h 838042"/>
                <a:gd name="connsiteX187" fmla="*/ 722972 w 1037297"/>
                <a:gd name="connsiteY187" fmla="*/ 205474 h 838042"/>
                <a:gd name="connsiteX188" fmla="*/ 719162 w 1037297"/>
                <a:gd name="connsiteY188" fmla="*/ 211189 h 838042"/>
                <a:gd name="connsiteX189" fmla="*/ 713447 w 1037297"/>
                <a:gd name="connsiteY189" fmla="*/ 213094 h 838042"/>
                <a:gd name="connsiteX190" fmla="*/ 707732 w 1037297"/>
                <a:gd name="connsiteY190" fmla="*/ 216904 h 838042"/>
                <a:gd name="connsiteX191" fmla="*/ 702017 w 1037297"/>
                <a:gd name="connsiteY191" fmla="*/ 222619 h 838042"/>
                <a:gd name="connsiteX192" fmla="*/ 694397 w 1037297"/>
                <a:gd name="connsiteY192" fmla="*/ 226429 h 838042"/>
                <a:gd name="connsiteX193" fmla="*/ 652487 w 1037297"/>
                <a:gd name="connsiteY193" fmla="*/ 255004 h 838042"/>
                <a:gd name="connsiteX194" fmla="*/ 639152 w 1037297"/>
                <a:gd name="connsiteY194" fmla="*/ 266434 h 838042"/>
                <a:gd name="connsiteX195" fmla="*/ 629627 w 1037297"/>
                <a:gd name="connsiteY195" fmla="*/ 283579 h 838042"/>
                <a:gd name="connsiteX196" fmla="*/ 604862 w 1037297"/>
                <a:gd name="connsiteY196" fmla="*/ 289294 h 838042"/>
                <a:gd name="connsiteX197" fmla="*/ 591527 w 1037297"/>
                <a:gd name="connsiteY197" fmla="*/ 293104 h 838042"/>
                <a:gd name="connsiteX198" fmla="*/ 576287 w 1037297"/>
                <a:gd name="connsiteY198" fmla="*/ 291199 h 838042"/>
                <a:gd name="connsiteX199" fmla="*/ 564857 w 1037297"/>
                <a:gd name="connsiteY199" fmla="*/ 287389 h 838042"/>
                <a:gd name="connsiteX200" fmla="*/ 553427 w 1037297"/>
                <a:gd name="connsiteY200" fmla="*/ 283579 h 838042"/>
                <a:gd name="connsiteX201" fmla="*/ 541997 w 1037297"/>
                <a:gd name="connsiteY201" fmla="*/ 279769 h 838042"/>
                <a:gd name="connsiteX202" fmla="*/ 536282 w 1037297"/>
                <a:gd name="connsiteY202" fmla="*/ 277864 h 838042"/>
                <a:gd name="connsiteX203" fmla="*/ 530567 w 1037297"/>
                <a:gd name="connsiteY203" fmla="*/ 274054 h 838042"/>
                <a:gd name="connsiteX204" fmla="*/ 519137 w 1037297"/>
                <a:gd name="connsiteY204" fmla="*/ 268339 h 838042"/>
                <a:gd name="connsiteX205" fmla="*/ 511517 w 1037297"/>
                <a:gd name="connsiteY205" fmla="*/ 256909 h 838042"/>
                <a:gd name="connsiteX206" fmla="*/ 507707 w 1037297"/>
                <a:gd name="connsiteY206" fmla="*/ 235954 h 838042"/>
                <a:gd name="connsiteX207" fmla="*/ 509612 w 1037297"/>
                <a:gd name="connsiteY207" fmla="*/ 171184 h 838042"/>
                <a:gd name="connsiteX208" fmla="*/ 508314 w 1037297"/>
                <a:gd name="connsiteY208" fmla="*/ 73485 h 838042"/>
                <a:gd name="connsiteX209" fmla="*/ 454116 w 1037297"/>
                <a:gd name="connsiteY209" fmla="*/ 11248 h 838042"/>
                <a:gd name="connsiteX210" fmla="*/ 435401 w 1037297"/>
                <a:gd name="connsiteY210" fmla="*/ 68523 h 838042"/>
                <a:gd name="connsiteX211" fmla="*/ 427697 w 1037297"/>
                <a:gd name="connsiteY211" fmla="*/ 137103 h 838042"/>
                <a:gd name="connsiteX212" fmla="*/ 420077 w 1037297"/>
                <a:gd name="connsiteY212" fmla="*/ 169279 h 838042"/>
                <a:gd name="connsiteX213" fmla="*/ 416267 w 1037297"/>
                <a:gd name="connsiteY213" fmla="*/ 186424 h 838042"/>
                <a:gd name="connsiteX214" fmla="*/ 420077 w 1037297"/>
                <a:gd name="connsiteY214" fmla="*/ 207379 h 838042"/>
                <a:gd name="connsiteX215" fmla="*/ 423887 w 1037297"/>
                <a:gd name="connsiteY215" fmla="*/ 213094 h 838042"/>
                <a:gd name="connsiteX216" fmla="*/ 427697 w 1037297"/>
                <a:gd name="connsiteY216" fmla="*/ 224524 h 838042"/>
                <a:gd name="connsiteX217" fmla="*/ 425792 w 1037297"/>
                <a:gd name="connsiteY217" fmla="*/ 251194 h 838042"/>
                <a:gd name="connsiteX218" fmla="*/ 420077 w 1037297"/>
                <a:gd name="connsiteY218" fmla="*/ 253099 h 838042"/>
                <a:gd name="connsiteX219" fmla="*/ 414362 w 1037297"/>
                <a:gd name="connsiteY219" fmla="*/ 256909 h 838042"/>
                <a:gd name="connsiteX220" fmla="*/ 423887 w 1037297"/>
                <a:gd name="connsiteY220"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52462 w 1037297"/>
                <a:gd name="connsiteY105" fmla="*/ 632194 h 838042"/>
                <a:gd name="connsiteX106" fmla="*/ 460082 w 1037297"/>
                <a:gd name="connsiteY106" fmla="*/ 620764 h 838042"/>
                <a:gd name="connsiteX107" fmla="*/ 467702 w 1037297"/>
                <a:gd name="connsiteY107" fmla="*/ 594094 h 838042"/>
                <a:gd name="connsiteX108" fmla="*/ 469607 w 1037297"/>
                <a:gd name="connsiteY108" fmla="*/ 588379 h 838042"/>
                <a:gd name="connsiteX109" fmla="*/ 509612 w 1037297"/>
                <a:gd name="connsiteY109" fmla="*/ 582664 h 838042"/>
                <a:gd name="connsiteX110" fmla="*/ 538187 w 1037297"/>
                <a:gd name="connsiteY110" fmla="*/ 573139 h 838042"/>
                <a:gd name="connsiteX111" fmla="*/ 543902 w 1037297"/>
                <a:gd name="connsiteY111" fmla="*/ 571234 h 838042"/>
                <a:gd name="connsiteX112" fmla="*/ 549617 w 1037297"/>
                <a:gd name="connsiteY112" fmla="*/ 569329 h 838042"/>
                <a:gd name="connsiteX113" fmla="*/ 557237 w 1037297"/>
                <a:gd name="connsiteY113" fmla="*/ 567424 h 838042"/>
                <a:gd name="connsiteX114" fmla="*/ 576287 w 1037297"/>
                <a:gd name="connsiteY114" fmla="*/ 559804 h 838042"/>
                <a:gd name="connsiteX115" fmla="*/ 587717 w 1037297"/>
                <a:gd name="connsiteY115" fmla="*/ 555994 h 838042"/>
                <a:gd name="connsiteX116" fmla="*/ 722972 w 1037297"/>
                <a:gd name="connsiteY116" fmla="*/ 639814 h 838042"/>
                <a:gd name="connsiteX117" fmla="*/ 780122 w 1037297"/>
                <a:gd name="connsiteY117" fmla="*/ 656959 h 838042"/>
                <a:gd name="connsiteX118" fmla="*/ 791552 w 1037297"/>
                <a:gd name="connsiteY118" fmla="*/ 651244 h 838042"/>
                <a:gd name="connsiteX119" fmla="*/ 797267 w 1037297"/>
                <a:gd name="connsiteY119" fmla="*/ 649339 h 838042"/>
                <a:gd name="connsiteX120" fmla="*/ 804887 w 1037297"/>
                <a:gd name="connsiteY120" fmla="*/ 632194 h 838042"/>
                <a:gd name="connsiteX121" fmla="*/ 802982 w 1037297"/>
                <a:gd name="connsiteY121" fmla="*/ 607429 h 838042"/>
                <a:gd name="connsiteX122" fmla="*/ 801077 w 1037297"/>
                <a:gd name="connsiteY122" fmla="*/ 601714 h 838042"/>
                <a:gd name="connsiteX123" fmla="*/ 799172 w 1037297"/>
                <a:gd name="connsiteY123" fmla="*/ 594094 h 838042"/>
                <a:gd name="connsiteX124" fmla="*/ 785837 w 1037297"/>
                <a:gd name="connsiteY124" fmla="*/ 576949 h 838042"/>
                <a:gd name="connsiteX125" fmla="*/ 776312 w 1037297"/>
                <a:gd name="connsiteY125" fmla="*/ 571234 h 838042"/>
                <a:gd name="connsiteX126" fmla="*/ 650582 w 1037297"/>
                <a:gd name="connsiteY126" fmla="*/ 479794 h 838042"/>
                <a:gd name="connsiteX127" fmla="*/ 646772 w 1037297"/>
                <a:gd name="connsiteY127" fmla="*/ 462649 h 838042"/>
                <a:gd name="connsiteX128" fmla="*/ 648677 w 1037297"/>
                <a:gd name="connsiteY128" fmla="*/ 455029 h 838042"/>
                <a:gd name="connsiteX129" fmla="*/ 652487 w 1037297"/>
                <a:gd name="connsiteY129" fmla="*/ 437884 h 838042"/>
                <a:gd name="connsiteX130" fmla="*/ 656297 w 1037297"/>
                <a:gd name="connsiteY130" fmla="*/ 432169 h 838042"/>
                <a:gd name="connsiteX131" fmla="*/ 658202 w 1037297"/>
                <a:gd name="connsiteY131" fmla="*/ 426454 h 838042"/>
                <a:gd name="connsiteX132" fmla="*/ 663917 w 1037297"/>
                <a:gd name="connsiteY132" fmla="*/ 424549 h 838042"/>
                <a:gd name="connsiteX133" fmla="*/ 673442 w 1037297"/>
                <a:gd name="connsiteY133" fmla="*/ 413119 h 838042"/>
                <a:gd name="connsiteX134" fmla="*/ 726782 w 1037297"/>
                <a:gd name="connsiteY134" fmla="*/ 405499 h 838042"/>
                <a:gd name="connsiteX135" fmla="*/ 844892 w 1037297"/>
                <a:gd name="connsiteY135" fmla="*/ 407404 h 838042"/>
                <a:gd name="connsiteX136" fmla="*/ 873467 w 1037297"/>
                <a:gd name="connsiteY136" fmla="*/ 409309 h 838042"/>
                <a:gd name="connsiteX137" fmla="*/ 902042 w 1037297"/>
                <a:gd name="connsiteY137" fmla="*/ 415024 h 838042"/>
                <a:gd name="connsiteX138" fmla="*/ 924902 w 1037297"/>
                <a:gd name="connsiteY138" fmla="*/ 418834 h 838042"/>
                <a:gd name="connsiteX139" fmla="*/ 953477 w 1037297"/>
                <a:gd name="connsiteY139" fmla="*/ 424549 h 838042"/>
                <a:gd name="connsiteX140" fmla="*/ 959192 w 1037297"/>
                <a:gd name="connsiteY140" fmla="*/ 424549 h 838042"/>
                <a:gd name="connsiteX141" fmla="*/ 1004912 w 1037297"/>
                <a:gd name="connsiteY141" fmla="*/ 422644 h 838042"/>
                <a:gd name="connsiteX142" fmla="*/ 1033487 w 1037297"/>
                <a:gd name="connsiteY142" fmla="*/ 415024 h 838042"/>
                <a:gd name="connsiteX143" fmla="*/ 1037297 w 1037297"/>
                <a:gd name="connsiteY143" fmla="*/ 409309 h 838042"/>
                <a:gd name="connsiteX144" fmla="*/ 1035392 w 1037297"/>
                <a:gd name="connsiteY144" fmla="*/ 390259 h 838042"/>
                <a:gd name="connsiteX145" fmla="*/ 1029677 w 1037297"/>
                <a:gd name="connsiteY145" fmla="*/ 386449 h 838042"/>
                <a:gd name="connsiteX146" fmla="*/ 1014437 w 1037297"/>
                <a:gd name="connsiteY146" fmla="*/ 384544 h 838042"/>
                <a:gd name="connsiteX147" fmla="*/ 1008722 w 1037297"/>
                <a:gd name="connsiteY147" fmla="*/ 382639 h 838042"/>
                <a:gd name="connsiteX148" fmla="*/ 1001102 w 1037297"/>
                <a:gd name="connsiteY148" fmla="*/ 380734 h 838042"/>
                <a:gd name="connsiteX149" fmla="*/ 989672 w 1037297"/>
                <a:gd name="connsiteY149" fmla="*/ 373114 h 838042"/>
                <a:gd name="connsiteX150" fmla="*/ 978242 w 1037297"/>
                <a:gd name="connsiteY150" fmla="*/ 369304 h 838042"/>
                <a:gd name="connsiteX151" fmla="*/ 972527 w 1037297"/>
                <a:gd name="connsiteY151" fmla="*/ 367399 h 838042"/>
                <a:gd name="connsiteX152" fmla="*/ 964907 w 1037297"/>
                <a:gd name="connsiteY152" fmla="*/ 365494 h 838042"/>
                <a:gd name="connsiteX153" fmla="*/ 959192 w 1037297"/>
                <a:gd name="connsiteY153" fmla="*/ 363589 h 838042"/>
                <a:gd name="connsiteX154" fmla="*/ 938237 w 1037297"/>
                <a:gd name="connsiteY154" fmla="*/ 357874 h 838042"/>
                <a:gd name="connsiteX155" fmla="*/ 932522 w 1037297"/>
                <a:gd name="connsiteY155" fmla="*/ 355969 h 838042"/>
                <a:gd name="connsiteX156" fmla="*/ 827747 w 1037297"/>
                <a:gd name="connsiteY156" fmla="*/ 357874 h 838042"/>
                <a:gd name="connsiteX157" fmla="*/ 822032 w 1037297"/>
                <a:gd name="connsiteY157" fmla="*/ 359779 h 838042"/>
                <a:gd name="connsiteX158" fmla="*/ 732497 w 1037297"/>
                <a:gd name="connsiteY158" fmla="*/ 361684 h 838042"/>
                <a:gd name="connsiteX159" fmla="*/ 719162 w 1037297"/>
                <a:gd name="connsiteY159" fmla="*/ 365494 h 838042"/>
                <a:gd name="connsiteX160" fmla="*/ 698207 w 1037297"/>
                <a:gd name="connsiteY160" fmla="*/ 367399 h 838042"/>
                <a:gd name="connsiteX161" fmla="*/ 671537 w 1037297"/>
                <a:gd name="connsiteY161" fmla="*/ 369304 h 838042"/>
                <a:gd name="connsiteX162" fmla="*/ 671537 w 1037297"/>
                <a:gd name="connsiteY162" fmla="*/ 369304 h 838042"/>
                <a:gd name="connsiteX163" fmla="*/ 648677 w 1037297"/>
                <a:gd name="connsiteY163" fmla="*/ 373114 h 838042"/>
                <a:gd name="connsiteX164" fmla="*/ 644867 w 1037297"/>
                <a:gd name="connsiteY164" fmla="*/ 361684 h 838042"/>
                <a:gd name="connsiteX165" fmla="*/ 642962 w 1037297"/>
                <a:gd name="connsiteY165" fmla="*/ 355969 h 838042"/>
                <a:gd name="connsiteX166" fmla="*/ 644867 w 1037297"/>
                <a:gd name="connsiteY166" fmla="*/ 338824 h 838042"/>
                <a:gd name="connsiteX167" fmla="*/ 646772 w 1037297"/>
                <a:gd name="connsiteY167" fmla="*/ 333109 h 838042"/>
                <a:gd name="connsiteX168" fmla="*/ 663917 w 1037297"/>
                <a:gd name="connsiteY168" fmla="*/ 323584 h 838042"/>
                <a:gd name="connsiteX169" fmla="*/ 675347 w 1037297"/>
                <a:gd name="connsiteY169" fmla="*/ 315964 h 838042"/>
                <a:gd name="connsiteX170" fmla="*/ 677252 w 1037297"/>
                <a:gd name="connsiteY170" fmla="*/ 310249 h 838042"/>
                <a:gd name="connsiteX171" fmla="*/ 682967 w 1037297"/>
                <a:gd name="connsiteY171" fmla="*/ 308344 h 838042"/>
                <a:gd name="connsiteX172" fmla="*/ 688682 w 1037297"/>
                <a:gd name="connsiteY172" fmla="*/ 304534 h 838042"/>
                <a:gd name="connsiteX173" fmla="*/ 698207 w 1037297"/>
                <a:gd name="connsiteY173" fmla="*/ 295009 h 838042"/>
                <a:gd name="connsiteX174" fmla="*/ 707732 w 1037297"/>
                <a:gd name="connsiteY174" fmla="*/ 283579 h 838042"/>
                <a:gd name="connsiteX175" fmla="*/ 719162 w 1037297"/>
                <a:gd name="connsiteY175" fmla="*/ 275959 h 838042"/>
                <a:gd name="connsiteX176" fmla="*/ 734402 w 1037297"/>
                <a:gd name="connsiteY176" fmla="*/ 262624 h 838042"/>
                <a:gd name="connsiteX177" fmla="*/ 743927 w 1037297"/>
                <a:gd name="connsiteY177" fmla="*/ 251194 h 838042"/>
                <a:gd name="connsiteX178" fmla="*/ 755357 w 1037297"/>
                <a:gd name="connsiteY178" fmla="*/ 241669 h 838042"/>
                <a:gd name="connsiteX179" fmla="*/ 761072 w 1037297"/>
                <a:gd name="connsiteY179" fmla="*/ 230239 h 838042"/>
                <a:gd name="connsiteX180" fmla="*/ 762977 w 1037297"/>
                <a:gd name="connsiteY180" fmla="*/ 224524 h 838042"/>
                <a:gd name="connsiteX181" fmla="*/ 768692 w 1037297"/>
                <a:gd name="connsiteY181" fmla="*/ 213094 h 838042"/>
                <a:gd name="connsiteX182" fmla="*/ 766787 w 1037297"/>
                <a:gd name="connsiteY182" fmla="*/ 197854 h 838042"/>
                <a:gd name="connsiteX183" fmla="*/ 761072 w 1037297"/>
                <a:gd name="connsiteY183" fmla="*/ 195949 h 838042"/>
                <a:gd name="connsiteX184" fmla="*/ 740117 w 1037297"/>
                <a:gd name="connsiteY184" fmla="*/ 197854 h 838042"/>
                <a:gd name="connsiteX185" fmla="*/ 734402 w 1037297"/>
                <a:gd name="connsiteY185" fmla="*/ 201664 h 838042"/>
                <a:gd name="connsiteX186" fmla="*/ 722972 w 1037297"/>
                <a:gd name="connsiteY186" fmla="*/ 205474 h 838042"/>
                <a:gd name="connsiteX187" fmla="*/ 719162 w 1037297"/>
                <a:gd name="connsiteY187" fmla="*/ 211189 h 838042"/>
                <a:gd name="connsiteX188" fmla="*/ 713447 w 1037297"/>
                <a:gd name="connsiteY188" fmla="*/ 213094 h 838042"/>
                <a:gd name="connsiteX189" fmla="*/ 707732 w 1037297"/>
                <a:gd name="connsiteY189" fmla="*/ 216904 h 838042"/>
                <a:gd name="connsiteX190" fmla="*/ 702017 w 1037297"/>
                <a:gd name="connsiteY190" fmla="*/ 222619 h 838042"/>
                <a:gd name="connsiteX191" fmla="*/ 694397 w 1037297"/>
                <a:gd name="connsiteY191" fmla="*/ 226429 h 838042"/>
                <a:gd name="connsiteX192" fmla="*/ 652487 w 1037297"/>
                <a:gd name="connsiteY192" fmla="*/ 255004 h 838042"/>
                <a:gd name="connsiteX193" fmla="*/ 639152 w 1037297"/>
                <a:gd name="connsiteY193" fmla="*/ 266434 h 838042"/>
                <a:gd name="connsiteX194" fmla="*/ 629627 w 1037297"/>
                <a:gd name="connsiteY194" fmla="*/ 283579 h 838042"/>
                <a:gd name="connsiteX195" fmla="*/ 604862 w 1037297"/>
                <a:gd name="connsiteY195" fmla="*/ 289294 h 838042"/>
                <a:gd name="connsiteX196" fmla="*/ 591527 w 1037297"/>
                <a:gd name="connsiteY196" fmla="*/ 293104 h 838042"/>
                <a:gd name="connsiteX197" fmla="*/ 576287 w 1037297"/>
                <a:gd name="connsiteY197" fmla="*/ 291199 h 838042"/>
                <a:gd name="connsiteX198" fmla="*/ 564857 w 1037297"/>
                <a:gd name="connsiteY198" fmla="*/ 287389 h 838042"/>
                <a:gd name="connsiteX199" fmla="*/ 553427 w 1037297"/>
                <a:gd name="connsiteY199" fmla="*/ 283579 h 838042"/>
                <a:gd name="connsiteX200" fmla="*/ 541997 w 1037297"/>
                <a:gd name="connsiteY200" fmla="*/ 279769 h 838042"/>
                <a:gd name="connsiteX201" fmla="*/ 536282 w 1037297"/>
                <a:gd name="connsiteY201" fmla="*/ 277864 h 838042"/>
                <a:gd name="connsiteX202" fmla="*/ 530567 w 1037297"/>
                <a:gd name="connsiteY202" fmla="*/ 274054 h 838042"/>
                <a:gd name="connsiteX203" fmla="*/ 519137 w 1037297"/>
                <a:gd name="connsiteY203" fmla="*/ 268339 h 838042"/>
                <a:gd name="connsiteX204" fmla="*/ 511517 w 1037297"/>
                <a:gd name="connsiteY204" fmla="*/ 256909 h 838042"/>
                <a:gd name="connsiteX205" fmla="*/ 507707 w 1037297"/>
                <a:gd name="connsiteY205" fmla="*/ 235954 h 838042"/>
                <a:gd name="connsiteX206" fmla="*/ 509612 w 1037297"/>
                <a:gd name="connsiteY206" fmla="*/ 171184 h 838042"/>
                <a:gd name="connsiteX207" fmla="*/ 508314 w 1037297"/>
                <a:gd name="connsiteY207" fmla="*/ 73485 h 838042"/>
                <a:gd name="connsiteX208" fmla="*/ 454116 w 1037297"/>
                <a:gd name="connsiteY208" fmla="*/ 11248 h 838042"/>
                <a:gd name="connsiteX209" fmla="*/ 435401 w 1037297"/>
                <a:gd name="connsiteY209" fmla="*/ 68523 h 838042"/>
                <a:gd name="connsiteX210" fmla="*/ 427697 w 1037297"/>
                <a:gd name="connsiteY210" fmla="*/ 137103 h 838042"/>
                <a:gd name="connsiteX211" fmla="*/ 420077 w 1037297"/>
                <a:gd name="connsiteY211" fmla="*/ 169279 h 838042"/>
                <a:gd name="connsiteX212" fmla="*/ 416267 w 1037297"/>
                <a:gd name="connsiteY212" fmla="*/ 186424 h 838042"/>
                <a:gd name="connsiteX213" fmla="*/ 420077 w 1037297"/>
                <a:gd name="connsiteY213" fmla="*/ 207379 h 838042"/>
                <a:gd name="connsiteX214" fmla="*/ 423887 w 1037297"/>
                <a:gd name="connsiteY214" fmla="*/ 213094 h 838042"/>
                <a:gd name="connsiteX215" fmla="*/ 427697 w 1037297"/>
                <a:gd name="connsiteY215" fmla="*/ 224524 h 838042"/>
                <a:gd name="connsiteX216" fmla="*/ 425792 w 1037297"/>
                <a:gd name="connsiteY216" fmla="*/ 251194 h 838042"/>
                <a:gd name="connsiteX217" fmla="*/ 420077 w 1037297"/>
                <a:gd name="connsiteY217" fmla="*/ 253099 h 838042"/>
                <a:gd name="connsiteX218" fmla="*/ 414362 w 1037297"/>
                <a:gd name="connsiteY218" fmla="*/ 256909 h 838042"/>
                <a:gd name="connsiteX219" fmla="*/ 423887 w 1037297"/>
                <a:gd name="connsiteY219"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52462 w 1037297"/>
                <a:gd name="connsiteY105" fmla="*/ 632194 h 838042"/>
                <a:gd name="connsiteX106" fmla="*/ 460082 w 1037297"/>
                <a:gd name="connsiteY106" fmla="*/ 620764 h 838042"/>
                <a:gd name="connsiteX107" fmla="*/ 467702 w 1037297"/>
                <a:gd name="connsiteY107" fmla="*/ 594094 h 838042"/>
                <a:gd name="connsiteX108" fmla="*/ 509612 w 1037297"/>
                <a:gd name="connsiteY108" fmla="*/ 582664 h 838042"/>
                <a:gd name="connsiteX109" fmla="*/ 538187 w 1037297"/>
                <a:gd name="connsiteY109" fmla="*/ 573139 h 838042"/>
                <a:gd name="connsiteX110" fmla="*/ 543902 w 1037297"/>
                <a:gd name="connsiteY110" fmla="*/ 571234 h 838042"/>
                <a:gd name="connsiteX111" fmla="*/ 549617 w 1037297"/>
                <a:gd name="connsiteY111" fmla="*/ 569329 h 838042"/>
                <a:gd name="connsiteX112" fmla="*/ 557237 w 1037297"/>
                <a:gd name="connsiteY112" fmla="*/ 567424 h 838042"/>
                <a:gd name="connsiteX113" fmla="*/ 576287 w 1037297"/>
                <a:gd name="connsiteY113" fmla="*/ 559804 h 838042"/>
                <a:gd name="connsiteX114" fmla="*/ 587717 w 1037297"/>
                <a:gd name="connsiteY114" fmla="*/ 555994 h 838042"/>
                <a:gd name="connsiteX115" fmla="*/ 722972 w 1037297"/>
                <a:gd name="connsiteY115" fmla="*/ 639814 h 838042"/>
                <a:gd name="connsiteX116" fmla="*/ 780122 w 1037297"/>
                <a:gd name="connsiteY116" fmla="*/ 656959 h 838042"/>
                <a:gd name="connsiteX117" fmla="*/ 791552 w 1037297"/>
                <a:gd name="connsiteY117" fmla="*/ 651244 h 838042"/>
                <a:gd name="connsiteX118" fmla="*/ 797267 w 1037297"/>
                <a:gd name="connsiteY118" fmla="*/ 649339 h 838042"/>
                <a:gd name="connsiteX119" fmla="*/ 804887 w 1037297"/>
                <a:gd name="connsiteY119" fmla="*/ 632194 h 838042"/>
                <a:gd name="connsiteX120" fmla="*/ 802982 w 1037297"/>
                <a:gd name="connsiteY120" fmla="*/ 607429 h 838042"/>
                <a:gd name="connsiteX121" fmla="*/ 801077 w 1037297"/>
                <a:gd name="connsiteY121" fmla="*/ 601714 h 838042"/>
                <a:gd name="connsiteX122" fmla="*/ 799172 w 1037297"/>
                <a:gd name="connsiteY122" fmla="*/ 594094 h 838042"/>
                <a:gd name="connsiteX123" fmla="*/ 785837 w 1037297"/>
                <a:gd name="connsiteY123" fmla="*/ 576949 h 838042"/>
                <a:gd name="connsiteX124" fmla="*/ 776312 w 1037297"/>
                <a:gd name="connsiteY124" fmla="*/ 571234 h 838042"/>
                <a:gd name="connsiteX125" fmla="*/ 650582 w 1037297"/>
                <a:gd name="connsiteY125" fmla="*/ 479794 h 838042"/>
                <a:gd name="connsiteX126" fmla="*/ 646772 w 1037297"/>
                <a:gd name="connsiteY126" fmla="*/ 462649 h 838042"/>
                <a:gd name="connsiteX127" fmla="*/ 648677 w 1037297"/>
                <a:gd name="connsiteY127" fmla="*/ 455029 h 838042"/>
                <a:gd name="connsiteX128" fmla="*/ 652487 w 1037297"/>
                <a:gd name="connsiteY128" fmla="*/ 437884 h 838042"/>
                <a:gd name="connsiteX129" fmla="*/ 656297 w 1037297"/>
                <a:gd name="connsiteY129" fmla="*/ 432169 h 838042"/>
                <a:gd name="connsiteX130" fmla="*/ 658202 w 1037297"/>
                <a:gd name="connsiteY130" fmla="*/ 426454 h 838042"/>
                <a:gd name="connsiteX131" fmla="*/ 663917 w 1037297"/>
                <a:gd name="connsiteY131" fmla="*/ 424549 h 838042"/>
                <a:gd name="connsiteX132" fmla="*/ 673442 w 1037297"/>
                <a:gd name="connsiteY132" fmla="*/ 413119 h 838042"/>
                <a:gd name="connsiteX133" fmla="*/ 726782 w 1037297"/>
                <a:gd name="connsiteY133" fmla="*/ 405499 h 838042"/>
                <a:gd name="connsiteX134" fmla="*/ 844892 w 1037297"/>
                <a:gd name="connsiteY134" fmla="*/ 407404 h 838042"/>
                <a:gd name="connsiteX135" fmla="*/ 873467 w 1037297"/>
                <a:gd name="connsiteY135" fmla="*/ 409309 h 838042"/>
                <a:gd name="connsiteX136" fmla="*/ 902042 w 1037297"/>
                <a:gd name="connsiteY136" fmla="*/ 415024 h 838042"/>
                <a:gd name="connsiteX137" fmla="*/ 924902 w 1037297"/>
                <a:gd name="connsiteY137" fmla="*/ 418834 h 838042"/>
                <a:gd name="connsiteX138" fmla="*/ 953477 w 1037297"/>
                <a:gd name="connsiteY138" fmla="*/ 424549 h 838042"/>
                <a:gd name="connsiteX139" fmla="*/ 959192 w 1037297"/>
                <a:gd name="connsiteY139" fmla="*/ 424549 h 838042"/>
                <a:gd name="connsiteX140" fmla="*/ 1004912 w 1037297"/>
                <a:gd name="connsiteY140" fmla="*/ 422644 h 838042"/>
                <a:gd name="connsiteX141" fmla="*/ 1033487 w 1037297"/>
                <a:gd name="connsiteY141" fmla="*/ 415024 h 838042"/>
                <a:gd name="connsiteX142" fmla="*/ 1037297 w 1037297"/>
                <a:gd name="connsiteY142" fmla="*/ 409309 h 838042"/>
                <a:gd name="connsiteX143" fmla="*/ 1035392 w 1037297"/>
                <a:gd name="connsiteY143" fmla="*/ 390259 h 838042"/>
                <a:gd name="connsiteX144" fmla="*/ 1029677 w 1037297"/>
                <a:gd name="connsiteY144" fmla="*/ 386449 h 838042"/>
                <a:gd name="connsiteX145" fmla="*/ 1014437 w 1037297"/>
                <a:gd name="connsiteY145" fmla="*/ 384544 h 838042"/>
                <a:gd name="connsiteX146" fmla="*/ 1008722 w 1037297"/>
                <a:gd name="connsiteY146" fmla="*/ 382639 h 838042"/>
                <a:gd name="connsiteX147" fmla="*/ 1001102 w 1037297"/>
                <a:gd name="connsiteY147" fmla="*/ 380734 h 838042"/>
                <a:gd name="connsiteX148" fmla="*/ 989672 w 1037297"/>
                <a:gd name="connsiteY148" fmla="*/ 373114 h 838042"/>
                <a:gd name="connsiteX149" fmla="*/ 978242 w 1037297"/>
                <a:gd name="connsiteY149" fmla="*/ 369304 h 838042"/>
                <a:gd name="connsiteX150" fmla="*/ 972527 w 1037297"/>
                <a:gd name="connsiteY150" fmla="*/ 367399 h 838042"/>
                <a:gd name="connsiteX151" fmla="*/ 964907 w 1037297"/>
                <a:gd name="connsiteY151" fmla="*/ 365494 h 838042"/>
                <a:gd name="connsiteX152" fmla="*/ 959192 w 1037297"/>
                <a:gd name="connsiteY152" fmla="*/ 363589 h 838042"/>
                <a:gd name="connsiteX153" fmla="*/ 938237 w 1037297"/>
                <a:gd name="connsiteY153" fmla="*/ 357874 h 838042"/>
                <a:gd name="connsiteX154" fmla="*/ 932522 w 1037297"/>
                <a:gd name="connsiteY154" fmla="*/ 355969 h 838042"/>
                <a:gd name="connsiteX155" fmla="*/ 827747 w 1037297"/>
                <a:gd name="connsiteY155" fmla="*/ 357874 h 838042"/>
                <a:gd name="connsiteX156" fmla="*/ 822032 w 1037297"/>
                <a:gd name="connsiteY156" fmla="*/ 359779 h 838042"/>
                <a:gd name="connsiteX157" fmla="*/ 732497 w 1037297"/>
                <a:gd name="connsiteY157" fmla="*/ 361684 h 838042"/>
                <a:gd name="connsiteX158" fmla="*/ 719162 w 1037297"/>
                <a:gd name="connsiteY158" fmla="*/ 365494 h 838042"/>
                <a:gd name="connsiteX159" fmla="*/ 698207 w 1037297"/>
                <a:gd name="connsiteY159" fmla="*/ 367399 h 838042"/>
                <a:gd name="connsiteX160" fmla="*/ 671537 w 1037297"/>
                <a:gd name="connsiteY160" fmla="*/ 369304 h 838042"/>
                <a:gd name="connsiteX161" fmla="*/ 671537 w 1037297"/>
                <a:gd name="connsiteY161" fmla="*/ 369304 h 838042"/>
                <a:gd name="connsiteX162" fmla="*/ 648677 w 1037297"/>
                <a:gd name="connsiteY162" fmla="*/ 373114 h 838042"/>
                <a:gd name="connsiteX163" fmla="*/ 644867 w 1037297"/>
                <a:gd name="connsiteY163" fmla="*/ 361684 h 838042"/>
                <a:gd name="connsiteX164" fmla="*/ 642962 w 1037297"/>
                <a:gd name="connsiteY164" fmla="*/ 355969 h 838042"/>
                <a:gd name="connsiteX165" fmla="*/ 644867 w 1037297"/>
                <a:gd name="connsiteY165" fmla="*/ 338824 h 838042"/>
                <a:gd name="connsiteX166" fmla="*/ 646772 w 1037297"/>
                <a:gd name="connsiteY166" fmla="*/ 333109 h 838042"/>
                <a:gd name="connsiteX167" fmla="*/ 663917 w 1037297"/>
                <a:gd name="connsiteY167" fmla="*/ 323584 h 838042"/>
                <a:gd name="connsiteX168" fmla="*/ 675347 w 1037297"/>
                <a:gd name="connsiteY168" fmla="*/ 315964 h 838042"/>
                <a:gd name="connsiteX169" fmla="*/ 677252 w 1037297"/>
                <a:gd name="connsiteY169" fmla="*/ 310249 h 838042"/>
                <a:gd name="connsiteX170" fmla="*/ 682967 w 1037297"/>
                <a:gd name="connsiteY170" fmla="*/ 308344 h 838042"/>
                <a:gd name="connsiteX171" fmla="*/ 688682 w 1037297"/>
                <a:gd name="connsiteY171" fmla="*/ 304534 h 838042"/>
                <a:gd name="connsiteX172" fmla="*/ 698207 w 1037297"/>
                <a:gd name="connsiteY172" fmla="*/ 295009 h 838042"/>
                <a:gd name="connsiteX173" fmla="*/ 707732 w 1037297"/>
                <a:gd name="connsiteY173" fmla="*/ 283579 h 838042"/>
                <a:gd name="connsiteX174" fmla="*/ 719162 w 1037297"/>
                <a:gd name="connsiteY174" fmla="*/ 275959 h 838042"/>
                <a:gd name="connsiteX175" fmla="*/ 734402 w 1037297"/>
                <a:gd name="connsiteY175" fmla="*/ 262624 h 838042"/>
                <a:gd name="connsiteX176" fmla="*/ 743927 w 1037297"/>
                <a:gd name="connsiteY176" fmla="*/ 251194 h 838042"/>
                <a:gd name="connsiteX177" fmla="*/ 755357 w 1037297"/>
                <a:gd name="connsiteY177" fmla="*/ 241669 h 838042"/>
                <a:gd name="connsiteX178" fmla="*/ 761072 w 1037297"/>
                <a:gd name="connsiteY178" fmla="*/ 230239 h 838042"/>
                <a:gd name="connsiteX179" fmla="*/ 762977 w 1037297"/>
                <a:gd name="connsiteY179" fmla="*/ 224524 h 838042"/>
                <a:gd name="connsiteX180" fmla="*/ 768692 w 1037297"/>
                <a:gd name="connsiteY180" fmla="*/ 213094 h 838042"/>
                <a:gd name="connsiteX181" fmla="*/ 766787 w 1037297"/>
                <a:gd name="connsiteY181" fmla="*/ 197854 h 838042"/>
                <a:gd name="connsiteX182" fmla="*/ 761072 w 1037297"/>
                <a:gd name="connsiteY182" fmla="*/ 195949 h 838042"/>
                <a:gd name="connsiteX183" fmla="*/ 740117 w 1037297"/>
                <a:gd name="connsiteY183" fmla="*/ 197854 h 838042"/>
                <a:gd name="connsiteX184" fmla="*/ 734402 w 1037297"/>
                <a:gd name="connsiteY184" fmla="*/ 201664 h 838042"/>
                <a:gd name="connsiteX185" fmla="*/ 722972 w 1037297"/>
                <a:gd name="connsiteY185" fmla="*/ 205474 h 838042"/>
                <a:gd name="connsiteX186" fmla="*/ 719162 w 1037297"/>
                <a:gd name="connsiteY186" fmla="*/ 211189 h 838042"/>
                <a:gd name="connsiteX187" fmla="*/ 713447 w 1037297"/>
                <a:gd name="connsiteY187" fmla="*/ 213094 h 838042"/>
                <a:gd name="connsiteX188" fmla="*/ 707732 w 1037297"/>
                <a:gd name="connsiteY188" fmla="*/ 216904 h 838042"/>
                <a:gd name="connsiteX189" fmla="*/ 702017 w 1037297"/>
                <a:gd name="connsiteY189" fmla="*/ 222619 h 838042"/>
                <a:gd name="connsiteX190" fmla="*/ 694397 w 1037297"/>
                <a:gd name="connsiteY190" fmla="*/ 226429 h 838042"/>
                <a:gd name="connsiteX191" fmla="*/ 652487 w 1037297"/>
                <a:gd name="connsiteY191" fmla="*/ 255004 h 838042"/>
                <a:gd name="connsiteX192" fmla="*/ 639152 w 1037297"/>
                <a:gd name="connsiteY192" fmla="*/ 266434 h 838042"/>
                <a:gd name="connsiteX193" fmla="*/ 629627 w 1037297"/>
                <a:gd name="connsiteY193" fmla="*/ 283579 h 838042"/>
                <a:gd name="connsiteX194" fmla="*/ 604862 w 1037297"/>
                <a:gd name="connsiteY194" fmla="*/ 289294 h 838042"/>
                <a:gd name="connsiteX195" fmla="*/ 591527 w 1037297"/>
                <a:gd name="connsiteY195" fmla="*/ 293104 h 838042"/>
                <a:gd name="connsiteX196" fmla="*/ 576287 w 1037297"/>
                <a:gd name="connsiteY196" fmla="*/ 291199 h 838042"/>
                <a:gd name="connsiteX197" fmla="*/ 564857 w 1037297"/>
                <a:gd name="connsiteY197" fmla="*/ 287389 h 838042"/>
                <a:gd name="connsiteX198" fmla="*/ 553427 w 1037297"/>
                <a:gd name="connsiteY198" fmla="*/ 283579 h 838042"/>
                <a:gd name="connsiteX199" fmla="*/ 541997 w 1037297"/>
                <a:gd name="connsiteY199" fmla="*/ 279769 h 838042"/>
                <a:gd name="connsiteX200" fmla="*/ 536282 w 1037297"/>
                <a:gd name="connsiteY200" fmla="*/ 277864 h 838042"/>
                <a:gd name="connsiteX201" fmla="*/ 530567 w 1037297"/>
                <a:gd name="connsiteY201" fmla="*/ 274054 h 838042"/>
                <a:gd name="connsiteX202" fmla="*/ 519137 w 1037297"/>
                <a:gd name="connsiteY202" fmla="*/ 268339 h 838042"/>
                <a:gd name="connsiteX203" fmla="*/ 511517 w 1037297"/>
                <a:gd name="connsiteY203" fmla="*/ 256909 h 838042"/>
                <a:gd name="connsiteX204" fmla="*/ 507707 w 1037297"/>
                <a:gd name="connsiteY204" fmla="*/ 235954 h 838042"/>
                <a:gd name="connsiteX205" fmla="*/ 509612 w 1037297"/>
                <a:gd name="connsiteY205" fmla="*/ 171184 h 838042"/>
                <a:gd name="connsiteX206" fmla="*/ 508314 w 1037297"/>
                <a:gd name="connsiteY206" fmla="*/ 73485 h 838042"/>
                <a:gd name="connsiteX207" fmla="*/ 454116 w 1037297"/>
                <a:gd name="connsiteY207" fmla="*/ 11248 h 838042"/>
                <a:gd name="connsiteX208" fmla="*/ 435401 w 1037297"/>
                <a:gd name="connsiteY208" fmla="*/ 68523 h 838042"/>
                <a:gd name="connsiteX209" fmla="*/ 427697 w 1037297"/>
                <a:gd name="connsiteY209" fmla="*/ 137103 h 838042"/>
                <a:gd name="connsiteX210" fmla="*/ 420077 w 1037297"/>
                <a:gd name="connsiteY210" fmla="*/ 169279 h 838042"/>
                <a:gd name="connsiteX211" fmla="*/ 416267 w 1037297"/>
                <a:gd name="connsiteY211" fmla="*/ 186424 h 838042"/>
                <a:gd name="connsiteX212" fmla="*/ 420077 w 1037297"/>
                <a:gd name="connsiteY212" fmla="*/ 207379 h 838042"/>
                <a:gd name="connsiteX213" fmla="*/ 423887 w 1037297"/>
                <a:gd name="connsiteY213" fmla="*/ 213094 h 838042"/>
                <a:gd name="connsiteX214" fmla="*/ 427697 w 1037297"/>
                <a:gd name="connsiteY214" fmla="*/ 224524 h 838042"/>
                <a:gd name="connsiteX215" fmla="*/ 425792 w 1037297"/>
                <a:gd name="connsiteY215" fmla="*/ 251194 h 838042"/>
                <a:gd name="connsiteX216" fmla="*/ 420077 w 1037297"/>
                <a:gd name="connsiteY216" fmla="*/ 253099 h 838042"/>
                <a:gd name="connsiteX217" fmla="*/ 414362 w 1037297"/>
                <a:gd name="connsiteY217" fmla="*/ 256909 h 838042"/>
                <a:gd name="connsiteX218" fmla="*/ 423887 w 1037297"/>
                <a:gd name="connsiteY21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52462 w 1037297"/>
                <a:gd name="connsiteY105" fmla="*/ 632194 h 838042"/>
                <a:gd name="connsiteX106" fmla="*/ 460082 w 1037297"/>
                <a:gd name="connsiteY106" fmla="*/ 620764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52462 w 1037297"/>
                <a:gd name="connsiteY105" fmla="*/ 632194 h 838042"/>
                <a:gd name="connsiteX106" fmla="*/ 464289 w 1037297"/>
                <a:gd name="connsiteY106" fmla="*/ 600072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9612 w 1037297"/>
                <a:gd name="connsiteY107" fmla="*/ 582664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549617 w 1037297"/>
                <a:gd name="connsiteY110" fmla="*/ 569329 h 838042"/>
                <a:gd name="connsiteX111" fmla="*/ 557237 w 1037297"/>
                <a:gd name="connsiteY111" fmla="*/ 567424 h 838042"/>
                <a:gd name="connsiteX112" fmla="*/ 576287 w 1037297"/>
                <a:gd name="connsiteY112" fmla="*/ 559804 h 838042"/>
                <a:gd name="connsiteX113" fmla="*/ 587717 w 1037297"/>
                <a:gd name="connsiteY113" fmla="*/ 555994 h 838042"/>
                <a:gd name="connsiteX114" fmla="*/ 722972 w 1037297"/>
                <a:gd name="connsiteY114" fmla="*/ 639814 h 838042"/>
                <a:gd name="connsiteX115" fmla="*/ 780122 w 1037297"/>
                <a:gd name="connsiteY115" fmla="*/ 656959 h 838042"/>
                <a:gd name="connsiteX116" fmla="*/ 791552 w 1037297"/>
                <a:gd name="connsiteY116" fmla="*/ 651244 h 838042"/>
                <a:gd name="connsiteX117" fmla="*/ 797267 w 1037297"/>
                <a:gd name="connsiteY117" fmla="*/ 649339 h 838042"/>
                <a:gd name="connsiteX118" fmla="*/ 804887 w 1037297"/>
                <a:gd name="connsiteY118" fmla="*/ 632194 h 838042"/>
                <a:gd name="connsiteX119" fmla="*/ 802982 w 1037297"/>
                <a:gd name="connsiteY119" fmla="*/ 607429 h 838042"/>
                <a:gd name="connsiteX120" fmla="*/ 801077 w 1037297"/>
                <a:gd name="connsiteY120" fmla="*/ 601714 h 838042"/>
                <a:gd name="connsiteX121" fmla="*/ 799172 w 1037297"/>
                <a:gd name="connsiteY121" fmla="*/ 594094 h 838042"/>
                <a:gd name="connsiteX122" fmla="*/ 785837 w 1037297"/>
                <a:gd name="connsiteY122" fmla="*/ 576949 h 838042"/>
                <a:gd name="connsiteX123" fmla="*/ 776312 w 1037297"/>
                <a:gd name="connsiteY123" fmla="*/ 571234 h 838042"/>
                <a:gd name="connsiteX124" fmla="*/ 650582 w 1037297"/>
                <a:gd name="connsiteY124" fmla="*/ 479794 h 838042"/>
                <a:gd name="connsiteX125" fmla="*/ 646772 w 1037297"/>
                <a:gd name="connsiteY125" fmla="*/ 462649 h 838042"/>
                <a:gd name="connsiteX126" fmla="*/ 648677 w 1037297"/>
                <a:gd name="connsiteY126" fmla="*/ 455029 h 838042"/>
                <a:gd name="connsiteX127" fmla="*/ 652487 w 1037297"/>
                <a:gd name="connsiteY127" fmla="*/ 437884 h 838042"/>
                <a:gd name="connsiteX128" fmla="*/ 656297 w 1037297"/>
                <a:gd name="connsiteY128" fmla="*/ 432169 h 838042"/>
                <a:gd name="connsiteX129" fmla="*/ 658202 w 1037297"/>
                <a:gd name="connsiteY129" fmla="*/ 426454 h 838042"/>
                <a:gd name="connsiteX130" fmla="*/ 663917 w 1037297"/>
                <a:gd name="connsiteY130" fmla="*/ 424549 h 838042"/>
                <a:gd name="connsiteX131" fmla="*/ 673442 w 1037297"/>
                <a:gd name="connsiteY131" fmla="*/ 413119 h 838042"/>
                <a:gd name="connsiteX132" fmla="*/ 726782 w 1037297"/>
                <a:gd name="connsiteY132" fmla="*/ 405499 h 838042"/>
                <a:gd name="connsiteX133" fmla="*/ 844892 w 1037297"/>
                <a:gd name="connsiteY133" fmla="*/ 407404 h 838042"/>
                <a:gd name="connsiteX134" fmla="*/ 873467 w 1037297"/>
                <a:gd name="connsiteY134" fmla="*/ 409309 h 838042"/>
                <a:gd name="connsiteX135" fmla="*/ 902042 w 1037297"/>
                <a:gd name="connsiteY135" fmla="*/ 415024 h 838042"/>
                <a:gd name="connsiteX136" fmla="*/ 924902 w 1037297"/>
                <a:gd name="connsiteY136" fmla="*/ 418834 h 838042"/>
                <a:gd name="connsiteX137" fmla="*/ 953477 w 1037297"/>
                <a:gd name="connsiteY137" fmla="*/ 424549 h 838042"/>
                <a:gd name="connsiteX138" fmla="*/ 959192 w 1037297"/>
                <a:gd name="connsiteY138" fmla="*/ 424549 h 838042"/>
                <a:gd name="connsiteX139" fmla="*/ 1004912 w 1037297"/>
                <a:gd name="connsiteY139" fmla="*/ 422644 h 838042"/>
                <a:gd name="connsiteX140" fmla="*/ 1033487 w 1037297"/>
                <a:gd name="connsiteY140" fmla="*/ 415024 h 838042"/>
                <a:gd name="connsiteX141" fmla="*/ 1037297 w 1037297"/>
                <a:gd name="connsiteY141" fmla="*/ 409309 h 838042"/>
                <a:gd name="connsiteX142" fmla="*/ 1035392 w 1037297"/>
                <a:gd name="connsiteY142" fmla="*/ 390259 h 838042"/>
                <a:gd name="connsiteX143" fmla="*/ 1029677 w 1037297"/>
                <a:gd name="connsiteY143" fmla="*/ 386449 h 838042"/>
                <a:gd name="connsiteX144" fmla="*/ 1014437 w 1037297"/>
                <a:gd name="connsiteY144" fmla="*/ 384544 h 838042"/>
                <a:gd name="connsiteX145" fmla="*/ 1008722 w 1037297"/>
                <a:gd name="connsiteY145" fmla="*/ 382639 h 838042"/>
                <a:gd name="connsiteX146" fmla="*/ 1001102 w 1037297"/>
                <a:gd name="connsiteY146" fmla="*/ 380734 h 838042"/>
                <a:gd name="connsiteX147" fmla="*/ 989672 w 1037297"/>
                <a:gd name="connsiteY147" fmla="*/ 373114 h 838042"/>
                <a:gd name="connsiteX148" fmla="*/ 978242 w 1037297"/>
                <a:gd name="connsiteY148" fmla="*/ 369304 h 838042"/>
                <a:gd name="connsiteX149" fmla="*/ 972527 w 1037297"/>
                <a:gd name="connsiteY149" fmla="*/ 367399 h 838042"/>
                <a:gd name="connsiteX150" fmla="*/ 964907 w 1037297"/>
                <a:gd name="connsiteY150" fmla="*/ 365494 h 838042"/>
                <a:gd name="connsiteX151" fmla="*/ 959192 w 1037297"/>
                <a:gd name="connsiteY151" fmla="*/ 363589 h 838042"/>
                <a:gd name="connsiteX152" fmla="*/ 938237 w 1037297"/>
                <a:gd name="connsiteY152" fmla="*/ 357874 h 838042"/>
                <a:gd name="connsiteX153" fmla="*/ 932522 w 1037297"/>
                <a:gd name="connsiteY153" fmla="*/ 355969 h 838042"/>
                <a:gd name="connsiteX154" fmla="*/ 827747 w 1037297"/>
                <a:gd name="connsiteY154" fmla="*/ 357874 h 838042"/>
                <a:gd name="connsiteX155" fmla="*/ 822032 w 1037297"/>
                <a:gd name="connsiteY155" fmla="*/ 359779 h 838042"/>
                <a:gd name="connsiteX156" fmla="*/ 732497 w 1037297"/>
                <a:gd name="connsiteY156" fmla="*/ 361684 h 838042"/>
                <a:gd name="connsiteX157" fmla="*/ 719162 w 1037297"/>
                <a:gd name="connsiteY157" fmla="*/ 365494 h 838042"/>
                <a:gd name="connsiteX158" fmla="*/ 698207 w 1037297"/>
                <a:gd name="connsiteY158" fmla="*/ 367399 h 838042"/>
                <a:gd name="connsiteX159" fmla="*/ 671537 w 1037297"/>
                <a:gd name="connsiteY159" fmla="*/ 369304 h 838042"/>
                <a:gd name="connsiteX160" fmla="*/ 671537 w 1037297"/>
                <a:gd name="connsiteY160" fmla="*/ 369304 h 838042"/>
                <a:gd name="connsiteX161" fmla="*/ 648677 w 1037297"/>
                <a:gd name="connsiteY161" fmla="*/ 373114 h 838042"/>
                <a:gd name="connsiteX162" fmla="*/ 644867 w 1037297"/>
                <a:gd name="connsiteY162" fmla="*/ 361684 h 838042"/>
                <a:gd name="connsiteX163" fmla="*/ 642962 w 1037297"/>
                <a:gd name="connsiteY163" fmla="*/ 355969 h 838042"/>
                <a:gd name="connsiteX164" fmla="*/ 644867 w 1037297"/>
                <a:gd name="connsiteY164" fmla="*/ 338824 h 838042"/>
                <a:gd name="connsiteX165" fmla="*/ 646772 w 1037297"/>
                <a:gd name="connsiteY165" fmla="*/ 333109 h 838042"/>
                <a:gd name="connsiteX166" fmla="*/ 663917 w 1037297"/>
                <a:gd name="connsiteY166" fmla="*/ 323584 h 838042"/>
                <a:gd name="connsiteX167" fmla="*/ 675347 w 1037297"/>
                <a:gd name="connsiteY167" fmla="*/ 315964 h 838042"/>
                <a:gd name="connsiteX168" fmla="*/ 677252 w 1037297"/>
                <a:gd name="connsiteY168" fmla="*/ 310249 h 838042"/>
                <a:gd name="connsiteX169" fmla="*/ 682967 w 1037297"/>
                <a:gd name="connsiteY169" fmla="*/ 308344 h 838042"/>
                <a:gd name="connsiteX170" fmla="*/ 688682 w 1037297"/>
                <a:gd name="connsiteY170" fmla="*/ 304534 h 838042"/>
                <a:gd name="connsiteX171" fmla="*/ 698207 w 1037297"/>
                <a:gd name="connsiteY171" fmla="*/ 295009 h 838042"/>
                <a:gd name="connsiteX172" fmla="*/ 707732 w 1037297"/>
                <a:gd name="connsiteY172" fmla="*/ 283579 h 838042"/>
                <a:gd name="connsiteX173" fmla="*/ 719162 w 1037297"/>
                <a:gd name="connsiteY173" fmla="*/ 275959 h 838042"/>
                <a:gd name="connsiteX174" fmla="*/ 734402 w 1037297"/>
                <a:gd name="connsiteY174" fmla="*/ 262624 h 838042"/>
                <a:gd name="connsiteX175" fmla="*/ 743927 w 1037297"/>
                <a:gd name="connsiteY175" fmla="*/ 251194 h 838042"/>
                <a:gd name="connsiteX176" fmla="*/ 755357 w 1037297"/>
                <a:gd name="connsiteY176" fmla="*/ 241669 h 838042"/>
                <a:gd name="connsiteX177" fmla="*/ 761072 w 1037297"/>
                <a:gd name="connsiteY177" fmla="*/ 230239 h 838042"/>
                <a:gd name="connsiteX178" fmla="*/ 762977 w 1037297"/>
                <a:gd name="connsiteY178" fmla="*/ 224524 h 838042"/>
                <a:gd name="connsiteX179" fmla="*/ 768692 w 1037297"/>
                <a:gd name="connsiteY179" fmla="*/ 213094 h 838042"/>
                <a:gd name="connsiteX180" fmla="*/ 766787 w 1037297"/>
                <a:gd name="connsiteY180" fmla="*/ 197854 h 838042"/>
                <a:gd name="connsiteX181" fmla="*/ 761072 w 1037297"/>
                <a:gd name="connsiteY181" fmla="*/ 195949 h 838042"/>
                <a:gd name="connsiteX182" fmla="*/ 740117 w 1037297"/>
                <a:gd name="connsiteY182" fmla="*/ 197854 h 838042"/>
                <a:gd name="connsiteX183" fmla="*/ 734402 w 1037297"/>
                <a:gd name="connsiteY183" fmla="*/ 201664 h 838042"/>
                <a:gd name="connsiteX184" fmla="*/ 722972 w 1037297"/>
                <a:gd name="connsiteY184" fmla="*/ 205474 h 838042"/>
                <a:gd name="connsiteX185" fmla="*/ 719162 w 1037297"/>
                <a:gd name="connsiteY185" fmla="*/ 211189 h 838042"/>
                <a:gd name="connsiteX186" fmla="*/ 713447 w 1037297"/>
                <a:gd name="connsiteY186" fmla="*/ 213094 h 838042"/>
                <a:gd name="connsiteX187" fmla="*/ 707732 w 1037297"/>
                <a:gd name="connsiteY187" fmla="*/ 216904 h 838042"/>
                <a:gd name="connsiteX188" fmla="*/ 702017 w 1037297"/>
                <a:gd name="connsiteY188" fmla="*/ 222619 h 838042"/>
                <a:gd name="connsiteX189" fmla="*/ 694397 w 1037297"/>
                <a:gd name="connsiteY189" fmla="*/ 226429 h 838042"/>
                <a:gd name="connsiteX190" fmla="*/ 652487 w 1037297"/>
                <a:gd name="connsiteY190" fmla="*/ 255004 h 838042"/>
                <a:gd name="connsiteX191" fmla="*/ 639152 w 1037297"/>
                <a:gd name="connsiteY191" fmla="*/ 266434 h 838042"/>
                <a:gd name="connsiteX192" fmla="*/ 629627 w 1037297"/>
                <a:gd name="connsiteY192" fmla="*/ 283579 h 838042"/>
                <a:gd name="connsiteX193" fmla="*/ 604862 w 1037297"/>
                <a:gd name="connsiteY193" fmla="*/ 289294 h 838042"/>
                <a:gd name="connsiteX194" fmla="*/ 591527 w 1037297"/>
                <a:gd name="connsiteY194" fmla="*/ 293104 h 838042"/>
                <a:gd name="connsiteX195" fmla="*/ 576287 w 1037297"/>
                <a:gd name="connsiteY195" fmla="*/ 291199 h 838042"/>
                <a:gd name="connsiteX196" fmla="*/ 564857 w 1037297"/>
                <a:gd name="connsiteY196" fmla="*/ 287389 h 838042"/>
                <a:gd name="connsiteX197" fmla="*/ 553427 w 1037297"/>
                <a:gd name="connsiteY197" fmla="*/ 283579 h 838042"/>
                <a:gd name="connsiteX198" fmla="*/ 541997 w 1037297"/>
                <a:gd name="connsiteY198" fmla="*/ 279769 h 838042"/>
                <a:gd name="connsiteX199" fmla="*/ 536282 w 1037297"/>
                <a:gd name="connsiteY199" fmla="*/ 277864 h 838042"/>
                <a:gd name="connsiteX200" fmla="*/ 530567 w 1037297"/>
                <a:gd name="connsiteY200" fmla="*/ 274054 h 838042"/>
                <a:gd name="connsiteX201" fmla="*/ 519137 w 1037297"/>
                <a:gd name="connsiteY201" fmla="*/ 268339 h 838042"/>
                <a:gd name="connsiteX202" fmla="*/ 511517 w 1037297"/>
                <a:gd name="connsiteY202" fmla="*/ 256909 h 838042"/>
                <a:gd name="connsiteX203" fmla="*/ 507707 w 1037297"/>
                <a:gd name="connsiteY203" fmla="*/ 235954 h 838042"/>
                <a:gd name="connsiteX204" fmla="*/ 509612 w 1037297"/>
                <a:gd name="connsiteY204" fmla="*/ 171184 h 838042"/>
                <a:gd name="connsiteX205" fmla="*/ 508314 w 1037297"/>
                <a:gd name="connsiteY205" fmla="*/ 73485 h 838042"/>
                <a:gd name="connsiteX206" fmla="*/ 454116 w 1037297"/>
                <a:gd name="connsiteY206" fmla="*/ 11248 h 838042"/>
                <a:gd name="connsiteX207" fmla="*/ 435401 w 1037297"/>
                <a:gd name="connsiteY207" fmla="*/ 68523 h 838042"/>
                <a:gd name="connsiteX208" fmla="*/ 427697 w 1037297"/>
                <a:gd name="connsiteY208" fmla="*/ 137103 h 838042"/>
                <a:gd name="connsiteX209" fmla="*/ 420077 w 1037297"/>
                <a:gd name="connsiteY209" fmla="*/ 169279 h 838042"/>
                <a:gd name="connsiteX210" fmla="*/ 416267 w 1037297"/>
                <a:gd name="connsiteY210" fmla="*/ 186424 h 838042"/>
                <a:gd name="connsiteX211" fmla="*/ 420077 w 1037297"/>
                <a:gd name="connsiteY211" fmla="*/ 207379 h 838042"/>
                <a:gd name="connsiteX212" fmla="*/ 423887 w 1037297"/>
                <a:gd name="connsiteY212" fmla="*/ 213094 h 838042"/>
                <a:gd name="connsiteX213" fmla="*/ 427697 w 1037297"/>
                <a:gd name="connsiteY213" fmla="*/ 224524 h 838042"/>
                <a:gd name="connsiteX214" fmla="*/ 425792 w 1037297"/>
                <a:gd name="connsiteY214" fmla="*/ 251194 h 838042"/>
                <a:gd name="connsiteX215" fmla="*/ 420077 w 1037297"/>
                <a:gd name="connsiteY215" fmla="*/ 253099 h 838042"/>
                <a:gd name="connsiteX216" fmla="*/ 414362 w 1037297"/>
                <a:gd name="connsiteY216" fmla="*/ 256909 h 838042"/>
                <a:gd name="connsiteX217" fmla="*/ 423887 w 1037297"/>
                <a:gd name="connsiteY21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557237 w 1037297"/>
                <a:gd name="connsiteY110" fmla="*/ 567424 h 838042"/>
                <a:gd name="connsiteX111" fmla="*/ 576287 w 1037297"/>
                <a:gd name="connsiteY111" fmla="*/ 559804 h 838042"/>
                <a:gd name="connsiteX112" fmla="*/ 587717 w 1037297"/>
                <a:gd name="connsiteY112" fmla="*/ 555994 h 838042"/>
                <a:gd name="connsiteX113" fmla="*/ 722972 w 1037297"/>
                <a:gd name="connsiteY113" fmla="*/ 639814 h 838042"/>
                <a:gd name="connsiteX114" fmla="*/ 780122 w 1037297"/>
                <a:gd name="connsiteY114" fmla="*/ 656959 h 838042"/>
                <a:gd name="connsiteX115" fmla="*/ 791552 w 1037297"/>
                <a:gd name="connsiteY115" fmla="*/ 651244 h 838042"/>
                <a:gd name="connsiteX116" fmla="*/ 797267 w 1037297"/>
                <a:gd name="connsiteY116" fmla="*/ 649339 h 838042"/>
                <a:gd name="connsiteX117" fmla="*/ 804887 w 1037297"/>
                <a:gd name="connsiteY117" fmla="*/ 632194 h 838042"/>
                <a:gd name="connsiteX118" fmla="*/ 802982 w 1037297"/>
                <a:gd name="connsiteY118" fmla="*/ 607429 h 838042"/>
                <a:gd name="connsiteX119" fmla="*/ 801077 w 1037297"/>
                <a:gd name="connsiteY119" fmla="*/ 601714 h 838042"/>
                <a:gd name="connsiteX120" fmla="*/ 799172 w 1037297"/>
                <a:gd name="connsiteY120" fmla="*/ 594094 h 838042"/>
                <a:gd name="connsiteX121" fmla="*/ 785837 w 1037297"/>
                <a:gd name="connsiteY121" fmla="*/ 576949 h 838042"/>
                <a:gd name="connsiteX122" fmla="*/ 776312 w 1037297"/>
                <a:gd name="connsiteY122" fmla="*/ 571234 h 838042"/>
                <a:gd name="connsiteX123" fmla="*/ 650582 w 1037297"/>
                <a:gd name="connsiteY123" fmla="*/ 479794 h 838042"/>
                <a:gd name="connsiteX124" fmla="*/ 646772 w 1037297"/>
                <a:gd name="connsiteY124" fmla="*/ 462649 h 838042"/>
                <a:gd name="connsiteX125" fmla="*/ 648677 w 1037297"/>
                <a:gd name="connsiteY125" fmla="*/ 455029 h 838042"/>
                <a:gd name="connsiteX126" fmla="*/ 652487 w 1037297"/>
                <a:gd name="connsiteY126" fmla="*/ 437884 h 838042"/>
                <a:gd name="connsiteX127" fmla="*/ 656297 w 1037297"/>
                <a:gd name="connsiteY127" fmla="*/ 432169 h 838042"/>
                <a:gd name="connsiteX128" fmla="*/ 658202 w 1037297"/>
                <a:gd name="connsiteY128" fmla="*/ 426454 h 838042"/>
                <a:gd name="connsiteX129" fmla="*/ 663917 w 1037297"/>
                <a:gd name="connsiteY129" fmla="*/ 424549 h 838042"/>
                <a:gd name="connsiteX130" fmla="*/ 673442 w 1037297"/>
                <a:gd name="connsiteY130" fmla="*/ 413119 h 838042"/>
                <a:gd name="connsiteX131" fmla="*/ 726782 w 1037297"/>
                <a:gd name="connsiteY131" fmla="*/ 405499 h 838042"/>
                <a:gd name="connsiteX132" fmla="*/ 844892 w 1037297"/>
                <a:gd name="connsiteY132" fmla="*/ 407404 h 838042"/>
                <a:gd name="connsiteX133" fmla="*/ 873467 w 1037297"/>
                <a:gd name="connsiteY133" fmla="*/ 409309 h 838042"/>
                <a:gd name="connsiteX134" fmla="*/ 902042 w 1037297"/>
                <a:gd name="connsiteY134" fmla="*/ 415024 h 838042"/>
                <a:gd name="connsiteX135" fmla="*/ 924902 w 1037297"/>
                <a:gd name="connsiteY135" fmla="*/ 418834 h 838042"/>
                <a:gd name="connsiteX136" fmla="*/ 953477 w 1037297"/>
                <a:gd name="connsiteY136" fmla="*/ 424549 h 838042"/>
                <a:gd name="connsiteX137" fmla="*/ 959192 w 1037297"/>
                <a:gd name="connsiteY137" fmla="*/ 424549 h 838042"/>
                <a:gd name="connsiteX138" fmla="*/ 1004912 w 1037297"/>
                <a:gd name="connsiteY138" fmla="*/ 422644 h 838042"/>
                <a:gd name="connsiteX139" fmla="*/ 1033487 w 1037297"/>
                <a:gd name="connsiteY139" fmla="*/ 415024 h 838042"/>
                <a:gd name="connsiteX140" fmla="*/ 1037297 w 1037297"/>
                <a:gd name="connsiteY140" fmla="*/ 409309 h 838042"/>
                <a:gd name="connsiteX141" fmla="*/ 1035392 w 1037297"/>
                <a:gd name="connsiteY141" fmla="*/ 390259 h 838042"/>
                <a:gd name="connsiteX142" fmla="*/ 1029677 w 1037297"/>
                <a:gd name="connsiteY142" fmla="*/ 386449 h 838042"/>
                <a:gd name="connsiteX143" fmla="*/ 1014437 w 1037297"/>
                <a:gd name="connsiteY143" fmla="*/ 384544 h 838042"/>
                <a:gd name="connsiteX144" fmla="*/ 1008722 w 1037297"/>
                <a:gd name="connsiteY144" fmla="*/ 382639 h 838042"/>
                <a:gd name="connsiteX145" fmla="*/ 1001102 w 1037297"/>
                <a:gd name="connsiteY145" fmla="*/ 380734 h 838042"/>
                <a:gd name="connsiteX146" fmla="*/ 989672 w 1037297"/>
                <a:gd name="connsiteY146" fmla="*/ 373114 h 838042"/>
                <a:gd name="connsiteX147" fmla="*/ 978242 w 1037297"/>
                <a:gd name="connsiteY147" fmla="*/ 369304 h 838042"/>
                <a:gd name="connsiteX148" fmla="*/ 972527 w 1037297"/>
                <a:gd name="connsiteY148" fmla="*/ 367399 h 838042"/>
                <a:gd name="connsiteX149" fmla="*/ 964907 w 1037297"/>
                <a:gd name="connsiteY149" fmla="*/ 365494 h 838042"/>
                <a:gd name="connsiteX150" fmla="*/ 959192 w 1037297"/>
                <a:gd name="connsiteY150" fmla="*/ 363589 h 838042"/>
                <a:gd name="connsiteX151" fmla="*/ 938237 w 1037297"/>
                <a:gd name="connsiteY151" fmla="*/ 357874 h 838042"/>
                <a:gd name="connsiteX152" fmla="*/ 932522 w 1037297"/>
                <a:gd name="connsiteY152" fmla="*/ 355969 h 838042"/>
                <a:gd name="connsiteX153" fmla="*/ 827747 w 1037297"/>
                <a:gd name="connsiteY153" fmla="*/ 357874 h 838042"/>
                <a:gd name="connsiteX154" fmla="*/ 822032 w 1037297"/>
                <a:gd name="connsiteY154" fmla="*/ 359779 h 838042"/>
                <a:gd name="connsiteX155" fmla="*/ 732497 w 1037297"/>
                <a:gd name="connsiteY155" fmla="*/ 361684 h 838042"/>
                <a:gd name="connsiteX156" fmla="*/ 719162 w 1037297"/>
                <a:gd name="connsiteY156" fmla="*/ 365494 h 838042"/>
                <a:gd name="connsiteX157" fmla="*/ 698207 w 1037297"/>
                <a:gd name="connsiteY157" fmla="*/ 367399 h 838042"/>
                <a:gd name="connsiteX158" fmla="*/ 671537 w 1037297"/>
                <a:gd name="connsiteY158" fmla="*/ 369304 h 838042"/>
                <a:gd name="connsiteX159" fmla="*/ 671537 w 1037297"/>
                <a:gd name="connsiteY159" fmla="*/ 369304 h 838042"/>
                <a:gd name="connsiteX160" fmla="*/ 648677 w 1037297"/>
                <a:gd name="connsiteY160" fmla="*/ 373114 h 838042"/>
                <a:gd name="connsiteX161" fmla="*/ 644867 w 1037297"/>
                <a:gd name="connsiteY161" fmla="*/ 361684 h 838042"/>
                <a:gd name="connsiteX162" fmla="*/ 642962 w 1037297"/>
                <a:gd name="connsiteY162" fmla="*/ 355969 h 838042"/>
                <a:gd name="connsiteX163" fmla="*/ 644867 w 1037297"/>
                <a:gd name="connsiteY163" fmla="*/ 338824 h 838042"/>
                <a:gd name="connsiteX164" fmla="*/ 646772 w 1037297"/>
                <a:gd name="connsiteY164" fmla="*/ 333109 h 838042"/>
                <a:gd name="connsiteX165" fmla="*/ 663917 w 1037297"/>
                <a:gd name="connsiteY165" fmla="*/ 323584 h 838042"/>
                <a:gd name="connsiteX166" fmla="*/ 675347 w 1037297"/>
                <a:gd name="connsiteY166" fmla="*/ 315964 h 838042"/>
                <a:gd name="connsiteX167" fmla="*/ 677252 w 1037297"/>
                <a:gd name="connsiteY167" fmla="*/ 310249 h 838042"/>
                <a:gd name="connsiteX168" fmla="*/ 682967 w 1037297"/>
                <a:gd name="connsiteY168" fmla="*/ 308344 h 838042"/>
                <a:gd name="connsiteX169" fmla="*/ 688682 w 1037297"/>
                <a:gd name="connsiteY169" fmla="*/ 304534 h 838042"/>
                <a:gd name="connsiteX170" fmla="*/ 698207 w 1037297"/>
                <a:gd name="connsiteY170" fmla="*/ 295009 h 838042"/>
                <a:gd name="connsiteX171" fmla="*/ 707732 w 1037297"/>
                <a:gd name="connsiteY171" fmla="*/ 283579 h 838042"/>
                <a:gd name="connsiteX172" fmla="*/ 719162 w 1037297"/>
                <a:gd name="connsiteY172" fmla="*/ 275959 h 838042"/>
                <a:gd name="connsiteX173" fmla="*/ 734402 w 1037297"/>
                <a:gd name="connsiteY173" fmla="*/ 262624 h 838042"/>
                <a:gd name="connsiteX174" fmla="*/ 743927 w 1037297"/>
                <a:gd name="connsiteY174" fmla="*/ 251194 h 838042"/>
                <a:gd name="connsiteX175" fmla="*/ 755357 w 1037297"/>
                <a:gd name="connsiteY175" fmla="*/ 241669 h 838042"/>
                <a:gd name="connsiteX176" fmla="*/ 761072 w 1037297"/>
                <a:gd name="connsiteY176" fmla="*/ 230239 h 838042"/>
                <a:gd name="connsiteX177" fmla="*/ 762977 w 1037297"/>
                <a:gd name="connsiteY177" fmla="*/ 224524 h 838042"/>
                <a:gd name="connsiteX178" fmla="*/ 768692 w 1037297"/>
                <a:gd name="connsiteY178" fmla="*/ 213094 h 838042"/>
                <a:gd name="connsiteX179" fmla="*/ 766787 w 1037297"/>
                <a:gd name="connsiteY179" fmla="*/ 197854 h 838042"/>
                <a:gd name="connsiteX180" fmla="*/ 761072 w 1037297"/>
                <a:gd name="connsiteY180" fmla="*/ 195949 h 838042"/>
                <a:gd name="connsiteX181" fmla="*/ 740117 w 1037297"/>
                <a:gd name="connsiteY181" fmla="*/ 197854 h 838042"/>
                <a:gd name="connsiteX182" fmla="*/ 734402 w 1037297"/>
                <a:gd name="connsiteY182" fmla="*/ 201664 h 838042"/>
                <a:gd name="connsiteX183" fmla="*/ 722972 w 1037297"/>
                <a:gd name="connsiteY183" fmla="*/ 205474 h 838042"/>
                <a:gd name="connsiteX184" fmla="*/ 719162 w 1037297"/>
                <a:gd name="connsiteY184" fmla="*/ 211189 h 838042"/>
                <a:gd name="connsiteX185" fmla="*/ 713447 w 1037297"/>
                <a:gd name="connsiteY185" fmla="*/ 213094 h 838042"/>
                <a:gd name="connsiteX186" fmla="*/ 707732 w 1037297"/>
                <a:gd name="connsiteY186" fmla="*/ 216904 h 838042"/>
                <a:gd name="connsiteX187" fmla="*/ 702017 w 1037297"/>
                <a:gd name="connsiteY187" fmla="*/ 222619 h 838042"/>
                <a:gd name="connsiteX188" fmla="*/ 694397 w 1037297"/>
                <a:gd name="connsiteY188" fmla="*/ 226429 h 838042"/>
                <a:gd name="connsiteX189" fmla="*/ 652487 w 1037297"/>
                <a:gd name="connsiteY189" fmla="*/ 255004 h 838042"/>
                <a:gd name="connsiteX190" fmla="*/ 639152 w 1037297"/>
                <a:gd name="connsiteY190" fmla="*/ 266434 h 838042"/>
                <a:gd name="connsiteX191" fmla="*/ 629627 w 1037297"/>
                <a:gd name="connsiteY191" fmla="*/ 283579 h 838042"/>
                <a:gd name="connsiteX192" fmla="*/ 604862 w 1037297"/>
                <a:gd name="connsiteY192" fmla="*/ 289294 h 838042"/>
                <a:gd name="connsiteX193" fmla="*/ 591527 w 1037297"/>
                <a:gd name="connsiteY193" fmla="*/ 293104 h 838042"/>
                <a:gd name="connsiteX194" fmla="*/ 576287 w 1037297"/>
                <a:gd name="connsiteY194" fmla="*/ 291199 h 838042"/>
                <a:gd name="connsiteX195" fmla="*/ 564857 w 1037297"/>
                <a:gd name="connsiteY195" fmla="*/ 287389 h 838042"/>
                <a:gd name="connsiteX196" fmla="*/ 553427 w 1037297"/>
                <a:gd name="connsiteY196" fmla="*/ 283579 h 838042"/>
                <a:gd name="connsiteX197" fmla="*/ 541997 w 1037297"/>
                <a:gd name="connsiteY197" fmla="*/ 279769 h 838042"/>
                <a:gd name="connsiteX198" fmla="*/ 536282 w 1037297"/>
                <a:gd name="connsiteY198" fmla="*/ 277864 h 838042"/>
                <a:gd name="connsiteX199" fmla="*/ 530567 w 1037297"/>
                <a:gd name="connsiteY199" fmla="*/ 274054 h 838042"/>
                <a:gd name="connsiteX200" fmla="*/ 519137 w 1037297"/>
                <a:gd name="connsiteY200" fmla="*/ 268339 h 838042"/>
                <a:gd name="connsiteX201" fmla="*/ 511517 w 1037297"/>
                <a:gd name="connsiteY201" fmla="*/ 256909 h 838042"/>
                <a:gd name="connsiteX202" fmla="*/ 507707 w 1037297"/>
                <a:gd name="connsiteY202" fmla="*/ 235954 h 838042"/>
                <a:gd name="connsiteX203" fmla="*/ 509612 w 1037297"/>
                <a:gd name="connsiteY203" fmla="*/ 171184 h 838042"/>
                <a:gd name="connsiteX204" fmla="*/ 508314 w 1037297"/>
                <a:gd name="connsiteY204" fmla="*/ 73485 h 838042"/>
                <a:gd name="connsiteX205" fmla="*/ 454116 w 1037297"/>
                <a:gd name="connsiteY205" fmla="*/ 11248 h 838042"/>
                <a:gd name="connsiteX206" fmla="*/ 435401 w 1037297"/>
                <a:gd name="connsiteY206" fmla="*/ 68523 h 838042"/>
                <a:gd name="connsiteX207" fmla="*/ 427697 w 1037297"/>
                <a:gd name="connsiteY207" fmla="*/ 137103 h 838042"/>
                <a:gd name="connsiteX208" fmla="*/ 420077 w 1037297"/>
                <a:gd name="connsiteY208" fmla="*/ 169279 h 838042"/>
                <a:gd name="connsiteX209" fmla="*/ 416267 w 1037297"/>
                <a:gd name="connsiteY209" fmla="*/ 186424 h 838042"/>
                <a:gd name="connsiteX210" fmla="*/ 420077 w 1037297"/>
                <a:gd name="connsiteY210" fmla="*/ 207379 h 838042"/>
                <a:gd name="connsiteX211" fmla="*/ 423887 w 1037297"/>
                <a:gd name="connsiteY211" fmla="*/ 213094 h 838042"/>
                <a:gd name="connsiteX212" fmla="*/ 427697 w 1037297"/>
                <a:gd name="connsiteY212" fmla="*/ 224524 h 838042"/>
                <a:gd name="connsiteX213" fmla="*/ 425792 w 1037297"/>
                <a:gd name="connsiteY213" fmla="*/ 251194 h 838042"/>
                <a:gd name="connsiteX214" fmla="*/ 420077 w 1037297"/>
                <a:gd name="connsiteY214" fmla="*/ 253099 h 838042"/>
                <a:gd name="connsiteX215" fmla="*/ 414362 w 1037297"/>
                <a:gd name="connsiteY215" fmla="*/ 256909 h 838042"/>
                <a:gd name="connsiteX216" fmla="*/ 423887 w 1037297"/>
                <a:gd name="connsiteY216"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576287 w 1037297"/>
                <a:gd name="connsiteY110" fmla="*/ 559804 h 838042"/>
                <a:gd name="connsiteX111" fmla="*/ 587717 w 1037297"/>
                <a:gd name="connsiteY111" fmla="*/ 555994 h 838042"/>
                <a:gd name="connsiteX112" fmla="*/ 722972 w 1037297"/>
                <a:gd name="connsiteY112" fmla="*/ 639814 h 838042"/>
                <a:gd name="connsiteX113" fmla="*/ 780122 w 1037297"/>
                <a:gd name="connsiteY113" fmla="*/ 656959 h 838042"/>
                <a:gd name="connsiteX114" fmla="*/ 791552 w 1037297"/>
                <a:gd name="connsiteY114" fmla="*/ 651244 h 838042"/>
                <a:gd name="connsiteX115" fmla="*/ 797267 w 1037297"/>
                <a:gd name="connsiteY115" fmla="*/ 649339 h 838042"/>
                <a:gd name="connsiteX116" fmla="*/ 804887 w 1037297"/>
                <a:gd name="connsiteY116" fmla="*/ 632194 h 838042"/>
                <a:gd name="connsiteX117" fmla="*/ 802982 w 1037297"/>
                <a:gd name="connsiteY117" fmla="*/ 607429 h 838042"/>
                <a:gd name="connsiteX118" fmla="*/ 801077 w 1037297"/>
                <a:gd name="connsiteY118" fmla="*/ 601714 h 838042"/>
                <a:gd name="connsiteX119" fmla="*/ 799172 w 1037297"/>
                <a:gd name="connsiteY119" fmla="*/ 594094 h 838042"/>
                <a:gd name="connsiteX120" fmla="*/ 785837 w 1037297"/>
                <a:gd name="connsiteY120" fmla="*/ 576949 h 838042"/>
                <a:gd name="connsiteX121" fmla="*/ 776312 w 1037297"/>
                <a:gd name="connsiteY121" fmla="*/ 571234 h 838042"/>
                <a:gd name="connsiteX122" fmla="*/ 650582 w 1037297"/>
                <a:gd name="connsiteY122" fmla="*/ 479794 h 838042"/>
                <a:gd name="connsiteX123" fmla="*/ 646772 w 1037297"/>
                <a:gd name="connsiteY123" fmla="*/ 462649 h 838042"/>
                <a:gd name="connsiteX124" fmla="*/ 648677 w 1037297"/>
                <a:gd name="connsiteY124" fmla="*/ 455029 h 838042"/>
                <a:gd name="connsiteX125" fmla="*/ 652487 w 1037297"/>
                <a:gd name="connsiteY125" fmla="*/ 437884 h 838042"/>
                <a:gd name="connsiteX126" fmla="*/ 656297 w 1037297"/>
                <a:gd name="connsiteY126" fmla="*/ 432169 h 838042"/>
                <a:gd name="connsiteX127" fmla="*/ 658202 w 1037297"/>
                <a:gd name="connsiteY127" fmla="*/ 426454 h 838042"/>
                <a:gd name="connsiteX128" fmla="*/ 663917 w 1037297"/>
                <a:gd name="connsiteY128" fmla="*/ 424549 h 838042"/>
                <a:gd name="connsiteX129" fmla="*/ 673442 w 1037297"/>
                <a:gd name="connsiteY129" fmla="*/ 413119 h 838042"/>
                <a:gd name="connsiteX130" fmla="*/ 726782 w 1037297"/>
                <a:gd name="connsiteY130" fmla="*/ 405499 h 838042"/>
                <a:gd name="connsiteX131" fmla="*/ 844892 w 1037297"/>
                <a:gd name="connsiteY131" fmla="*/ 407404 h 838042"/>
                <a:gd name="connsiteX132" fmla="*/ 873467 w 1037297"/>
                <a:gd name="connsiteY132" fmla="*/ 409309 h 838042"/>
                <a:gd name="connsiteX133" fmla="*/ 902042 w 1037297"/>
                <a:gd name="connsiteY133" fmla="*/ 415024 h 838042"/>
                <a:gd name="connsiteX134" fmla="*/ 924902 w 1037297"/>
                <a:gd name="connsiteY134" fmla="*/ 418834 h 838042"/>
                <a:gd name="connsiteX135" fmla="*/ 953477 w 1037297"/>
                <a:gd name="connsiteY135" fmla="*/ 424549 h 838042"/>
                <a:gd name="connsiteX136" fmla="*/ 959192 w 1037297"/>
                <a:gd name="connsiteY136" fmla="*/ 424549 h 838042"/>
                <a:gd name="connsiteX137" fmla="*/ 1004912 w 1037297"/>
                <a:gd name="connsiteY137" fmla="*/ 422644 h 838042"/>
                <a:gd name="connsiteX138" fmla="*/ 1033487 w 1037297"/>
                <a:gd name="connsiteY138" fmla="*/ 415024 h 838042"/>
                <a:gd name="connsiteX139" fmla="*/ 1037297 w 1037297"/>
                <a:gd name="connsiteY139" fmla="*/ 409309 h 838042"/>
                <a:gd name="connsiteX140" fmla="*/ 1035392 w 1037297"/>
                <a:gd name="connsiteY140" fmla="*/ 390259 h 838042"/>
                <a:gd name="connsiteX141" fmla="*/ 1029677 w 1037297"/>
                <a:gd name="connsiteY141" fmla="*/ 386449 h 838042"/>
                <a:gd name="connsiteX142" fmla="*/ 1014437 w 1037297"/>
                <a:gd name="connsiteY142" fmla="*/ 384544 h 838042"/>
                <a:gd name="connsiteX143" fmla="*/ 1008722 w 1037297"/>
                <a:gd name="connsiteY143" fmla="*/ 382639 h 838042"/>
                <a:gd name="connsiteX144" fmla="*/ 1001102 w 1037297"/>
                <a:gd name="connsiteY144" fmla="*/ 380734 h 838042"/>
                <a:gd name="connsiteX145" fmla="*/ 989672 w 1037297"/>
                <a:gd name="connsiteY145" fmla="*/ 373114 h 838042"/>
                <a:gd name="connsiteX146" fmla="*/ 978242 w 1037297"/>
                <a:gd name="connsiteY146" fmla="*/ 369304 h 838042"/>
                <a:gd name="connsiteX147" fmla="*/ 972527 w 1037297"/>
                <a:gd name="connsiteY147" fmla="*/ 367399 h 838042"/>
                <a:gd name="connsiteX148" fmla="*/ 964907 w 1037297"/>
                <a:gd name="connsiteY148" fmla="*/ 365494 h 838042"/>
                <a:gd name="connsiteX149" fmla="*/ 959192 w 1037297"/>
                <a:gd name="connsiteY149" fmla="*/ 363589 h 838042"/>
                <a:gd name="connsiteX150" fmla="*/ 938237 w 1037297"/>
                <a:gd name="connsiteY150" fmla="*/ 357874 h 838042"/>
                <a:gd name="connsiteX151" fmla="*/ 932522 w 1037297"/>
                <a:gd name="connsiteY151" fmla="*/ 355969 h 838042"/>
                <a:gd name="connsiteX152" fmla="*/ 827747 w 1037297"/>
                <a:gd name="connsiteY152" fmla="*/ 357874 h 838042"/>
                <a:gd name="connsiteX153" fmla="*/ 822032 w 1037297"/>
                <a:gd name="connsiteY153" fmla="*/ 359779 h 838042"/>
                <a:gd name="connsiteX154" fmla="*/ 732497 w 1037297"/>
                <a:gd name="connsiteY154" fmla="*/ 361684 h 838042"/>
                <a:gd name="connsiteX155" fmla="*/ 719162 w 1037297"/>
                <a:gd name="connsiteY155" fmla="*/ 365494 h 838042"/>
                <a:gd name="connsiteX156" fmla="*/ 698207 w 1037297"/>
                <a:gd name="connsiteY156" fmla="*/ 367399 h 838042"/>
                <a:gd name="connsiteX157" fmla="*/ 671537 w 1037297"/>
                <a:gd name="connsiteY157" fmla="*/ 369304 h 838042"/>
                <a:gd name="connsiteX158" fmla="*/ 671537 w 1037297"/>
                <a:gd name="connsiteY158" fmla="*/ 369304 h 838042"/>
                <a:gd name="connsiteX159" fmla="*/ 648677 w 1037297"/>
                <a:gd name="connsiteY159" fmla="*/ 373114 h 838042"/>
                <a:gd name="connsiteX160" fmla="*/ 644867 w 1037297"/>
                <a:gd name="connsiteY160" fmla="*/ 361684 h 838042"/>
                <a:gd name="connsiteX161" fmla="*/ 642962 w 1037297"/>
                <a:gd name="connsiteY161" fmla="*/ 355969 h 838042"/>
                <a:gd name="connsiteX162" fmla="*/ 644867 w 1037297"/>
                <a:gd name="connsiteY162" fmla="*/ 338824 h 838042"/>
                <a:gd name="connsiteX163" fmla="*/ 646772 w 1037297"/>
                <a:gd name="connsiteY163" fmla="*/ 333109 h 838042"/>
                <a:gd name="connsiteX164" fmla="*/ 663917 w 1037297"/>
                <a:gd name="connsiteY164" fmla="*/ 323584 h 838042"/>
                <a:gd name="connsiteX165" fmla="*/ 675347 w 1037297"/>
                <a:gd name="connsiteY165" fmla="*/ 315964 h 838042"/>
                <a:gd name="connsiteX166" fmla="*/ 677252 w 1037297"/>
                <a:gd name="connsiteY166" fmla="*/ 310249 h 838042"/>
                <a:gd name="connsiteX167" fmla="*/ 682967 w 1037297"/>
                <a:gd name="connsiteY167" fmla="*/ 308344 h 838042"/>
                <a:gd name="connsiteX168" fmla="*/ 688682 w 1037297"/>
                <a:gd name="connsiteY168" fmla="*/ 304534 h 838042"/>
                <a:gd name="connsiteX169" fmla="*/ 698207 w 1037297"/>
                <a:gd name="connsiteY169" fmla="*/ 295009 h 838042"/>
                <a:gd name="connsiteX170" fmla="*/ 707732 w 1037297"/>
                <a:gd name="connsiteY170" fmla="*/ 283579 h 838042"/>
                <a:gd name="connsiteX171" fmla="*/ 719162 w 1037297"/>
                <a:gd name="connsiteY171" fmla="*/ 275959 h 838042"/>
                <a:gd name="connsiteX172" fmla="*/ 734402 w 1037297"/>
                <a:gd name="connsiteY172" fmla="*/ 262624 h 838042"/>
                <a:gd name="connsiteX173" fmla="*/ 743927 w 1037297"/>
                <a:gd name="connsiteY173" fmla="*/ 251194 h 838042"/>
                <a:gd name="connsiteX174" fmla="*/ 755357 w 1037297"/>
                <a:gd name="connsiteY174" fmla="*/ 241669 h 838042"/>
                <a:gd name="connsiteX175" fmla="*/ 761072 w 1037297"/>
                <a:gd name="connsiteY175" fmla="*/ 230239 h 838042"/>
                <a:gd name="connsiteX176" fmla="*/ 762977 w 1037297"/>
                <a:gd name="connsiteY176" fmla="*/ 224524 h 838042"/>
                <a:gd name="connsiteX177" fmla="*/ 768692 w 1037297"/>
                <a:gd name="connsiteY177" fmla="*/ 213094 h 838042"/>
                <a:gd name="connsiteX178" fmla="*/ 766787 w 1037297"/>
                <a:gd name="connsiteY178" fmla="*/ 197854 h 838042"/>
                <a:gd name="connsiteX179" fmla="*/ 761072 w 1037297"/>
                <a:gd name="connsiteY179" fmla="*/ 195949 h 838042"/>
                <a:gd name="connsiteX180" fmla="*/ 740117 w 1037297"/>
                <a:gd name="connsiteY180" fmla="*/ 197854 h 838042"/>
                <a:gd name="connsiteX181" fmla="*/ 734402 w 1037297"/>
                <a:gd name="connsiteY181" fmla="*/ 201664 h 838042"/>
                <a:gd name="connsiteX182" fmla="*/ 722972 w 1037297"/>
                <a:gd name="connsiteY182" fmla="*/ 205474 h 838042"/>
                <a:gd name="connsiteX183" fmla="*/ 719162 w 1037297"/>
                <a:gd name="connsiteY183" fmla="*/ 211189 h 838042"/>
                <a:gd name="connsiteX184" fmla="*/ 713447 w 1037297"/>
                <a:gd name="connsiteY184" fmla="*/ 213094 h 838042"/>
                <a:gd name="connsiteX185" fmla="*/ 707732 w 1037297"/>
                <a:gd name="connsiteY185" fmla="*/ 216904 h 838042"/>
                <a:gd name="connsiteX186" fmla="*/ 702017 w 1037297"/>
                <a:gd name="connsiteY186" fmla="*/ 222619 h 838042"/>
                <a:gd name="connsiteX187" fmla="*/ 694397 w 1037297"/>
                <a:gd name="connsiteY187" fmla="*/ 226429 h 838042"/>
                <a:gd name="connsiteX188" fmla="*/ 652487 w 1037297"/>
                <a:gd name="connsiteY188" fmla="*/ 255004 h 838042"/>
                <a:gd name="connsiteX189" fmla="*/ 639152 w 1037297"/>
                <a:gd name="connsiteY189" fmla="*/ 266434 h 838042"/>
                <a:gd name="connsiteX190" fmla="*/ 629627 w 1037297"/>
                <a:gd name="connsiteY190" fmla="*/ 283579 h 838042"/>
                <a:gd name="connsiteX191" fmla="*/ 604862 w 1037297"/>
                <a:gd name="connsiteY191" fmla="*/ 289294 h 838042"/>
                <a:gd name="connsiteX192" fmla="*/ 591527 w 1037297"/>
                <a:gd name="connsiteY192" fmla="*/ 293104 h 838042"/>
                <a:gd name="connsiteX193" fmla="*/ 576287 w 1037297"/>
                <a:gd name="connsiteY193" fmla="*/ 291199 h 838042"/>
                <a:gd name="connsiteX194" fmla="*/ 564857 w 1037297"/>
                <a:gd name="connsiteY194" fmla="*/ 287389 h 838042"/>
                <a:gd name="connsiteX195" fmla="*/ 553427 w 1037297"/>
                <a:gd name="connsiteY195" fmla="*/ 283579 h 838042"/>
                <a:gd name="connsiteX196" fmla="*/ 541997 w 1037297"/>
                <a:gd name="connsiteY196" fmla="*/ 279769 h 838042"/>
                <a:gd name="connsiteX197" fmla="*/ 536282 w 1037297"/>
                <a:gd name="connsiteY197" fmla="*/ 277864 h 838042"/>
                <a:gd name="connsiteX198" fmla="*/ 530567 w 1037297"/>
                <a:gd name="connsiteY198" fmla="*/ 274054 h 838042"/>
                <a:gd name="connsiteX199" fmla="*/ 519137 w 1037297"/>
                <a:gd name="connsiteY199" fmla="*/ 268339 h 838042"/>
                <a:gd name="connsiteX200" fmla="*/ 511517 w 1037297"/>
                <a:gd name="connsiteY200" fmla="*/ 256909 h 838042"/>
                <a:gd name="connsiteX201" fmla="*/ 507707 w 1037297"/>
                <a:gd name="connsiteY201" fmla="*/ 235954 h 838042"/>
                <a:gd name="connsiteX202" fmla="*/ 509612 w 1037297"/>
                <a:gd name="connsiteY202" fmla="*/ 171184 h 838042"/>
                <a:gd name="connsiteX203" fmla="*/ 508314 w 1037297"/>
                <a:gd name="connsiteY203" fmla="*/ 73485 h 838042"/>
                <a:gd name="connsiteX204" fmla="*/ 454116 w 1037297"/>
                <a:gd name="connsiteY204" fmla="*/ 11248 h 838042"/>
                <a:gd name="connsiteX205" fmla="*/ 435401 w 1037297"/>
                <a:gd name="connsiteY205" fmla="*/ 68523 h 838042"/>
                <a:gd name="connsiteX206" fmla="*/ 427697 w 1037297"/>
                <a:gd name="connsiteY206" fmla="*/ 137103 h 838042"/>
                <a:gd name="connsiteX207" fmla="*/ 420077 w 1037297"/>
                <a:gd name="connsiteY207" fmla="*/ 169279 h 838042"/>
                <a:gd name="connsiteX208" fmla="*/ 416267 w 1037297"/>
                <a:gd name="connsiteY208" fmla="*/ 186424 h 838042"/>
                <a:gd name="connsiteX209" fmla="*/ 420077 w 1037297"/>
                <a:gd name="connsiteY209" fmla="*/ 207379 h 838042"/>
                <a:gd name="connsiteX210" fmla="*/ 423887 w 1037297"/>
                <a:gd name="connsiteY210" fmla="*/ 213094 h 838042"/>
                <a:gd name="connsiteX211" fmla="*/ 427697 w 1037297"/>
                <a:gd name="connsiteY211" fmla="*/ 224524 h 838042"/>
                <a:gd name="connsiteX212" fmla="*/ 425792 w 1037297"/>
                <a:gd name="connsiteY212" fmla="*/ 251194 h 838042"/>
                <a:gd name="connsiteX213" fmla="*/ 420077 w 1037297"/>
                <a:gd name="connsiteY213" fmla="*/ 253099 h 838042"/>
                <a:gd name="connsiteX214" fmla="*/ 414362 w 1037297"/>
                <a:gd name="connsiteY214" fmla="*/ 256909 h 838042"/>
                <a:gd name="connsiteX215" fmla="*/ 423887 w 1037297"/>
                <a:gd name="connsiteY215"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576287 w 1037297"/>
                <a:gd name="connsiteY110" fmla="*/ 559804 h 838042"/>
                <a:gd name="connsiteX111" fmla="*/ 722972 w 1037297"/>
                <a:gd name="connsiteY111" fmla="*/ 639814 h 838042"/>
                <a:gd name="connsiteX112" fmla="*/ 780122 w 1037297"/>
                <a:gd name="connsiteY112" fmla="*/ 656959 h 838042"/>
                <a:gd name="connsiteX113" fmla="*/ 791552 w 1037297"/>
                <a:gd name="connsiteY113" fmla="*/ 651244 h 838042"/>
                <a:gd name="connsiteX114" fmla="*/ 797267 w 1037297"/>
                <a:gd name="connsiteY114" fmla="*/ 649339 h 838042"/>
                <a:gd name="connsiteX115" fmla="*/ 804887 w 1037297"/>
                <a:gd name="connsiteY115" fmla="*/ 632194 h 838042"/>
                <a:gd name="connsiteX116" fmla="*/ 802982 w 1037297"/>
                <a:gd name="connsiteY116" fmla="*/ 607429 h 838042"/>
                <a:gd name="connsiteX117" fmla="*/ 801077 w 1037297"/>
                <a:gd name="connsiteY117" fmla="*/ 601714 h 838042"/>
                <a:gd name="connsiteX118" fmla="*/ 799172 w 1037297"/>
                <a:gd name="connsiteY118" fmla="*/ 594094 h 838042"/>
                <a:gd name="connsiteX119" fmla="*/ 785837 w 1037297"/>
                <a:gd name="connsiteY119" fmla="*/ 576949 h 838042"/>
                <a:gd name="connsiteX120" fmla="*/ 776312 w 1037297"/>
                <a:gd name="connsiteY120" fmla="*/ 571234 h 838042"/>
                <a:gd name="connsiteX121" fmla="*/ 650582 w 1037297"/>
                <a:gd name="connsiteY121" fmla="*/ 479794 h 838042"/>
                <a:gd name="connsiteX122" fmla="*/ 646772 w 1037297"/>
                <a:gd name="connsiteY122" fmla="*/ 462649 h 838042"/>
                <a:gd name="connsiteX123" fmla="*/ 648677 w 1037297"/>
                <a:gd name="connsiteY123" fmla="*/ 455029 h 838042"/>
                <a:gd name="connsiteX124" fmla="*/ 652487 w 1037297"/>
                <a:gd name="connsiteY124" fmla="*/ 437884 h 838042"/>
                <a:gd name="connsiteX125" fmla="*/ 656297 w 1037297"/>
                <a:gd name="connsiteY125" fmla="*/ 432169 h 838042"/>
                <a:gd name="connsiteX126" fmla="*/ 658202 w 1037297"/>
                <a:gd name="connsiteY126" fmla="*/ 426454 h 838042"/>
                <a:gd name="connsiteX127" fmla="*/ 663917 w 1037297"/>
                <a:gd name="connsiteY127" fmla="*/ 424549 h 838042"/>
                <a:gd name="connsiteX128" fmla="*/ 673442 w 1037297"/>
                <a:gd name="connsiteY128" fmla="*/ 413119 h 838042"/>
                <a:gd name="connsiteX129" fmla="*/ 726782 w 1037297"/>
                <a:gd name="connsiteY129" fmla="*/ 405499 h 838042"/>
                <a:gd name="connsiteX130" fmla="*/ 844892 w 1037297"/>
                <a:gd name="connsiteY130" fmla="*/ 407404 h 838042"/>
                <a:gd name="connsiteX131" fmla="*/ 873467 w 1037297"/>
                <a:gd name="connsiteY131" fmla="*/ 409309 h 838042"/>
                <a:gd name="connsiteX132" fmla="*/ 902042 w 1037297"/>
                <a:gd name="connsiteY132" fmla="*/ 415024 h 838042"/>
                <a:gd name="connsiteX133" fmla="*/ 924902 w 1037297"/>
                <a:gd name="connsiteY133" fmla="*/ 418834 h 838042"/>
                <a:gd name="connsiteX134" fmla="*/ 953477 w 1037297"/>
                <a:gd name="connsiteY134" fmla="*/ 424549 h 838042"/>
                <a:gd name="connsiteX135" fmla="*/ 959192 w 1037297"/>
                <a:gd name="connsiteY135" fmla="*/ 424549 h 838042"/>
                <a:gd name="connsiteX136" fmla="*/ 1004912 w 1037297"/>
                <a:gd name="connsiteY136" fmla="*/ 422644 h 838042"/>
                <a:gd name="connsiteX137" fmla="*/ 1033487 w 1037297"/>
                <a:gd name="connsiteY137" fmla="*/ 415024 h 838042"/>
                <a:gd name="connsiteX138" fmla="*/ 1037297 w 1037297"/>
                <a:gd name="connsiteY138" fmla="*/ 409309 h 838042"/>
                <a:gd name="connsiteX139" fmla="*/ 1035392 w 1037297"/>
                <a:gd name="connsiteY139" fmla="*/ 390259 h 838042"/>
                <a:gd name="connsiteX140" fmla="*/ 1029677 w 1037297"/>
                <a:gd name="connsiteY140" fmla="*/ 386449 h 838042"/>
                <a:gd name="connsiteX141" fmla="*/ 1014437 w 1037297"/>
                <a:gd name="connsiteY141" fmla="*/ 384544 h 838042"/>
                <a:gd name="connsiteX142" fmla="*/ 1008722 w 1037297"/>
                <a:gd name="connsiteY142" fmla="*/ 382639 h 838042"/>
                <a:gd name="connsiteX143" fmla="*/ 1001102 w 1037297"/>
                <a:gd name="connsiteY143" fmla="*/ 380734 h 838042"/>
                <a:gd name="connsiteX144" fmla="*/ 989672 w 1037297"/>
                <a:gd name="connsiteY144" fmla="*/ 373114 h 838042"/>
                <a:gd name="connsiteX145" fmla="*/ 978242 w 1037297"/>
                <a:gd name="connsiteY145" fmla="*/ 369304 h 838042"/>
                <a:gd name="connsiteX146" fmla="*/ 972527 w 1037297"/>
                <a:gd name="connsiteY146" fmla="*/ 367399 h 838042"/>
                <a:gd name="connsiteX147" fmla="*/ 964907 w 1037297"/>
                <a:gd name="connsiteY147" fmla="*/ 365494 h 838042"/>
                <a:gd name="connsiteX148" fmla="*/ 959192 w 1037297"/>
                <a:gd name="connsiteY148" fmla="*/ 363589 h 838042"/>
                <a:gd name="connsiteX149" fmla="*/ 938237 w 1037297"/>
                <a:gd name="connsiteY149" fmla="*/ 357874 h 838042"/>
                <a:gd name="connsiteX150" fmla="*/ 932522 w 1037297"/>
                <a:gd name="connsiteY150" fmla="*/ 355969 h 838042"/>
                <a:gd name="connsiteX151" fmla="*/ 827747 w 1037297"/>
                <a:gd name="connsiteY151" fmla="*/ 357874 h 838042"/>
                <a:gd name="connsiteX152" fmla="*/ 822032 w 1037297"/>
                <a:gd name="connsiteY152" fmla="*/ 359779 h 838042"/>
                <a:gd name="connsiteX153" fmla="*/ 732497 w 1037297"/>
                <a:gd name="connsiteY153" fmla="*/ 361684 h 838042"/>
                <a:gd name="connsiteX154" fmla="*/ 719162 w 1037297"/>
                <a:gd name="connsiteY154" fmla="*/ 365494 h 838042"/>
                <a:gd name="connsiteX155" fmla="*/ 698207 w 1037297"/>
                <a:gd name="connsiteY155" fmla="*/ 367399 h 838042"/>
                <a:gd name="connsiteX156" fmla="*/ 671537 w 1037297"/>
                <a:gd name="connsiteY156" fmla="*/ 369304 h 838042"/>
                <a:gd name="connsiteX157" fmla="*/ 671537 w 1037297"/>
                <a:gd name="connsiteY157" fmla="*/ 369304 h 838042"/>
                <a:gd name="connsiteX158" fmla="*/ 648677 w 1037297"/>
                <a:gd name="connsiteY158" fmla="*/ 373114 h 838042"/>
                <a:gd name="connsiteX159" fmla="*/ 644867 w 1037297"/>
                <a:gd name="connsiteY159" fmla="*/ 361684 h 838042"/>
                <a:gd name="connsiteX160" fmla="*/ 642962 w 1037297"/>
                <a:gd name="connsiteY160" fmla="*/ 355969 h 838042"/>
                <a:gd name="connsiteX161" fmla="*/ 644867 w 1037297"/>
                <a:gd name="connsiteY161" fmla="*/ 338824 h 838042"/>
                <a:gd name="connsiteX162" fmla="*/ 646772 w 1037297"/>
                <a:gd name="connsiteY162" fmla="*/ 333109 h 838042"/>
                <a:gd name="connsiteX163" fmla="*/ 663917 w 1037297"/>
                <a:gd name="connsiteY163" fmla="*/ 323584 h 838042"/>
                <a:gd name="connsiteX164" fmla="*/ 675347 w 1037297"/>
                <a:gd name="connsiteY164" fmla="*/ 315964 h 838042"/>
                <a:gd name="connsiteX165" fmla="*/ 677252 w 1037297"/>
                <a:gd name="connsiteY165" fmla="*/ 310249 h 838042"/>
                <a:gd name="connsiteX166" fmla="*/ 682967 w 1037297"/>
                <a:gd name="connsiteY166" fmla="*/ 308344 h 838042"/>
                <a:gd name="connsiteX167" fmla="*/ 688682 w 1037297"/>
                <a:gd name="connsiteY167" fmla="*/ 304534 h 838042"/>
                <a:gd name="connsiteX168" fmla="*/ 698207 w 1037297"/>
                <a:gd name="connsiteY168" fmla="*/ 295009 h 838042"/>
                <a:gd name="connsiteX169" fmla="*/ 707732 w 1037297"/>
                <a:gd name="connsiteY169" fmla="*/ 283579 h 838042"/>
                <a:gd name="connsiteX170" fmla="*/ 719162 w 1037297"/>
                <a:gd name="connsiteY170" fmla="*/ 275959 h 838042"/>
                <a:gd name="connsiteX171" fmla="*/ 734402 w 1037297"/>
                <a:gd name="connsiteY171" fmla="*/ 262624 h 838042"/>
                <a:gd name="connsiteX172" fmla="*/ 743927 w 1037297"/>
                <a:gd name="connsiteY172" fmla="*/ 251194 h 838042"/>
                <a:gd name="connsiteX173" fmla="*/ 755357 w 1037297"/>
                <a:gd name="connsiteY173" fmla="*/ 241669 h 838042"/>
                <a:gd name="connsiteX174" fmla="*/ 761072 w 1037297"/>
                <a:gd name="connsiteY174" fmla="*/ 230239 h 838042"/>
                <a:gd name="connsiteX175" fmla="*/ 762977 w 1037297"/>
                <a:gd name="connsiteY175" fmla="*/ 224524 h 838042"/>
                <a:gd name="connsiteX176" fmla="*/ 768692 w 1037297"/>
                <a:gd name="connsiteY176" fmla="*/ 213094 h 838042"/>
                <a:gd name="connsiteX177" fmla="*/ 766787 w 1037297"/>
                <a:gd name="connsiteY177" fmla="*/ 197854 h 838042"/>
                <a:gd name="connsiteX178" fmla="*/ 761072 w 1037297"/>
                <a:gd name="connsiteY178" fmla="*/ 195949 h 838042"/>
                <a:gd name="connsiteX179" fmla="*/ 740117 w 1037297"/>
                <a:gd name="connsiteY179" fmla="*/ 197854 h 838042"/>
                <a:gd name="connsiteX180" fmla="*/ 734402 w 1037297"/>
                <a:gd name="connsiteY180" fmla="*/ 201664 h 838042"/>
                <a:gd name="connsiteX181" fmla="*/ 722972 w 1037297"/>
                <a:gd name="connsiteY181" fmla="*/ 205474 h 838042"/>
                <a:gd name="connsiteX182" fmla="*/ 719162 w 1037297"/>
                <a:gd name="connsiteY182" fmla="*/ 211189 h 838042"/>
                <a:gd name="connsiteX183" fmla="*/ 713447 w 1037297"/>
                <a:gd name="connsiteY183" fmla="*/ 213094 h 838042"/>
                <a:gd name="connsiteX184" fmla="*/ 707732 w 1037297"/>
                <a:gd name="connsiteY184" fmla="*/ 216904 h 838042"/>
                <a:gd name="connsiteX185" fmla="*/ 702017 w 1037297"/>
                <a:gd name="connsiteY185" fmla="*/ 222619 h 838042"/>
                <a:gd name="connsiteX186" fmla="*/ 694397 w 1037297"/>
                <a:gd name="connsiteY186" fmla="*/ 226429 h 838042"/>
                <a:gd name="connsiteX187" fmla="*/ 652487 w 1037297"/>
                <a:gd name="connsiteY187" fmla="*/ 255004 h 838042"/>
                <a:gd name="connsiteX188" fmla="*/ 639152 w 1037297"/>
                <a:gd name="connsiteY188" fmla="*/ 266434 h 838042"/>
                <a:gd name="connsiteX189" fmla="*/ 629627 w 1037297"/>
                <a:gd name="connsiteY189" fmla="*/ 283579 h 838042"/>
                <a:gd name="connsiteX190" fmla="*/ 604862 w 1037297"/>
                <a:gd name="connsiteY190" fmla="*/ 289294 h 838042"/>
                <a:gd name="connsiteX191" fmla="*/ 591527 w 1037297"/>
                <a:gd name="connsiteY191" fmla="*/ 293104 h 838042"/>
                <a:gd name="connsiteX192" fmla="*/ 576287 w 1037297"/>
                <a:gd name="connsiteY192" fmla="*/ 291199 h 838042"/>
                <a:gd name="connsiteX193" fmla="*/ 564857 w 1037297"/>
                <a:gd name="connsiteY193" fmla="*/ 287389 h 838042"/>
                <a:gd name="connsiteX194" fmla="*/ 553427 w 1037297"/>
                <a:gd name="connsiteY194" fmla="*/ 283579 h 838042"/>
                <a:gd name="connsiteX195" fmla="*/ 541997 w 1037297"/>
                <a:gd name="connsiteY195" fmla="*/ 279769 h 838042"/>
                <a:gd name="connsiteX196" fmla="*/ 536282 w 1037297"/>
                <a:gd name="connsiteY196" fmla="*/ 277864 h 838042"/>
                <a:gd name="connsiteX197" fmla="*/ 530567 w 1037297"/>
                <a:gd name="connsiteY197" fmla="*/ 274054 h 838042"/>
                <a:gd name="connsiteX198" fmla="*/ 519137 w 1037297"/>
                <a:gd name="connsiteY198" fmla="*/ 268339 h 838042"/>
                <a:gd name="connsiteX199" fmla="*/ 511517 w 1037297"/>
                <a:gd name="connsiteY199" fmla="*/ 256909 h 838042"/>
                <a:gd name="connsiteX200" fmla="*/ 507707 w 1037297"/>
                <a:gd name="connsiteY200" fmla="*/ 235954 h 838042"/>
                <a:gd name="connsiteX201" fmla="*/ 509612 w 1037297"/>
                <a:gd name="connsiteY201" fmla="*/ 171184 h 838042"/>
                <a:gd name="connsiteX202" fmla="*/ 508314 w 1037297"/>
                <a:gd name="connsiteY202" fmla="*/ 73485 h 838042"/>
                <a:gd name="connsiteX203" fmla="*/ 454116 w 1037297"/>
                <a:gd name="connsiteY203" fmla="*/ 11248 h 838042"/>
                <a:gd name="connsiteX204" fmla="*/ 435401 w 1037297"/>
                <a:gd name="connsiteY204" fmla="*/ 68523 h 838042"/>
                <a:gd name="connsiteX205" fmla="*/ 427697 w 1037297"/>
                <a:gd name="connsiteY205" fmla="*/ 137103 h 838042"/>
                <a:gd name="connsiteX206" fmla="*/ 420077 w 1037297"/>
                <a:gd name="connsiteY206" fmla="*/ 169279 h 838042"/>
                <a:gd name="connsiteX207" fmla="*/ 416267 w 1037297"/>
                <a:gd name="connsiteY207" fmla="*/ 186424 h 838042"/>
                <a:gd name="connsiteX208" fmla="*/ 420077 w 1037297"/>
                <a:gd name="connsiteY208" fmla="*/ 207379 h 838042"/>
                <a:gd name="connsiteX209" fmla="*/ 423887 w 1037297"/>
                <a:gd name="connsiteY209" fmla="*/ 213094 h 838042"/>
                <a:gd name="connsiteX210" fmla="*/ 427697 w 1037297"/>
                <a:gd name="connsiteY210" fmla="*/ 224524 h 838042"/>
                <a:gd name="connsiteX211" fmla="*/ 425792 w 1037297"/>
                <a:gd name="connsiteY211" fmla="*/ 251194 h 838042"/>
                <a:gd name="connsiteX212" fmla="*/ 420077 w 1037297"/>
                <a:gd name="connsiteY212" fmla="*/ 253099 h 838042"/>
                <a:gd name="connsiteX213" fmla="*/ 414362 w 1037297"/>
                <a:gd name="connsiteY213" fmla="*/ 256909 h 838042"/>
                <a:gd name="connsiteX214" fmla="*/ 423887 w 1037297"/>
                <a:gd name="connsiteY21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605887 w 1037297"/>
                <a:gd name="connsiteY110" fmla="*/ 563755 h 838042"/>
                <a:gd name="connsiteX111" fmla="*/ 722972 w 1037297"/>
                <a:gd name="connsiteY111" fmla="*/ 639814 h 838042"/>
                <a:gd name="connsiteX112" fmla="*/ 780122 w 1037297"/>
                <a:gd name="connsiteY112" fmla="*/ 656959 h 838042"/>
                <a:gd name="connsiteX113" fmla="*/ 791552 w 1037297"/>
                <a:gd name="connsiteY113" fmla="*/ 651244 h 838042"/>
                <a:gd name="connsiteX114" fmla="*/ 797267 w 1037297"/>
                <a:gd name="connsiteY114" fmla="*/ 649339 h 838042"/>
                <a:gd name="connsiteX115" fmla="*/ 804887 w 1037297"/>
                <a:gd name="connsiteY115" fmla="*/ 632194 h 838042"/>
                <a:gd name="connsiteX116" fmla="*/ 802982 w 1037297"/>
                <a:gd name="connsiteY116" fmla="*/ 607429 h 838042"/>
                <a:gd name="connsiteX117" fmla="*/ 801077 w 1037297"/>
                <a:gd name="connsiteY117" fmla="*/ 601714 h 838042"/>
                <a:gd name="connsiteX118" fmla="*/ 799172 w 1037297"/>
                <a:gd name="connsiteY118" fmla="*/ 594094 h 838042"/>
                <a:gd name="connsiteX119" fmla="*/ 785837 w 1037297"/>
                <a:gd name="connsiteY119" fmla="*/ 576949 h 838042"/>
                <a:gd name="connsiteX120" fmla="*/ 776312 w 1037297"/>
                <a:gd name="connsiteY120" fmla="*/ 571234 h 838042"/>
                <a:gd name="connsiteX121" fmla="*/ 650582 w 1037297"/>
                <a:gd name="connsiteY121" fmla="*/ 479794 h 838042"/>
                <a:gd name="connsiteX122" fmla="*/ 646772 w 1037297"/>
                <a:gd name="connsiteY122" fmla="*/ 462649 h 838042"/>
                <a:gd name="connsiteX123" fmla="*/ 648677 w 1037297"/>
                <a:gd name="connsiteY123" fmla="*/ 455029 h 838042"/>
                <a:gd name="connsiteX124" fmla="*/ 652487 w 1037297"/>
                <a:gd name="connsiteY124" fmla="*/ 437884 h 838042"/>
                <a:gd name="connsiteX125" fmla="*/ 656297 w 1037297"/>
                <a:gd name="connsiteY125" fmla="*/ 432169 h 838042"/>
                <a:gd name="connsiteX126" fmla="*/ 658202 w 1037297"/>
                <a:gd name="connsiteY126" fmla="*/ 426454 h 838042"/>
                <a:gd name="connsiteX127" fmla="*/ 663917 w 1037297"/>
                <a:gd name="connsiteY127" fmla="*/ 424549 h 838042"/>
                <a:gd name="connsiteX128" fmla="*/ 673442 w 1037297"/>
                <a:gd name="connsiteY128" fmla="*/ 413119 h 838042"/>
                <a:gd name="connsiteX129" fmla="*/ 726782 w 1037297"/>
                <a:gd name="connsiteY129" fmla="*/ 405499 h 838042"/>
                <a:gd name="connsiteX130" fmla="*/ 844892 w 1037297"/>
                <a:gd name="connsiteY130" fmla="*/ 407404 h 838042"/>
                <a:gd name="connsiteX131" fmla="*/ 873467 w 1037297"/>
                <a:gd name="connsiteY131" fmla="*/ 409309 h 838042"/>
                <a:gd name="connsiteX132" fmla="*/ 902042 w 1037297"/>
                <a:gd name="connsiteY132" fmla="*/ 415024 h 838042"/>
                <a:gd name="connsiteX133" fmla="*/ 924902 w 1037297"/>
                <a:gd name="connsiteY133" fmla="*/ 418834 h 838042"/>
                <a:gd name="connsiteX134" fmla="*/ 953477 w 1037297"/>
                <a:gd name="connsiteY134" fmla="*/ 424549 h 838042"/>
                <a:gd name="connsiteX135" fmla="*/ 959192 w 1037297"/>
                <a:gd name="connsiteY135" fmla="*/ 424549 h 838042"/>
                <a:gd name="connsiteX136" fmla="*/ 1004912 w 1037297"/>
                <a:gd name="connsiteY136" fmla="*/ 422644 h 838042"/>
                <a:gd name="connsiteX137" fmla="*/ 1033487 w 1037297"/>
                <a:gd name="connsiteY137" fmla="*/ 415024 h 838042"/>
                <a:gd name="connsiteX138" fmla="*/ 1037297 w 1037297"/>
                <a:gd name="connsiteY138" fmla="*/ 409309 h 838042"/>
                <a:gd name="connsiteX139" fmla="*/ 1035392 w 1037297"/>
                <a:gd name="connsiteY139" fmla="*/ 390259 h 838042"/>
                <a:gd name="connsiteX140" fmla="*/ 1029677 w 1037297"/>
                <a:gd name="connsiteY140" fmla="*/ 386449 h 838042"/>
                <a:gd name="connsiteX141" fmla="*/ 1014437 w 1037297"/>
                <a:gd name="connsiteY141" fmla="*/ 384544 h 838042"/>
                <a:gd name="connsiteX142" fmla="*/ 1008722 w 1037297"/>
                <a:gd name="connsiteY142" fmla="*/ 382639 h 838042"/>
                <a:gd name="connsiteX143" fmla="*/ 1001102 w 1037297"/>
                <a:gd name="connsiteY143" fmla="*/ 380734 h 838042"/>
                <a:gd name="connsiteX144" fmla="*/ 989672 w 1037297"/>
                <a:gd name="connsiteY144" fmla="*/ 373114 h 838042"/>
                <a:gd name="connsiteX145" fmla="*/ 978242 w 1037297"/>
                <a:gd name="connsiteY145" fmla="*/ 369304 h 838042"/>
                <a:gd name="connsiteX146" fmla="*/ 972527 w 1037297"/>
                <a:gd name="connsiteY146" fmla="*/ 367399 h 838042"/>
                <a:gd name="connsiteX147" fmla="*/ 964907 w 1037297"/>
                <a:gd name="connsiteY147" fmla="*/ 365494 h 838042"/>
                <a:gd name="connsiteX148" fmla="*/ 959192 w 1037297"/>
                <a:gd name="connsiteY148" fmla="*/ 363589 h 838042"/>
                <a:gd name="connsiteX149" fmla="*/ 938237 w 1037297"/>
                <a:gd name="connsiteY149" fmla="*/ 357874 h 838042"/>
                <a:gd name="connsiteX150" fmla="*/ 932522 w 1037297"/>
                <a:gd name="connsiteY150" fmla="*/ 355969 h 838042"/>
                <a:gd name="connsiteX151" fmla="*/ 827747 w 1037297"/>
                <a:gd name="connsiteY151" fmla="*/ 357874 h 838042"/>
                <a:gd name="connsiteX152" fmla="*/ 822032 w 1037297"/>
                <a:gd name="connsiteY152" fmla="*/ 359779 h 838042"/>
                <a:gd name="connsiteX153" fmla="*/ 732497 w 1037297"/>
                <a:gd name="connsiteY153" fmla="*/ 361684 h 838042"/>
                <a:gd name="connsiteX154" fmla="*/ 719162 w 1037297"/>
                <a:gd name="connsiteY154" fmla="*/ 365494 h 838042"/>
                <a:gd name="connsiteX155" fmla="*/ 698207 w 1037297"/>
                <a:gd name="connsiteY155" fmla="*/ 367399 h 838042"/>
                <a:gd name="connsiteX156" fmla="*/ 671537 w 1037297"/>
                <a:gd name="connsiteY156" fmla="*/ 369304 h 838042"/>
                <a:gd name="connsiteX157" fmla="*/ 671537 w 1037297"/>
                <a:gd name="connsiteY157" fmla="*/ 369304 h 838042"/>
                <a:gd name="connsiteX158" fmla="*/ 648677 w 1037297"/>
                <a:gd name="connsiteY158" fmla="*/ 373114 h 838042"/>
                <a:gd name="connsiteX159" fmla="*/ 644867 w 1037297"/>
                <a:gd name="connsiteY159" fmla="*/ 361684 h 838042"/>
                <a:gd name="connsiteX160" fmla="*/ 642962 w 1037297"/>
                <a:gd name="connsiteY160" fmla="*/ 355969 h 838042"/>
                <a:gd name="connsiteX161" fmla="*/ 644867 w 1037297"/>
                <a:gd name="connsiteY161" fmla="*/ 338824 h 838042"/>
                <a:gd name="connsiteX162" fmla="*/ 646772 w 1037297"/>
                <a:gd name="connsiteY162" fmla="*/ 333109 h 838042"/>
                <a:gd name="connsiteX163" fmla="*/ 663917 w 1037297"/>
                <a:gd name="connsiteY163" fmla="*/ 323584 h 838042"/>
                <a:gd name="connsiteX164" fmla="*/ 675347 w 1037297"/>
                <a:gd name="connsiteY164" fmla="*/ 315964 h 838042"/>
                <a:gd name="connsiteX165" fmla="*/ 677252 w 1037297"/>
                <a:gd name="connsiteY165" fmla="*/ 310249 h 838042"/>
                <a:gd name="connsiteX166" fmla="*/ 682967 w 1037297"/>
                <a:gd name="connsiteY166" fmla="*/ 308344 h 838042"/>
                <a:gd name="connsiteX167" fmla="*/ 688682 w 1037297"/>
                <a:gd name="connsiteY167" fmla="*/ 304534 h 838042"/>
                <a:gd name="connsiteX168" fmla="*/ 698207 w 1037297"/>
                <a:gd name="connsiteY168" fmla="*/ 295009 h 838042"/>
                <a:gd name="connsiteX169" fmla="*/ 707732 w 1037297"/>
                <a:gd name="connsiteY169" fmla="*/ 283579 h 838042"/>
                <a:gd name="connsiteX170" fmla="*/ 719162 w 1037297"/>
                <a:gd name="connsiteY170" fmla="*/ 275959 h 838042"/>
                <a:gd name="connsiteX171" fmla="*/ 734402 w 1037297"/>
                <a:gd name="connsiteY171" fmla="*/ 262624 h 838042"/>
                <a:gd name="connsiteX172" fmla="*/ 743927 w 1037297"/>
                <a:gd name="connsiteY172" fmla="*/ 251194 h 838042"/>
                <a:gd name="connsiteX173" fmla="*/ 755357 w 1037297"/>
                <a:gd name="connsiteY173" fmla="*/ 241669 h 838042"/>
                <a:gd name="connsiteX174" fmla="*/ 761072 w 1037297"/>
                <a:gd name="connsiteY174" fmla="*/ 230239 h 838042"/>
                <a:gd name="connsiteX175" fmla="*/ 762977 w 1037297"/>
                <a:gd name="connsiteY175" fmla="*/ 224524 h 838042"/>
                <a:gd name="connsiteX176" fmla="*/ 768692 w 1037297"/>
                <a:gd name="connsiteY176" fmla="*/ 213094 h 838042"/>
                <a:gd name="connsiteX177" fmla="*/ 766787 w 1037297"/>
                <a:gd name="connsiteY177" fmla="*/ 197854 h 838042"/>
                <a:gd name="connsiteX178" fmla="*/ 761072 w 1037297"/>
                <a:gd name="connsiteY178" fmla="*/ 195949 h 838042"/>
                <a:gd name="connsiteX179" fmla="*/ 740117 w 1037297"/>
                <a:gd name="connsiteY179" fmla="*/ 197854 h 838042"/>
                <a:gd name="connsiteX180" fmla="*/ 734402 w 1037297"/>
                <a:gd name="connsiteY180" fmla="*/ 201664 h 838042"/>
                <a:gd name="connsiteX181" fmla="*/ 722972 w 1037297"/>
                <a:gd name="connsiteY181" fmla="*/ 205474 h 838042"/>
                <a:gd name="connsiteX182" fmla="*/ 719162 w 1037297"/>
                <a:gd name="connsiteY182" fmla="*/ 211189 h 838042"/>
                <a:gd name="connsiteX183" fmla="*/ 713447 w 1037297"/>
                <a:gd name="connsiteY183" fmla="*/ 213094 h 838042"/>
                <a:gd name="connsiteX184" fmla="*/ 707732 w 1037297"/>
                <a:gd name="connsiteY184" fmla="*/ 216904 h 838042"/>
                <a:gd name="connsiteX185" fmla="*/ 702017 w 1037297"/>
                <a:gd name="connsiteY185" fmla="*/ 222619 h 838042"/>
                <a:gd name="connsiteX186" fmla="*/ 694397 w 1037297"/>
                <a:gd name="connsiteY186" fmla="*/ 226429 h 838042"/>
                <a:gd name="connsiteX187" fmla="*/ 652487 w 1037297"/>
                <a:gd name="connsiteY187" fmla="*/ 255004 h 838042"/>
                <a:gd name="connsiteX188" fmla="*/ 639152 w 1037297"/>
                <a:gd name="connsiteY188" fmla="*/ 266434 h 838042"/>
                <a:gd name="connsiteX189" fmla="*/ 629627 w 1037297"/>
                <a:gd name="connsiteY189" fmla="*/ 283579 h 838042"/>
                <a:gd name="connsiteX190" fmla="*/ 604862 w 1037297"/>
                <a:gd name="connsiteY190" fmla="*/ 289294 h 838042"/>
                <a:gd name="connsiteX191" fmla="*/ 591527 w 1037297"/>
                <a:gd name="connsiteY191" fmla="*/ 293104 h 838042"/>
                <a:gd name="connsiteX192" fmla="*/ 576287 w 1037297"/>
                <a:gd name="connsiteY192" fmla="*/ 291199 h 838042"/>
                <a:gd name="connsiteX193" fmla="*/ 564857 w 1037297"/>
                <a:gd name="connsiteY193" fmla="*/ 287389 h 838042"/>
                <a:gd name="connsiteX194" fmla="*/ 553427 w 1037297"/>
                <a:gd name="connsiteY194" fmla="*/ 283579 h 838042"/>
                <a:gd name="connsiteX195" fmla="*/ 541997 w 1037297"/>
                <a:gd name="connsiteY195" fmla="*/ 279769 h 838042"/>
                <a:gd name="connsiteX196" fmla="*/ 536282 w 1037297"/>
                <a:gd name="connsiteY196" fmla="*/ 277864 h 838042"/>
                <a:gd name="connsiteX197" fmla="*/ 530567 w 1037297"/>
                <a:gd name="connsiteY197" fmla="*/ 274054 h 838042"/>
                <a:gd name="connsiteX198" fmla="*/ 519137 w 1037297"/>
                <a:gd name="connsiteY198" fmla="*/ 268339 h 838042"/>
                <a:gd name="connsiteX199" fmla="*/ 511517 w 1037297"/>
                <a:gd name="connsiteY199" fmla="*/ 256909 h 838042"/>
                <a:gd name="connsiteX200" fmla="*/ 507707 w 1037297"/>
                <a:gd name="connsiteY200" fmla="*/ 235954 h 838042"/>
                <a:gd name="connsiteX201" fmla="*/ 509612 w 1037297"/>
                <a:gd name="connsiteY201" fmla="*/ 171184 h 838042"/>
                <a:gd name="connsiteX202" fmla="*/ 508314 w 1037297"/>
                <a:gd name="connsiteY202" fmla="*/ 73485 h 838042"/>
                <a:gd name="connsiteX203" fmla="*/ 454116 w 1037297"/>
                <a:gd name="connsiteY203" fmla="*/ 11248 h 838042"/>
                <a:gd name="connsiteX204" fmla="*/ 435401 w 1037297"/>
                <a:gd name="connsiteY204" fmla="*/ 68523 h 838042"/>
                <a:gd name="connsiteX205" fmla="*/ 427697 w 1037297"/>
                <a:gd name="connsiteY205" fmla="*/ 137103 h 838042"/>
                <a:gd name="connsiteX206" fmla="*/ 420077 w 1037297"/>
                <a:gd name="connsiteY206" fmla="*/ 169279 h 838042"/>
                <a:gd name="connsiteX207" fmla="*/ 416267 w 1037297"/>
                <a:gd name="connsiteY207" fmla="*/ 186424 h 838042"/>
                <a:gd name="connsiteX208" fmla="*/ 420077 w 1037297"/>
                <a:gd name="connsiteY208" fmla="*/ 207379 h 838042"/>
                <a:gd name="connsiteX209" fmla="*/ 423887 w 1037297"/>
                <a:gd name="connsiteY209" fmla="*/ 213094 h 838042"/>
                <a:gd name="connsiteX210" fmla="*/ 427697 w 1037297"/>
                <a:gd name="connsiteY210" fmla="*/ 224524 h 838042"/>
                <a:gd name="connsiteX211" fmla="*/ 425792 w 1037297"/>
                <a:gd name="connsiteY211" fmla="*/ 251194 h 838042"/>
                <a:gd name="connsiteX212" fmla="*/ 420077 w 1037297"/>
                <a:gd name="connsiteY212" fmla="*/ 253099 h 838042"/>
                <a:gd name="connsiteX213" fmla="*/ 414362 w 1037297"/>
                <a:gd name="connsiteY213" fmla="*/ 256909 h 838042"/>
                <a:gd name="connsiteX214" fmla="*/ 423887 w 1037297"/>
                <a:gd name="connsiteY21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543902 w 1037297"/>
                <a:gd name="connsiteY109" fmla="*/ 571234 h 838042"/>
                <a:gd name="connsiteX110" fmla="*/ 605887 w 1037297"/>
                <a:gd name="connsiteY110" fmla="*/ 563755 h 838042"/>
                <a:gd name="connsiteX111" fmla="*/ 722972 w 1037297"/>
                <a:gd name="connsiteY111" fmla="*/ 639814 h 838042"/>
                <a:gd name="connsiteX112" fmla="*/ 780122 w 1037297"/>
                <a:gd name="connsiteY112" fmla="*/ 656959 h 838042"/>
                <a:gd name="connsiteX113" fmla="*/ 791552 w 1037297"/>
                <a:gd name="connsiteY113" fmla="*/ 651244 h 838042"/>
                <a:gd name="connsiteX114" fmla="*/ 797267 w 1037297"/>
                <a:gd name="connsiteY114" fmla="*/ 649339 h 838042"/>
                <a:gd name="connsiteX115" fmla="*/ 804887 w 1037297"/>
                <a:gd name="connsiteY115" fmla="*/ 632194 h 838042"/>
                <a:gd name="connsiteX116" fmla="*/ 802982 w 1037297"/>
                <a:gd name="connsiteY116" fmla="*/ 607429 h 838042"/>
                <a:gd name="connsiteX117" fmla="*/ 801077 w 1037297"/>
                <a:gd name="connsiteY117" fmla="*/ 601714 h 838042"/>
                <a:gd name="connsiteX118" fmla="*/ 799172 w 1037297"/>
                <a:gd name="connsiteY118" fmla="*/ 594094 h 838042"/>
                <a:gd name="connsiteX119" fmla="*/ 785837 w 1037297"/>
                <a:gd name="connsiteY119" fmla="*/ 576949 h 838042"/>
                <a:gd name="connsiteX120" fmla="*/ 776312 w 1037297"/>
                <a:gd name="connsiteY120" fmla="*/ 571234 h 838042"/>
                <a:gd name="connsiteX121" fmla="*/ 650582 w 1037297"/>
                <a:gd name="connsiteY121" fmla="*/ 479794 h 838042"/>
                <a:gd name="connsiteX122" fmla="*/ 646772 w 1037297"/>
                <a:gd name="connsiteY122" fmla="*/ 462649 h 838042"/>
                <a:gd name="connsiteX123" fmla="*/ 648677 w 1037297"/>
                <a:gd name="connsiteY123" fmla="*/ 455029 h 838042"/>
                <a:gd name="connsiteX124" fmla="*/ 652487 w 1037297"/>
                <a:gd name="connsiteY124" fmla="*/ 437884 h 838042"/>
                <a:gd name="connsiteX125" fmla="*/ 656297 w 1037297"/>
                <a:gd name="connsiteY125" fmla="*/ 432169 h 838042"/>
                <a:gd name="connsiteX126" fmla="*/ 658202 w 1037297"/>
                <a:gd name="connsiteY126" fmla="*/ 426454 h 838042"/>
                <a:gd name="connsiteX127" fmla="*/ 663917 w 1037297"/>
                <a:gd name="connsiteY127" fmla="*/ 424549 h 838042"/>
                <a:gd name="connsiteX128" fmla="*/ 673442 w 1037297"/>
                <a:gd name="connsiteY128" fmla="*/ 413119 h 838042"/>
                <a:gd name="connsiteX129" fmla="*/ 726782 w 1037297"/>
                <a:gd name="connsiteY129" fmla="*/ 405499 h 838042"/>
                <a:gd name="connsiteX130" fmla="*/ 844892 w 1037297"/>
                <a:gd name="connsiteY130" fmla="*/ 407404 h 838042"/>
                <a:gd name="connsiteX131" fmla="*/ 873467 w 1037297"/>
                <a:gd name="connsiteY131" fmla="*/ 409309 h 838042"/>
                <a:gd name="connsiteX132" fmla="*/ 902042 w 1037297"/>
                <a:gd name="connsiteY132" fmla="*/ 415024 h 838042"/>
                <a:gd name="connsiteX133" fmla="*/ 924902 w 1037297"/>
                <a:gd name="connsiteY133" fmla="*/ 418834 h 838042"/>
                <a:gd name="connsiteX134" fmla="*/ 953477 w 1037297"/>
                <a:gd name="connsiteY134" fmla="*/ 424549 h 838042"/>
                <a:gd name="connsiteX135" fmla="*/ 959192 w 1037297"/>
                <a:gd name="connsiteY135" fmla="*/ 424549 h 838042"/>
                <a:gd name="connsiteX136" fmla="*/ 1004912 w 1037297"/>
                <a:gd name="connsiteY136" fmla="*/ 422644 h 838042"/>
                <a:gd name="connsiteX137" fmla="*/ 1033487 w 1037297"/>
                <a:gd name="connsiteY137" fmla="*/ 415024 h 838042"/>
                <a:gd name="connsiteX138" fmla="*/ 1037297 w 1037297"/>
                <a:gd name="connsiteY138" fmla="*/ 409309 h 838042"/>
                <a:gd name="connsiteX139" fmla="*/ 1035392 w 1037297"/>
                <a:gd name="connsiteY139" fmla="*/ 390259 h 838042"/>
                <a:gd name="connsiteX140" fmla="*/ 1029677 w 1037297"/>
                <a:gd name="connsiteY140" fmla="*/ 386449 h 838042"/>
                <a:gd name="connsiteX141" fmla="*/ 1014437 w 1037297"/>
                <a:gd name="connsiteY141" fmla="*/ 384544 h 838042"/>
                <a:gd name="connsiteX142" fmla="*/ 1008722 w 1037297"/>
                <a:gd name="connsiteY142" fmla="*/ 382639 h 838042"/>
                <a:gd name="connsiteX143" fmla="*/ 1001102 w 1037297"/>
                <a:gd name="connsiteY143" fmla="*/ 380734 h 838042"/>
                <a:gd name="connsiteX144" fmla="*/ 989672 w 1037297"/>
                <a:gd name="connsiteY144" fmla="*/ 373114 h 838042"/>
                <a:gd name="connsiteX145" fmla="*/ 978242 w 1037297"/>
                <a:gd name="connsiteY145" fmla="*/ 369304 h 838042"/>
                <a:gd name="connsiteX146" fmla="*/ 972527 w 1037297"/>
                <a:gd name="connsiteY146" fmla="*/ 367399 h 838042"/>
                <a:gd name="connsiteX147" fmla="*/ 964907 w 1037297"/>
                <a:gd name="connsiteY147" fmla="*/ 365494 h 838042"/>
                <a:gd name="connsiteX148" fmla="*/ 959192 w 1037297"/>
                <a:gd name="connsiteY148" fmla="*/ 363589 h 838042"/>
                <a:gd name="connsiteX149" fmla="*/ 938237 w 1037297"/>
                <a:gd name="connsiteY149" fmla="*/ 357874 h 838042"/>
                <a:gd name="connsiteX150" fmla="*/ 932522 w 1037297"/>
                <a:gd name="connsiteY150" fmla="*/ 355969 h 838042"/>
                <a:gd name="connsiteX151" fmla="*/ 827747 w 1037297"/>
                <a:gd name="connsiteY151" fmla="*/ 357874 h 838042"/>
                <a:gd name="connsiteX152" fmla="*/ 822032 w 1037297"/>
                <a:gd name="connsiteY152" fmla="*/ 359779 h 838042"/>
                <a:gd name="connsiteX153" fmla="*/ 732497 w 1037297"/>
                <a:gd name="connsiteY153" fmla="*/ 361684 h 838042"/>
                <a:gd name="connsiteX154" fmla="*/ 719162 w 1037297"/>
                <a:gd name="connsiteY154" fmla="*/ 365494 h 838042"/>
                <a:gd name="connsiteX155" fmla="*/ 698207 w 1037297"/>
                <a:gd name="connsiteY155" fmla="*/ 367399 h 838042"/>
                <a:gd name="connsiteX156" fmla="*/ 671537 w 1037297"/>
                <a:gd name="connsiteY156" fmla="*/ 369304 h 838042"/>
                <a:gd name="connsiteX157" fmla="*/ 671537 w 1037297"/>
                <a:gd name="connsiteY157" fmla="*/ 369304 h 838042"/>
                <a:gd name="connsiteX158" fmla="*/ 648677 w 1037297"/>
                <a:gd name="connsiteY158" fmla="*/ 373114 h 838042"/>
                <a:gd name="connsiteX159" fmla="*/ 644867 w 1037297"/>
                <a:gd name="connsiteY159" fmla="*/ 361684 h 838042"/>
                <a:gd name="connsiteX160" fmla="*/ 642962 w 1037297"/>
                <a:gd name="connsiteY160" fmla="*/ 355969 h 838042"/>
                <a:gd name="connsiteX161" fmla="*/ 644867 w 1037297"/>
                <a:gd name="connsiteY161" fmla="*/ 338824 h 838042"/>
                <a:gd name="connsiteX162" fmla="*/ 646772 w 1037297"/>
                <a:gd name="connsiteY162" fmla="*/ 333109 h 838042"/>
                <a:gd name="connsiteX163" fmla="*/ 663917 w 1037297"/>
                <a:gd name="connsiteY163" fmla="*/ 323584 h 838042"/>
                <a:gd name="connsiteX164" fmla="*/ 675347 w 1037297"/>
                <a:gd name="connsiteY164" fmla="*/ 315964 h 838042"/>
                <a:gd name="connsiteX165" fmla="*/ 677252 w 1037297"/>
                <a:gd name="connsiteY165" fmla="*/ 310249 h 838042"/>
                <a:gd name="connsiteX166" fmla="*/ 682967 w 1037297"/>
                <a:gd name="connsiteY166" fmla="*/ 308344 h 838042"/>
                <a:gd name="connsiteX167" fmla="*/ 688682 w 1037297"/>
                <a:gd name="connsiteY167" fmla="*/ 304534 h 838042"/>
                <a:gd name="connsiteX168" fmla="*/ 698207 w 1037297"/>
                <a:gd name="connsiteY168" fmla="*/ 295009 h 838042"/>
                <a:gd name="connsiteX169" fmla="*/ 707732 w 1037297"/>
                <a:gd name="connsiteY169" fmla="*/ 283579 h 838042"/>
                <a:gd name="connsiteX170" fmla="*/ 719162 w 1037297"/>
                <a:gd name="connsiteY170" fmla="*/ 275959 h 838042"/>
                <a:gd name="connsiteX171" fmla="*/ 734402 w 1037297"/>
                <a:gd name="connsiteY171" fmla="*/ 262624 h 838042"/>
                <a:gd name="connsiteX172" fmla="*/ 743927 w 1037297"/>
                <a:gd name="connsiteY172" fmla="*/ 251194 h 838042"/>
                <a:gd name="connsiteX173" fmla="*/ 755357 w 1037297"/>
                <a:gd name="connsiteY173" fmla="*/ 241669 h 838042"/>
                <a:gd name="connsiteX174" fmla="*/ 761072 w 1037297"/>
                <a:gd name="connsiteY174" fmla="*/ 230239 h 838042"/>
                <a:gd name="connsiteX175" fmla="*/ 762977 w 1037297"/>
                <a:gd name="connsiteY175" fmla="*/ 224524 h 838042"/>
                <a:gd name="connsiteX176" fmla="*/ 768692 w 1037297"/>
                <a:gd name="connsiteY176" fmla="*/ 213094 h 838042"/>
                <a:gd name="connsiteX177" fmla="*/ 766787 w 1037297"/>
                <a:gd name="connsiteY177" fmla="*/ 197854 h 838042"/>
                <a:gd name="connsiteX178" fmla="*/ 761072 w 1037297"/>
                <a:gd name="connsiteY178" fmla="*/ 195949 h 838042"/>
                <a:gd name="connsiteX179" fmla="*/ 740117 w 1037297"/>
                <a:gd name="connsiteY179" fmla="*/ 197854 h 838042"/>
                <a:gd name="connsiteX180" fmla="*/ 734402 w 1037297"/>
                <a:gd name="connsiteY180" fmla="*/ 201664 h 838042"/>
                <a:gd name="connsiteX181" fmla="*/ 722972 w 1037297"/>
                <a:gd name="connsiteY181" fmla="*/ 205474 h 838042"/>
                <a:gd name="connsiteX182" fmla="*/ 719162 w 1037297"/>
                <a:gd name="connsiteY182" fmla="*/ 211189 h 838042"/>
                <a:gd name="connsiteX183" fmla="*/ 713447 w 1037297"/>
                <a:gd name="connsiteY183" fmla="*/ 213094 h 838042"/>
                <a:gd name="connsiteX184" fmla="*/ 707732 w 1037297"/>
                <a:gd name="connsiteY184" fmla="*/ 216904 h 838042"/>
                <a:gd name="connsiteX185" fmla="*/ 702017 w 1037297"/>
                <a:gd name="connsiteY185" fmla="*/ 222619 h 838042"/>
                <a:gd name="connsiteX186" fmla="*/ 694397 w 1037297"/>
                <a:gd name="connsiteY186" fmla="*/ 226429 h 838042"/>
                <a:gd name="connsiteX187" fmla="*/ 652487 w 1037297"/>
                <a:gd name="connsiteY187" fmla="*/ 255004 h 838042"/>
                <a:gd name="connsiteX188" fmla="*/ 639152 w 1037297"/>
                <a:gd name="connsiteY188" fmla="*/ 266434 h 838042"/>
                <a:gd name="connsiteX189" fmla="*/ 629627 w 1037297"/>
                <a:gd name="connsiteY189" fmla="*/ 283579 h 838042"/>
                <a:gd name="connsiteX190" fmla="*/ 604862 w 1037297"/>
                <a:gd name="connsiteY190" fmla="*/ 289294 h 838042"/>
                <a:gd name="connsiteX191" fmla="*/ 591527 w 1037297"/>
                <a:gd name="connsiteY191" fmla="*/ 293104 h 838042"/>
                <a:gd name="connsiteX192" fmla="*/ 576287 w 1037297"/>
                <a:gd name="connsiteY192" fmla="*/ 291199 h 838042"/>
                <a:gd name="connsiteX193" fmla="*/ 564857 w 1037297"/>
                <a:gd name="connsiteY193" fmla="*/ 287389 h 838042"/>
                <a:gd name="connsiteX194" fmla="*/ 553427 w 1037297"/>
                <a:gd name="connsiteY194" fmla="*/ 283579 h 838042"/>
                <a:gd name="connsiteX195" fmla="*/ 541997 w 1037297"/>
                <a:gd name="connsiteY195" fmla="*/ 279769 h 838042"/>
                <a:gd name="connsiteX196" fmla="*/ 536282 w 1037297"/>
                <a:gd name="connsiteY196" fmla="*/ 277864 h 838042"/>
                <a:gd name="connsiteX197" fmla="*/ 530567 w 1037297"/>
                <a:gd name="connsiteY197" fmla="*/ 274054 h 838042"/>
                <a:gd name="connsiteX198" fmla="*/ 519137 w 1037297"/>
                <a:gd name="connsiteY198" fmla="*/ 268339 h 838042"/>
                <a:gd name="connsiteX199" fmla="*/ 511517 w 1037297"/>
                <a:gd name="connsiteY199" fmla="*/ 256909 h 838042"/>
                <a:gd name="connsiteX200" fmla="*/ 507707 w 1037297"/>
                <a:gd name="connsiteY200" fmla="*/ 235954 h 838042"/>
                <a:gd name="connsiteX201" fmla="*/ 509612 w 1037297"/>
                <a:gd name="connsiteY201" fmla="*/ 171184 h 838042"/>
                <a:gd name="connsiteX202" fmla="*/ 508314 w 1037297"/>
                <a:gd name="connsiteY202" fmla="*/ 73485 h 838042"/>
                <a:gd name="connsiteX203" fmla="*/ 454116 w 1037297"/>
                <a:gd name="connsiteY203" fmla="*/ 11248 h 838042"/>
                <a:gd name="connsiteX204" fmla="*/ 435401 w 1037297"/>
                <a:gd name="connsiteY204" fmla="*/ 68523 h 838042"/>
                <a:gd name="connsiteX205" fmla="*/ 427697 w 1037297"/>
                <a:gd name="connsiteY205" fmla="*/ 137103 h 838042"/>
                <a:gd name="connsiteX206" fmla="*/ 420077 w 1037297"/>
                <a:gd name="connsiteY206" fmla="*/ 169279 h 838042"/>
                <a:gd name="connsiteX207" fmla="*/ 416267 w 1037297"/>
                <a:gd name="connsiteY207" fmla="*/ 186424 h 838042"/>
                <a:gd name="connsiteX208" fmla="*/ 420077 w 1037297"/>
                <a:gd name="connsiteY208" fmla="*/ 207379 h 838042"/>
                <a:gd name="connsiteX209" fmla="*/ 423887 w 1037297"/>
                <a:gd name="connsiteY209" fmla="*/ 213094 h 838042"/>
                <a:gd name="connsiteX210" fmla="*/ 427697 w 1037297"/>
                <a:gd name="connsiteY210" fmla="*/ 224524 h 838042"/>
                <a:gd name="connsiteX211" fmla="*/ 425792 w 1037297"/>
                <a:gd name="connsiteY211" fmla="*/ 251194 h 838042"/>
                <a:gd name="connsiteX212" fmla="*/ 420077 w 1037297"/>
                <a:gd name="connsiteY212" fmla="*/ 253099 h 838042"/>
                <a:gd name="connsiteX213" fmla="*/ 414362 w 1037297"/>
                <a:gd name="connsiteY213" fmla="*/ 256909 h 838042"/>
                <a:gd name="connsiteX214" fmla="*/ 423887 w 1037297"/>
                <a:gd name="connsiteY21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538187 w 1037297"/>
                <a:gd name="connsiteY108" fmla="*/ 573139 h 838042"/>
                <a:gd name="connsiteX109" fmla="*/ 605887 w 1037297"/>
                <a:gd name="connsiteY109" fmla="*/ 563755 h 838042"/>
                <a:gd name="connsiteX110" fmla="*/ 722972 w 1037297"/>
                <a:gd name="connsiteY110" fmla="*/ 639814 h 838042"/>
                <a:gd name="connsiteX111" fmla="*/ 780122 w 1037297"/>
                <a:gd name="connsiteY111" fmla="*/ 656959 h 838042"/>
                <a:gd name="connsiteX112" fmla="*/ 791552 w 1037297"/>
                <a:gd name="connsiteY112" fmla="*/ 651244 h 838042"/>
                <a:gd name="connsiteX113" fmla="*/ 797267 w 1037297"/>
                <a:gd name="connsiteY113" fmla="*/ 649339 h 838042"/>
                <a:gd name="connsiteX114" fmla="*/ 804887 w 1037297"/>
                <a:gd name="connsiteY114" fmla="*/ 632194 h 838042"/>
                <a:gd name="connsiteX115" fmla="*/ 802982 w 1037297"/>
                <a:gd name="connsiteY115" fmla="*/ 607429 h 838042"/>
                <a:gd name="connsiteX116" fmla="*/ 801077 w 1037297"/>
                <a:gd name="connsiteY116" fmla="*/ 601714 h 838042"/>
                <a:gd name="connsiteX117" fmla="*/ 799172 w 1037297"/>
                <a:gd name="connsiteY117" fmla="*/ 594094 h 838042"/>
                <a:gd name="connsiteX118" fmla="*/ 785837 w 1037297"/>
                <a:gd name="connsiteY118" fmla="*/ 576949 h 838042"/>
                <a:gd name="connsiteX119" fmla="*/ 776312 w 1037297"/>
                <a:gd name="connsiteY119" fmla="*/ 571234 h 838042"/>
                <a:gd name="connsiteX120" fmla="*/ 650582 w 1037297"/>
                <a:gd name="connsiteY120" fmla="*/ 479794 h 838042"/>
                <a:gd name="connsiteX121" fmla="*/ 646772 w 1037297"/>
                <a:gd name="connsiteY121" fmla="*/ 462649 h 838042"/>
                <a:gd name="connsiteX122" fmla="*/ 648677 w 1037297"/>
                <a:gd name="connsiteY122" fmla="*/ 455029 h 838042"/>
                <a:gd name="connsiteX123" fmla="*/ 652487 w 1037297"/>
                <a:gd name="connsiteY123" fmla="*/ 437884 h 838042"/>
                <a:gd name="connsiteX124" fmla="*/ 656297 w 1037297"/>
                <a:gd name="connsiteY124" fmla="*/ 432169 h 838042"/>
                <a:gd name="connsiteX125" fmla="*/ 658202 w 1037297"/>
                <a:gd name="connsiteY125" fmla="*/ 426454 h 838042"/>
                <a:gd name="connsiteX126" fmla="*/ 663917 w 1037297"/>
                <a:gd name="connsiteY126" fmla="*/ 424549 h 838042"/>
                <a:gd name="connsiteX127" fmla="*/ 673442 w 1037297"/>
                <a:gd name="connsiteY127" fmla="*/ 413119 h 838042"/>
                <a:gd name="connsiteX128" fmla="*/ 726782 w 1037297"/>
                <a:gd name="connsiteY128" fmla="*/ 405499 h 838042"/>
                <a:gd name="connsiteX129" fmla="*/ 844892 w 1037297"/>
                <a:gd name="connsiteY129" fmla="*/ 407404 h 838042"/>
                <a:gd name="connsiteX130" fmla="*/ 873467 w 1037297"/>
                <a:gd name="connsiteY130" fmla="*/ 409309 h 838042"/>
                <a:gd name="connsiteX131" fmla="*/ 902042 w 1037297"/>
                <a:gd name="connsiteY131" fmla="*/ 415024 h 838042"/>
                <a:gd name="connsiteX132" fmla="*/ 924902 w 1037297"/>
                <a:gd name="connsiteY132" fmla="*/ 418834 h 838042"/>
                <a:gd name="connsiteX133" fmla="*/ 953477 w 1037297"/>
                <a:gd name="connsiteY133" fmla="*/ 424549 h 838042"/>
                <a:gd name="connsiteX134" fmla="*/ 959192 w 1037297"/>
                <a:gd name="connsiteY134" fmla="*/ 424549 h 838042"/>
                <a:gd name="connsiteX135" fmla="*/ 1004912 w 1037297"/>
                <a:gd name="connsiteY135" fmla="*/ 422644 h 838042"/>
                <a:gd name="connsiteX136" fmla="*/ 1033487 w 1037297"/>
                <a:gd name="connsiteY136" fmla="*/ 415024 h 838042"/>
                <a:gd name="connsiteX137" fmla="*/ 1037297 w 1037297"/>
                <a:gd name="connsiteY137" fmla="*/ 409309 h 838042"/>
                <a:gd name="connsiteX138" fmla="*/ 1035392 w 1037297"/>
                <a:gd name="connsiteY138" fmla="*/ 390259 h 838042"/>
                <a:gd name="connsiteX139" fmla="*/ 1029677 w 1037297"/>
                <a:gd name="connsiteY139" fmla="*/ 386449 h 838042"/>
                <a:gd name="connsiteX140" fmla="*/ 1014437 w 1037297"/>
                <a:gd name="connsiteY140" fmla="*/ 384544 h 838042"/>
                <a:gd name="connsiteX141" fmla="*/ 1008722 w 1037297"/>
                <a:gd name="connsiteY141" fmla="*/ 382639 h 838042"/>
                <a:gd name="connsiteX142" fmla="*/ 1001102 w 1037297"/>
                <a:gd name="connsiteY142" fmla="*/ 380734 h 838042"/>
                <a:gd name="connsiteX143" fmla="*/ 989672 w 1037297"/>
                <a:gd name="connsiteY143" fmla="*/ 373114 h 838042"/>
                <a:gd name="connsiteX144" fmla="*/ 978242 w 1037297"/>
                <a:gd name="connsiteY144" fmla="*/ 369304 h 838042"/>
                <a:gd name="connsiteX145" fmla="*/ 972527 w 1037297"/>
                <a:gd name="connsiteY145" fmla="*/ 367399 h 838042"/>
                <a:gd name="connsiteX146" fmla="*/ 964907 w 1037297"/>
                <a:gd name="connsiteY146" fmla="*/ 365494 h 838042"/>
                <a:gd name="connsiteX147" fmla="*/ 959192 w 1037297"/>
                <a:gd name="connsiteY147" fmla="*/ 363589 h 838042"/>
                <a:gd name="connsiteX148" fmla="*/ 938237 w 1037297"/>
                <a:gd name="connsiteY148" fmla="*/ 357874 h 838042"/>
                <a:gd name="connsiteX149" fmla="*/ 932522 w 1037297"/>
                <a:gd name="connsiteY149" fmla="*/ 355969 h 838042"/>
                <a:gd name="connsiteX150" fmla="*/ 827747 w 1037297"/>
                <a:gd name="connsiteY150" fmla="*/ 357874 h 838042"/>
                <a:gd name="connsiteX151" fmla="*/ 822032 w 1037297"/>
                <a:gd name="connsiteY151" fmla="*/ 359779 h 838042"/>
                <a:gd name="connsiteX152" fmla="*/ 732497 w 1037297"/>
                <a:gd name="connsiteY152" fmla="*/ 361684 h 838042"/>
                <a:gd name="connsiteX153" fmla="*/ 719162 w 1037297"/>
                <a:gd name="connsiteY153" fmla="*/ 365494 h 838042"/>
                <a:gd name="connsiteX154" fmla="*/ 698207 w 1037297"/>
                <a:gd name="connsiteY154" fmla="*/ 367399 h 838042"/>
                <a:gd name="connsiteX155" fmla="*/ 671537 w 1037297"/>
                <a:gd name="connsiteY155" fmla="*/ 369304 h 838042"/>
                <a:gd name="connsiteX156" fmla="*/ 671537 w 1037297"/>
                <a:gd name="connsiteY156" fmla="*/ 369304 h 838042"/>
                <a:gd name="connsiteX157" fmla="*/ 648677 w 1037297"/>
                <a:gd name="connsiteY157" fmla="*/ 373114 h 838042"/>
                <a:gd name="connsiteX158" fmla="*/ 644867 w 1037297"/>
                <a:gd name="connsiteY158" fmla="*/ 361684 h 838042"/>
                <a:gd name="connsiteX159" fmla="*/ 642962 w 1037297"/>
                <a:gd name="connsiteY159" fmla="*/ 355969 h 838042"/>
                <a:gd name="connsiteX160" fmla="*/ 644867 w 1037297"/>
                <a:gd name="connsiteY160" fmla="*/ 338824 h 838042"/>
                <a:gd name="connsiteX161" fmla="*/ 646772 w 1037297"/>
                <a:gd name="connsiteY161" fmla="*/ 333109 h 838042"/>
                <a:gd name="connsiteX162" fmla="*/ 663917 w 1037297"/>
                <a:gd name="connsiteY162" fmla="*/ 323584 h 838042"/>
                <a:gd name="connsiteX163" fmla="*/ 675347 w 1037297"/>
                <a:gd name="connsiteY163" fmla="*/ 315964 h 838042"/>
                <a:gd name="connsiteX164" fmla="*/ 677252 w 1037297"/>
                <a:gd name="connsiteY164" fmla="*/ 310249 h 838042"/>
                <a:gd name="connsiteX165" fmla="*/ 682967 w 1037297"/>
                <a:gd name="connsiteY165" fmla="*/ 308344 h 838042"/>
                <a:gd name="connsiteX166" fmla="*/ 688682 w 1037297"/>
                <a:gd name="connsiteY166" fmla="*/ 304534 h 838042"/>
                <a:gd name="connsiteX167" fmla="*/ 698207 w 1037297"/>
                <a:gd name="connsiteY167" fmla="*/ 295009 h 838042"/>
                <a:gd name="connsiteX168" fmla="*/ 707732 w 1037297"/>
                <a:gd name="connsiteY168" fmla="*/ 283579 h 838042"/>
                <a:gd name="connsiteX169" fmla="*/ 719162 w 1037297"/>
                <a:gd name="connsiteY169" fmla="*/ 275959 h 838042"/>
                <a:gd name="connsiteX170" fmla="*/ 734402 w 1037297"/>
                <a:gd name="connsiteY170" fmla="*/ 262624 h 838042"/>
                <a:gd name="connsiteX171" fmla="*/ 743927 w 1037297"/>
                <a:gd name="connsiteY171" fmla="*/ 251194 h 838042"/>
                <a:gd name="connsiteX172" fmla="*/ 755357 w 1037297"/>
                <a:gd name="connsiteY172" fmla="*/ 241669 h 838042"/>
                <a:gd name="connsiteX173" fmla="*/ 761072 w 1037297"/>
                <a:gd name="connsiteY173" fmla="*/ 230239 h 838042"/>
                <a:gd name="connsiteX174" fmla="*/ 762977 w 1037297"/>
                <a:gd name="connsiteY174" fmla="*/ 224524 h 838042"/>
                <a:gd name="connsiteX175" fmla="*/ 768692 w 1037297"/>
                <a:gd name="connsiteY175" fmla="*/ 213094 h 838042"/>
                <a:gd name="connsiteX176" fmla="*/ 766787 w 1037297"/>
                <a:gd name="connsiteY176" fmla="*/ 197854 h 838042"/>
                <a:gd name="connsiteX177" fmla="*/ 761072 w 1037297"/>
                <a:gd name="connsiteY177" fmla="*/ 195949 h 838042"/>
                <a:gd name="connsiteX178" fmla="*/ 740117 w 1037297"/>
                <a:gd name="connsiteY178" fmla="*/ 197854 h 838042"/>
                <a:gd name="connsiteX179" fmla="*/ 734402 w 1037297"/>
                <a:gd name="connsiteY179" fmla="*/ 201664 h 838042"/>
                <a:gd name="connsiteX180" fmla="*/ 722972 w 1037297"/>
                <a:gd name="connsiteY180" fmla="*/ 205474 h 838042"/>
                <a:gd name="connsiteX181" fmla="*/ 719162 w 1037297"/>
                <a:gd name="connsiteY181" fmla="*/ 211189 h 838042"/>
                <a:gd name="connsiteX182" fmla="*/ 713447 w 1037297"/>
                <a:gd name="connsiteY182" fmla="*/ 213094 h 838042"/>
                <a:gd name="connsiteX183" fmla="*/ 707732 w 1037297"/>
                <a:gd name="connsiteY183" fmla="*/ 216904 h 838042"/>
                <a:gd name="connsiteX184" fmla="*/ 702017 w 1037297"/>
                <a:gd name="connsiteY184" fmla="*/ 222619 h 838042"/>
                <a:gd name="connsiteX185" fmla="*/ 694397 w 1037297"/>
                <a:gd name="connsiteY185" fmla="*/ 226429 h 838042"/>
                <a:gd name="connsiteX186" fmla="*/ 652487 w 1037297"/>
                <a:gd name="connsiteY186" fmla="*/ 255004 h 838042"/>
                <a:gd name="connsiteX187" fmla="*/ 639152 w 1037297"/>
                <a:gd name="connsiteY187" fmla="*/ 266434 h 838042"/>
                <a:gd name="connsiteX188" fmla="*/ 629627 w 1037297"/>
                <a:gd name="connsiteY188" fmla="*/ 283579 h 838042"/>
                <a:gd name="connsiteX189" fmla="*/ 604862 w 1037297"/>
                <a:gd name="connsiteY189" fmla="*/ 289294 h 838042"/>
                <a:gd name="connsiteX190" fmla="*/ 591527 w 1037297"/>
                <a:gd name="connsiteY190" fmla="*/ 293104 h 838042"/>
                <a:gd name="connsiteX191" fmla="*/ 576287 w 1037297"/>
                <a:gd name="connsiteY191" fmla="*/ 291199 h 838042"/>
                <a:gd name="connsiteX192" fmla="*/ 564857 w 1037297"/>
                <a:gd name="connsiteY192" fmla="*/ 287389 h 838042"/>
                <a:gd name="connsiteX193" fmla="*/ 553427 w 1037297"/>
                <a:gd name="connsiteY193" fmla="*/ 283579 h 838042"/>
                <a:gd name="connsiteX194" fmla="*/ 541997 w 1037297"/>
                <a:gd name="connsiteY194" fmla="*/ 279769 h 838042"/>
                <a:gd name="connsiteX195" fmla="*/ 536282 w 1037297"/>
                <a:gd name="connsiteY195" fmla="*/ 277864 h 838042"/>
                <a:gd name="connsiteX196" fmla="*/ 530567 w 1037297"/>
                <a:gd name="connsiteY196" fmla="*/ 274054 h 838042"/>
                <a:gd name="connsiteX197" fmla="*/ 519137 w 1037297"/>
                <a:gd name="connsiteY197" fmla="*/ 268339 h 838042"/>
                <a:gd name="connsiteX198" fmla="*/ 511517 w 1037297"/>
                <a:gd name="connsiteY198" fmla="*/ 256909 h 838042"/>
                <a:gd name="connsiteX199" fmla="*/ 507707 w 1037297"/>
                <a:gd name="connsiteY199" fmla="*/ 235954 h 838042"/>
                <a:gd name="connsiteX200" fmla="*/ 509612 w 1037297"/>
                <a:gd name="connsiteY200" fmla="*/ 171184 h 838042"/>
                <a:gd name="connsiteX201" fmla="*/ 508314 w 1037297"/>
                <a:gd name="connsiteY201" fmla="*/ 73485 h 838042"/>
                <a:gd name="connsiteX202" fmla="*/ 454116 w 1037297"/>
                <a:gd name="connsiteY202" fmla="*/ 11248 h 838042"/>
                <a:gd name="connsiteX203" fmla="*/ 435401 w 1037297"/>
                <a:gd name="connsiteY203" fmla="*/ 68523 h 838042"/>
                <a:gd name="connsiteX204" fmla="*/ 427697 w 1037297"/>
                <a:gd name="connsiteY204" fmla="*/ 137103 h 838042"/>
                <a:gd name="connsiteX205" fmla="*/ 420077 w 1037297"/>
                <a:gd name="connsiteY205" fmla="*/ 169279 h 838042"/>
                <a:gd name="connsiteX206" fmla="*/ 416267 w 1037297"/>
                <a:gd name="connsiteY206" fmla="*/ 186424 h 838042"/>
                <a:gd name="connsiteX207" fmla="*/ 420077 w 1037297"/>
                <a:gd name="connsiteY207" fmla="*/ 207379 h 838042"/>
                <a:gd name="connsiteX208" fmla="*/ 423887 w 1037297"/>
                <a:gd name="connsiteY208" fmla="*/ 213094 h 838042"/>
                <a:gd name="connsiteX209" fmla="*/ 427697 w 1037297"/>
                <a:gd name="connsiteY209" fmla="*/ 224524 h 838042"/>
                <a:gd name="connsiteX210" fmla="*/ 425792 w 1037297"/>
                <a:gd name="connsiteY210" fmla="*/ 251194 h 838042"/>
                <a:gd name="connsiteX211" fmla="*/ 420077 w 1037297"/>
                <a:gd name="connsiteY211" fmla="*/ 253099 h 838042"/>
                <a:gd name="connsiteX212" fmla="*/ 414362 w 1037297"/>
                <a:gd name="connsiteY212" fmla="*/ 256909 h 838042"/>
                <a:gd name="connsiteX213" fmla="*/ 423887 w 1037297"/>
                <a:gd name="connsiteY213"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605887 w 1037297"/>
                <a:gd name="connsiteY108" fmla="*/ 563755 h 838042"/>
                <a:gd name="connsiteX109" fmla="*/ 722972 w 1037297"/>
                <a:gd name="connsiteY109" fmla="*/ 639814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01506 w 1037297"/>
                <a:gd name="connsiteY107" fmla="*/ 563011 h 838042"/>
                <a:gd name="connsiteX108" fmla="*/ 605887 w 1037297"/>
                <a:gd name="connsiteY108" fmla="*/ 563755 h 838042"/>
                <a:gd name="connsiteX109" fmla="*/ 722972 w 1037297"/>
                <a:gd name="connsiteY109" fmla="*/ 639814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05887 w 1037297"/>
                <a:gd name="connsiteY108" fmla="*/ 563755 h 838042"/>
                <a:gd name="connsiteX109" fmla="*/ 722972 w 1037297"/>
                <a:gd name="connsiteY109" fmla="*/ 639814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32336 w 1037297"/>
                <a:gd name="connsiteY108" fmla="*/ 577396 h 838042"/>
                <a:gd name="connsiteX109" fmla="*/ 722972 w 1037297"/>
                <a:gd name="connsiteY109" fmla="*/ 639814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32336 w 1037297"/>
                <a:gd name="connsiteY108" fmla="*/ 577396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2982 w 1037297"/>
                <a:gd name="connsiteY114" fmla="*/ 607429 h 838042"/>
                <a:gd name="connsiteX115" fmla="*/ 801077 w 1037297"/>
                <a:gd name="connsiteY115" fmla="*/ 601714 h 838042"/>
                <a:gd name="connsiteX116" fmla="*/ 799172 w 1037297"/>
                <a:gd name="connsiteY116" fmla="*/ 594094 h 838042"/>
                <a:gd name="connsiteX117" fmla="*/ 785837 w 1037297"/>
                <a:gd name="connsiteY117" fmla="*/ 576949 h 838042"/>
                <a:gd name="connsiteX118" fmla="*/ 776312 w 1037297"/>
                <a:gd name="connsiteY118" fmla="*/ 571234 h 838042"/>
                <a:gd name="connsiteX119" fmla="*/ 650582 w 1037297"/>
                <a:gd name="connsiteY119" fmla="*/ 479794 h 838042"/>
                <a:gd name="connsiteX120" fmla="*/ 646772 w 1037297"/>
                <a:gd name="connsiteY120" fmla="*/ 462649 h 838042"/>
                <a:gd name="connsiteX121" fmla="*/ 648677 w 1037297"/>
                <a:gd name="connsiteY121" fmla="*/ 455029 h 838042"/>
                <a:gd name="connsiteX122" fmla="*/ 652487 w 1037297"/>
                <a:gd name="connsiteY122" fmla="*/ 437884 h 838042"/>
                <a:gd name="connsiteX123" fmla="*/ 656297 w 1037297"/>
                <a:gd name="connsiteY123" fmla="*/ 432169 h 838042"/>
                <a:gd name="connsiteX124" fmla="*/ 658202 w 1037297"/>
                <a:gd name="connsiteY124" fmla="*/ 426454 h 838042"/>
                <a:gd name="connsiteX125" fmla="*/ 663917 w 1037297"/>
                <a:gd name="connsiteY125" fmla="*/ 424549 h 838042"/>
                <a:gd name="connsiteX126" fmla="*/ 673442 w 1037297"/>
                <a:gd name="connsiteY126" fmla="*/ 413119 h 838042"/>
                <a:gd name="connsiteX127" fmla="*/ 726782 w 1037297"/>
                <a:gd name="connsiteY127" fmla="*/ 405499 h 838042"/>
                <a:gd name="connsiteX128" fmla="*/ 844892 w 1037297"/>
                <a:gd name="connsiteY128" fmla="*/ 407404 h 838042"/>
                <a:gd name="connsiteX129" fmla="*/ 873467 w 1037297"/>
                <a:gd name="connsiteY129" fmla="*/ 409309 h 838042"/>
                <a:gd name="connsiteX130" fmla="*/ 902042 w 1037297"/>
                <a:gd name="connsiteY130" fmla="*/ 415024 h 838042"/>
                <a:gd name="connsiteX131" fmla="*/ 924902 w 1037297"/>
                <a:gd name="connsiteY131" fmla="*/ 418834 h 838042"/>
                <a:gd name="connsiteX132" fmla="*/ 953477 w 1037297"/>
                <a:gd name="connsiteY132" fmla="*/ 424549 h 838042"/>
                <a:gd name="connsiteX133" fmla="*/ 959192 w 1037297"/>
                <a:gd name="connsiteY133" fmla="*/ 424549 h 838042"/>
                <a:gd name="connsiteX134" fmla="*/ 1004912 w 1037297"/>
                <a:gd name="connsiteY134" fmla="*/ 422644 h 838042"/>
                <a:gd name="connsiteX135" fmla="*/ 1033487 w 1037297"/>
                <a:gd name="connsiteY135" fmla="*/ 415024 h 838042"/>
                <a:gd name="connsiteX136" fmla="*/ 1037297 w 1037297"/>
                <a:gd name="connsiteY136" fmla="*/ 409309 h 838042"/>
                <a:gd name="connsiteX137" fmla="*/ 1035392 w 1037297"/>
                <a:gd name="connsiteY137" fmla="*/ 390259 h 838042"/>
                <a:gd name="connsiteX138" fmla="*/ 1029677 w 1037297"/>
                <a:gd name="connsiteY138" fmla="*/ 386449 h 838042"/>
                <a:gd name="connsiteX139" fmla="*/ 1014437 w 1037297"/>
                <a:gd name="connsiteY139" fmla="*/ 384544 h 838042"/>
                <a:gd name="connsiteX140" fmla="*/ 1008722 w 1037297"/>
                <a:gd name="connsiteY140" fmla="*/ 382639 h 838042"/>
                <a:gd name="connsiteX141" fmla="*/ 1001102 w 1037297"/>
                <a:gd name="connsiteY141" fmla="*/ 380734 h 838042"/>
                <a:gd name="connsiteX142" fmla="*/ 989672 w 1037297"/>
                <a:gd name="connsiteY142" fmla="*/ 373114 h 838042"/>
                <a:gd name="connsiteX143" fmla="*/ 978242 w 1037297"/>
                <a:gd name="connsiteY143" fmla="*/ 369304 h 838042"/>
                <a:gd name="connsiteX144" fmla="*/ 972527 w 1037297"/>
                <a:gd name="connsiteY144" fmla="*/ 367399 h 838042"/>
                <a:gd name="connsiteX145" fmla="*/ 964907 w 1037297"/>
                <a:gd name="connsiteY145" fmla="*/ 365494 h 838042"/>
                <a:gd name="connsiteX146" fmla="*/ 959192 w 1037297"/>
                <a:gd name="connsiteY146" fmla="*/ 363589 h 838042"/>
                <a:gd name="connsiteX147" fmla="*/ 938237 w 1037297"/>
                <a:gd name="connsiteY147" fmla="*/ 357874 h 838042"/>
                <a:gd name="connsiteX148" fmla="*/ 932522 w 1037297"/>
                <a:gd name="connsiteY148" fmla="*/ 355969 h 838042"/>
                <a:gd name="connsiteX149" fmla="*/ 827747 w 1037297"/>
                <a:gd name="connsiteY149" fmla="*/ 357874 h 838042"/>
                <a:gd name="connsiteX150" fmla="*/ 822032 w 1037297"/>
                <a:gd name="connsiteY150" fmla="*/ 359779 h 838042"/>
                <a:gd name="connsiteX151" fmla="*/ 732497 w 1037297"/>
                <a:gd name="connsiteY151" fmla="*/ 361684 h 838042"/>
                <a:gd name="connsiteX152" fmla="*/ 719162 w 1037297"/>
                <a:gd name="connsiteY152" fmla="*/ 365494 h 838042"/>
                <a:gd name="connsiteX153" fmla="*/ 698207 w 1037297"/>
                <a:gd name="connsiteY153" fmla="*/ 367399 h 838042"/>
                <a:gd name="connsiteX154" fmla="*/ 671537 w 1037297"/>
                <a:gd name="connsiteY154" fmla="*/ 369304 h 838042"/>
                <a:gd name="connsiteX155" fmla="*/ 671537 w 1037297"/>
                <a:gd name="connsiteY155" fmla="*/ 369304 h 838042"/>
                <a:gd name="connsiteX156" fmla="*/ 648677 w 1037297"/>
                <a:gd name="connsiteY156" fmla="*/ 373114 h 838042"/>
                <a:gd name="connsiteX157" fmla="*/ 644867 w 1037297"/>
                <a:gd name="connsiteY157" fmla="*/ 361684 h 838042"/>
                <a:gd name="connsiteX158" fmla="*/ 642962 w 1037297"/>
                <a:gd name="connsiteY158" fmla="*/ 355969 h 838042"/>
                <a:gd name="connsiteX159" fmla="*/ 644867 w 1037297"/>
                <a:gd name="connsiteY159" fmla="*/ 338824 h 838042"/>
                <a:gd name="connsiteX160" fmla="*/ 646772 w 1037297"/>
                <a:gd name="connsiteY160" fmla="*/ 333109 h 838042"/>
                <a:gd name="connsiteX161" fmla="*/ 663917 w 1037297"/>
                <a:gd name="connsiteY161" fmla="*/ 323584 h 838042"/>
                <a:gd name="connsiteX162" fmla="*/ 675347 w 1037297"/>
                <a:gd name="connsiteY162" fmla="*/ 315964 h 838042"/>
                <a:gd name="connsiteX163" fmla="*/ 677252 w 1037297"/>
                <a:gd name="connsiteY163" fmla="*/ 310249 h 838042"/>
                <a:gd name="connsiteX164" fmla="*/ 682967 w 1037297"/>
                <a:gd name="connsiteY164" fmla="*/ 308344 h 838042"/>
                <a:gd name="connsiteX165" fmla="*/ 688682 w 1037297"/>
                <a:gd name="connsiteY165" fmla="*/ 304534 h 838042"/>
                <a:gd name="connsiteX166" fmla="*/ 698207 w 1037297"/>
                <a:gd name="connsiteY166" fmla="*/ 295009 h 838042"/>
                <a:gd name="connsiteX167" fmla="*/ 707732 w 1037297"/>
                <a:gd name="connsiteY167" fmla="*/ 283579 h 838042"/>
                <a:gd name="connsiteX168" fmla="*/ 719162 w 1037297"/>
                <a:gd name="connsiteY168" fmla="*/ 275959 h 838042"/>
                <a:gd name="connsiteX169" fmla="*/ 734402 w 1037297"/>
                <a:gd name="connsiteY169" fmla="*/ 262624 h 838042"/>
                <a:gd name="connsiteX170" fmla="*/ 743927 w 1037297"/>
                <a:gd name="connsiteY170" fmla="*/ 251194 h 838042"/>
                <a:gd name="connsiteX171" fmla="*/ 755357 w 1037297"/>
                <a:gd name="connsiteY171" fmla="*/ 241669 h 838042"/>
                <a:gd name="connsiteX172" fmla="*/ 761072 w 1037297"/>
                <a:gd name="connsiteY172" fmla="*/ 230239 h 838042"/>
                <a:gd name="connsiteX173" fmla="*/ 762977 w 1037297"/>
                <a:gd name="connsiteY173" fmla="*/ 224524 h 838042"/>
                <a:gd name="connsiteX174" fmla="*/ 768692 w 1037297"/>
                <a:gd name="connsiteY174" fmla="*/ 213094 h 838042"/>
                <a:gd name="connsiteX175" fmla="*/ 766787 w 1037297"/>
                <a:gd name="connsiteY175" fmla="*/ 197854 h 838042"/>
                <a:gd name="connsiteX176" fmla="*/ 761072 w 1037297"/>
                <a:gd name="connsiteY176" fmla="*/ 195949 h 838042"/>
                <a:gd name="connsiteX177" fmla="*/ 740117 w 1037297"/>
                <a:gd name="connsiteY177" fmla="*/ 197854 h 838042"/>
                <a:gd name="connsiteX178" fmla="*/ 734402 w 1037297"/>
                <a:gd name="connsiteY178" fmla="*/ 201664 h 838042"/>
                <a:gd name="connsiteX179" fmla="*/ 722972 w 1037297"/>
                <a:gd name="connsiteY179" fmla="*/ 205474 h 838042"/>
                <a:gd name="connsiteX180" fmla="*/ 719162 w 1037297"/>
                <a:gd name="connsiteY180" fmla="*/ 211189 h 838042"/>
                <a:gd name="connsiteX181" fmla="*/ 713447 w 1037297"/>
                <a:gd name="connsiteY181" fmla="*/ 213094 h 838042"/>
                <a:gd name="connsiteX182" fmla="*/ 707732 w 1037297"/>
                <a:gd name="connsiteY182" fmla="*/ 216904 h 838042"/>
                <a:gd name="connsiteX183" fmla="*/ 702017 w 1037297"/>
                <a:gd name="connsiteY183" fmla="*/ 222619 h 838042"/>
                <a:gd name="connsiteX184" fmla="*/ 694397 w 1037297"/>
                <a:gd name="connsiteY184" fmla="*/ 226429 h 838042"/>
                <a:gd name="connsiteX185" fmla="*/ 652487 w 1037297"/>
                <a:gd name="connsiteY185" fmla="*/ 255004 h 838042"/>
                <a:gd name="connsiteX186" fmla="*/ 639152 w 1037297"/>
                <a:gd name="connsiteY186" fmla="*/ 266434 h 838042"/>
                <a:gd name="connsiteX187" fmla="*/ 629627 w 1037297"/>
                <a:gd name="connsiteY187" fmla="*/ 283579 h 838042"/>
                <a:gd name="connsiteX188" fmla="*/ 604862 w 1037297"/>
                <a:gd name="connsiteY188" fmla="*/ 289294 h 838042"/>
                <a:gd name="connsiteX189" fmla="*/ 591527 w 1037297"/>
                <a:gd name="connsiteY189" fmla="*/ 293104 h 838042"/>
                <a:gd name="connsiteX190" fmla="*/ 576287 w 1037297"/>
                <a:gd name="connsiteY190" fmla="*/ 291199 h 838042"/>
                <a:gd name="connsiteX191" fmla="*/ 564857 w 1037297"/>
                <a:gd name="connsiteY191" fmla="*/ 287389 h 838042"/>
                <a:gd name="connsiteX192" fmla="*/ 553427 w 1037297"/>
                <a:gd name="connsiteY192" fmla="*/ 283579 h 838042"/>
                <a:gd name="connsiteX193" fmla="*/ 541997 w 1037297"/>
                <a:gd name="connsiteY193" fmla="*/ 279769 h 838042"/>
                <a:gd name="connsiteX194" fmla="*/ 536282 w 1037297"/>
                <a:gd name="connsiteY194" fmla="*/ 277864 h 838042"/>
                <a:gd name="connsiteX195" fmla="*/ 530567 w 1037297"/>
                <a:gd name="connsiteY195" fmla="*/ 274054 h 838042"/>
                <a:gd name="connsiteX196" fmla="*/ 519137 w 1037297"/>
                <a:gd name="connsiteY196" fmla="*/ 268339 h 838042"/>
                <a:gd name="connsiteX197" fmla="*/ 511517 w 1037297"/>
                <a:gd name="connsiteY197" fmla="*/ 256909 h 838042"/>
                <a:gd name="connsiteX198" fmla="*/ 507707 w 1037297"/>
                <a:gd name="connsiteY198" fmla="*/ 235954 h 838042"/>
                <a:gd name="connsiteX199" fmla="*/ 509612 w 1037297"/>
                <a:gd name="connsiteY199" fmla="*/ 171184 h 838042"/>
                <a:gd name="connsiteX200" fmla="*/ 508314 w 1037297"/>
                <a:gd name="connsiteY200" fmla="*/ 73485 h 838042"/>
                <a:gd name="connsiteX201" fmla="*/ 454116 w 1037297"/>
                <a:gd name="connsiteY201" fmla="*/ 11248 h 838042"/>
                <a:gd name="connsiteX202" fmla="*/ 435401 w 1037297"/>
                <a:gd name="connsiteY202" fmla="*/ 68523 h 838042"/>
                <a:gd name="connsiteX203" fmla="*/ 427697 w 1037297"/>
                <a:gd name="connsiteY203" fmla="*/ 137103 h 838042"/>
                <a:gd name="connsiteX204" fmla="*/ 420077 w 1037297"/>
                <a:gd name="connsiteY204" fmla="*/ 169279 h 838042"/>
                <a:gd name="connsiteX205" fmla="*/ 416267 w 1037297"/>
                <a:gd name="connsiteY205" fmla="*/ 186424 h 838042"/>
                <a:gd name="connsiteX206" fmla="*/ 420077 w 1037297"/>
                <a:gd name="connsiteY206" fmla="*/ 207379 h 838042"/>
                <a:gd name="connsiteX207" fmla="*/ 423887 w 1037297"/>
                <a:gd name="connsiteY207" fmla="*/ 213094 h 838042"/>
                <a:gd name="connsiteX208" fmla="*/ 427697 w 1037297"/>
                <a:gd name="connsiteY208" fmla="*/ 224524 h 838042"/>
                <a:gd name="connsiteX209" fmla="*/ 425792 w 1037297"/>
                <a:gd name="connsiteY209" fmla="*/ 251194 h 838042"/>
                <a:gd name="connsiteX210" fmla="*/ 420077 w 1037297"/>
                <a:gd name="connsiteY210" fmla="*/ 253099 h 838042"/>
                <a:gd name="connsiteX211" fmla="*/ 414362 w 1037297"/>
                <a:gd name="connsiteY211" fmla="*/ 256909 h 838042"/>
                <a:gd name="connsiteX212" fmla="*/ 423887 w 1037297"/>
                <a:gd name="connsiteY21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1077 w 1037297"/>
                <a:gd name="connsiteY114" fmla="*/ 601714 h 838042"/>
                <a:gd name="connsiteX115" fmla="*/ 799172 w 1037297"/>
                <a:gd name="connsiteY115" fmla="*/ 594094 h 838042"/>
                <a:gd name="connsiteX116" fmla="*/ 785837 w 1037297"/>
                <a:gd name="connsiteY116" fmla="*/ 576949 h 838042"/>
                <a:gd name="connsiteX117" fmla="*/ 776312 w 1037297"/>
                <a:gd name="connsiteY117" fmla="*/ 571234 h 838042"/>
                <a:gd name="connsiteX118" fmla="*/ 650582 w 1037297"/>
                <a:gd name="connsiteY118" fmla="*/ 479794 h 838042"/>
                <a:gd name="connsiteX119" fmla="*/ 646772 w 1037297"/>
                <a:gd name="connsiteY119" fmla="*/ 462649 h 838042"/>
                <a:gd name="connsiteX120" fmla="*/ 648677 w 1037297"/>
                <a:gd name="connsiteY120" fmla="*/ 455029 h 838042"/>
                <a:gd name="connsiteX121" fmla="*/ 652487 w 1037297"/>
                <a:gd name="connsiteY121" fmla="*/ 437884 h 838042"/>
                <a:gd name="connsiteX122" fmla="*/ 656297 w 1037297"/>
                <a:gd name="connsiteY122" fmla="*/ 432169 h 838042"/>
                <a:gd name="connsiteX123" fmla="*/ 658202 w 1037297"/>
                <a:gd name="connsiteY123" fmla="*/ 426454 h 838042"/>
                <a:gd name="connsiteX124" fmla="*/ 663917 w 1037297"/>
                <a:gd name="connsiteY124" fmla="*/ 424549 h 838042"/>
                <a:gd name="connsiteX125" fmla="*/ 673442 w 1037297"/>
                <a:gd name="connsiteY125" fmla="*/ 413119 h 838042"/>
                <a:gd name="connsiteX126" fmla="*/ 726782 w 1037297"/>
                <a:gd name="connsiteY126" fmla="*/ 405499 h 838042"/>
                <a:gd name="connsiteX127" fmla="*/ 844892 w 1037297"/>
                <a:gd name="connsiteY127" fmla="*/ 407404 h 838042"/>
                <a:gd name="connsiteX128" fmla="*/ 873467 w 1037297"/>
                <a:gd name="connsiteY128" fmla="*/ 409309 h 838042"/>
                <a:gd name="connsiteX129" fmla="*/ 902042 w 1037297"/>
                <a:gd name="connsiteY129" fmla="*/ 415024 h 838042"/>
                <a:gd name="connsiteX130" fmla="*/ 924902 w 1037297"/>
                <a:gd name="connsiteY130" fmla="*/ 418834 h 838042"/>
                <a:gd name="connsiteX131" fmla="*/ 953477 w 1037297"/>
                <a:gd name="connsiteY131" fmla="*/ 424549 h 838042"/>
                <a:gd name="connsiteX132" fmla="*/ 959192 w 1037297"/>
                <a:gd name="connsiteY132" fmla="*/ 424549 h 838042"/>
                <a:gd name="connsiteX133" fmla="*/ 1004912 w 1037297"/>
                <a:gd name="connsiteY133" fmla="*/ 422644 h 838042"/>
                <a:gd name="connsiteX134" fmla="*/ 1033487 w 1037297"/>
                <a:gd name="connsiteY134" fmla="*/ 415024 h 838042"/>
                <a:gd name="connsiteX135" fmla="*/ 1037297 w 1037297"/>
                <a:gd name="connsiteY135" fmla="*/ 409309 h 838042"/>
                <a:gd name="connsiteX136" fmla="*/ 1035392 w 1037297"/>
                <a:gd name="connsiteY136" fmla="*/ 390259 h 838042"/>
                <a:gd name="connsiteX137" fmla="*/ 1029677 w 1037297"/>
                <a:gd name="connsiteY137" fmla="*/ 386449 h 838042"/>
                <a:gd name="connsiteX138" fmla="*/ 1014437 w 1037297"/>
                <a:gd name="connsiteY138" fmla="*/ 384544 h 838042"/>
                <a:gd name="connsiteX139" fmla="*/ 1008722 w 1037297"/>
                <a:gd name="connsiteY139" fmla="*/ 382639 h 838042"/>
                <a:gd name="connsiteX140" fmla="*/ 1001102 w 1037297"/>
                <a:gd name="connsiteY140" fmla="*/ 380734 h 838042"/>
                <a:gd name="connsiteX141" fmla="*/ 989672 w 1037297"/>
                <a:gd name="connsiteY141" fmla="*/ 373114 h 838042"/>
                <a:gd name="connsiteX142" fmla="*/ 978242 w 1037297"/>
                <a:gd name="connsiteY142" fmla="*/ 369304 h 838042"/>
                <a:gd name="connsiteX143" fmla="*/ 972527 w 1037297"/>
                <a:gd name="connsiteY143" fmla="*/ 367399 h 838042"/>
                <a:gd name="connsiteX144" fmla="*/ 964907 w 1037297"/>
                <a:gd name="connsiteY144" fmla="*/ 365494 h 838042"/>
                <a:gd name="connsiteX145" fmla="*/ 959192 w 1037297"/>
                <a:gd name="connsiteY145" fmla="*/ 363589 h 838042"/>
                <a:gd name="connsiteX146" fmla="*/ 938237 w 1037297"/>
                <a:gd name="connsiteY146" fmla="*/ 357874 h 838042"/>
                <a:gd name="connsiteX147" fmla="*/ 932522 w 1037297"/>
                <a:gd name="connsiteY147" fmla="*/ 355969 h 838042"/>
                <a:gd name="connsiteX148" fmla="*/ 827747 w 1037297"/>
                <a:gd name="connsiteY148" fmla="*/ 357874 h 838042"/>
                <a:gd name="connsiteX149" fmla="*/ 822032 w 1037297"/>
                <a:gd name="connsiteY149" fmla="*/ 359779 h 838042"/>
                <a:gd name="connsiteX150" fmla="*/ 732497 w 1037297"/>
                <a:gd name="connsiteY150" fmla="*/ 361684 h 838042"/>
                <a:gd name="connsiteX151" fmla="*/ 719162 w 1037297"/>
                <a:gd name="connsiteY151" fmla="*/ 365494 h 838042"/>
                <a:gd name="connsiteX152" fmla="*/ 698207 w 1037297"/>
                <a:gd name="connsiteY152" fmla="*/ 367399 h 838042"/>
                <a:gd name="connsiteX153" fmla="*/ 671537 w 1037297"/>
                <a:gd name="connsiteY153" fmla="*/ 369304 h 838042"/>
                <a:gd name="connsiteX154" fmla="*/ 671537 w 1037297"/>
                <a:gd name="connsiteY154" fmla="*/ 369304 h 838042"/>
                <a:gd name="connsiteX155" fmla="*/ 648677 w 1037297"/>
                <a:gd name="connsiteY155" fmla="*/ 373114 h 838042"/>
                <a:gd name="connsiteX156" fmla="*/ 644867 w 1037297"/>
                <a:gd name="connsiteY156" fmla="*/ 361684 h 838042"/>
                <a:gd name="connsiteX157" fmla="*/ 642962 w 1037297"/>
                <a:gd name="connsiteY157" fmla="*/ 355969 h 838042"/>
                <a:gd name="connsiteX158" fmla="*/ 644867 w 1037297"/>
                <a:gd name="connsiteY158" fmla="*/ 338824 h 838042"/>
                <a:gd name="connsiteX159" fmla="*/ 646772 w 1037297"/>
                <a:gd name="connsiteY159" fmla="*/ 333109 h 838042"/>
                <a:gd name="connsiteX160" fmla="*/ 663917 w 1037297"/>
                <a:gd name="connsiteY160" fmla="*/ 323584 h 838042"/>
                <a:gd name="connsiteX161" fmla="*/ 675347 w 1037297"/>
                <a:gd name="connsiteY161" fmla="*/ 315964 h 838042"/>
                <a:gd name="connsiteX162" fmla="*/ 677252 w 1037297"/>
                <a:gd name="connsiteY162" fmla="*/ 310249 h 838042"/>
                <a:gd name="connsiteX163" fmla="*/ 682967 w 1037297"/>
                <a:gd name="connsiteY163" fmla="*/ 308344 h 838042"/>
                <a:gd name="connsiteX164" fmla="*/ 688682 w 1037297"/>
                <a:gd name="connsiteY164" fmla="*/ 304534 h 838042"/>
                <a:gd name="connsiteX165" fmla="*/ 698207 w 1037297"/>
                <a:gd name="connsiteY165" fmla="*/ 295009 h 838042"/>
                <a:gd name="connsiteX166" fmla="*/ 707732 w 1037297"/>
                <a:gd name="connsiteY166" fmla="*/ 283579 h 838042"/>
                <a:gd name="connsiteX167" fmla="*/ 719162 w 1037297"/>
                <a:gd name="connsiteY167" fmla="*/ 275959 h 838042"/>
                <a:gd name="connsiteX168" fmla="*/ 734402 w 1037297"/>
                <a:gd name="connsiteY168" fmla="*/ 262624 h 838042"/>
                <a:gd name="connsiteX169" fmla="*/ 743927 w 1037297"/>
                <a:gd name="connsiteY169" fmla="*/ 251194 h 838042"/>
                <a:gd name="connsiteX170" fmla="*/ 755357 w 1037297"/>
                <a:gd name="connsiteY170" fmla="*/ 241669 h 838042"/>
                <a:gd name="connsiteX171" fmla="*/ 761072 w 1037297"/>
                <a:gd name="connsiteY171" fmla="*/ 230239 h 838042"/>
                <a:gd name="connsiteX172" fmla="*/ 762977 w 1037297"/>
                <a:gd name="connsiteY172" fmla="*/ 224524 h 838042"/>
                <a:gd name="connsiteX173" fmla="*/ 768692 w 1037297"/>
                <a:gd name="connsiteY173" fmla="*/ 213094 h 838042"/>
                <a:gd name="connsiteX174" fmla="*/ 766787 w 1037297"/>
                <a:gd name="connsiteY174" fmla="*/ 197854 h 838042"/>
                <a:gd name="connsiteX175" fmla="*/ 761072 w 1037297"/>
                <a:gd name="connsiteY175" fmla="*/ 195949 h 838042"/>
                <a:gd name="connsiteX176" fmla="*/ 740117 w 1037297"/>
                <a:gd name="connsiteY176" fmla="*/ 197854 h 838042"/>
                <a:gd name="connsiteX177" fmla="*/ 734402 w 1037297"/>
                <a:gd name="connsiteY177" fmla="*/ 201664 h 838042"/>
                <a:gd name="connsiteX178" fmla="*/ 722972 w 1037297"/>
                <a:gd name="connsiteY178" fmla="*/ 205474 h 838042"/>
                <a:gd name="connsiteX179" fmla="*/ 719162 w 1037297"/>
                <a:gd name="connsiteY179" fmla="*/ 211189 h 838042"/>
                <a:gd name="connsiteX180" fmla="*/ 713447 w 1037297"/>
                <a:gd name="connsiteY180" fmla="*/ 213094 h 838042"/>
                <a:gd name="connsiteX181" fmla="*/ 707732 w 1037297"/>
                <a:gd name="connsiteY181" fmla="*/ 216904 h 838042"/>
                <a:gd name="connsiteX182" fmla="*/ 702017 w 1037297"/>
                <a:gd name="connsiteY182" fmla="*/ 222619 h 838042"/>
                <a:gd name="connsiteX183" fmla="*/ 694397 w 1037297"/>
                <a:gd name="connsiteY183" fmla="*/ 226429 h 838042"/>
                <a:gd name="connsiteX184" fmla="*/ 652487 w 1037297"/>
                <a:gd name="connsiteY184" fmla="*/ 255004 h 838042"/>
                <a:gd name="connsiteX185" fmla="*/ 639152 w 1037297"/>
                <a:gd name="connsiteY185" fmla="*/ 266434 h 838042"/>
                <a:gd name="connsiteX186" fmla="*/ 629627 w 1037297"/>
                <a:gd name="connsiteY186" fmla="*/ 283579 h 838042"/>
                <a:gd name="connsiteX187" fmla="*/ 604862 w 1037297"/>
                <a:gd name="connsiteY187" fmla="*/ 289294 h 838042"/>
                <a:gd name="connsiteX188" fmla="*/ 591527 w 1037297"/>
                <a:gd name="connsiteY188" fmla="*/ 293104 h 838042"/>
                <a:gd name="connsiteX189" fmla="*/ 576287 w 1037297"/>
                <a:gd name="connsiteY189" fmla="*/ 291199 h 838042"/>
                <a:gd name="connsiteX190" fmla="*/ 564857 w 1037297"/>
                <a:gd name="connsiteY190" fmla="*/ 287389 h 838042"/>
                <a:gd name="connsiteX191" fmla="*/ 553427 w 1037297"/>
                <a:gd name="connsiteY191" fmla="*/ 283579 h 838042"/>
                <a:gd name="connsiteX192" fmla="*/ 541997 w 1037297"/>
                <a:gd name="connsiteY192" fmla="*/ 279769 h 838042"/>
                <a:gd name="connsiteX193" fmla="*/ 536282 w 1037297"/>
                <a:gd name="connsiteY193" fmla="*/ 277864 h 838042"/>
                <a:gd name="connsiteX194" fmla="*/ 530567 w 1037297"/>
                <a:gd name="connsiteY194" fmla="*/ 274054 h 838042"/>
                <a:gd name="connsiteX195" fmla="*/ 519137 w 1037297"/>
                <a:gd name="connsiteY195" fmla="*/ 268339 h 838042"/>
                <a:gd name="connsiteX196" fmla="*/ 511517 w 1037297"/>
                <a:gd name="connsiteY196" fmla="*/ 256909 h 838042"/>
                <a:gd name="connsiteX197" fmla="*/ 507707 w 1037297"/>
                <a:gd name="connsiteY197" fmla="*/ 235954 h 838042"/>
                <a:gd name="connsiteX198" fmla="*/ 509612 w 1037297"/>
                <a:gd name="connsiteY198" fmla="*/ 171184 h 838042"/>
                <a:gd name="connsiteX199" fmla="*/ 508314 w 1037297"/>
                <a:gd name="connsiteY199" fmla="*/ 73485 h 838042"/>
                <a:gd name="connsiteX200" fmla="*/ 454116 w 1037297"/>
                <a:gd name="connsiteY200" fmla="*/ 11248 h 838042"/>
                <a:gd name="connsiteX201" fmla="*/ 435401 w 1037297"/>
                <a:gd name="connsiteY201" fmla="*/ 68523 h 838042"/>
                <a:gd name="connsiteX202" fmla="*/ 427697 w 1037297"/>
                <a:gd name="connsiteY202" fmla="*/ 137103 h 838042"/>
                <a:gd name="connsiteX203" fmla="*/ 420077 w 1037297"/>
                <a:gd name="connsiteY203" fmla="*/ 169279 h 838042"/>
                <a:gd name="connsiteX204" fmla="*/ 416267 w 1037297"/>
                <a:gd name="connsiteY204" fmla="*/ 186424 h 838042"/>
                <a:gd name="connsiteX205" fmla="*/ 420077 w 1037297"/>
                <a:gd name="connsiteY205" fmla="*/ 207379 h 838042"/>
                <a:gd name="connsiteX206" fmla="*/ 423887 w 1037297"/>
                <a:gd name="connsiteY206" fmla="*/ 213094 h 838042"/>
                <a:gd name="connsiteX207" fmla="*/ 427697 w 1037297"/>
                <a:gd name="connsiteY207" fmla="*/ 224524 h 838042"/>
                <a:gd name="connsiteX208" fmla="*/ 425792 w 1037297"/>
                <a:gd name="connsiteY208" fmla="*/ 251194 h 838042"/>
                <a:gd name="connsiteX209" fmla="*/ 420077 w 1037297"/>
                <a:gd name="connsiteY209" fmla="*/ 253099 h 838042"/>
                <a:gd name="connsiteX210" fmla="*/ 414362 w 1037297"/>
                <a:gd name="connsiteY210" fmla="*/ 256909 h 838042"/>
                <a:gd name="connsiteX211" fmla="*/ 423887 w 1037297"/>
                <a:gd name="connsiteY211"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1077 w 1037297"/>
                <a:gd name="connsiteY114" fmla="*/ 601714 h 838042"/>
                <a:gd name="connsiteX115" fmla="*/ 785837 w 1037297"/>
                <a:gd name="connsiteY115" fmla="*/ 576949 h 838042"/>
                <a:gd name="connsiteX116" fmla="*/ 776312 w 1037297"/>
                <a:gd name="connsiteY116" fmla="*/ 571234 h 838042"/>
                <a:gd name="connsiteX117" fmla="*/ 650582 w 1037297"/>
                <a:gd name="connsiteY117" fmla="*/ 479794 h 838042"/>
                <a:gd name="connsiteX118" fmla="*/ 646772 w 1037297"/>
                <a:gd name="connsiteY118" fmla="*/ 462649 h 838042"/>
                <a:gd name="connsiteX119" fmla="*/ 648677 w 1037297"/>
                <a:gd name="connsiteY119" fmla="*/ 455029 h 838042"/>
                <a:gd name="connsiteX120" fmla="*/ 652487 w 1037297"/>
                <a:gd name="connsiteY120" fmla="*/ 437884 h 838042"/>
                <a:gd name="connsiteX121" fmla="*/ 656297 w 1037297"/>
                <a:gd name="connsiteY121" fmla="*/ 432169 h 838042"/>
                <a:gd name="connsiteX122" fmla="*/ 658202 w 1037297"/>
                <a:gd name="connsiteY122" fmla="*/ 426454 h 838042"/>
                <a:gd name="connsiteX123" fmla="*/ 663917 w 1037297"/>
                <a:gd name="connsiteY123" fmla="*/ 424549 h 838042"/>
                <a:gd name="connsiteX124" fmla="*/ 673442 w 1037297"/>
                <a:gd name="connsiteY124" fmla="*/ 413119 h 838042"/>
                <a:gd name="connsiteX125" fmla="*/ 726782 w 1037297"/>
                <a:gd name="connsiteY125" fmla="*/ 405499 h 838042"/>
                <a:gd name="connsiteX126" fmla="*/ 844892 w 1037297"/>
                <a:gd name="connsiteY126" fmla="*/ 407404 h 838042"/>
                <a:gd name="connsiteX127" fmla="*/ 873467 w 1037297"/>
                <a:gd name="connsiteY127" fmla="*/ 409309 h 838042"/>
                <a:gd name="connsiteX128" fmla="*/ 902042 w 1037297"/>
                <a:gd name="connsiteY128" fmla="*/ 415024 h 838042"/>
                <a:gd name="connsiteX129" fmla="*/ 924902 w 1037297"/>
                <a:gd name="connsiteY129" fmla="*/ 418834 h 838042"/>
                <a:gd name="connsiteX130" fmla="*/ 953477 w 1037297"/>
                <a:gd name="connsiteY130" fmla="*/ 424549 h 838042"/>
                <a:gd name="connsiteX131" fmla="*/ 959192 w 1037297"/>
                <a:gd name="connsiteY131" fmla="*/ 424549 h 838042"/>
                <a:gd name="connsiteX132" fmla="*/ 1004912 w 1037297"/>
                <a:gd name="connsiteY132" fmla="*/ 422644 h 838042"/>
                <a:gd name="connsiteX133" fmla="*/ 1033487 w 1037297"/>
                <a:gd name="connsiteY133" fmla="*/ 415024 h 838042"/>
                <a:gd name="connsiteX134" fmla="*/ 1037297 w 1037297"/>
                <a:gd name="connsiteY134" fmla="*/ 409309 h 838042"/>
                <a:gd name="connsiteX135" fmla="*/ 1035392 w 1037297"/>
                <a:gd name="connsiteY135" fmla="*/ 390259 h 838042"/>
                <a:gd name="connsiteX136" fmla="*/ 1029677 w 1037297"/>
                <a:gd name="connsiteY136" fmla="*/ 386449 h 838042"/>
                <a:gd name="connsiteX137" fmla="*/ 1014437 w 1037297"/>
                <a:gd name="connsiteY137" fmla="*/ 384544 h 838042"/>
                <a:gd name="connsiteX138" fmla="*/ 1008722 w 1037297"/>
                <a:gd name="connsiteY138" fmla="*/ 382639 h 838042"/>
                <a:gd name="connsiteX139" fmla="*/ 1001102 w 1037297"/>
                <a:gd name="connsiteY139" fmla="*/ 380734 h 838042"/>
                <a:gd name="connsiteX140" fmla="*/ 989672 w 1037297"/>
                <a:gd name="connsiteY140" fmla="*/ 373114 h 838042"/>
                <a:gd name="connsiteX141" fmla="*/ 978242 w 1037297"/>
                <a:gd name="connsiteY141" fmla="*/ 369304 h 838042"/>
                <a:gd name="connsiteX142" fmla="*/ 972527 w 1037297"/>
                <a:gd name="connsiteY142" fmla="*/ 367399 h 838042"/>
                <a:gd name="connsiteX143" fmla="*/ 964907 w 1037297"/>
                <a:gd name="connsiteY143" fmla="*/ 365494 h 838042"/>
                <a:gd name="connsiteX144" fmla="*/ 959192 w 1037297"/>
                <a:gd name="connsiteY144" fmla="*/ 363589 h 838042"/>
                <a:gd name="connsiteX145" fmla="*/ 938237 w 1037297"/>
                <a:gd name="connsiteY145" fmla="*/ 357874 h 838042"/>
                <a:gd name="connsiteX146" fmla="*/ 932522 w 1037297"/>
                <a:gd name="connsiteY146" fmla="*/ 355969 h 838042"/>
                <a:gd name="connsiteX147" fmla="*/ 827747 w 1037297"/>
                <a:gd name="connsiteY147" fmla="*/ 357874 h 838042"/>
                <a:gd name="connsiteX148" fmla="*/ 822032 w 1037297"/>
                <a:gd name="connsiteY148" fmla="*/ 359779 h 838042"/>
                <a:gd name="connsiteX149" fmla="*/ 732497 w 1037297"/>
                <a:gd name="connsiteY149" fmla="*/ 361684 h 838042"/>
                <a:gd name="connsiteX150" fmla="*/ 719162 w 1037297"/>
                <a:gd name="connsiteY150" fmla="*/ 365494 h 838042"/>
                <a:gd name="connsiteX151" fmla="*/ 698207 w 1037297"/>
                <a:gd name="connsiteY151" fmla="*/ 367399 h 838042"/>
                <a:gd name="connsiteX152" fmla="*/ 671537 w 1037297"/>
                <a:gd name="connsiteY152" fmla="*/ 369304 h 838042"/>
                <a:gd name="connsiteX153" fmla="*/ 671537 w 1037297"/>
                <a:gd name="connsiteY153" fmla="*/ 369304 h 838042"/>
                <a:gd name="connsiteX154" fmla="*/ 648677 w 1037297"/>
                <a:gd name="connsiteY154" fmla="*/ 373114 h 838042"/>
                <a:gd name="connsiteX155" fmla="*/ 644867 w 1037297"/>
                <a:gd name="connsiteY155" fmla="*/ 361684 h 838042"/>
                <a:gd name="connsiteX156" fmla="*/ 642962 w 1037297"/>
                <a:gd name="connsiteY156" fmla="*/ 355969 h 838042"/>
                <a:gd name="connsiteX157" fmla="*/ 644867 w 1037297"/>
                <a:gd name="connsiteY157" fmla="*/ 338824 h 838042"/>
                <a:gd name="connsiteX158" fmla="*/ 646772 w 1037297"/>
                <a:gd name="connsiteY158" fmla="*/ 333109 h 838042"/>
                <a:gd name="connsiteX159" fmla="*/ 663917 w 1037297"/>
                <a:gd name="connsiteY159" fmla="*/ 323584 h 838042"/>
                <a:gd name="connsiteX160" fmla="*/ 675347 w 1037297"/>
                <a:gd name="connsiteY160" fmla="*/ 315964 h 838042"/>
                <a:gd name="connsiteX161" fmla="*/ 677252 w 1037297"/>
                <a:gd name="connsiteY161" fmla="*/ 310249 h 838042"/>
                <a:gd name="connsiteX162" fmla="*/ 682967 w 1037297"/>
                <a:gd name="connsiteY162" fmla="*/ 308344 h 838042"/>
                <a:gd name="connsiteX163" fmla="*/ 688682 w 1037297"/>
                <a:gd name="connsiteY163" fmla="*/ 304534 h 838042"/>
                <a:gd name="connsiteX164" fmla="*/ 698207 w 1037297"/>
                <a:gd name="connsiteY164" fmla="*/ 295009 h 838042"/>
                <a:gd name="connsiteX165" fmla="*/ 707732 w 1037297"/>
                <a:gd name="connsiteY165" fmla="*/ 283579 h 838042"/>
                <a:gd name="connsiteX166" fmla="*/ 719162 w 1037297"/>
                <a:gd name="connsiteY166" fmla="*/ 275959 h 838042"/>
                <a:gd name="connsiteX167" fmla="*/ 734402 w 1037297"/>
                <a:gd name="connsiteY167" fmla="*/ 262624 h 838042"/>
                <a:gd name="connsiteX168" fmla="*/ 743927 w 1037297"/>
                <a:gd name="connsiteY168" fmla="*/ 251194 h 838042"/>
                <a:gd name="connsiteX169" fmla="*/ 755357 w 1037297"/>
                <a:gd name="connsiteY169" fmla="*/ 241669 h 838042"/>
                <a:gd name="connsiteX170" fmla="*/ 761072 w 1037297"/>
                <a:gd name="connsiteY170" fmla="*/ 230239 h 838042"/>
                <a:gd name="connsiteX171" fmla="*/ 762977 w 1037297"/>
                <a:gd name="connsiteY171" fmla="*/ 224524 h 838042"/>
                <a:gd name="connsiteX172" fmla="*/ 768692 w 1037297"/>
                <a:gd name="connsiteY172" fmla="*/ 213094 h 838042"/>
                <a:gd name="connsiteX173" fmla="*/ 766787 w 1037297"/>
                <a:gd name="connsiteY173" fmla="*/ 197854 h 838042"/>
                <a:gd name="connsiteX174" fmla="*/ 761072 w 1037297"/>
                <a:gd name="connsiteY174" fmla="*/ 195949 h 838042"/>
                <a:gd name="connsiteX175" fmla="*/ 740117 w 1037297"/>
                <a:gd name="connsiteY175" fmla="*/ 197854 h 838042"/>
                <a:gd name="connsiteX176" fmla="*/ 734402 w 1037297"/>
                <a:gd name="connsiteY176" fmla="*/ 201664 h 838042"/>
                <a:gd name="connsiteX177" fmla="*/ 722972 w 1037297"/>
                <a:gd name="connsiteY177" fmla="*/ 205474 h 838042"/>
                <a:gd name="connsiteX178" fmla="*/ 719162 w 1037297"/>
                <a:gd name="connsiteY178" fmla="*/ 211189 h 838042"/>
                <a:gd name="connsiteX179" fmla="*/ 713447 w 1037297"/>
                <a:gd name="connsiteY179" fmla="*/ 213094 h 838042"/>
                <a:gd name="connsiteX180" fmla="*/ 707732 w 1037297"/>
                <a:gd name="connsiteY180" fmla="*/ 216904 h 838042"/>
                <a:gd name="connsiteX181" fmla="*/ 702017 w 1037297"/>
                <a:gd name="connsiteY181" fmla="*/ 222619 h 838042"/>
                <a:gd name="connsiteX182" fmla="*/ 694397 w 1037297"/>
                <a:gd name="connsiteY182" fmla="*/ 226429 h 838042"/>
                <a:gd name="connsiteX183" fmla="*/ 652487 w 1037297"/>
                <a:gd name="connsiteY183" fmla="*/ 255004 h 838042"/>
                <a:gd name="connsiteX184" fmla="*/ 639152 w 1037297"/>
                <a:gd name="connsiteY184" fmla="*/ 266434 h 838042"/>
                <a:gd name="connsiteX185" fmla="*/ 629627 w 1037297"/>
                <a:gd name="connsiteY185" fmla="*/ 283579 h 838042"/>
                <a:gd name="connsiteX186" fmla="*/ 604862 w 1037297"/>
                <a:gd name="connsiteY186" fmla="*/ 289294 h 838042"/>
                <a:gd name="connsiteX187" fmla="*/ 591527 w 1037297"/>
                <a:gd name="connsiteY187" fmla="*/ 293104 h 838042"/>
                <a:gd name="connsiteX188" fmla="*/ 576287 w 1037297"/>
                <a:gd name="connsiteY188" fmla="*/ 291199 h 838042"/>
                <a:gd name="connsiteX189" fmla="*/ 564857 w 1037297"/>
                <a:gd name="connsiteY189" fmla="*/ 287389 h 838042"/>
                <a:gd name="connsiteX190" fmla="*/ 553427 w 1037297"/>
                <a:gd name="connsiteY190" fmla="*/ 283579 h 838042"/>
                <a:gd name="connsiteX191" fmla="*/ 541997 w 1037297"/>
                <a:gd name="connsiteY191" fmla="*/ 279769 h 838042"/>
                <a:gd name="connsiteX192" fmla="*/ 536282 w 1037297"/>
                <a:gd name="connsiteY192" fmla="*/ 277864 h 838042"/>
                <a:gd name="connsiteX193" fmla="*/ 530567 w 1037297"/>
                <a:gd name="connsiteY193" fmla="*/ 274054 h 838042"/>
                <a:gd name="connsiteX194" fmla="*/ 519137 w 1037297"/>
                <a:gd name="connsiteY194" fmla="*/ 268339 h 838042"/>
                <a:gd name="connsiteX195" fmla="*/ 511517 w 1037297"/>
                <a:gd name="connsiteY195" fmla="*/ 256909 h 838042"/>
                <a:gd name="connsiteX196" fmla="*/ 507707 w 1037297"/>
                <a:gd name="connsiteY196" fmla="*/ 235954 h 838042"/>
                <a:gd name="connsiteX197" fmla="*/ 509612 w 1037297"/>
                <a:gd name="connsiteY197" fmla="*/ 171184 h 838042"/>
                <a:gd name="connsiteX198" fmla="*/ 508314 w 1037297"/>
                <a:gd name="connsiteY198" fmla="*/ 73485 h 838042"/>
                <a:gd name="connsiteX199" fmla="*/ 454116 w 1037297"/>
                <a:gd name="connsiteY199" fmla="*/ 11248 h 838042"/>
                <a:gd name="connsiteX200" fmla="*/ 435401 w 1037297"/>
                <a:gd name="connsiteY200" fmla="*/ 68523 h 838042"/>
                <a:gd name="connsiteX201" fmla="*/ 427697 w 1037297"/>
                <a:gd name="connsiteY201" fmla="*/ 137103 h 838042"/>
                <a:gd name="connsiteX202" fmla="*/ 420077 w 1037297"/>
                <a:gd name="connsiteY202" fmla="*/ 169279 h 838042"/>
                <a:gd name="connsiteX203" fmla="*/ 416267 w 1037297"/>
                <a:gd name="connsiteY203" fmla="*/ 186424 h 838042"/>
                <a:gd name="connsiteX204" fmla="*/ 420077 w 1037297"/>
                <a:gd name="connsiteY204" fmla="*/ 207379 h 838042"/>
                <a:gd name="connsiteX205" fmla="*/ 423887 w 1037297"/>
                <a:gd name="connsiteY205" fmla="*/ 213094 h 838042"/>
                <a:gd name="connsiteX206" fmla="*/ 427697 w 1037297"/>
                <a:gd name="connsiteY206" fmla="*/ 224524 h 838042"/>
                <a:gd name="connsiteX207" fmla="*/ 425792 w 1037297"/>
                <a:gd name="connsiteY207" fmla="*/ 251194 h 838042"/>
                <a:gd name="connsiteX208" fmla="*/ 420077 w 1037297"/>
                <a:gd name="connsiteY208" fmla="*/ 253099 h 838042"/>
                <a:gd name="connsiteX209" fmla="*/ 414362 w 1037297"/>
                <a:gd name="connsiteY209" fmla="*/ 256909 h 838042"/>
                <a:gd name="connsiteX210" fmla="*/ 423887 w 1037297"/>
                <a:gd name="connsiteY210"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797267 w 1037297"/>
                <a:gd name="connsiteY112" fmla="*/ 649339 h 838042"/>
                <a:gd name="connsiteX113" fmla="*/ 804887 w 1037297"/>
                <a:gd name="connsiteY113" fmla="*/ 632194 h 838042"/>
                <a:gd name="connsiteX114" fmla="*/ 801077 w 1037297"/>
                <a:gd name="connsiteY114" fmla="*/ 601714 h 838042"/>
                <a:gd name="connsiteX115" fmla="*/ 785837 w 1037297"/>
                <a:gd name="connsiteY115" fmla="*/ 576949 h 838042"/>
                <a:gd name="connsiteX116" fmla="*/ 650582 w 1037297"/>
                <a:gd name="connsiteY116" fmla="*/ 479794 h 838042"/>
                <a:gd name="connsiteX117" fmla="*/ 646772 w 1037297"/>
                <a:gd name="connsiteY117" fmla="*/ 462649 h 838042"/>
                <a:gd name="connsiteX118" fmla="*/ 648677 w 1037297"/>
                <a:gd name="connsiteY118" fmla="*/ 455029 h 838042"/>
                <a:gd name="connsiteX119" fmla="*/ 652487 w 1037297"/>
                <a:gd name="connsiteY119" fmla="*/ 437884 h 838042"/>
                <a:gd name="connsiteX120" fmla="*/ 656297 w 1037297"/>
                <a:gd name="connsiteY120" fmla="*/ 432169 h 838042"/>
                <a:gd name="connsiteX121" fmla="*/ 658202 w 1037297"/>
                <a:gd name="connsiteY121" fmla="*/ 426454 h 838042"/>
                <a:gd name="connsiteX122" fmla="*/ 663917 w 1037297"/>
                <a:gd name="connsiteY122" fmla="*/ 424549 h 838042"/>
                <a:gd name="connsiteX123" fmla="*/ 673442 w 1037297"/>
                <a:gd name="connsiteY123" fmla="*/ 413119 h 838042"/>
                <a:gd name="connsiteX124" fmla="*/ 726782 w 1037297"/>
                <a:gd name="connsiteY124" fmla="*/ 405499 h 838042"/>
                <a:gd name="connsiteX125" fmla="*/ 844892 w 1037297"/>
                <a:gd name="connsiteY125" fmla="*/ 407404 h 838042"/>
                <a:gd name="connsiteX126" fmla="*/ 873467 w 1037297"/>
                <a:gd name="connsiteY126" fmla="*/ 409309 h 838042"/>
                <a:gd name="connsiteX127" fmla="*/ 902042 w 1037297"/>
                <a:gd name="connsiteY127" fmla="*/ 415024 h 838042"/>
                <a:gd name="connsiteX128" fmla="*/ 924902 w 1037297"/>
                <a:gd name="connsiteY128" fmla="*/ 418834 h 838042"/>
                <a:gd name="connsiteX129" fmla="*/ 953477 w 1037297"/>
                <a:gd name="connsiteY129" fmla="*/ 424549 h 838042"/>
                <a:gd name="connsiteX130" fmla="*/ 959192 w 1037297"/>
                <a:gd name="connsiteY130" fmla="*/ 424549 h 838042"/>
                <a:gd name="connsiteX131" fmla="*/ 1004912 w 1037297"/>
                <a:gd name="connsiteY131" fmla="*/ 422644 h 838042"/>
                <a:gd name="connsiteX132" fmla="*/ 1033487 w 1037297"/>
                <a:gd name="connsiteY132" fmla="*/ 415024 h 838042"/>
                <a:gd name="connsiteX133" fmla="*/ 1037297 w 1037297"/>
                <a:gd name="connsiteY133" fmla="*/ 409309 h 838042"/>
                <a:gd name="connsiteX134" fmla="*/ 1035392 w 1037297"/>
                <a:gd name="connsiteY134" fmla="*/ 390259 h 838042"/>
                <a:gd name="connsiteX135" fmla="*/ 1029677 w 1037297"/>
                <a:gd name="connsiteY135" fmla="*/ 386449 h 838042"/>
                <a:gd name="connsiteX136" fmla="*/ 1014437 w 1037297"/>
                <a:gd name="connsiteY136" fmla="*/ 384544 h 838042"/>
                <a:gd name="connsiteX137" fmla="*/ 1008722 w 1037297"/>
                <a:gd name="connsiteY137" fmla="*/ 382639 h 838042"/>
                <a:gd name="connsiteX138" fmla="*/ 1001102 w 1037297"/>
                <a:gd name="connsiteY138" fmla="*/ 380734 h 838042"/>
                <a:gd name="connsiteX139" fmla="*/ 989672 w 1037297"/>
                <a:gd name="connsiteY139" fmla="*/ 373114 h 838042"/>
                <a:gd name="connsiteX140" fmla="*/ 978242 w 1037297"/>
                <a:gd name="connsiteY140" fmla="*/ 369304 h 838042"/>
                <a:gd name="connsiteX141" fmla="*/ 972527 w 1037297"/>
                <a:gd name="connsiteY141" fmla="*/ 367399 h 838042"/>
                <a:gd name="connsiteX142" fmla="*/ 964907 w 1037297"/>
                <a:gd name="connsiteY142" fmla="*/ 365494 h 838042"/>
                <a:gd name="connsiteX143" fmla="*/ 959192 w 1037297"/>
                <a:gd name="connsiteY143" fmla="*/ 363589 h 838042"/>
                <a:gd name="connsiteX144" fmla="*/ 938237 w 1037297"/>
                <a:gd name="connsiteY144" fmla="*/ 357874 h 838042"/>
                <a:gd name="connsiteX145" fmla="*/ 932522 w 1037297"/>
                <a:gd name="connsiteY145" fmla="*/ 355969 h 838042"/>
                <a:gd name="connsiteX146" fmla="*/ 827747 w 1037297"/>
                <a:gd name="connsiteY146" fmla="*/ 357874 h 838042"/>
                <a:gd name="connsiteX147" fmla="*/ 822032 w 1037297"/>
                <a:gd name="connsiteY147" fmla="*/ 359779 h 838042"/>
                <a:gd name="connsiteX148" fmla="*/ 732497 w 1037297"/>
                <a:gd name="connsiteY148" fmla="*/ 361684 h 838042"/>
                <a:gd name="connsiteX149" fmla="*/ 719162 w 1037297"/>
                <a:gd name="connsiteY149" fmla="*/ 365494 h 838042"/>
                <a:gd name="connsiteX150" fmla="*/ 698207 w 1037297"/>
                <a:gd name="connsiteY150" fmla="*/ 367399 h 838042"/>
                <a:gd name="connsiteX151" fmla="*/ 671537 w 1037297"/>
                <a:gd name="connsiteY151" fmla="*/ 369304 h 838042"/>
                <a:gd name="connsiteX152" fmla="*/ 671537 w 1037297"/>
                <a:gd name="connsiteY152" fmla="*/ 369304 h 838042"/>
                <a:gd name="connsiteX153" fmla="*/ 648677 w 1037297"/>
                <a:gd name="connsiteY153" fmla="*/ 373114 h 838042"/>
                <a:gd name="connsiteX154" fmla="*/ 644867 w 1037297"/>
                <a:gd name="connsiteY154" fmla="*/ 361684 h 838042"/>
                <a:gd name="connsiteX155" fmla="*/ 642962 w 1037297"/>
                <a:gd name="connsiteY155" fmla="*/ 355969 h 838042"/>
                <a:gd name="connsiteX156" fmla="*/ 644867 w 1037297"/>
                <a:gd name="connsiteY156" fmla="*/ 338824 h 838042"/>
                <a:gd name="connsiteX157" fmla="*/ 646772 w 1037297"/>
                <a:gd name="connsiteY157" fmla="*/ 333109 h 838042"/>
                <a:gd name="connsiteX158" fmla="*/ 663917 w 1037297"/>
                <a:gd name="connsiteY158" fmla="*/ 323584 h 838042"/>
                <a:gd name="connsiteX159" fmla="*/ 675347 w 1037297"/>
                <a:gd name="connsiteY159" fmla="*/ 315964 h 838042"/>
                <a:gd name="connsiteX160" fmla="*/ 677252 w 1037297"/>
                <a:gd name="connsiteY160" fmla="*/ 310249 h 838042"/>
                <a:gd name="connsiteX161" fmla="*/ 682967 w 1037297"/>
                <a:gd name="connsiteY161" fmla="*/ 308344 h 838042"/>
                <a:gd name="connsiteX162" fmla="*/ 688682 w 1037297"/>
                <a:gd name="connsiteY162" fmla="*/ 304534 h 838042"/>
                <a:gd name="connsiteX163" fmla="*/ 698207 w 1037297"/>
                <a:gd name="connsiteY163" fmla="*/ 295009 h 838042"/>
                <a:gd name="connsiteX164" fmla="*/ 707732 w 1037297"/>
                <a:gd name="connsiteY164" fmla="*/ 283579 h 838042"/>
                <a:gd name="connsiteX165" fmla="*/ 719162 w 1037297"/>
                <a:gd name="connsiteY165" fmla="*/ 275959 h 838042"/>
                <a:gd name="connsiteX166" fmla="*/ 734402 w 1037297"/>
                <a:gd name="connsiteY166" fmla="*/ 262624 h 838042"/>
                <a:gd name="connsiteX167" fmla="*/ 743927 w 1037297"/>
                <a:gd name="connsiteY167" fmla="*/ 251194 h 838042"/>
                <a:gd name="connsiteX168" fmla="*/ 755357 w 1037297"/>
                <a:gd name="connsiteY168" fmla="*/ 241669 h 838042"/>
                <a:gd name="connsiteX169" fmla="*/ 761072 w 1037297"/>
                <a:gd name="connsiteY169" fmla="*/ 230239 h 838042"/>
                <a:gd name="connsiteX170" fmla="*/ 762977 w 1037297"/>
                <a:gd name="connsiteY170" fmla="*/ 224524 h 838042"/>
                <a:gd name="connsiteX171" fmla="*/ 768692 w 1037297"/>
                <a:gd name="connsiteY171" fmla="*/ 213094 h 838042"/>
                <a:gd name="connsiteX172" fmla="*/ 766787 w 1037297"/>
                <a:gd name="connsiteY172" fmla="*/ 197854 h 838042"/>
                <a:gd name="connsiteX173" fmla="*/ 761072 w 1037297"/>
                <a:gd name="connsiteY173" fmla="*/ 195949 h 838042"/>
                <a:gd name="connsiteX174" fmla="*/ 740117 w 1037297"/>
                <a:gd name="connsiteY174" fmla="*/ 197854 h 838042"/>
                <a:gd name="connsiteX175" fmla="*/ 734402 w 1037297"/>
                <a:gd name="connsiteY175" fmla="*/ 201664 h 838042"/>
                <a:gd name="connsiteX176" fmla="*/ 722972 w 1037297"/>
                <a:gd name="connsiteY176" fmla="*/ 205474 h 838042"/>
                <a:gd name="connsiteX177" fmla="*/ 719162 w 1037297"/>
                <a:gd name="connsiteY177" fmla="*/ 211189 h 838042"/>
                <a:gd name="connsiteX178" fmla="*/ 713447 w 1037297"/>
                <a:gd name="connsiteY178" fmla="*/ 213094 h 838042"/>
                <a:gd name="connsiteX179" fmla="*/ 707732 w 1037297"/>
                <a:gd name="connsiteY179" fmla="*/ 216904 h 838042"/>
                <a:gd name="connsiteX180" fmla="*/ 702017 w 1037297"/>
                <a:gd name="connsiteY180" fmla="*/ 222619 h 838042"/>
                <a:gd name="connsiteX181" fmla="*/ 694397 w 1037297"/>
                <a:gd name="connsiteY181" fmla="*/ 226429 h 838042"/>
                <a:gd name="connsiteX182" fmla="*/ 652487 w 1037297"/>
                <a:gd name="connsiteY182" fmla="*/ 255004 h 838042"/>
                <a:gd name="connsiteX183" fmla="*/ 639152 w 1037297"/>
                <a:gd name="connsiteY183" fmla="*/ 266434 h 838042"/>
                <a:gd name="connsiteX184" fmla="*/ 629627 w 1037297"/>
                <a:gd name="connsiteY184" fmla="*/ 283579 h 838042"/>
                <a:gd name="connsiteX185" fmla="*/ 604862 w 1037297"/>
                <a:gd name="connsiteY185" fmla="*/ 289294 h 838042"/>
                <a:gd name="connsiteX186" fmla="*/ 591527 w 1037297"/>
                <a:gd name="connsiteY186" fmla="*/ 293104 h 838042"/>
                <a:gd name="connsiteX187" fmla="*/ 576287 w 1037297"/>
                <a:gd name="connsiteY187" fmla="*/ 291199 h 838042"/>
                <a:gd name="connsiteX188" fmla="*/ 564857 w 1037297"/>
                <a:gd name="connsiteY188" fmla="*/ 287389 h 838042"/>
                <a:gd name="connsiteX189" fmla="*/ 553427 w 1037297"/>
                <a:gd name="connsiteY189" fmla="*/ 283579 h 838042"/>
                <a:gd name="connsiteX190" fmla="*/ 541997 w 1037297"/>
                <a:gd name="connsiteY190" fmla="*/ 279769 h 838042"/>
                <a:gd name="connsiteX191" fmla="*/ 536282 w 1037297"/>
                <a:gd name="connsiteY191" fmla="*/ 277864 h 838042"/>
                <a:gd name="connsiteX192" fmla="*/ 530567 w 1037297"/>
                <a:gd name="connsiteY192" fmla="*/ 274054 h 838042"/>
                <a:gd name="connsiteX193" fmla="*/ 519137 w 1037297"/>
                <a:gd name="connsiteY193" fmla="*/ 268339 h 838042"/>
                <a:gd name="connsiteX194" fmla="*/ 511517 w 1037297"/>
                <a:gd name="connsiteY194" fmla="*/ 256909 h 838042"/>
                <a:gd name="connsiteX195" fmla="*/ 507707 w 1037297"/>
                <a:gd name="connsiteY195" fmla="*/ 235954 h 838042"/>
                <a:gd name="connsiteX196" fmla="*/ 509612 w 1037297"/>
                <a:gd name="connsiteY196" fmla="*/ 171184 h 838042"/>
                <a:gd name="connsiteX197" fmla="*/ 508314 w 1037297"/>
                <a:gd name="connsiteY197" fmla="*/ 73485 h 838042"/>
                <a:gd name="connsiteX198" fmla="*/ 454116 w 1037297"/>
                <a:gd name="connsiteY198" fmla="*/ 11248 h 838042"/>
                <a:gd name="connsiteX199" fmla="*/ 435401 w 1037297"/>
                <a:gd name="connsiteY199" fmla="*/ 68523 h 838042"/>
                <a:gd name="connsiteX200" fmla="*/ 427697 w 1037297"/>
                <a:gd name="connsiteY200" fmla="*/ 137103 h 838042"/>
                <a:gd name="connsiteX201" fmla="*/ 420077 w 1037297"/>
                <a:gd name="connsiteY201" fmla="*/ 169279 h 838042"/>
                <a:gd name="connsiteX202" fmla="*/ 416267 w 1037297"/>
                <a:gd name="connsiteY202" fmla="*/ 186424 h 838042"/>
                <a:gd name="connsiteX203" fmla="*/ 420077 w 1037297"/>
                <a:gd name="connsiteY203" fmla="*/ 207379 h 838042"/>
                <a:gd name="connsiteX204" fmla="*/ 423887 w 1037297"/>
                <a:gd name="connsiteY204" fmla="*/ 213094 h 838042"/>
                <a:gd name="connsiteX205" fmla="*/ 427697 w 1037297"/>
                <a:gd name="connsiteY205" fmla="*/ 224524 h 838042"/>
                <a:gd name="connsiteX206" fmla="*/ 425792 w 1037297"/>
                <a:gd name="connsiteY206" fmla="*/ 251194 h 838042"/>
                <a:gd name="connsiteX207" fmla="*/ 420077 w 1037297"/>
                <a:gd name="connsiteY207" fmla="*/ 253099 h 838042"/>
                <a:gd name="connsiteX208" fmla="*/ 414362 w 1037297"/>
                <a:gd name="connsiteY208" fmla="*/ 256909 h 838042"/>
                <a:gd name="connsiteX209" fmla="*/ 423887 w 1037297"/>
                <a:gd name="connsiteY209"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23245 w 1037297"/>
                <a:gd name="connsiteY109" fmla="*/ 625406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15924 w 1037297"/>
                <a:gd name="connsiteY109" fmla="*/ 609158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07801 w 1037297"/>
                <a:gd name="connsiteY109" fmla="*/ 612819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27636 w 1037297"/>
                <a:gd name="connsiteY108" fmla="*/ 556959 h 838042"/>
                <a:gd name="connsiteX109" fmla="*/ 707801 w 1037297"/>
                <a:gd name="connsiteY109" fmla="*/ 612819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615068 w 1037297"/>
                <a:gd name="connsiteY108" fmla="*/ 549092 h 838042"/>
                <a:gd name="connsiteX109" fmla="*/ 707801 w 1037297"/>
                <a:gd name="connsiteY109" fmla="*/ 612819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791552 w 1037297"/>
                <a:gd name="connsiteY111" fmla="*/ 651244 h 838042"/>
                <a:gd name="connsiteX112" fmla="*/ 804887 w 1037297"/>
                <a:gd name="connsiteY112" fmla="*/ 632194 h 838042"/>
                <a:gd name="connsiteX113" fmla="*/ 801077 w 1037297"/>
                <a:gd name="connsiteY113" fmla="*/ 601714 h 838042"/>
                <a:gd name="connsiteX114" fmla="*/ 785837 w 1037297"/>
                <a:gd name="connsiteY114" fmla="*/ 576949 h 838042"/>
                <a:gd name="connsiteX115" fmla="*/ 650582 w 1037297"/>
                <a:gd name="connsiteY115" fmla="*/ 479794 h 838042"/>
                <a:gd name="connsiteX116" fmla="*/ 646772 w 1037297"/>
                <a:gd name="connsiteY116" fmla="*/ 462649 h 838042"/>
                <a:gd name="connsiteX117" fmla="*/ 648677 w 1037297"/>
                <a:gd name="connsiteY117" fmla="*/ 455029 h 838042"/>
                <a:gd name="connsiteX118" fmla="*/ 652487 w 1037297"/>
                <a:gd name="connsiteY118" fmla="*/ 437884 h 838042"/>
                <a:gd name="connsiteX119" fmla="*/ 656297 w 1037297"/>
                <a:gd name="connsiteY119" fmla="*/ 432169 h 838042"/>
                <a:gd name="connsiteX120" fmla="*/ 658202 w 1037297"/>
                <a:gd name="connsiteY120" fmla="*/ 426454 h 838042"/>
                <a:gd name="connsiteX121" fmla="*/ 663917 w 1037297"/>
                <a:gd name="connsiteY121" fmla="*/ 424549 h 838042"/>
                <a:gd name="connsiteX122" fmla="*/ 673442 w 1037297"/>
                <a:gd name="connsiteY122" fmla="*/ 413119 h 838042"/>
                <a:gd name="connsiteX123" fmla="*/ 726782 w 1037297"/>
                <a:gd name="connsiteY123" fmla="*/ 405499 h 838042"/>
                <a:gd name="connsiteX124" fmla="*/ 844892 w 1037297"/>
                <a:gd name="connsiteY124" fmla="*/ 407404 h 838042"/>
                <a:gd name="connsiteX125" fmla="*/ 873467 w 1037297"/>
                <a:gd name="connsiteY125" fmla="*/ 409309 h 838042"/>
                <a:gd name="connsiteX126" fmla="*/ 902042 w 1037297"/>
                <a:gd name="connsiteY126" fmla="*/ 415024 h 838042"/>
                <a:gd name="connsiteX127" fmla="*/ 924902 w 1037297"/>
                <a:gd name="connsiteY127" fmla="*/ 418834 h 838042"/>
                <a:gd name="connsiteX128" fmla="*/ 953477 w 1037297"/>
                <a:gd name="connsiteY128" fmla="*/ 424549 h 838042"/>
                <a:gd name="connsiteX129" fmla="*/ 959192 w 1037297"/>
                <a:gd name="connsiteY129" fmla="*/ 424549 h 838042"/>
                <a:gd name="connsiteX130" fmla="*/ 1004912 w 1037297"/>
                <a:gd name="connsiteY130" fmla="*/ 422644 h 838042"/>
                <a:gd name="connsiteX131" fmla="*/ 1033487 w 1037297"/>
                <a:gd name="connsiteY131" fmla="*/ 415024 h 838042"/>
                <a:gd name="connsiteX132" fmla="*/ 1037297 w 1037297"/>
                <a:gd name="connsiteY132" fmla="*/ 409309 h 838042"/>
                <a:gd name="connsiteX133" fmla="*/ 1035392 w 1037297"/>
                <a:gd name="connsiteY133" fmla="*/ 390259 h 838042"/>
                <a:gd name="connsiteX134" fmla="*/ 1029677 w 1037297"/>
                <a:gd name="connsiteY134" fmla="*/ 386449 h 838042"/>
                <a:gd name="connsiteX135" fmla="*/ 1014437 w 1037297"/>
                <a:gd name="connsiteY135" fmla="*/ 384544 h 838042"/>
                <a:gd name="connsiteX136" fmla="*/ 1008722 w 1037297"/>
                <a:gd name="connsiteY136" fmla="*/ 382639 h 838042"/>
                <a:gd name="connsiteX137" fmla="*/ 1001102 w 1037297"/>
                <a:gd name="connsiteY137" fmla="*/ 380734 h 838042"/>
                <a:gd name="connsiteX138" fmla="*/ 989672 w 1037297"/>
                <a:gd name="connsiteY138" fmla="*/ 373114 h 838042"/>
                <a:gd name="connsiteX139" fmla="*/ 978242 w 1037297"/>
                <a:gd name="connsiteY139" fmla="*/ 369304 h 838042"/>
                <a:gd name="connsiteX140" fmla="*/ 972527 w 1037297"/>
                <a:gd name="connsiteY140" fmla="*/ 367399 h 838042"/>
                <a:gd name="connsiteX141" fmla="*/ 964907 w 1037297"/>
                <a:gd name="connsiteY141" fmla="*/ 365494 h 838042"/>
                <a:gd name="connsiteX142" fmla="*/ 959192 w 1037297"/>
                <a:gd name="connsiteY142" fmla="*/ 363589 h 838042"/>
                <a:gd name="connsiteX143" fmla="*/ 938237 w 1037297"/>
                <a:gd name="connsiteY143" fmla="*/ 357874 h 838042"/>
                <a:gd name="connsiteX144" fmla="*/ 932522 w 1037297"/>
                <a:gd name="connsiteY144" fmla="*/ 355969 h 838042"/>
                <a:gd name="connsiteX145" fmla="*/ 827747 w 1037297"/>
                <a:gd name="connsiteY145" fmla="*/ 357874 h 838042"/>
                <a:gd name="connsiteX146" fmla="*/ 822032 w 1037297"/>
                <a:gd name="connsiteY146" fmla="*/ 359779 h 838042"/>
                <a:gd name="connsiteX147" fmla="*/ 732497 w 1037297"/>
                <a:gd name="connsiteY147" fmla="*/ 361684 h 838042"/>
                <a:gd name="connsiteX148" fmla="*/ 719162 w 1037297"/>
                <a:gd name="connsiteY148" fmla="*/ 365494 h 838042"/>
                <a:gd name="connsiteX149" fmla="*/ 698207 w 1037297"/>
                <a:gd name="connsiteY149" fmla="*/ 367399 h 838042"/>
                <a:gd name="connsiteX150" fmla="*/ 671537 w 1037297"/>
                <a:gd name="connsiteY150" fmla="*/ 369304 h 838042"/>
                <a:gd name="connsiteX151" fmla="*/ 671537 w 1037297"/>
                <a:gd name="connsiteY151" fmla="*/ 369304 h 838042"/>
                <a:gd name="connsiteX152" fmla="*/ 648677 w 1037297"/>
                <a:gd name="connsiteY152" fmla="*/ 373114 h 838042"/>
                <a:gd name="connsiteX153" fmla="*/ 644867 w 1037297"/>
                <a:gd name="connsiteY153" fmla="*/ 361684 h 838042"/>
                <a:gd name="connsiteX154" fmla="*/ 642962 w 1037297"/>
                <a:gd name="connsiteY154" fmla="*/ 355969 h 838042"/>
                <a:gd name="connsiteX155" fmla="*/ 644867 w 1037297"/>
                <a:gd name="connsiteY155" fmla="*/ 338824 h 838042"/>
                <a:gd name="connsiteX156" fmla="*/ 646772 w 1037297"/>
                <a:gd name="connsiteY156" fmla="*/ 333109 h 838042"/>
                <a:gd name="connsiteX157" fmla="*/ 663917 w 1037297"/>
                <a:gd name="connsiteY157" fmla="*/ 323584 h 838042"/>
                <a:gd name="connsiteX158" fmla="*/ 675347 w 1037297"/>
                <a:gd name="connsiteY158" fmla="*/ 315964 h 838042"/>
                <a:gd name="connsiteX159" fmla="*/ 677252 w 1037297"/>
                <a:gd name="connsiteY159" fmla="*/ 310249 h 838042"/>
                <a:gd name="connsiteX160" fmla="*/ 682967 w 1037297"/>
                <a:gd name="connsiteY160" fmla="*/ 308344 h 838042"/>
                <a:gd name="connsiteX161" fmla="*/ 688682 w 1037297"/>
                <a:gd name="connsiteY161" fmla="*/ 304534 h 838042"/>
                <a:gd name="connsiteX162" fmla="*/ 698207 w 1037297"/>
                <a:gd name="connsiteY162" fmla="*/ 295009 h 838042"/>
                <a:gd name="connsiteX163" fmla="*/ 707732 w 1037297"/>
                <a:gd name="connsiteY163" fmla="*/ 283579 h 838042"/>
                <a:gd name="connsiteX164" fmla="*/ 719162 w 1037297"/>
                <a:gd name="connsiteY164" fmla="*/ 275959 h 838042"/>
                <a:gd name="connsiteX165" fmla="*/ 734402 w 1037297"/>
                <a:gd name="connsiteY165" fmla="*/ 262624 h 838042"/>
                <a:gd name="connsiteX166" fmla="*/ 743927 w 1037297"/>
                <a:gd name="connsiteY166" fmla="*/ 251194 h 838042"/>
                <a:gd name="connsiteX167" fmla="*/ 755357 w 1037297"/>
                <a:gd name="connsiteY167" fmla="*/ 241669 h 838042"/>
                <a:gd name="connsiteX168" fmla="*/ 761072 w 1037297"/>
                <a:gd name="connsiteY168" fmla="*/ 230239 h 838042"/>
                <a:gd name="connsiteX169" fmla="*/ 762977 w 1037297"/>
                <a:gd name="connsiteY169" fmla="*/ 224524 h 838042"/>
                <a:gd name="connsiteX170" fmla="*/ 768692 w 1037297"/>
                <a:gd name="connsiteY170" fmla="*/ 213094 h 838042"/>
                <a:gd name="connsiteX171" fmla="*/ 766787 w 1037297"/>
                <a:gd name="connsiteY171" fmla="*/ 197854 h 838042"/>
                <a:gd name="connsiteX172" fmla="*/ 761072 w 1037297"/>
                <a:gd name="connsiteY172" fmla="*/ 195949 h 838042"/>
                <a:gd name="connsiteX173" fmla="*/ 740117 w 1037297"/>
                <a:gd name="connsiteY173" fmla="*/ 197854 h 838042"/>
                <a:gd name="connsiteX174" fmla="*/ 734402 w 1037297"/>
                <a:gd name="connsiteY174" fmla="*/ 201664 h 838042"/>
                <a:gd name="connsiteX175" fmla="*/ 722972 w 1037297"/>
                <a:gd name="connsiteY175" fmla="*/ 205474 h 838042"/>
                <a:gd name="connsiteX176" fmla="*/ 719162 w 1037297"/>
                <a:gd name="connsiteY176" fmla="*/ 211189 h 838042"/>
                <a:gd name="connsiteX177" fmla="*/ 713447 w 1037297"/>
                <a:gd name="connsiteY177" fmla="*/ 213094 h 838042"/>
                <a:gd name="connsiteX178" fmla="*/ 707732 w 1037297"/>
                <a:gd name="connsiteY178" fmla="*/ 216904 h 838042"/>
                <a:gd name="connsiteX179" fmla="*/ 702017 w 1037297"/>
                <a:gd name="connsiteY179" fmla="*/ 222619 h 838042"/>
                <a:gd name="connsiteX180" fmla="*/ 694397 w 1037297"/>
                <a:gd name="connsiteY180" fmla="*/ 226429 h 838042"/>
                <a:gd name="connsiteX181" fmla="*/ 652487 w 1037297"/>
                <a:gd name="connsiteY181" fmla="*/ 255004 h 838042"/>
                <a:gd name="connsiteX182" fmla="*/ 639152 w 1037297"/>
                <a:gd name="connsiteY182" fmla="*/ 266434 h 838042"/>
                <a:gd name="connsiteX183" fmla="*/ 629627 w 1037297"/>
                <a:gd name="connsiteY183" fmla="*/ 283579 h 838042"/>
                <a:gd name="connsiteX184" fmla="*/ 604862 w 1037297"/>
                <a:gd name="connsiteY184" fmla="*/ 289294 h 838042"/>
                <a:gd name="connsiteX185" fmla="*/ 591527 w 1037297"/>
                <a:gd name="connsiteY185" fmla="*/ 293104 h 838042"/>
                <a:gd name="connsiteX186" fmla="*/ 576287 w 1037297"/>
                <a:gd name="connsiteY186" fmla="*/ 291199 h 838042"/>
                <a:gd name="connsiteX187" fmla="*/ 564857 w 1037297"/>
                <a:gd name="connsiteY187" fmla="*/ 287389 h 838042"/>
                <a:gd name="connsiteX188" fmla="*/ 553427 w 1037297"/>
                <a:gd name="connsiteY188" fmla="*/ 283579 h 838042"/>
                <a:gd name="connsiteX189" fmla="*/ 541997 w 1037297"/>
                <a:gd name="connsiteY189" fmla="*/ 279769 h 838042"/>
                <a:gd name="connsiteX190" fmla="*/ 536282 w 1037297"/>
                <a:gd name="connsiteY190" fmla="*/ 277864 h 838042"/>
                <a:gd name="connsiteX191" fmla="*/ 530567 w 1037297"/>
                <a:gd name="connsiteY191" fmla="*/ 274054 h 838042"/>
                <a:gd name="connsiteX192" fmla="*/ 519137 w 1037297"/>
                <a:gd name="connsiteY192" fmla="*/ 268339 h 838042"/>
                <a:gd name="connsiteX193" fmla="*/ 511517 w 1037297"/>
                <a:gd name="connsiteY193" fmla="*/ 256909 h 838042"/>
                <a:gd name="connsiteX194" fmla="*/ 507707 w 1037297"/>
                <a:gd name="connsiteY194" fmla="*/ 235954 h 838042"/>
                <a:gd name="connsiteX195" fmla="*/ 509612 w 1037297"/>
                <a:gd name="connsiteY195" fmla="*/ 171184 h 838042"/>
                <a:gd name="connsiteX196" fmla="*/ 508314 w 1037297"/>
                <a:gd name="connsiteY196" fmla="*/ 73485 h 838042"/>
                <a:gd name="connsiteX197" fmla="*/ 454116 w 1037297"/>
                <a:gd name="connsiteY197" fmla="*/ 11248 h 838042"/>
                <a:gd name="connsiteX198" fmla="*/ 435401 w 1037297"/>
                <a:gd name="connsiteY198" fmla="*/ 68523 h 838042"/>
                <a:gd name="connsiteX199" fmla="*/ 427697 w 1037297"/>
                <a:gd name="connsiteY199" fmla="*/ 137103 h 838042"/>
                <a:gd name="connsiteX200" fmla="*/ 420077 w 1037297"/>
                <a:gd name="connsiteY200" fmla="*/ 169279 h 838042"/>
                <a:gd name="connsiteX201" fmla="*/ 416267 w 1037297"/>
                <a:gd name="connsiteY201" fmla="*/ 186424 h 838042"/>
                <a:gd name="connsiteX202" fmla="*/ 420077 w 1037297"/>
                <a:gd name="connsiteY202" fmla="*/ 207379 h 838042"/>
                <a:gd name="connsiteX203" fmla="*/ 423887 w 1037297"/>
                <a:gd name="connsiteY203" fmla="*/ 213094 h 838042"/>
                <a:gd name="connsiteX204" fmla="*/ 427697 w 1037297"/>
                <a:gd name="connsiteY204" fmla="*/ 224524 h 838042"/>
                <a:gd name="connsiteX205" fmla="*/ 425792 w 1037297"/>
                <a:gd name="connsiteY205" fmla="*/ 251194 h 838042"/>
                <a:gd name="connsiteX206" fmla="*/ 420077 w 1037297"/>
                <a:gd name="connsiteY206" fmla="*/ 253099 h 838042"/>
                <a:gd name="connsiteX207" fmla="*/ 414362 w 1037297"/>
                <a:gd name="connsiteY207" fmla="*/ 256909 h 838042"/>
                <a:gd name="connsiteX208" fmla="*/ 423887 w 1037297"/>
                <a:gd name="connsiteY20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85837 w 1037297"/>
                <a:gd name="connsiteY113" fmla="*/ 576949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2487 w 1037297"/>
                <a:gd name="connsiteY117" fmla="*/ 437884 h 838042"/>
                <a:gd name="connsiteX118" fmla="*/ 656297 w 1037297"/>
                <a:gd name="connsiteY118" fmla="*/ 432169 h 838042"/>
                <a:gd name="connsiteX119" fmla="*/ 658202 w 1037297"/>
                <a:gd name="connsiteY119" fmla="*/ 426454 h 838042"/>
                <a:gd name="connsiteX120" fmla="*/ 663917 w 1037297"/>
                <a:gd name="connsiteY120" fmla="*/ 424549 h 838042"/>
                <a:gd name="connsiteX121" fmla="*/ 673442 w 1037297"/>
                <a:gd name="connsiteY121" fmla="*/ 413119 h 838042"/>
                <a:gd name="connsiteX122" fmla="*/ 726782 w 1037297"/>
                <a:gd name="connsiteY122" fmla="*/ 405499 h 838042"/>
                <a:gd name="connsiteX123" fmla="*/ 844892 w 1037297"/>
                <a:gd name="connsiteY123" fmla="*/ 407404 h 838042"/>
                <a:gd name="connsiteX124" fmla="*/ 873467 w 1037297"/>
                <a:gd name="connsiteY124" fmla="*/ 409309 h 838042"/>
                <a:gd name="connsiteX125" fmla="*/ 902042 w 1037297"/>
                <a:gd name="connsiteY125" fmla="*/ 415024 h 838042"/>
                <a:gd name="connsiteX126" fmla="*/ 924902 w 1037297"/>
                <a:gd name="connsiteY126" fmla="*/ 418834 h 838042"/>
                <a:gd name="connsiteX127" fmla="*/ 953477 w 1037297"/>
                <a:gd name="connsiteY127" fmla="*/ 424549 h 838042"/>
                <a:gd name="connsiteX128" fmla="*/ 959192 w 1037297"/>
                <a:gd name="connsiteY128" fmla="*/ 424549 h 838042"/>
                <a:gd name="connsiteX129" fmla="*/ 1004912 w 1037297"/>
                <a:gd name="connsiteY129" fmla="*/ 422644 h 838042"/>
                <a:gd name="connsiteX130" fmla="*/ 1033487 w 1037297"/>
                <a:gd name="connsiteY130" fmla="*/ 415024 h 838042"/>
                <a:gd name="connsiteX131" fmla="*/ 1037297 w 1037297"/>
                <a:gd name="connsiteY131" fmla="*/ 409309 h 838042"/>
                <a:gd name="connsiteX132" fmla="*/ 1035392 w 1037297"/>
                <a:gd name="connsiteY132" fmla="*/ 390259 h 838042"/>
                <a:gd name="connsiteX133" fmla="*/ 1029677 w 1037297"/>
                <a:gd name="connsiteY133" fmla="*/ 386449 h 838042"/>
                <a:gd name="connsiteX134" fmla="*/ 1014437 w 1037297"/>
                <a:gd name="connsiteY134" fmla="*/ 384544 h 838042"/>
                <a:gd name="connsiteX135" fmla="*/ 1008722 w 1037297"/>
                <a:gd name="connsiteY135" fmla="*/ 382639 h 838042"/>
                <a:gd name="connsiteX136" fmla="*/ 1001102 w 1037297"/>
                <a:gd name="connsiteY136" fmla="*/ 380734 h 838042"/>
                <a:gd name="connsiteX137" fmla="*/ 989672 w 1037297"/>
                <a:gd name="connsiteY137" fmla="*/ 373114 h 838042"/>
                <a:gd name="connsiteX138" fmla="*/ 978242 w 1037297"/>
                <a:gd name="connsiteY138" fmla="*/ 369304 h 838042"/>
                <a:gd name="connsiteX139" fmla="*/ 972527 w 1037297"/>
                <a:gd name="connsiteY139" fmla="*/ 367399 h 838042"/>
                <a:gd name="connsiteX140" fmla="*/ 964907 w 1037297"/>
                <a:gd name="connsiteY140" fmla="*/ 365494 h 838042"/>
                <a:gd name="connsiteX141" fmla="*/ 959192 w 1037297"/>
                <a:gd name="connsiteY141" fmla="*/ 363589 h 838042"/>
                <a:gd name="connsiteX142" fmla="*/ 938237 w 1037297"/>
                <a:gd name="connsiteY142" fmla="*/ 357874 h 838042"/>
                <a:gd name="connsiteX143" fmla="*/ 932522 w 1037297"/>
                <a:gd name="connsiteY143" fmla="*/ 355969 h 838042"/>
                <a:gd name="connsiteX144" fmla="*/ 827747 w 1037297"/>
                <a:gd name="connsiteY144" fmla="*/ 357874 h 838042"/>
                <a:gd name="connsiteX145" fmla="*/ 822032 w 1037297"/>
                <a:gd name="connsiteY145" fmla="*/ 359779 h 838042"/>
                <a:gd name="connsiteX146" fmla="*/ 732497 w 1037297"/>
                <a:gd name="connsiteY146" fmla="*/ 361684 h 838042"/>
                <a:gd name="connsiteX147" fmla="*/ 719162 w 1037297"/>
                <a:gd name="connsiteY147" fmla="*/ 365494 h 838042"/>
                <a:gd name="connsiteX148" fmla="*/ 698207 w 1037297"/>
                <a:gd name="connsiteY148" fmla="*/ 367399 h 838042"/>
                <a:gd name="connsiteX149" fmla="*/ 671537 w 1037297"/>
                <a:gd name="connsiteY149" fmla="*/ 369304 h 838042"/>
                <a:gd name="connsiteX150" fmla="*/ 671537 w 1037297"/>
                <a:gd name="connsiteY150" fmla="*/ 369304 h 838042"/>
                <a:gd name="connsiteX151" fmla="*/ 648677 w 1037297"/>
                <a:gd name="connsiteY151" fmla="*/ 373114 h 838042"/>
                <a:gd name="connsiteX152" fmla="*/ 644867 w 1037297"/>
                <a:gd name="connsiteY152" fmla="*/ 361684 h 838042"/>
                <a:gd name="connsiteX153" fmla="*/ 642962 w 1037297"/>
                <a:gd name="connsiteY153" fmla="*/ 355969 h 838042"/>
                <a:gd name="connsiteX154" fmla="*/ 644867 w 1037297"/>
                <a:gd name="connsiteY154" fmla="*/ 338824 h 838042"/>
                <a:gd name="connsiteX155" fmla="*/ 646772 w 1037297"/>
                <a:gd name="connsiteY155" fmla="*/ 333109 h 838042"/>
                <a:gd name="connsiteX156" fmla="*/ 663917 w 1037297"/>
                <a:gd name="connsiteY156" fmla="*/ 323584 h 838042"/>
                <a:gd name="connsiteX157" fmla="*/ 675347 w 1037297"/>
                <a:gd name="connsiteY157" fmla="*/ 315964 h 838042"/>
                <a:gd name="connsiteX158" fmla="*/ 677252 w 1037297"/>
                <a:gd name="connsiteY158" fmla="*/ 310249 h 838042"/>
                <a:gd name="connsiteX159" fmla="*/ 682967 w 1037297"/>
                <a:gd name="connsiteY159" fmla="*/ 308344 h 838042"/>
                <a:gd name="connsiteX160" fmla="*/ 688682 w 1037297"/>
                <a:gd name="connsiteY160" fmla="*/ 304534 h 838042"/>
                <a:gd name="connsiteX161" fmla="*/ 698207 w 1037297"/>
                <a:gd name="connsiteY161" fmla="*/ 295009 h 838042"/>
                <a:gd name="connsiteX162" fmla="*/ 707732 w 1037297"/>
                <a:gd name="connsiteY162" fmla="*/ 283579 h 838042"/>
                <a:gd name="connsiteX163" fmla="*/ 719162 w 1037297"/>
                <a:gd name="connsiteY163" fmla="*/ 275959 h 838042"/>
                <a:gd name="connsiteX164" fmla="*/ 734402 w 1037297"/>
                <a:gd name="connsiteY164" fmla="*/ 262624 h 838042"/>
                <a:gd name="connsiteX165" fmla="*/ 743927 w 1037297"/>
                <a:gd name="connsiteY165" fmla="*/ 251194 h 838042"/>
                <a:gd name="connsiteX166" fmla="*/ 755357 w 1037297"/>
                <a:gd name="connsiteY166" fmla="*/ 241669 h 838042"/>
                <a:gd name="connsiteX167" fmla="*/ 761072 w 1037297"/>
                <a:gd name="connsiteY167" fmla="*/ 230239 h 838042"/>
                <a:gd name="connsiteX168" fmla="*/ 762977 w 1037297"/>
                <a:gd name="connsiteY168" fmla="*/ 224524 h 838042"/>
                <a:gd name="connsiteX169" fmla="*/ 768692 w 1037297"/>
                <a:gd name="connsiteY169" fmla="*/ 213094 h 838042"/>
                <a:gd name="connsiteX170" fmla="*/ 766787 w 1037297"/>
                <a:gd name="connsiteY170" fmla="*/ 197854 h 838042"/>
                <a:gd name="connsiteX171" fmla="*/ 761072 w 1037297"/>
                <a:gd name="connsiteY171" fmla="*/ 195949 h 838042"/>
                <a:gd name="connsiteX172" fmla="*/ 740117 w 1037297"/>
                <a:gd name="connsiteY172" fmla="*/ 197854 h 838042"/>
                <a:gd name="connsiteX173" fmla="*/ 734402 w 1037297"/>
                <a:gd name="connsiteY173" fmla="*/ 201664 h 838042"/>
                <a:gd name="connsiteX174" fmla="*/ 722972 w 1037297"/>
                <a:gd name="connsiteY174" fmla="*/ 205474 h 838042"/>
                <a:gd name="connsiteX175" fmla="*/ 719162 w 1037297"/>
                <a:gd name="connsiteY175" fmla="*/ 211189 h 838042"/>
                <a:gd name="connsiteX176" fmla="*/ 713447 w 1037297"/>
                <a:gd name="connsiteY176" fmla="*/ 213094 h 838042"/>
                <a:gd name="connsiteX177" fmla="*/ 707732 w 1037297"/>
                <a:gd name="connsiteY177" fmla="*/ 216904 h 838042"/>
                <a:gd name="connsiteX178" fmla="*/ 702017 w 1037297"/>
                <a:gd name="connsiteY178" fmla="*/ 222619 h 838042"/>
                <a:gd name="connsiteX179" fmla="*/ 694397 w 1037297"/>
                <a:gd name="connsiteY179" fmla="*/ 226429 h 838042"/>
                <a:gd name="connsiteX180" fmla="*/ 652487 w 1037297"/>
                <a:gd name="connsiteY180" fmla="*/ 255004 h 838042"/>
                <a:gd name="connsiteX181" fmla="*/ 639152 w 1037297"/>
                <a:gd name="connsiteY181" fmla="*/ 266434 h 838042"/>
                <a:gd name="connsiteX182" fmla="*/ 629627 w 1037297"/>
                <a:gd name="connsiteY182" fmla="*/ 283579 h 838042"/>
                <a:gd name="connsiteX183" fmla="*/ 604862 w 1037297"/>
                <a:gd name="connsiteY183" fmla="*/ 289294 h 838042"/>
                <a:gd name="connsiteX184" fmla="*/ 591527 w 1037297"/>
                <a:gd name="connsiteY184" fmla="*/ 293104 h 838042"/>
                <a:gd name="connsiteX185" fmla="*/ 576287 w 1037297"/>
                <a:gd name="connsiteY185" fmla="*/ 291199 h 838042"/>
                <a:gd name="connsiteX186" fmla="*/ 564857 w 1037297"/>
                <a:gd name="connsiteY186" fmla="*/ 287389 h 838042"/>
                <a:gd name="connsiteX187" fmla="*/ 553427 w 1037297"/>
                <a:gd name="connsiteY187" fmla="*/ 283579 h 838042"/>
                <a:gd name="connsiteX188" fmla="*/ 541997 w 1037297"/>
                <a:gd name="connsiteY188" fmla="*/ 279769 h 838042"/>
                <a:gd name="connsiteX189" fmla="*/ 536282 w 1037297"/>
                <a:gd name="connsiteY189" fmla="*/ 277864 h 838042"/>
                <a:gd name="connsiteX190" fmla="*/ 530567 w 1037297"/>
                <a:gd name="connsiteY190" fmla="*/ 274054 h 838042"/>
                <a:gd name="connsiteX191" fmla="*/ 519137 w 1037297"/>
                <a:gd name="connsiteY191" fmla="*/ 268339 h 838042"/>
                <a:gd name="connsiteX192" fmla="*/ 511517 w 1037297"/>
                <a:gd name="connsiteY192" fmla="*/ 256909 h 838042"/>
                <a:gd name="connsiteX193" fmla="*/ 507707 w 1037297"/>
                <a:gd name="connsiteY193" fmla="*/ 235954 h 838042"/>
                <a:gd name="connsiteX194" fmla="*/ 509612 w 1037297"/>
                <a:gd name="connsiteY194" fmla="*/ 171184 h 838042"/>
                <a:gd name="connsiteX195" fmla="*/ 508314 w 1037297"/>
                <a:gd name="connsiteY195" fmla="*/ 73485 h 838042"/>
                <a:gd name="connsiteX196" fmla="*/ 454116 w 1037297"/>
                <a:gd name="connsiteY196" fmla="*/ 11248 h 838042"/>
                <a:gd name="connsiteX197" fmla="*/ 435401 w 1037297"/>
                <a:gd name="connsiteY197" fmla="*/ 68523 h 838042"/>
                <a:gd name="connsiteX198" fmla="*/ 427697 w 1037297"/>
                <a:gd name="connsiteY198" fmla="*/ 137103 h 838042"/>
                <a:gd name="connsiteX199" fmla="*/ 420077 w 1037297"/>
                <a:gd name="connsiteY199" fmla="*/ 169279 h 838042"/>
                <a:gd name="connsiteX200" fmla="*/ 416267 w 1037297"/>
                <a:gd name="connsiteY200" fmla="*/ 186424 h 838042"/>
                <a:gd name="connsiteX201" fmla="*/ 420077 w 1037297"/>
                <a:gd name="connsiteY201" fmla="*/ 207379 h 838042"/>
                <a:gd name="connsiteX202" fmla="*/ 423887 w 1037297"/>
                <a:gd name="connsiteY202" fmla="*/ 213094 h 838042"/>
                <a:gd name="connsiteX203" fmla="*/ 427697 w 1037297"/>
                <a:gd name="connsiteY203" fmla="*/ 224524 h 838042"/>
                <a:gd name="connsiteX204" fmla="*/ 425792 w 1037297"/>
                <a:gd name="connsiteY204" fmla="*/ 251194 h 838042"/>
                <a:gd name="connsiteX205" fmla="*/ 420077 w 1037297"/>
                <a:gd name="connsiteY205" fmla="*/ 253099 h 838042"/>
                <a:gd name="connsiteX206" fmla="*/ 414362 w 1037297"/>
                <a:gd name="connsiteY206" fmla="*/ 256909 h 838042"/>
                <a:gd name="connsiteX207" fmla="*/ 423887 w 1037297"/>
                <a:gd name="connsiteY20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85837 w 1037297"/>
                <a:gd name="connsiteY113" fmla="*/ 576949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2487 w 1037297"/>
                <a:gd name="connsiteY117" fmla="*/ 437884 h 838042"/>
                <a:gd name="connsiteX118" fmla="*/ 656297 w 1037297"/>
                <a:gd name="connsiteY118" fmla="*/ 432169 h 838042"/>
                <a:gd name="connsiteX119" fmla="*/ 658202 w 1037297"/>
                <a:gd name="connsiteY119" fmla="*/ 426454 h 838042"/>
                <a:gd name="connsiteX120" fmla="*/ 663917 w 1037297"/>
                <a:gd name="connsiteY120" fmla="*/ 424549 h 838042"/>
                <a:gd name="connsiteX121" fmla="*/ 673442 w 1037297"/>
                <a:gd name="connsiteY121" fmla="*/ 413119 h 838042"/>
                <a:gd name="connsiteX122" fmla="*/ 726782 w 1037297"/>
                <a:gd name="connsiteY122" fmla="*/ 405499 h 838042"/>
                <a:gd name="connsiteX123" fmla="*/ 844892 w 1037297"/>
                <a:gd name="connsiteY123" fmla="*/ 407404 h 838042"/>
                <a:gd name="connsiteX124" fmla="*/ 873467 w 1037297"/>
                <a:gd name="connsiteY124" fmla="*/ 409309 h 838042"/>
                <a:gd name="connsiteX125" fmla="*/ 902042 w 1037297"/>
                <a:gd name="connsiteY125" fmla="*/ 415024 h 838042"/>
                <a:gd name="connsiteX126" fmla="*/ 924902 w 1037297"/>
                <a:gd name="connsiteY126" fmla="*/ 418834 h 838042"/>
                <a:gd name="connsiteX127" fmla="*/ 953477 w 1037297"/>
                <a:gd name="connsiteY127" fmla="*/ 424549 h 838042"/>
                <a:gd name="connsiteX128" fmla="*/ 959192 w 1037297"/>
                <a:gd name="connsiteY128" fmla="*/ 424549 h 838042"/>
                <a:gd name="connsiteX129" fmla="*/ 1004912 w 1037297"/>
                <a:gd name="connsiteY129" fmla="*/ 422644 h 838042"/>
                <a:gd name="connsiteX130" fmla="*/ 1033487 w 1037297"/>
                <a:gd name="connsiteY130" fmla="*/ 415024 h 838042"/>
                <a:gd name="connsiteX131" fmla="*/ 1037297 w 1037297"/>
                <a:gd name="connsiteY131" fmla="*/ 409309 h 838042"/>
                <a:gd name="connsiteX132" fmla="*/ 1035392 w 1037297"/>
                <a:gd name="connsiteY132" fmla="*/ 390259 h 838042"/>
                <a:gd name="connsiteX133" fmla="*/ 1029677 w 1037297"/>
                <a:gd name="connsiteY133" fmla="*/ 386449 h 838042"/>
                <a:gd name="connsiteX134" fmla="*/ 1014437 w 1037297"/>
                <a:gd name="connsiteY134" fmla="*/ 384544 h 838042"/>
                <a:gd name="connsiteX135" fmla="*/ 1008722 w 1037297"/>
                <a:gd name="connsiteY135" fmla="*/ 382639 h 838042"/>
                <a:gd name="connsiteX136" fmla="*/ 1001102 w 1037297"/>
                <a:gd name="connsiteY136" fmla="*/ 380734 h 838042"/>
                <a:gd name="connsiteX137" fmla="*/ 989672 w 1037297"/>
                <a:gd name="connsiteY137" fmla="*/ 373114 h 838042"/>
                <a:gd name="connsiteX138" fmla="*/ 978242 w 1037297"/>
                <a:gd name="connsiteY138" fmla="*/ 369304 h 838042"/>
                <a:gd name="connsiteX139" fmla="*/ 972527 w 1037297"/>
                <a:gd name="connsiteY139" fmla="*/ 367399 h 838042"/>
                <a:gd name="connsiteX140" fmla="*/ 964907 w 1037297"/>
                <a:gd name="connsiteY140" fmla="*/ 365494 h 838042"/>
                <a:gd name="connsiteX141" fmla="*/ 959192 w 1037297"/>
                <a:gd name="connsiteY141" fmla="*/ 363589 h 838042"/>
                <a:gd name="connsiteX142" fmla="*/ 938237 w 1037297"/>
                <a:gd name="connsiteY142" fmla="*/ 357874 h 838042"/>
                <a:gd name="connsiteX143" fmla="*/ 932522 w 1037297"/>
                <a:gd name="connsiteY143" fmla="*/ 355969 h 838042"/>
                <a:gd name="connsiteX144" fmla="*/ 827747 w 1037297"/>
                <a:gd name="connsiteY144" fmla="*/ 357874 h 838042"/>
                <a:gd name="connsiteX145" fmla="*/ 822032 w 1037297"/>
                <a:gd name="connsiteY145" fmla="*/ 359779 h 838042"/>
                <a:gd name="connsiteX146" fmla="*/ 732497 w 1037297"/>
                <a:gd name="connsiteY146" fmla="*/ 361684 h 838042"/>
                <a:gd name="connsiteX147" fmla="*/ 719162 w 1037297"/>
                <a:gd name="connsiteY147" fmla="*/ 365494 h 838042"/>
                <a:gd name="connsiteX148" fmla="*/ 698207 w 1037297"/>
                <a:gd name="connsiteY148" fmla="*/ 367399 h 838042"/>
                <a:gd name="connsiteX149" fmla="*/ 671537 w 1037297"/>
                <a:gd name="connsiteY149" fmla="*/ 369304 h 838042"/>
                <a:gd name="connsiteX150" fmla="*/ 671537 w 1037297"/>
                <a:gd name="connsiteY150" fmla="*/ 369304 h 838042"/>
                <a:gd name="connsiteX151" fmla="*/ 648677 w 1037297"/>
                <a:gd name="connsiteY151" fmla="*/ 373114 h 838042"/>
                <a:gd name="connsiteX152" fmla="*/ 644867 w 1037297"/>
                <a:gd name="connsiteY152" fmla="*/ 361684 h 838042"/>
                <a:gd name="connsiteX153" fmla="*/ 642962 w 1037297"/>
                <a:gd name="connsiteY153" fmla="*/ 355969 h 838042"/>
                <a:gd name="connsiteX154" fmla="*/ 644867 w 1037297"/>
                <a:gd name="connsiteY154" fmla="*/ 338824 h 838042"/>
                <a:gd name="connsiteX155" fmla="*/ 646772 w 1037297"/>
                <a:gd name="connsiteY155" fmla="*/ 333109 h 838042"/>
                <a:gd name="connsiteX156" fmla="*/ 663917 w 1037297"/>
                <a:gd name="connsiteY156" fmla="*/ 323584 h 838042"/>
                <a:gd name="connsiteX157" fmla="*/ 675347 w 1037297"/>
                <a:gd name="connsiteY157" fmla="*/ 315964 h 838042"/>
                <a:gd name="connsiteX158" fmla="*/ 677252 w 1037297"/>
                <a:gd name="connsiteY158" fmla="*/ 310249 h 838042"/>
                <a:gd name="connsiteX159" fmla="*/ 682967 w 1037297"/>
                <a:gd name="connsiteY159" fmla="*/ 308344 h 838042"/>
                <a:gd name="connsiteX160" fmla="*/ 688682 w 1037297"/>
                <a:gd name="connsiteY160" fmla="*/ 304534 h 838042"/>
                <a:gd name="connsiteX161" fmla="*/ 698207 w 1037297"/>
                <a:gd name="connsiteY161" fmla="*/ 295009 h 838042"/>
                <a:gd name="connsiteX162" fmla="*/ 707732 w 1037297"/>
                <a:gd name="connsiteY162" fmla="*/ 283579 h 838042"/>
                <a:gd name="connsiteX163" fmla="*/ 719162 w 1037297"/>
                <a:gd name="connsiteY163" fmla="*/ 275959 h 838042"/>
                <a:gd name="connsiteX164" fmla="*/ 734402 w 1037297"/>
                <a:gd name="connsiteY164" fmla="*/ 262624 h 838042"/>
                <a:gd name="connsiteX165" fmla="*/ 743927 w 1037297"/>
                <a:gd name="connsiteY165" fmla="*/ 251194 h 838042"/>
                <a:gd name="connsiteX166" fmla="*/ 755357 w 1037297"/>
                <a:gd name="connsiteY166" fmla="*/ 241669 h 838042"/>
                <a:gd name="connsiteX167" fmla="*/ 761072 w 1037297"/>
                <a:gd name="connsiteY167" fmla="*/ 230239 h 838042"/>
                <a:gd name="connsiteX168" fmla="*/ 762977 w 1037297"/>
                <a:gd name="connsiteY168" fmla="*/ 224524 h 838042"/>
                <a:gd name="connsiteX169" fmla="*/ 768692 w 1037297"/>
                <a:gd name="connsiteY169" fmla="*/ 213094 h 838042"/>
                <a:gd name="connsiteX170" fmla="*/ 766787 w 1037297"/>
                <a:gd name="connsiteY170" fmla="*/ 197854 h 838042"/>
                <a:gd name="connsiteX171" fmla="*/ 761072 w 1037297"/>
                <a:gd name="connsiteY171" fmla="*/ 195949 h 838042"/>
                <a:gd name="connsiteX172" fmla="*/ 740117 w 1037297"/>
                <a:gd name="connsiteY172" fmla="*/ 197854 h 838042"/>
                <a:gd name="connsiteX173" fmla="*/ 734402 w 1037297"/>
                <a:gd name="connsiteY173" fmla="*/ 201664 h 838042"/>
                <a:gd name="connsiteX174" fmla="*/ 722972 w 1037297"/>
                <a:gd name="connsiteY174" fmla="*/ 205474 h 838042"/>
                <a:gd name="connsiteX175" fmla="*/ 719162 w 1037297"/>
                <a:gd name="connsiteY175" fmla="*/ 211189 h 838042"/>
                <a:gd name="connsiteX176" fmla="*/ 713447 w 1037297"/>
                <a:gd name="connsiteY176" fmla="*/ 213094 h 838042"/>
                <a:gd name="connsiteX177" fmla="*/ 707732 w 1037297"/>
                <a:gd name="connsiteY177" fmla="*/ 216904 h 838042"/>
                <a:gd name="connsiteX178" fmla="*/ 702017 w 1037297"/>
                <a:gd name="connsiteY178" fmla="*/ 222619 h 838042"/>
                <a:gd name="connsiteX179" fmla="*/ 694397 w 1037297"/>
                <a:gd name="connsiteY179" fmla="*/ 226429 h 838042"/>
                <a:gd name="connsiteX180" fmla="*/ 652487 w 1037297"/>
                <a:gd name="connsiteY180" fmla="*/ 255004 h 838042"/>
                <a:gd name="connsiteX181" fmla="*/ 639152 w 1037297"/>
                <a:gd name="connsiteY181" fmla="*/ 266434 h 838042"/>
                <a:gd name="connsiteX182" fmla="*/ 629627 w 1037297"/>
                <a:gd name="connsiteY182" fmla="*/ 283579 h 838042"/>
                <a:gd name="connsiteX183" fmla="*/ 604862 w 1037297"/>
                <a:gd name="connsiteY183" fmla="*/ 289294 h 838042"/>
                <a:gd name="connsiteX184" fmla="*/ 591527 w 1037297"/>
                <a:gd name="connsiteY184" fmla="*/ 293104 h 838042"/>
                <a:gd name="connsiteX185" fmla="*/ 576287 w 1037297"/>
                <a:gd name="connsiteY185" fmla="*/ 291199 h 838042"/>
                <a:gd name="connsiteX186" fmla="*/ 564857 w 1037297"/>
                <a:gd name="connsiteY186" fmla="*/ 287389 h 838042"/>
                <a:gd name="connsiteX187" fmla="*/ 553427 w 1037297"/>
                <a:gd name="connsiteY187" fmla="*/ 283579 h 838042"/>
                <a:gd name="connsiteX188" fmla="*/ 541997 w 1037297"/>
                <a:gd name="connsiteY188" fmla="*/ 279769 h 838042"/>
                <a:gd name="connsiteX189" fmla="*/ 536282 w 1037297"/>
                <a:gd name="connsiteY189" fmla="*/ 277864 h 838042"/>
                <a:gd name="connsiteX190" fmla="*/ 530567 w 1037297"/>
                <a:gd name="connsiteY190" fmla="*/ 274054 h 838042"/>
                <a:gd name="connsiteX191" fmla="*/ 519137 w 1037297"/>
                <a:gd name="connsiteY191" fmla="*/ 268339 h 838042"/>
                <a:gd name="connsiteX192" fmla="*/ 511517 w 1037297"/>
                <a:gd name="connsiteY192" fmla="*/ 256909 h 838042"/>
                <a:gd name="connsiteX193" fmla="*/ 507707 w 1037297"/>
                <a:gd name="connsiteY193" fmla="*/ 235954 h 838042"/>
                <a:gd name="connsiteX194" fmla="*/ 509612 w 1037297"/>
                <a:gd name="connsiteY194" fmla="*/ 171184 h 838042"/>
                <a:gd name="connsiteX195" fmla="*/ 508314 w 1037297"/>
                <a:gd name="connsiteY195" fmla="*/ 73485 h 838042"/>
                <a:gd name="connsiteX196" fmla="*/ 454116 w 1037297"/>
                <a:gd name="connsiteY196" fmla="*/ 11248 h 838042"/>
                <a:gd name="connsiteX197" fmla="*/ 435401 w 1037297"/>
                <a:gd name="connsiteY197" fmla="*/ 68523 h 838042"/>
                <a:gd name="connsiteX198" fmla="*/ 427697 w 1037297"/>
                <a:gd name="connsiteY198" fmla="*/ 137103 h 838042"/>
                <a:gd name="connsiteX199" fmla="*/ 420077 w 1037297"/>
                <a:gd name="connsiteY199" fmla="*/ 169279 h 838042"/>
                <a:gd name="connsiteX200" fmla="*/ 416267 w 1037297"/>
                <a:gd name="connsiteY200" fmla="*/ 186424 h 838042"/>
                <a:gd name="connsiteX201" fmla="*/ 420077 w 1037297"/>
                <a:gd name="connsiteY201" fmla="*/ 207379 h 838042"/>
                <a:gd name="connsiteX202" fmla="*/ 423887 w 1037297"/>
                <a:gd name="connsiteY202" fmla="*/ 213094 h 838042"/>
                <a:gd name="connsiteX203" fmla="*/ 427697 w 1037297"/>
                <a:gd name="connsiteY203" fmla="*/ 224524 h 838042"/>
                <a:gd name="connsiteX204" fmla="*/ 425792 w 1037297"/>
                <a:gd name="connsiteY204" fmla="*/ 251194 h 838042"/>
                <a:gd name="connsiteX205" fmla="*/ 420077 w 1037297"/>
                <a:gd name="connsiteY205" fmla="*/ 253099 h 838042"/>
                <a:gd name="connsiteX206" fmla="*/ 414362 w 1037297"/>
                <a:gd name="connsiteY206" fmla="*/ 256909 h 838042"/>
                <a:gd name="connsiteX207" fmla="*/ 423887 w 1037297"/>
                <a:gd name="connsiteY20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2487 w 1037297"/>
                <a:gd name="connsiteY117" fmla="*/ 437884 h 838042"/>
                <a:gd name="connsiteX118" fmla="*/ 656297 w 1037297"/>
                <a:gd name="connsiteY118" fmla="*/ 432169 h 838042"/>
                <a:gd name="connsiteX119" fmla="*/ 658202 w 1037297"/>
                <a:gd name="connsiteY119" fmla="*/ 426454 h 838042"/>
                <a:gd name="connsiteX120" fmla="*/ 663917 w 1037297"/>
                <a:gd name="connsiteY120" fmla="*/ 424549 h 838042"/>
                <a:gd name="connsiteX121" fmla="*/ 673442 w 1037297"/>
                <a:gd name="connsiteY121" fmla="*/ 413119 h 838042"/>
                <a:gd name="connsiteX122" fmla="*/ 726782 w 1037297"/>
                <a:gd name="connsiteY122" fmla="*/ 405499 h 838042"/>
                <a:gd name="connsiteX123" fmla="*/ 844892 w 1037297"/>
                <a:gd name="connsiteY123" fmla="*/ 407404 h 838042"/>
                <a:gd name="connsiteX124" fmla="*/ 873467 w 1037297"/>
                <a:gd name="connsiteY124" fmla="*/ 409309 h 838042"/>
                <a:gd name="connsiteX125" fmla="*/ 902042 w 1037297"/>
                <a:gd name="connsiteY125" fmla="*/ 415024 h 838042"/>
                <a:gd name="connsiteX126" fmla="*/ 924902 w 1037297"/>
                <a:gd name="connsiteY126" fmla="*/ 418834 h 838042"/>
                <a:gd name="connsiteX127" fmla="*/ 953477 w 1037297"/>
                <a:gd name="connsiteY127" fmla="*/ 424549 h 838042"/>
                <a:gd name="connsiteX128" fmla="*/ 959192 w 1037297"/>
                <a:gd name="connsiteY128" fmla="*/ 424549 h 838042"/>
                <a:gd name="connsiteX129" fmla="*/ 1004912 w 1037297"/>
                <a:gd name="connsiteY129" fmla="*/ 422644 h 838042"/>
                <a:gd name="connsiteX130" fmla="*/ 1033487 w 1037297"/>
                <a:gd name="connsiteY130" fmla="*/ 415024 h 838042"/>
                <a:gd name="connsiteX131" fmla="*/ 1037297 w 1037297"/>
                <a:gd name="connsiteY131" fmla="*/ 409309 h 838042"/>
                <a:gd name="connsiteX132" fmla="*/ 1035392 w 1037297"/>
                <a:gd name="connsiteY132" fmla="*/ 390259 h 838042"/>
                <a:gd name="connsiteX133" fmla="*/ 1029677 w 1037297"/>
                <a:gd name="connsiteY133" fmla="*/ 386449 h 838042"/>
                <a:gd name="connsiteX134" fmla="*/ 1014437 w 1037297"/>
                <a:gd name="connsiteY134" fmla="*/ 384544 h 838042"/>
                <a:gd name="connsiteX135" fmla="*/ 1008722 w 1037297"/>
                <a:gd name="connsiteY135" fmla="*/ 382639 h 838042"/>
                <a:gd name="connsiteX136" fmla="*/ 1001102 w 1037297"/>
                <a:gd name="connsiteY136" fmla="*/ 380734 h 838042"/>
                <a:gd name="connsiteX137" fmla="*/ 989672 w 1037297"/>
                <a:gd name="connsiteY137" fmla="*/ 373114 h 838042"/>
                <a:gd name="connsiteX138" fmla="*/ 978242 w 1037297"/>
                <a:gd name="connsiteY138" fmla="*/ 369304 h 838042"/>
                <a:gd name="connsiteX139" fmla="*/ 972527 w 1037297"/>
                <a:gd name="connsiteY139" fmla="*/ 367399 h 838042"/>
                <a:gd name="connsiteX140" fmla="*/ 964907 w 1037297"/>
                <a:gd name="connsiteY140" fmla="*/ 365494 h 838042"/>
                <a:gd name="connsiteX141" fmla="*/ 959192 w 1037297"/>
                <a:gd name="connsiteY141" fmla="*/ 363589 h 838042"/>
                <a:gd name="connsiteX142" fmla="*/ 938237 w 1037297"/>
                <a:gd name="connsiteY142" fmla="*/ 357874 h 838042"/>
                <a:gd name="connsiteX143" fmla="*/ 932522 w 1037297"/>
                <a:gd name="connsiteY143" fmla="*/ 355969 h 838042"/>
                <a:gd name="connsiteX144" fmla="*/ 827747 w 1037297"/>
                <a:gd name="connsiteY144" fmla="*/ 357874 h 838042"/>
                <a:gd name="connsiteX145" fmla="*/ 822032 w 1037297"/>
                <a:gd name="connsiteY145" fmla="*/ 359779 h 838042"/>
                <a:gd name="connsiteX146" fmla="*/ 732497 w 1037297"/>
                <a:gd name="connsiteY146" fmla="*/ 361684 h 838042"/>
                <a:gd name="connsiteX147" fmla="*/ 719162 w 1037297"/>
                <a:gd name="connsiteY147" fmla="*/ 365494 h 838042"/>
                <a:gd name="connsiteX148" fmla="*/ 698207 w 1037297"/>
                <a:gd name="connsiteY148" fmla="*/ 367399 h 838042"/>
                <a:gd name="connsiteX149" fmla="*/ 671537 w 1037297"/>
                <a:gd name="connsiteY149" fmla="*/ 369304 h 838042"/>
                <a:gd name="connsiteX150" fmla="*/ 671537 w 1037297"/>
                <a:gd name="connsiteY150" fmla="*/ 369304 h 838042"/>
                <a:gd name="connsiteX151" fmla="*/ 648677 w 1037297"/>
                <a:gd name="connsiteY151" fmla="*/ 373114 h 838042"/>
                <a:gd name="connsiteX152" fmla="*/ 644867 w 1037297"/>
                <a:gd name="connsiteY152" fmla="*/ 361684 h 838042"/>
                <a:gd name="connsiteX153" fmla="*/ 642962 w 1037297"/>
                <a:gd name="connsiteY153" fmla="*/ 355969 h 838042"/>
                <a:gd name="connsiteX154" fmla="*/ 644867 w 1037297"/>
                <a:gd name="connsiteY154" fmla="*/ 338824 h 838042"/>
                <a:gd name="connsiteX155" fmla="*/ 646772 w 1037297"/>
                <a:gd name="connsiteY155" fmla="*/ 333109 h 838042"/>
                <a:gd name="connsiteX156" fmla="*/ 663917 w 1037297"/>
                <a:gd name="connsiteY156" fmla="*/ 323584 h 838042"/>
                <a:gd name="connsiteX157" fmla="*/ 675347 w 1037297"/>
                <a:gd name="connsiteY157" fmla="*/ 315964 h 838042"/>
                <a:gd name="connsiteX158" fmla="*/ 677252 w 1037297"/>
                <a:gd name="connsiteY158" fmla="*/ 310249 h 838042"/>
                <a:gd name="connsiteX159" fmla="*/ 682967 w 1037297"/>
                <a:gd name="connsiteY159" fmla="*/ 308344 h 838042"/>
                <a:gd name="connsiteX160" fmla="*/ 688682 w 1037297"/>
                <a:gd name="connsiteY160" fmla="*/ 304534 h 838042"/>
                <a:gd name="connsiteX161" fmla="*/ 698207 w 1037297"/>
                <a:gd name="connsiteY161" fmla="*/ 295009 h 838042"/>
                <a:gd name="connsiteX162" fmla="*/ 707732 w 1037297"/>
                <a:gd name="connsiteY162" fmla="*/ 283579 h 838042"/>
                <a:gd name="connsiteX163" fmla="*/ 719162 w 1037297"/>
                <a:gd name="connsiteY163" fmla="*/ 275959 h 838042"/>
                <a:gd name="connsiteX164" fmla="*/ 734402 w 1037297"/>
                <a:gd name="connsiteY164" fmla="*/ 262624 h 838042"/>
                <a:gd name="connsiteX165" fmla="*/ 743927 w 1037297"/>
                <a:gd name="connsiteY165" fmla="*/ 251194 h 838042"/>
                <a:gd name="connsiteX166" fmla="*/ 755357 w 1037297"/>
                <a:gd name="connsiteY166" fmla="*/ 241669 h 838042"/>
                <a:gd name="connsiteX167" fmla="*/ 761072 w 1037297"/>
                <a:gd name="connsiteY167" fmla="*/ 230239 h 838042"/>
                <a:gd name="connsiteX168" fmla="*/ 762977 w 1037297"/>
                <a:gd name="connsiteY168" fmla="*/ 224524 h 838042"/>
                <a:gd name="connsiteX169" fmla="*/ 768692 w 1037297"/>
                <a:gd name="connsiteY169" fmla="*/ 213094 h 838042"/>
                <a:gd name="connsiteX170" fmla="*/ 766787 w 1037297"/>
                <a:gd name="connsiteY170" fmla="*/ 197854 h 838042"/>
                <a:gd name="connsiteX171" fmla="*/ 761072 w 1037297"/>
                <a:gd name="connsiteY171" fmla="*/ 195949 h 838042"/>
                <a:gd name="connsiteX172" fmla="*/ 740117 w 1037297"/>
                <a:gd name="connsiteY172" fmla="*/ 197854 h 838042"/>
                <a:gd name="connsiteX173" fmla="*/ 734402 w 1037297"/>
                <a:gd name="connsiteY173" fmla="*/ 201664 h 838042"/>
                <a:gd name="connsiteX174" fmla="*/ 722972 w 1037297"/>
                <a:gd name="connsiteY174" fmla="*/ 205474 h 838042"/>
                <a:gd name="connsiteX175" fmla="*/ 719162 w 1037297"/>
                <a:gd name="connsiteY175" fmla="*/ 211189 h 838042"/>
                <a:gd name="connsiteX176" fmla="*/ 713447 w 1037297"/>
                <a:gd name="connsiteY176" fmla="*/ 213094 h 838042"/>
                <a:gd name="connsiteX177" fmla="*/ 707732 w 1037297"/>
                <a:gd name="connsiteY177" fmla="*/ 216904 h 838042"/>
                <a:gd name="connsiteX178" fmla="*/ 702017 w 1037297"/>
                <a:gd name="connsiteY178" fmla="*/ 222619 h 838042"/>
                <a:gd name="connsiteX179" fmla="*/ 694397 w 1037297"/>
                <a:gd name="connsiteY179" fmla="*/ 226429 h 838042"/>
                <a:gd name="connsiteX180" fmla="*/ 652487 w 1037297"/>
                <a:gd name="connsiteY180" fmla="*/ 255004 h 838042"/>
                <a:gd name="connsiteX181" fmla="*/ 639152 w 1037297"/>
                <a:gd name="connsiteY181" fmla="*/ 266434 h 838042"/>
                <a:gd name="connsiteX182" fmla="*/ 629627 w 1037297"/>
                <a:gd name="connsiteY182" fmla="*/ 283579 h 838042"/>
                <a:gd name="connsiteX183" fmla="*/ 604862 w 1037297"/>
                <a:gd name="connsiteY183" fmla="*/ 289294 h 838042"/>
                <a:gd name="connsiteX184" fmla="*/ 591527 w 1037297"/>
                <a:gd name="connsiteY184" fmla="*/ 293104 h 838042"/>
                <a:gd name="connsiteX185" fmla="*/ 576287 w 1037297"/>
                <a:gd name="connsiteY185" fmla="*/ 291199 h 838042"/>
                <a:gd name="connsiteX186" fmla="*/ 564857 w 1037297"/>
                <a:gd name="connsiteY186" fmla="*/ 287389 h 838042"/>
                <a:gd name="connsiteX187" fmla="*/ 553427 w 1037297"/>
                <a:gd name="connsiteY187" fmla="*/ 283579 h 838042"/>
                <a:gd name="connsiteX188" fmla="*/ 541997 w 1037297"/>
                <a:gd name="connsiteY188" fmla="*/ 279769 h 838042"/>
                <a:gd name="connsiteX189" fmla="*/ 536282 w 1037297"/>
                <a:gd name="connsiteY189" fmla="*/ 277864 h 838042"/>
                <a:gd name="connsiteX190" fmla="*/ 530567 w 1037297"/>
                <a:gd name="connsiteY190" fmla="*/ 274054 h 838042"/>
                <a:gd name="connsiteX191" fmla="*/ 519137 w 1037297"/>
                <a:gd name="connsiteY191" fmla="*/ 268339 h 838042"/>
                <a:gd name="connsiteX192" fmla="*/ 511517 w 1037297"/>
                <a:gd name="connsiteY192" fmla="*/ 256909 h 838042"/>
                <a:gd name="connsiteX193" fmla="*/ 507707 w 1037297"/>
                <a:gd name="connsiteY193" fmla="*/ 235954 h 838042"/>
                <a:gd name="connsiteX194" fmla="*/ 509612 w 1037297"/>
                <a:gd name="connsiteY194" fmla="*/ 171184 h 838042"/>
                <a:gd name="connsiteX195" fmla="*/ 508314 w 1037297"/>
                <a:gd name="connsiteY195" fmla="*/ 73485 h 838042"/>
                <a:gd name="connsiteX196" fmla="*/ 454116 w 1037297"/>
                <a:gd name="connsiteY196" fmla="*/ 11248 h 838042"/>
                <a:gd name="connsiteX197" fmla="*/ 435401 w 1037297"/>
                <a:gd name="connsiteY197" fmla="*/ 68523 h 838042"/>
                <a:gd name="connsiteX198" fmla="*/ 427697 w 1037297"/>
                <a:gd name="connsiteY198" fmla="*/ 137103 h 838042"/>
                <a:gd name="connsiteX199" fmla="*/ 420077 w 1037297"/>
                <a:gd name="connsiteY199" fmla="*/ 169279 h 838042"/>
                <a:gd name="connsiteX200" fmla="*/ 416267 w 1037297"/>
                <a:gd name="connsiteY200" fmla="*/ 186424 h 838042"/>
                <a:gd name="connsiteX201" fmla="*/ 420077 w 1037297"/>
                <a:gd name="connsiteY201" fmla="*/ 207379 h 838042"/>
                <a:gd name="connsiteX202" fmla="*/ 423887 w 1037297"/>
                <a:gd name="connsiteY202" fmla="*/ 213094 h 838042"/>
                <a:gd name="connsiteX203" fmla="*/ 427697 w 1037297"/>
                <a:gd name="connsiteY203" fmla="*/ 224524 h 838042"/>
                <a:gd name="connsiteX204" fmla="*/ 425792 w 1037297"/>
                <a:gd name="connsiteY204" fmla="*/ 251194 h 838042"/>
                <a:gd name="connsiteX205" fmla="*/ 420077 w 1037297"/>
                <a:gd name="connsiteY205" fmla="*/ 253099 h 838042"/>
                <a:gd name="connsiteX206" fmla="*/ 414362 w 1037297"/>
                <a:gd name="connsiteY206" fmla="*/ 256909 h 838042"/>
                <a:gd name="connsiteX207" fmla="*/ 423887 w 1037297"/>
                <a:gd name="connsiteY20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2487 w 1037297"/>
                <a:gd name="connsiteY117" fmla="*/ 437884 h 838042"/>
                <a:gd name="connsiteX118" fmla="*/ 656297 w 1037297"/>
                <a:gd name="connsiteY118" fmla="*/ 432169 h 838042"/>
                <a:gd name="connsiteX119" fmla="*/ 658202 w 1037297"/>
                <a:gd name="connsiteY119" fmla="*/ 426454 h 838042"/>
                <a:gd name="connsiteX120" fmla="*/ 663917 w 1037297"/>
                <a:gd name="connsiteY120" fmla="*/ 424549 h 838042"/>
                <a:gd name="connsiteX121" fmla="*/ 673442 w 1037297"/>
                <a:gd name="connsiteY121" fmla="*/ 413119 h 838042"/>
                <a:gd name="connsiteX122" fmla="*/ 726782 w 1037297"/>
                <a:gd name="connsiteY122" fmla="*/ 405499 h 838042"/>
                <a:gd name="connsiteX123" fmla="*/ 844892 w 1037297"/>
                <a:gd name="connsiteY123" fmla="*/ 407404 h 838042"/>
                <a:gd name="connsiteX124" fmla="*/ 873467 w 1037297"/>
                <a:gd name="connsiteY124" fmla="*/ 409309 h 838042"/>
                <a:gd name="connsiteX125" fmla="*/ 902042 w 1037297"/>
                <a:gd name="connsiteY125" fmla="*/ 415024 h 838042"/>
                <a:gd name="connsiteX126" fmla="*/ 924902 w 1037297"/>
                <a:gd name="connsiteY126" fmla="*/ 418834 h 838042"/>
                <a:gd name="connsiteX127" fmla="*/ 953477 w 1037297"/>
                <a:gd name="connsiteY127" fmla="*/ 424549 h 838042"/>
                <a:gd name="connsiteX128" fmla="*/ 959192 w 1037297"/>
                <a:gd name="connsiteY128" fmla="*/ 424549 h 838042"/>
                <a:gd name="connsiteX129" fmla="*/ 1004912 w 1037297"/>
                <a:gd name="connsiteY129" fmla="*/ 422644 h 838042"/>
                <a:gd name="connsiteX130" fmla="*/ 1033487 w 1037297"/>
                <a:gd name="connsiteY130" fmla="*/ 415024 h 838042"/>
                <a:gd name="connsiteX131" fmla="*/ 1037297 w 1037297"/>
                <a:gd name="connsiteY131" fmla="*/ 409309 h 838042"/>
                <a:gd name="connsiteX132" fmla="*/ 1035392 w 1037297"/>
                <a:gd name="connsiteY132" fmla="*/ 390259 h 838042"/>
                <a:gd name="connsiteX133" fmla="*/ 1029677 w 1037297"/>
                <a:gd name="connsiteY133" fmla="*/ 386449 h 838042"/>
                <a:gd name="connsiteX134" fmla="*/ 1014437 w 1037297"/>
                <a:gd name="connsiteY134" fmla="*/ 384544 h 838042"/>
                <a:gd name="connsiteX135" fmla="*/ 1008722 w 1037297"/>
                <a:gd name="connsiteY135" fmla="*/ 382639 h 838042"/>
                <a:gd name="connsiteX136" fmla="*/ 1001102 w 1037297"/>
                <a:gd name="connsiteY136" fmla="*/ 380734 h 838042"/>
                <a:gd name="connsiteX137" fmla="*/ 989672 w 1037297"/>
                <a:gd name="connsiteY137" fmla="*/ 373114 h 838042"/>
                <a:gd name="connsiteX138" fmla="*/ 978242 w 1037297"/>
                <a:gd name="connsiteY138" fmla="*/ 369304 h 838042"/>
                <a:gd name="connsiteX139" fmla="*/ 972527 w 1037297"/>
                <a:gd name="connsiteY139" fmla="*/ 367399 h 838042"/>
                <a:gd name="connsiteX140" fmla="*/ 964907 w 1037297"/>
                <a:gd name="connsiteY140" fmla="*/ 365494 h 838042"/>
                <a:gd name="connsiteX141" fmla="*/ 959192 w 1037297"/>
                <a:gd name="connsiteY141" fmla="*/ 363589 h 838042"/>
                <a:gd name="connsiteX142" fmla="*/ 938237 w 1037297"/>
                <a:gd name="connsiteY142" fmla="*/ 357874 h 838042"/>
                <a:gd name="connsiteX143" fmla="*/ 932522 w 1037297"/>
                <a:gd name="connsiteY143" fmla="*/ 355969 h 838042"/>
                <a:gd name="connsiteX144" fmla="*/ 827747 w 1037297"/>
                <a:gd name="connsiteY144" fmla="*/ 357874 h 838042"/>
                <a:gd name="connsiteX145" fmla="*/ 822032 w 1037297"/>
                <a:gd name="connsiteY145" fmla="*/ 359779 h 838042"/>
                <a:gd name="connsiteX146" fmla="*/ 732497 w 1037297"/>
                <a:gd name="connsiteY146" fmla="*/ 361684 h 838042"/>
                <a:gd name="connsiteX147" fmla="*/ 719162 w 1037297"/>
                <a:gd name="connsiteY147" fmla="*/ 365494 h 838042"/>
                <a:gd name="connsiteX148" fmla="*/ 698207 w 1037297"/>
                <a:gd name="connsiteY148" fmla="*/ 367399 h 838042"/>
                <a:gd name="connsiteX149" fmla="*/ 671537 w 1037297"/>
                <a:gd name="connsiteY149" fmla="*/ 369304 h 838042"/>
                <a:gd name="connsiteX150" fmla="*/ 671537 w 1037297"/>
                <a:gd name="connsiteY150" fmla="*/ 369304 h 838042"/>
                <a:gd name="connsiteX151" fmla="*/ 648677 w 1037297"/>
                <a:gd name="connsiteY151" fmla="*/ 373114 h 838042"/>
                <a:gd name="connsiteX152" fmla="*/ 644867 w 1037297"/>
                <a:gd name="connsiteY152" fmla="*/ 361684 h 838042"/>
                <a:gd name="connsiteX153" fmla="*/ 642962 w 1037297"/>
                <a:gd name="connsiteY153" fmla="*/ 355969 h 838042"/>
                <a:gd name="connsiteX154" fmla="*/ 644867 w 1037297"/>
                <a:gd name="connsiteY154" fmla="*/ 338824 h 838042"/>
                <a:gd name="connsiteX155" fmla="*/ 646772 w 1037297"/>
                <a:gd name="connsiteY155" fmla="*/ 333109 h 838042"/>
                <a:gd name="connsiteX156" fmla="*/ 663917 w 1037297"/>
                <a:gd name="connsiteY156" fmla="*/ 323584 h 838042"/>
                <a:gd name="connsiteX157" fmla="*/ 675347 w 1037297"/>
                <a:gd name="connsiteY157" fmla="*/ 315964 h 838042"/>
                <a:gd name="connsiteX158" fmla="*/ 677252 w 1037297"/>
                <a:gd name="connsiteY158" fmla="*/ 310249 h 838042"/>
                <a:gd name="connsiteX159" fmla="*/ 682967 w 1037297"/>
                <a:gd name="connsiteY159" fmla="*/ 308344 h 838042"/>
                <a:gd name="connsiteX160" fmla="*/ 688682 w 1037297"/>
                <a:gd name="connsiteY160" fmla="*/ 304534 h 838042"/>
                <a:gd name="connsiteX161" fmla="*/ 698207 w 1037297"/>
                <a:gd name="connsiteY161" fmla="*/ 295009 h 838042"/>
                <a:gd name="connsiteX162" fmla="*/ 707732 w 1037297"/>
                <a:gd name="connsiteY162" fmla="*/ 283579 h 838042"/>
                <a:gd name="connsiteX163" fmla="*/ 719162 w 1037297"/>
                <a:gd name="connsiteY163" fmla="*/ 275959 h 838042"/>
                <a:gd name="connsiteX164" fmla="*/ 734402 w 1037297"/>
                <a:gd name="connsiteY164" fmla="*/ 262624 h 838042"/>
                <a:gd name="connsiteX165" fmla="*/ 743927 w 1037297"/>
                <a:gd name="connsiteY165" fmla="*/ 251194 h 838042"/>
                <a:gd name="connsiteX166" fmla="*/ 755357 w 1037297"/>
                <a:gd name="connsiteY166" fmla="*/ 241669 h 838042"/>
                <a:gd name="connsiteX167" fmla="*/ 761072 w 1037297"/>
                <a:gd name="connsiteY167" fmla="*/ 230239 h 838042"/>
                <a:gd name="connsiteX168" fmla="*/ 762977 w 1037297"/>
                <a:gd name="connsiteY168" fmla="*/ 224524 h 838042"/>
                <a:gd name="connsiteX169" fmla="*/ 768692 w 1037297"/>
                <a:gd name="connsiteY169" fmla="*/ 213094 h 838042"/>
                <a:gd name="connsiteX170" fmla="*/ 766787 w 1037297"/>
                <a:gd name="connsiteY170" fmla="*/ 197854 h 838042"/>
                <a:gd name="connsiteX171" fmla="*/ 761072 w 1037297"/>
                <a:gd name="connsiteY171" fmla="*/ 195949 h 838042"/>
                <a:gd name="connsiteX172" fmla="*/ 740117 w 1037297"/>
                <a:gd name="connsiteY172" fmla="*/ 197854 h 838042"/>
                <a:gd name="connsiteX173" fmla="*/ 734402 w 1037297"/>
                <a:gd name="connsiteY173" fmla="*/ 201664 h 838042"/>
                <a:gd name="connsiteX174" fmla="*/ 722972 w 1037297"/>
                <a:gd name="connsiteY174" fmla="*/ 205474 h 838042"/>
                <a:gd name="connsiteX175" fmla="*/ 719162 w 1037297"/>
                <a:gd name="connsiteY175" fmla="*/ 211189 h 838042"/>
                <a:gd name="connsiteX176" fmla="*/ 713447 w 1037297"/>
                <a:gd name="connsiteY176" fmla="*/ 213094 h 838042"/>
                <a:gd name="connsiteX177" fmla="*/ 707732 w 1037297"/>
                <a:gd name="connsiteY177" fmla="*/ 216904 h 838042"/>
                <a:gd name="connsiteX178" fmla="*/ 702017 w 1037297"/>
                <a:gd name="connsiteY178" fmla="*/ 222619 h 838042"/>
                <a:gd name="connsiteX179" fmla="*/ 694397 w 1037297"/>
                <a:gd name="connsiteY179" fmla="*/ 226429 h 838042"/>
                <a:gd name="connsiteX180" fmla="*/ 652487 w 1037297"/>
                <a:gd name="connsiteY180" fmla="*/ 255004 h 838042"/>
                <a:gd name="connsiteX181" fmla="*/ 639152 w 1037297"/>
                <a:gd name="connsiteY181" fmla="*/ 266434 h 838042"/>
                <a:gd name="connsiteX182" fmla="*/ 629627 w 1037297"/>
                <a:gd name="connsiteY182" fmla="*/ 283579 h 838042"/>
                <a:gd name="connsiteX183" fmla="*/ 604862 w 1037297"/>
                <a:gd name="connsiteY183" fmla="*/ 289294 h 838042"/>
                <a:gd name="connsiteX184" fmla="*/ 591527 w 1037297"/>
                <a:gd name="connsiteY184" fmla="*/ 293104 h 838042"/>
                <a:gd name="connsiteX185" fmla="*/ 576287 w 1037297"/>
                <a:gd name="connsiteY185" fmla="*/ 291199 h 838042"/>
                <a:gd name="connsiteX186" fmla="*/ 564857 w 1037297"/>
                <a:gd name="connsiteY186" fmla="*/ 287389 h 838042"/>
                <a:gd name="connsiteX187" fmla="*/ 553427 w 1037297"/>
                <a:gd name="connsiteY187" fmla="*/ 283579 h 838042"/>
                <a:gd name="connsiteX188" fmla="*/ 541997 w 1037297"/>
                <a:gd name="connsiteY188" fmla="*/ 279769 h 838042"/>
                <a:gd name="connsiteX189" fmla="*/ 536282 w 1037297"/>
                <a:gd name="connsiteY189" fmla="*/ 277864 h 838042"/>
                <a:gd name="connsiteX190" fmla="*/ 530567 w 1037297"/>
                <a:gd name="connsiteY190" fmla="*/ 274054 h 838042"/>
                <a:gd name="connsiteX191" fmla="*/ 519137 w 1037297"/>
                <a:gd name="connsiteY191" fmla="*/ 268339 h 838042"/>
                <a:gd name="connsiteX192" fmla="*/ 511517 w 1037297"/>
                <a:gd name="connsiteY192" fmla="*/ 256909 h 838042"/>
                <a:gd name="connsiteX193" fmla="*/ 507707 w 1037297"/>
                <a:gd name="connsiteY193" fmla="*/ 235954 h 838042"/>
                <a:gd name="connsiteX194" fmla="*/ 509612 w 1037297"/>
                <a:gd name="connsiteY194" fmla="*/ 171184 h 838042"/>
                <a:gd name="connsiteX195" fmla="*/ 508314 w 1037297"/>
                <a:gd name="connsiteY195" fmla="*/ 73485 h 838042"/>
                <a:gd name="connsiteX196" fmla="*/ 454116 w 1037297"/>
                <a:gd name="connsiteY196" fmla="*/ 11248 h 838042"/>
                <a:gd name="connsiteX197" fmla="*/ 435401 w 1037297"/>
                <a:gd name="connsiteY197" fmla="*/ 68523 h 838042"/>
                <a:gd name="connsiteX198" fmla="*/ 427697 w 1037297"/>
                <a:gd name="connsiteY198" fmla="*/ 137103 h 838042"/>
                <a:gd name="connsiteX199" fmla="*/ 420077 w 1037297"/>
                <a:gd name="connsiteY199" fmla="*/ 169279 h 838042"/>
                <a:gd name="connsiteX200" fmla="*/ 416267 w 1037297"/>
                <a:gd name="connsiteY200" fmla="*/ 186424 h 838042"/>
                <a:gd name="connsiteX201" fmla="*/ 420077 w 1037297"/>
                <a:gd name="connsiteY201" fmla="*/ 207379 h 838042"/>
                <a:gd name="connsiteX202" fmla="*/ 423887 w 1037297"/>
                <a:gd name="connsiteY202" fmla="*/ 213094 h 838042"/>
                <a:gd name="connsiteX203" fmla="*/ 427697 w 1037297"/>
                <a:gd name="connsiteY203" fmla="*/ 224524 h 838042"/>
                <a:gd name="connsiteX204" fmla="*/ 425792 w 1037297"/>
                <a:gd name="connsiteY204" fmla="*/ 251194 h 838042"/>
                <a:gd name="connsiteX205" fmla="*/ 420077 w 1037297"/>
                <a:gd name="connsiteY205" fmla="*/ 253099 h 838042"/>
                <a:gd name="connsiteX206" fmla="*/ 414362 w 1037297"/>
                <a:gd name="connsiteY206" fmla="*/ 256909 h 838042"/>
                <a:gd name="connsiteX207" fmla="*/ 423887 w 1037297"/>
                <a:gd name="connsiteY20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6297 w 1037297"/>
                <a:gd name="connsiteY117" fmla="*/ 432169 h 838042"/>
                <a:gd name="connsiteX118" fmla="*/ 658202 w 1037297"/>
                <a:gd name="connsiteY118" fmla="*/ 426454 h 838042"/>
                <a:gd name="connsiteX119" fmla="*/ 663917 w 1037297"/>
                <a:gd name="connsiteY119" fmla="*/ 424549 h 838042"/>
                <a:gd name="connsiteX120" fmla="*/ 673442 w 1037297"/>
                <a:gd name="connsiteY120" fmla="*/ 413119 h 838042"/>
                <a:gd name="connsiteX121" fmla="*/ 726782 w 1037297"/>
                <a:gd name="connsiteY121" fmla="*/ 405499 h 838042"/>
                <a:gd name="connsiteX122" fmla="*/ 844892 w 1037297"/>
                <a:gd name="connsiteY122" fmla="*/ 407404 h 838042"/>
                <a:gd name="connsiteX123" fmla="*/ 873467 w 1037297"/>
                <a:gd name="connsiteY123" fmla="*/ 409309 h 838042"/>
                <a:gd name="connsiteX124" fmla="*/ 902042 w 1037297"/>
                <a:gd name="connsiteY124" fmla="*/ 415024 h 838042"/>
                <a:gd name="connsiteX125" fmla="*/ 924902 w 1037297"/>
                <a:gd name="connsiteY125" fmla="*/ 418834 h 838042"/>
                <a:gd name="connsiteX126" fmla="*/ 953477 w 1037297"/>
                <a:gd name="connsiteY126" fmla="*/ 424549 h 838042"/>
                <a:gd name="connsiteX127" fmla="*/ 959192 w 1037297"/>
                <a:gd name="connsiteY127" fmla="*/ 424549 h 838042"/>
                <a:gd name="connsiteX128" fmla="*/ 1004912 w 1037297"/>
                <a:gd name="connsiteY128" fmla="*/ 422644 h 838042"/>
                <a:gd name="connsiteX129" fmla="*/ 1033487 w 1037297"/>
                <a:gd name="connsiteY129" fmla="*/ 415024 h 838042"/>
                <a:gd name="connsiteX130" fmla="*/ 1037297 w 1037297"/>
                <a:gd name="connsiteY130" fmla="*/ 409309 h 838042"/>
                <a:gd name="connsiteX131" fmla="*/ 1035392 w 1037297"/>
                <a:gd name="connsiteY131" fmla="*/ 390259 h 838042"/>
                <a:gd name="connsiteX132" fmla="*/ 1029677 w 1037297"/>
                <a:gd name="connsiteY132" fmla="*/ 386449 h 838042"/>
                <a:gd name="connsiteX133" fmla="*/ 1014437 w 1037297"/>
                <a:gd name="connsiteY133" fmla="*/ 384544 h 838042"/>
                <a:gd name="connsiteX134" fmla="*/ 1008722 w 1037297"/>
                <a:gd name="connsiteY134" fmla="*/ 382639 h 838042"/>
                <a:gd name="connsiteX135" fmla="*/ 1001102 w 1037297"/>
                <a:gd name="connsiteY135" fmla="*/ 380734 h 838042"/>
                <a:gd name="connsiteX136" fmla="*/ 989672 w 1037297"/>
                <a:gd name="connsiteY136" fmla="*/ 373114 h 838042"/>
                <a:gd name="connsiteX137" fmla="*/ 978242 w 1037297"/>
                <a:gd name="connsiteY137" fmla="*/ 369304 h 838042"/>
                <a:gd name="connsiteX138" fmla="*/ 972527 w 1037297"/>
                <a:gd name="connsiteY138" fmla="*/ 367399 h 838042"/>
                <a:gd name="connsiteX139" fmla="*/ 964907 w 1037297"/>
                <a:gd name="connsiteY139" fmla="*/ 365494 h 838042"/>
                <a:gd name="connsiteX140" fmla="*/ 959192 w 1037297"/>
                <a:gd name="connsiteY140" fmla="*/ 363589 h 838042"/>
                <a:gd name="connsiteX141" fmla="*/ 938237 w 1037297"/>
                <a:gd name="connsiteY141" fmla="*/ 357874 h 838042"/>
                <a:gd name="connsiteX142" fmla="*/ 932522 w 1037297"/>
                <a:gd name="connsiteY142" fmla="*/ 355969 h 838042"/>
                <a:gd name="connsiteX143" fmla="*/ 827747 w 1037297"/>
                <a:gd name="connsiteY143" fmla="*/ 357874 h 838042"/>
                <a:gd name="connsiteX144" fmla="*/ 822032 w 1037297"/>
                <a:gd name="connsiteY144" fmla="*/ 359779 h 838042"/>
                <a:gd name="connsiteX145" fmla="*/ 732497 w 1037297"/>
                <a:gd name="connsiteY145" fmla="*/ 361684 h 838042"/>
                <a:gd name="connsiteX146" fmla="*/ 719162 w 1037297"/>
                <a:gd name="connsiteY146" fmla="*/ 365494 h 838042"/>
                <a:gd name="connsiteX147" fmla="*/ 698207 w 1037297"/>
                <a:gd name="connsiteY147" fmla="*/ 367399 h 838042"/>
                <a:gd name="connsiteX148" fmla="*/ 671537 w 1037297"/>
                <a:gd name="connsiteY148" fmla="*/ 369304 h 838042"/>
                <a:gd name="connsiteX149" fmla="*/ 671537 w 1037297"/>
                <a:gd name="connsiteY149" fmla="*/ 369304 h 838042"/>
                <a:gd name="connsiteX150" fmla="*/ 648677 w 1037297"/>
                <a:gd name="connsiteY150" fmla="*/ 373114 h 838042"/>
                <a:gd name="connsiteX151" fmla="*/ 644867 w 1037297"/>
                <a:gd name="connsiteY151" fmla="*/ 361684 h 838042"/>
                <a:gd name="connsiteX152" fmla="*/ 642962 w 1037297"/>
                <a:gd name="connsiteY152" fmla="*/ 355969 h 838042"/>
                <a:gd name="connsiteX153" fmla="*/ 644867 w 1037297"/>
                <a:gd name="connsiteY153" fmla="*/ 338824 h 838042"/>
                <a:gd name="connsiteX154" fmla="*/ 646772 w 1037297"/>
                <a:gd name="connsiteY154" fmla="*/ 333109 h 838042"/>
                <a:gd name="connsiteX155" fmla="*/ 663917 w 1037297"/>
                <a:gd name="connsiteY155" fmla="*/ 323584 h 838042"/>
                <a:gd name="connsiteX156" fmla="*/ 675347 w 1037297"/>
                <a:gd name="connsiteY156" fmla="*/ 315964 h 838042"/>
                <a:gd name="connsiteX157" fmla="*/ 677252 w 1037297"/>
                <a:gd name="connsiteY157" fmla="*/ 310249 h 838042"/>
                <a:gd name="connsiteX158" fmla="*/ 682967 w 1037297"/>
                <a:gd name="connsiteY158" fmla="*/ 308344 h 838042"/>
                <a:gd name="connsiteX159" fmla="*/ 688682 w 1037297"/>
                <a:gd name="connsiteY159" fmla="*/ 304534 h 838042"/>
                <a:gd name="connsiteX160" fmla="*/ 698207 w 1037297"/>
                <a:gd name="connsiteY160" fmla="*/ 295009 h 838042"/>
                <a:gd name="connsiteX161" fmla="*/ 707732 w 1037297"/>
                <a:gd name="connsiteY161" fmla="*/ 283579 h 838042"/>
                <a:gd name="connsiteX162" fmla="*/ 719162 w 1037297"/>
                <a:gd name="connsiteY162" fmla="*/ 275959 h 838042"/>
                <a:gd name="connsiteX163" fmla="*/ 734402 w 1037297"/>
                <a:gd name="connsiteY163" fmla="*/ 262624 h 838042"/>
                <a:gd name="connsiteX164" fmla="*/ 743927 w 1037297"/>
                <a:gd name="connsiteY164" fmla="*/ 251194 h 838042"/>
                <a:gd name="connsiteX165" fmla="*/ 755357 w 1037297"/>
                <a:gd name="connsiteY165" fmla="*/ 241669 h 838042"/>
                <a:gd name="connsiteX166" fmla="*/ 761072 w 1037297"/>
                <a:gd name="connsiteY166" fmla="*/ 230239 h 838042"/>
                <a:gd name="connsiteX167" fmla="*/ 762977 w 1037297"/>
                <a:gd name="connsiteY167" fmla="*/ 224524 h 838042"/>
                <a:gd name="connsiteX168" fmla="*/ 768692 w 1037297"/>
                <a:gd name="connsiteY168" fmla="*/ 213094 h 838042"/>
                <a:gd name="connsiteX169" fmla="*/ 766787 w 1037297"/>
                <a:gd name="connsiteY169" fmla="*/ 197854 h 838042"/>
                <a:gd name="connsiteX170" fmla="*/ 761072 w 1037297"/>
                <a:gd name="connsiteY170" fmla="*/ 195949 h 838042"/>
                <a:gd name="connsiteX171" fmla="*/ 740117 w 1037297"/>
                <a:gd name="connsiteY171" fmla="*/ 197854 h 838042"/>
                <a:gd name="connsiteX172" fmla="*/ 734402 w 1037297"/>
                <a:gd name="connsiteY172" fmla="*/ 201664 h 838042"/>
                <a:gd name="connsiteX173" fmla="*/ 722972 w 1037297"/>
                <a:gd name="connsiteY173" fmla="*/ 205474 h 838042"/>
                <a:gd name="connsiteX174" fmla="*/ 719162 w 1037297"/>
                <a:gd name="connsiteY174" fmla="*/ 211189 h 838042"/>
                <a:gd name="connsiteX175" fmla="*/ 713447 w 1037297"/>
                <a:gd name="connsiteY175" fmla="*/ 213094 h 838042"/>
                <a:gd name="connsiteX176" fmla="*/ 707732 w 1037297"/>
                <a:gd name="connsiteY176" fmla="*/ 216904 h 838042"/>
                <a:gd name="connsiteX177" fmla="*/ 702017 w 1037297"/>
                <a:gd name="connsiteY177" fmla="*/ 222619 h 838042"/>
                <a:gd name="connsiteX178" fmla="*/ 694397 w 1037297"/>
                <a:gd name="connsiteY178" fmla="*/ 226429 h 838042"/>
                <a:gd name="connsiteX179" fmla="*/ 652487 w 1037297"/>
                <a:gd name="connsiteY179" fmla="*/ 255004 h 838042"/>
                <a:gd name="connsiteX180" fmla="*/ 639152 w 1037297"/>
                <a:gd name="connsiteY180" fmla="*/ 266434 h 838042"/>
                <a:gd name="connsiteX181" fmla="*/ 629627 w 1037297"/>
                <a:gd name="connsiteY181" fmla="*/ 283579 h 838042"/>
                <a:gd name="connsiteX182" fmla="*/ 604862 w 1037297"/>
                <a:gd name="connsiteY182" fmla="*/ 289294 h 838042"/>
                <a:gd name="connsiteX183" fmla="*/ 591527 w 1037297"/>
                <a:gd name="connsiteY183" fmla="*/ 293104 h 838042"/>
                <a:gd name="connsiteX184" fmla="*/ 576287 w 1037297"/>
                <a:gd name="connsiteY184" fmla="*/ 291199 h 838042"/>
                <a:gd name="connsiteX185" fmla="*/ 564857 w 1037297"/>
                <a:gd name="connsiteY185" fmla="*/ 287389 h 838042"/>
                <a:gd name="connsiteX186" fmla="*/ 553427 w 1037297"/>
                <a:gd name="connsiteY186" fmla="*/ 283579 h 838042"/>
                <a:gd name="connsiteX187" fmla="*/ 541997 w 1037297"/>
                <a:gd name="connsiteY187" fmla="*/ 279769 h 838042"/>
                <a:gd name="connsiteX188" fmla="*/ 536282 w 1037297"/>
                <a:gd name="connsiteY188" fmla="*/ 277864 h 838042"/>
                <a:gd name="connsiteX189" fmla="*/ 530567 w 1037297"/>
                <a:gd name="connsiteY189" fmla="*/ 274054 h 838042"/>
                <a:gd name="connsiteX190" fmla="*/ 519137 w 1037297"/>
                <a:gd name="connsiteY190" fmla="*/ 268339 h 838042"/>
                <a:gd name="connsiteX191" fmla="*/ 511517 w 1037297"/>
                <a:gd name="connsiteY191" fmla="*/ 256909 h 838042"/>
                <a:gd name="connsiteX192" fmla="*/ 507707 w 1037297"/>
                <a:gd name="connsiteY192" fmla="*/ 235954 h 838042"/>
                <a:gd name="connsiteX193" fmla="*/ 509612 w 1037297"/>
                <a:gd name="connsiteY193" fmla="*/ 171184 h 838042"/>
                <a:gd name="connsiteX194" fmla="*/ 508314 w 1037297"/>
                <a:gd name="connsiteY194" fmla="*/ 73485 h 838042"/>
                <a:gd name="connsiteX195" fmla="*/ 454116 w 1037297"/>
                <a:gd name="connsiteY195" fmla="*/ 11248 h 838042"/>
                <a:gd name="connsiteX196" fmla="*/ 435401 w 1037297"/>
                <a:gd name="connsiteY196" fmla="*/ 68523 h 838042"/>
                <a:gd name="connsiteX197" fmla="*/ 427697 w 1037297"/>
                <a:gd name="connsiteY197" fmla="*/ 137103 h 838042"/>
                <a:gd name="connsiteX198" fmla="*/ 420077 w 1037297"/>
                <a:gd name="connsiteY198" fmla="*/ 169279 h 838042"/>
                <a:gd name="connsiteX199" fmla="*/ 416267 w 1037297"/>
                <a:gd name="connsiteY199" fmla="*/ 186424 h 838042"/>
                <a:gd name="connsiteX200" fmla="*/ 420077 w 1037297"/>
                <a:gd name="connsiteY200" fmla="*/ 207379 h 838042"/>
                <a:gd name="connsiteX201" fmla="*/ 423887 w 1037297"/>
                <a:gd name="connsiteY201" fmla="*/ 213094 h 838042"/>
                <a:gd name="connsiteX202" fmla="*/ 427697 w 1037297"/>
                <a:gd name="connsiteY202" fmla="*/ 224524 h 838042"/>
                <a:gd name="connsiteX203" fmla="*/ 425792 w 1037297"/>
                <a:gd name="connsiteY203" fmla="*/ 251194 h 838042"/>
                <a:gd name="connsiteX204" fmla="*/ 420077 w 1037297"/>
                <a:gd name="connsiteY204" fmla="*/ 253099 h 838042"/>
                <a:gd name="connsiteX205" fmla="*/ 414362 w 1037297"/>
                <a:gd name="connsiteY205" fmla="*/ 256909 h 838042"/>
                <a:gd name="connsiteX206" fmla="*/ 423887 w 1037297"/>
                <a:gd name="connsiteY206"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8202 w 1037297"/>
                <a:gd name="connsiteY117" fmla="*/ 426454 h 838042"/>
                <a:gd name="connsiteX118" fmla="*/ 663917 w 1037297"/>
                <a:gd name="connsiteY118" fmla="*/ 424549 h 838042"/>
                <a:gd name="connsiteX119" fmla="*/ 673442 w 1037297"/>
                <a:gd name="connsiteY119" fmla="*/ 413119 h 838042"/>
                <a:gd name="connsiteX120" fmla="*/ 726782 w 1037297"/>
                <a:gd name="connsiteY120" fmla="*/ 405499 h 838042"/>
                <a:gd name="connsiteX121" fmla="*/ 844892 w 1037297"/>
                <a:gd name="connsiteY121" fmla="*/ 407404 h 838042"/>
                <a:gd name="connsiteX122" fmla="*/ 873467 w 1037297"/>
                <a:gd name="connsiteY122" fmla="*/ 409309 h 838042"/>
                <a:gd name="connsiteX123" fmla="*/ 902042 w 1037297"/>
                <a:gd name="connsiteY123" fmla="*/ 415024 h 838042"/>
                <a:gd name="connsiteX124" fmla="*/ 924902 w 1037297"/>
                <a:gd name="connsiteY124" fmla="*/ 418834 h 838042"/>
                <a:gd name="connsiteX125" fmla="*/ 953477 w 1037297"/>
                <a:gd name="connsiteY125" fmla="*/ 424549 h 838042"/>
                <a:gd name="connsiteX126" fmla="*/ 959192 w 1037297"/>
                <a:gd name="connsiteY126" fmla="*/ 424549 h 838042"/>
                <a:gd name="connsiteX127" fmla="*/ 1004912 w 1037297"/>
                <a:gd name="connsiteY127" fmla="*/ 422644 h 838042"/>
                <a:gd name="connsiteX128" fmla="*/ 1033487 w 1037297"/>
                <a:gd name="connsiteY128" fmla="*/ 415024 h 838042"/>
                <a:gd name="connsiteX129" fmla="*/ 1037297 w 1037297"/>
                <a:gd name="connsiteY129" fmla="*/ 409309 h 838042"/>
                <a:gd name="connsiteX130" fmla="*/ 1035392 w 1037297"/>
                <a:gd name="connsiteY130" fmla="*/ 390259 h 838042"/>
                <a:gd name="connsiteX131" fmla="*/ 1029677 w 1037297"/>
                <a:gd name="connsiteY131" fmla="*/ 386449 h 838042"/>
                <a:gd name="connsiteX132" fmla="*/ 1014437 w 1037297"/>
                <a:gd name="connsiteY132" fmla="*/ 384544 h 838042"/>
                <a:gd name="connsiteX133" fmla="*/ 1008722 w 1037297"/>
                <a:gd name="connsiteY133" fmla="*/ 382639 h 838042"/>
                <a:gd name="connsiteX134" fmla="*/ 1001102 w 1037297"/>
                <a:gd name="connsiteY134" fmla="*/ 380734 h 838042"/>
                <a:gd name="connsiteX135" fmla="*/ 989672 w 1037297"/>
                <a:gd name="connsiteY135" fmla="*/ 373114 h 838042"/>
                <a:gd name="connsiteX136" fmla="*/ 978242 w 1037297"/>
                <a:gd name="connsiteY136" fmla="*/ 369304 h 838042"/>
                <a:gd name="connsiteX137" fmla="*/ 972527 w 1037297"/>
                <a:gd name="connsiteY137" fmla="*/ 367399 h 838042"/>
                <a:gd name="connsiteX138" fmla="*/ 964907 w 1037297"/>
                <a:gd name="connsiteY138" fmla="*/ 365494 h 838042"/>
                <a:gd name="connsiteX139" fmla="*/ 959192 w 1037297"/>
                <a:gd name="connsiteY139" fmla="*/ 363589 h 838042"/>
                <a:gd name="connsiteX140" fmla="*/ 938237 w 1037297"/>
                <a:gd name="connsiteY140" fmla="*/ 357874 h 838042"/>
                <a:gd name="connsiteX141" fmla="*/ 932522 w 1037297"/>
                <a:gd name="connsiteY141" fmla="*/ 355969 h 838042"/>
                <a:gd name="connsiteX142" fmla="*/ 827747 w 1037297"/>
                <a:gd name="connsiteY142" fmla="*/ 357874 h 838042"/>
                <a:gd name="connsiteX143" fmla="*/ 822032 w 1037297"/>
                <a:gd name="connsiteY143" fmla="*/ 359779 h 838042"/>
                <a:gd name="connsiteX144" fmla="*/ 732497 w 1037297"/>
                <a:gd name="connsiteY144" fmla="*/ 361684 h 838042"/>
                <a:gd name="connsiteX145" fmla="*/ 719162 w 1037297"/>
                <a:gd name="connsiteY145" fmla="*/ 365494 h 838042"/>
                <a:gd name="connsiteX146" fmla="*/ 698207 w 1037297"/>
                <a:gd name="connsiteY146" fmla="*/ 367399 h 838042"/>
                <a:gd name="connsiteX147" fmla="*/ 671537 w 1037297"/>
                <a:gd name="connsiteY147" fmla="*/ 369304 h 838042"/>
                <a:gd name="connsiteX148" fmla="*/ 671537 w 1037297"/>
                <a:gd name="connsiteY148" fmla="*/ 369304 h 838042"/>
                <a:gd name="connsiteX149" fmla="*/ 648677 w 1037297"/>
                <a:gd name="connsiteY149" fmla="*/ 373114 h 838042"/>
                <a:gd name="connsiteX150" fmla="*/ 644867 w 1037297"/>
                <a:gd name="connsiteY150" fmla="*/ 361684 h 838042"/>
                <a:gd name="connsiteX151" fmla="*/ 642962 w 1037297"/>
                <a:gd name="connsiteY151" fmla="*/ 355969 h 838042"/>
                <a:gd name="connsiteX152" fmla="*/ 644867 w 1037297"/>
                <a:gd name="connsiteY152" fmla="*/ 338824 h 838042"/>
                <a:gd name="connsiteX153" fmla="*/ 646772 w 1037297"/>
                <a:gd name="connsiteY153" fmla="*/ 333109 h 838042"/>
                <a:gd name="connsiteX154" fmla="*/ 663917 w 1037297"/>
                <a:gd name="connsiteY154" fmla="*/ 323584 h 838042"/>
                <a:gd name="connsiteX155" fmla="*/ 675347 w 1037297"/>
                <a:gd name="connsiteY155" fmla="*/ 315964 h 838042"/>
                <a:gd name="connsiteX156" fmla="*/ 677252 w 1037297"/>
                <a:gd name="connsiteY156" fmla="*/ 310249 h 838042"/>
                <a:gd name="connsiteX157" fmla="*/ 682967 w 1037297"/>
                <a:gd name="connsiteY157" fmla="*/ 308344 h 838042"/>
                <a:gd name="connsiteX158" fmla="*/ 688682 w 1037297"/>
                <a:gd name="connsiteY158" fmla="*/ 304534 h 838042"/>
                <a:gd name="connsiteX159" fmla="*/ 698207 w 1037297"/>
                <a:gd name="connsiteY159" fmla="*/ 295009 h 838042"/>
                <a:gd name="connsiteX160" fmla="*/ 707732 w 1037297"/>
                <a:gd name="connsiteY160" fmla="*/ 283579 h 838042"/>
                <a:gd name="connsiteX161" fmla="*/ 719162 w 1037297"/>
                <a:gd name="connsiteY161" fmla="*/ 275959 h 838042"/>
                <a:gd name="connsiteX162" fmla="*/ 734402 w 1037297"/>
                <a:gd name="connsiteY162" fmla="*/ 262624 h 838042"/>
                <a:gd name="connsiteX163" fmla="*/ 743927 w 1037297"/>
                <a:gd name="connsiteY163" fmla="*/ 251194 h 838042"/>
                <a:gd name="connsiteX164" fmla="*/ 755357 w 1037297"/>
                <a:gd name="connsiteY164" fmla="*/ 241669 h 838042"/>
                <a:gd name="connsiteX165" fmla="*/ 761072 w 1037297"/>
                <a:gd name="connsiteY165" fmla="*/ 230239 h 838042"/>
                <a:gd name="connsiteX166" fmla="*/ 762977 w 1037297"/>
                <a:gd name="connsiteY166" fmla="*/ 224524 h 838042"/>
                <a:gd name="connsiteX167" fmla="*/ 768692 w 1037297"/>
                <a:gd name="connsiteY167" fmla="*/ 213094 h 838042"/>
                <a:gd name="connsiteX168" fmla="*/ 766787 w 1037297"/>
                <a:gd name="connsiteY168" fmla="*/ 197854 h 838042"/>
                <a:gd name="connsiteX169" fmla="*/ 761072 w 1037297"/>
                <a:gd name="connsiteY169" fmla="*/ 195949 h 838042"/>
                <a:gd name="connsiteX170" fmla="*/ 740117 w 1037297"/>
                <a:gd name="connsiteY170" fmla="*/ 197854 h 838042"/>
                <a:gd name="connsiteX171" fmla="*/ 734402 w 1037297"/>
                <a:gd name="connsiteY171" fmla="*/ 201664 h 838042"/>
                <a:gd name="connsiteX172" fmla="*/ 722972 w 1037297"/>
                <a:gd name="connsiteY172" fmla="*/ 205474 h 838042"/>
                <a:gd name="connsiteX173" fmla="*/ 719162 w 1037297"/>
                <a:gd name="connsiteY173" fmla="*/ 211189 h 838042"/>
                <a:gd name="connsiteX174" fmla="*/ 713447 w 1037297"/>
                <a:gd name="connsiteY174" fmla="*/ 213094 h 838042"/>
                <a:gd name="connsiteX175" fmla="*/ 707732 w 1037297"/>
                <a:gd name="connsiteY175" fmla="*/ 216904 h 838042"/>
                <a:gd name="connsiteX176" fmla="*/ 702017 w 1037297"/>
                <a:gd name="connsiteY176" fmla="*/ 222619 h 838042"/>
                <a:gd name="connsiteX177" fmla="*/ 694397 w 1037297"/>
                <a:gd name="connsiteY177" fmla="*/ 226429 h 838042"/>
                <a:gd name="connsiteX178" fmla="*/ 652487 w 1037297"/>
                <a:gd name="connsiteY178" fmla="*/ 255004 h 838042"/>
                <a:gd name="connsiteX179" fmla="*/ 639152 w 1037297"/>
                <a:gd name="connsiteY179" fmla="*/ 266434 h 838042"/>
                <a:gd name="connsiteX180" fmla="*/ 629627 w 1037297"/>
                <a:gd name="connsiteY180" fmla="*/ 283579 h 838042"/>
                <a:gd name="connsiteX181" fmla="*/ 604862 w 1037297"/>
                <a:gd name="connsiteY181" fmla="*/ 289294 h 838042"/>
                <a:gd name="connsiteX182" fmla="*/ 591527 w 1037297"/>
                <a:gd name="connsiteY182" fmla="*/ 293104 h 838042"/>
                <a:gd name="connsiteX183" fmla="*/ 576287 w 1037297"/>
                <a:gd name="connsiteY183" fmla="*/ 291199 h 838042"/>
                <a:gd name="connsiteX184" fmla="*/ 564857 w 1037297"/>
                <a:gd name="connsiteY184" fmla="*/ 287389 h 838042"/>
                <a:gd name="connsiteX185" fmla="*/ 553427 w 1037297"/>
                <a:gd name="connsiteY185" fmla="*/ 283579 h 838042"/>
                <a:gd name="connsiteX186" fmla="*/ 541997 w 1037297"/>
                <a:gd name="connsiteY186" fmla="*/ 279769 h 838042"/>
                <a:gd name="connsiteX187" fmla="*/ 536282 w 1037297"/>
                <a:gd name="connsiteY187" fmla="*/ 277864 h 838042"/>
                <a:gd name="connsiteX188" fmla="*/ 530567 w 1037297"/>
                <a:gd name="connsiteY188" fmla="*/ 274054 h 838042"/>
                <a:gd name="connsiteX189" fmla="*/ 519137 w 1037297"/>
                <a:gd name="connsiteY189" fmla="*/ 268339 h 838042"/>
                <a:gd name="connsiteX190" fmla="*/ 511517 w 1037297"/>
                <a:gd name="connsiteY190" fmla="*/ 256909 h 838042"/>
                <a:gd name="connsiteX191" fmla="*/ 507707 w 1037297"/>
                <a:gd name="connsiteY191" fmla="*/ 235954 h 838042"/>
                <a:gd name="connsiteX192" fmla="*/ 509612 w 1037297"/>
                <a:gd name="connsiteY192" fmla="*/ 171184 h 838042"/>
                <a:gd name="connsiteX193" fmla="*/ 508314 w 1037297"/>
                <a:gd name="connsiteY193" fmla="*/ 73485 h 838042"/>
                <a:gd name="connsiteX194" fmla="*/ 454116 w 1037297"/>
                <a:gd name="connsiteY194" fmla="*/ 11248 h 838042"/>
                <a:gd name="connsiteX195" fmla="*/ 435401 w 1037297"/>
                <a:gd name="connsiteY195" fmla="*/ 68523 h 838042"/>
                <a:gd name="connsiteX196" fmla="*/ 427697 w 1037297"/>
                <a:gd name="connsiteY196" fmla="*/ 137103 h 838042"/>
                <a:gd name="connsiteX197" fmla="*/ 420077 w 1037297"/>
                <a:gd name="connsiteY197" fmla="*/ 169279 h 838042"/>
                <a:gd name="connsiteX198" fmla="*/ 416267 w 1037297"/>
                <a:gd name="connsiteY198" fmla="*/ 186424 h 838042"/>
                <a:gd name="connsiteX199" fmla="*/ 420077 w 1037297"/>
                <a:gd name="connsiteY199" fmla="*/ 207379 h 838042"/>
                <a:gd name="connsiteX200" fmla="*/ 423887 w 1037297"/>
                <a:gd name="connsiteY200" fmla="*/ 213094 h 838042"/>
                <a:gd name="connsiteX201" fmla="*/ 427697 w 1037297"/>
                <a:gd name="connsiteY201" fmla="*/ 224524 h 838042"/>
                <a:gd name="connsiteX202" fmla="*/ 425792 w 1037297"/>
                <a:gd name="connsiteY202" fmla="*/ 251194 h 838042"/>
                <a:gd name="connsiteX203" fmla="*/ 420077 w 1037297"/>
                <a:gd name="connsiteY203" fmla="*/ 253099 h 838042"/>
                <a:gd name="connsiteX204" fmla="*/ 414362 w 1037297"/>
                <a:gd name="connsiteY204" fmla="*/ 256909 h 838042"/>
                <a:gd name="connsiteX205" fmla="*/ 423887 w 1037297"/>
                <a:gd name="connsiteY205"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8202 w 1037297"/>
                <a:gd name="connsiteY117" fmla="*/ 426454 h 838042"/>
                <a:gd name="connsiteX118" fmla="*/ 663917 w 1037297"/>
                <a:gd name="connsiteY118" fmla="*/ 424549 h 838042"/>
                <a:gd name="connsiteX119" fmla="*/ 726782 w 1037297"/>
                <a:gd name="connsiteY119" fmla="*/ 405499 h 838042"/>
                <a:gd name="connsiteX120" fmla="*/ 844892 w 1037297"/>
                <a:gd name="connsiteY120" fmla="*/ 407404 h 838042"/>
                <a:gd name="connsiteX121" fmla="*/ 873467 w 1037297"/>
                <a:gd name="connsiteY121" fmla="*/ 409309 h 838042"/>
                <a:gd name="connsiteX122" fmla="*/ 902042 w 1037297"/>
                <a:gd name="connsiteY122" fmla="*/ 415024 h 838042"/>
                <a:gd name="connsiteX123" fmla="*/ 924902 w 1037297"/>
                <a:gd name="connsiteY123" fmla="*/ 418834 h 838042"/>
                <a:gd name="connsiteX124" fmla="*/ 953477 w 1037297"/>
                <a:gd name="connsiteY124" fmla="*/ 424549 h 838042"/>
                <a:gd name="connsiteX125" fmla="*/ 959192 w 1037297"/>
                <a:gd name="connsiteY125" fmla="*/ 424549 h 838042"/>
                <a:gd name="connsiteX126" fmla="*/ 1004912 w 1037297"/>
                <a:gd name="connsiteY126" fmla="*/ 422644 h 838042"/>
                <a:gd name="connsiteX127" fmla="*/ 1033487 w 1037297"/>
                <a:gd name="connsiteY127" fmla="*/ 415024 h 838042"/>
                <a:gd name="connsiteX128" fmla="*/ 1037297 w 1037297"/>
                <a:gd name="connsiteY128" fmla="*/ 409309 h 838042"/>
                <a:gd name="connsiteX129" fmla="*/ 1035392 w 1037297"/>
                <a:gd name="connsiteY129" fmla="*/ 390259 h 838042"/>
                <a:gd name="connsiteX130" fmla="*/ 1029677 w 1037297"/>
                <a:gd name="connsiteY130" fmla="*/ 386449 h 838042"/>
                <a:gd name="connsiteX131" fmla="*/ 1014437 w 1037297"/>
                <a:gd name="connsiteY131" fmla="*/ 384544 h 838042"/>
                <a:gd name="connsiteX132" fmla="*/ 1008722 w 1037297"/>
                <a:gd name="connsiteY132" fmla="*/ 382639 h 838042"/>
                <a:gd name="connsiteX133" fmla="*/ 1001102 w 1037297"/>
                <a:gd name="connsiteY133" fmla="*/ 380734 h 838042"/>
                <a:gd name="connsiteX134" fmla="*/ 989672 w 1037297"/>
                <a:gd name="connsiteY134" fmla="*/ 373114 h 838042"/>
                <a:gd name="connsiteX135" fmla="*/ 978242 w 1037297"/>
                <a:gd name="connsiteY135" fmla="*/ 369304 h 838042"/>
                <a:gd name="connsiteX136" fmla="*/ 972527 w 1037297"/>
                <a:gd name="connsiteY136" fmla="*/ 367399 h 838042"/>
                <a:gd name="connsiteX137" fmla="*/ 964907 w 1037297"/>
                <a:gd name="connsiteY137" fmla="*/ 365494 h 838042"/>
                <a:gd name="connsiteX138" fmla="*/ 959192 w 1037297"/>
                <a:gd name="connsiteY138" fmla="*/ 363589 h 838042"/>
                <a:gd name="connsiteX139" fmla="*/ 938237 w 1037297"/>
                <a:gd name="connsiteY139" fmla="*/ 357874 h 838042"/>
                <a:gd name="connsiteX140" fmla="*/ 932522 w 1037297"/>
                <a:gd name="connsiteY140" fmla="*/ 355969 h 838042"/>
                <a:gd name="connsiteX141" fmla="*/ 827747 w 1037297"/>
                <a:gd name="connsiteY141" fmla="*/ 357874 h 838042"/>
                <a:gd name="connsiteX142" fmla="*/ 822032 w 1037297"/>
                <a:gd name="connsiteY142" fmla="*/ 359779 h 838042"/>
                <a:gd name="connsiteX143" fmla="*/ 732497 w 1037297"/>
                <a:gd name="connsiteY143" fmla="*/ 361684 h 838042"/>
                <a:gd name="connsiteX144" fmla="*/ 719162 w 1037297"/>
                <a:gd name="connsiteY144" fmla="*/ 365494 h 838042"/>
                <a:gd name="connsiteX145" fmla="*/ 698207 w 1037297"/>
                <a:gd name="connsiteY145" fmla="*/ 367399 h 838042"/>
                <a:gd name="connsiteX146" fmla="*/ 671537 w 1037297"/>
                <a:gd name="connsiteY146" fmla="*/ 369304 h 838042"/>
                <a:gd name="connsiteX147" fmla="*/ 671537 w 1037297"/>
                <a:gd name="connsiteY147" fmla="*/ 369304 h 838042"/>
                <a:gd name="connsiteX148" fmla="*/ 648677 w 1037297"/>
                <a:gd name="connsiteY148" fmla="*/ 373114 h 838042"/>
                <a:gd name="connsiteX149" fmla="*/ 644867 w 1037297"/>
                <a:gd name="connsiteY149" fmla="*/ 361684 h 838042"/>
                <a:gd name="connsiteX150" fmla="*/ 642962 w 1037297"/>
                <a:gd name="connsiteY150" fmla="*/ 355969 h 838042"/>
                <a:gd name="connsiteX151" fmla="*/ 644867 w 1037297"/>
                <a:gd name="connsiteY151" fmla="*/ 338824 h 838042"/>
                <a:gd name="connsiteX152" fmla="*/ 646772 w 1037297"/>
                <a:gd name="connsiteY152" fmla="*/ 333109 h 838042"/>
                <a:gd name="connsiteX153" fmla="*/ 663917 w 1037297"/>
                <a:gd name="connsiteY153" fmla="*/ 323584 h 838042"/>
                <a:gd name="connsiteX154" fmla="*/ 675347 w 1037297"/>
                <a:gd name="connsiteY154" fmla="*/ 315964 h 838042"/>
                <a:gd name="connsiteX155" fmla="*/ 677252 w 1037297"/>
                <a:gd name="connsiteY155" fmla="*/ 310249 h 838042"/>
                <a:gd name="connsiteX156" fmla="*/ 682967 w 1037297"/>
                <a:gd name="connsiteY156" fmla="*/ 308344 h 838042"/>
                <a:gd name="connsiteX157" fmla="*/ 688682 w 1037297"/>
                <a:gd name="connsiteY157" fmla="*/ 304534 h 838042"/>
                <a:gd name="connsiteX158" fmla="*/ 698207 w 1037297"/>
                <a:gd name="connsiteY158" fmla="*/ 295009 h 838042"/>
                <a:gd name="connsiteX159" fmla="*/ 707732 w 1037297"/>
                <a:gd name="connsiteY159" fmla="*/ 283579 h 838042"/>
                <a:gd name="connsiteX160" fmla="*/ 719162 w 1037297"/>
                <a:gd name="connsiteY160" fmla="*/ 275959 h 838042"/>
                <a:gd name="connsiteX161" fmla="*/ 734402 w 1037297"/>
                <a:gd name="connsiteY161" fmla="*/ 262624 h 838042"/>
                <a:gd name="connsiteX162" fmla="*/ 743927 w 1037297"/>
                <a:gd name="connsiteY162" fmla="*/ 251194 h 838042"/>
                <a:gd name="connsiteX163" fmla="*/ 755357 w 1037297"/>
                <a:gd name="connsiteY163" fmla="*/ 241669 h 838042"/>
                <a:gd name="connsiteX164" fmla="*/ 761072 w 1037297"/>
                <a:gd name="connsiteY164" fmla="*/ 230239 h 838042"/>
                <a:gd name="connsiteX165" fmla="*/ 762977 w 1037297"/>
                <a:gd name="connsiteY165" fmla="*/ 224524 h 838042"/>
                <a:gd name="connsiteX166" fmla="*/ 768692 w 1037297"/>
                <a:gd name="connsiteY166" fmla="*/ 213094 h 838042"/>
                <a:gd name="connsiteX167" fmla="*/ 766787 w 1037297"/>
                <a:gd name="connsiteY167" fmla="*/ 197854 h 838042"/>
                <a:gd name="connsiteX168" fmla="*/ 761072 w 1037297"/>
                <a:gd name="connsiteY168" fmla="*/ 195949 h 838042"/>
                <a:gd name="connsiteX169" fmla="*/ 740117 w 1037297"/>
                <a:gd name="connsiteY169" fmla="*/ 197854 h 838042"/>
                <a:gd name="connsiteX170" fmla="*/ 734402 w 1037297"/>
                <a:gd name="connsiteY170" fmla="*/ 201664 h 838042"/>
                <a:gd name="connsiteX171" fmla="*/ 722972 w 1037297"/>
                <a:gd name="connsiteY171" fmla="*/ 205474 h 838042"/>
                <a:gd name="connsiteX172" fmla="*/ 719162 w 1037297"/>
                <a:gd name="connsiteY172" fmla="*/ 211189 h 838042"/>
                <a:gd name="connsiteX173" fmla="*/ 713447 w 1037297"/>
                <a:gd name="connsiteY173" fmla="*/ 213094 h 838042"/>
                <a:gd name="connsiteX174" fmla="*/ 707732 w 1037297"/>
                <a:gd name="connsiteY174" fmla="*/ 216904 h 838042"/>
                <a:gd name="connsiteX175" fmla="*/ 702017 w 1037297"/>
                <a:gd name="connsiteY175" fmla="*/ 222619 h 838042"/>
                <a:gd name="connsiteX176" fmla="*/ 694397 w 1037297"/>
                <a:gd name="connsiteY176" fmla="*/ 226429 h 838042"/>
                <a:gd name="connsiteX177" fmla="*/ 652487 w 1037297"/>
                <a:gd name="connsiteY177" fmla="*/ 255004 h 838042"/>
                <a:gd name="connsiteX178" fmla="*/ 639152 w 1037297"/>
                <a:gd name="connsiteY178" fmla="*/ 266434 h 838042"/>
                <a:gd name="connsiteX179" fmla="*/ 629627 w 1037297"/>
                <a:gd name="connsiteY179" fmla="*/ 283579 h 838042"/>
                <a:gd name="connsiteX180" fmla="*/ 604862 w 1037297"/>
                <a:gd name="connsiteY180" fmla="*/ 289294 h 838042"/>
                <a:gd name="connsiteX181" fmla="*/ 591527 w 1037297"/>
                <a:gd name="connsiteY181" fmla="*/ 293104 h 838042"/>
                <a:gd name="connsiteX182" fmla="*/ 576287 w 1037297"/>
                <a:gd name="connsiteY182" fmla="*/ 291199 h 838042"/>
                <a:gd name="connsiteX183" fmla="*/ 564857 w 1037297"/>
                <a:gd name="connsiteY183" fmla="*/ 287389 h 838042"/>
                <a:gd name="connsiteX184" fmla="*/ 553427 w 1037297"/>
                <a:gd name="connsiteY184" fmla="*/ 283579 h 838042"/>
                <a:gd name="connsiteX185" fmla="*/ 541997 w 1037297"/>
                <a:gd name="connsiteY185" fmla="*/ 279769 h 838042"/>
                <a:gd name="connsiteX186" fmla="*/ 536282 w 1037297"/>
                <a:gd name="connsiteY186" fmla="*/ 277864 h 838042"/>
                <a:gd name="connsiteX187" fmla="*/ 530567 w 1037297"/>
                <a:gd name="connsiteY187" fmla="*/ 274054 h 838042"/>
                <a:gd name="connsiteX188" fmla="*/ 519137 w 1037297"/>
                <a:gd name="connsiteY188" fmla="*/ 268339 h 838042"/>
                <a:gd name="connsiteX189" fmla="*/ 511517 w 1037297"/>
                <a:gd name="connsiteY189" fmla="*/ 256909 h 838042"/>
                <a:gd name="connsiteX190" fmla="*/ 507707 w 1037297"/>
                <a:gd name="connsiteY190" fmla="*/ 235954 h 838042"/>
                <a:gd name="connsiteX191" fmla="*/ 509612 w 1037297"/>
                <a:gd name="connsiteY191" fmla="*/ 171184 h 838042"/>
                <a:gd name="connsiteX192" fmla="*/ 508314 w 1037297"/>
                <a:gd name="connsiteY192" fmla="*/ 73485 h 838042"/>
                <a:gd name="connsiteX193" fmla="*/ 454116 w 1037297"/>
                <a:gd name="connsiteY193" fmla="*/ 11248 h 838042"/>
                <a:gd name="connsiteX194" fmla="*/ 435401 w 1037297"/>
                <a:gd name="connsiteY194" fmla="*/ 68523 h 838042"/>
                <a:gd name="connsiteX195" fmla="*/ 427697 w 1037297"/>
                <a:gd name="connsiteY195" fmla="*/ 137103 h 838042"/>
                <a:gd name="connsiteX196" fmla="*/ 420077 w 1037297"/>
                <a:gd name="connsiteY196" fmla="*/ 169279 h 838042"/>
                <a:gd name="connsiteX197" fmla="*/ 416267 w 1037297"/>
                <a:gd name="connsiteY197" fmla="*/ 186424 h 838042"/>
                <a:gd name="connsiteX198" fmla="*/ 420077 w 1037297"/>
                <a:gd name="connsiteY198" fmla="*/ 207379 h 838042"/>
                <a:gd name="connsiteX199" fmla="*/ 423887 w 1037297"/>
                <a:gd name="connsiteY199" fmla="*/ 213094 h 838042"/>
                <a:gd name="connsiteX200" fmla="*/ 427697 w 1037297"/>
                <a:gd name="connsiteY200" fmla="*/ 224524 h 838042"/>
                <a:gd name="connsiteX201" fmla="*/ 425792 w 1037297"/>
                <a:gd name="connsiteY201" fmla="*/ 251194 h 838042"/>
                <a:gd name="connsiteX202" fmla="*/ 420077 w 1037297"/>
                <a:gd name="connsiteY202" fmla="*/ 253099 h 838042"/>
                <a:gd name="connsiteX203" fmla="*/ 414362 w 1037297"/>
                <a:gd name="connsiteY203" fmla="*/ 256909 h 838042"/>
                <a:gd name="connsiteX204" fmla="*/ 423887 w 1037297"/>
                <a:gd name="connsiteY20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48677 w 1037297"/>
                <a:gd name="connsiteY116" fmla="*/ 455029 h 838042"/>
                <a:gd name="connsiteX117" fmla="*/ 658202 w 1037297"/>
                <a:gd name="connsiteY117" fmla="*/ 426454 h 838042"/>
                <a:gd name="connsiteX118" fmla="*/ 726782 w 1037297"/>
                <a:gd name="connsiteY118" fmla="*/ 405499 h 838042"/>
                <a:gd name="connsiteX119" fmla="*/ 844892 w 1037297"/>
                <a:gd name="connsiteY119" fmla="*/ 407404 h 838042"/>
                <a:gd name="connsiteX120" fmla="*/ 873467 w 1037297"/>
                <a:gd name="connsiteY120" fmla="*/ 409309 h 838042"/>
                <a:gd name="connsiteX121" fmla="*/ 902042 w 1037297"/>
                <a:gd name="connsiteY121" fmla="*/ 415024 h 838042"/>
                <a:gd name="connsiteX122" fmla="*/ 924902 w 1037297"/>
                <a:gd name="connsiteY122" fmla="*/ 418834 h 838042"/>
                <a:gd name="connsiteX123" fmla="*/ 953477 w 1037297"/>
                <a:gd name="connsiteY123" fmla="*/ 424549 h 838042"/>
                <a:gd name="connsiteX124" fmla="*/ 959192 w 1037297"/>
                <a:gd name="connsiteY124" fmla="*/ 424549 h 838042"/>
                <a:gd name="connsiteX125" fmla="*/ 1004912 w 1037297"/>
                <a:gd name="connsiteY125" fmla="*/ 422644 h 838042"/>
                <a:gd name="connsiteX126" fmla="*/ 1033487 w 1037297"/>
                <a:gd name="connsiteY126" fmla="*/ 415024 h 838042"/>
                <a:gd name="connsiteX127" fmla="*/ 1037297 w 1037297"/>
                <a:gd name="connsiteY127" fmla="*/ 409309 h 838042"/>
                <a:gd name="connsiteX128" fmla="*/ 1035392 w 1037297"/>
                <a:gd name="connsiteY128" fmla="*/ 390259 h 838042"/>
                <a:gd name="connsiteX129" fmla="*/ 1029677 w 1037297"/>
                <a:gd name="connsiteY129" fmla="*/ 386449 h 838042"/>
                <a:gd name="connsiteX130" fmla="*/ 1014437 w 1037297"/>
                <a:gd name="connsiteY130" fmla="*/ 384544 h 838042"/>
                <a:gd name="connsiteX131" fmla="*/ 1008722 w 1037297"/>
                <a:gd name="connsiteY131" fmla="*/ 382639 h 838042"/>
                <a:gd name="connsiteX132" fmla="*/ 1001102 w 1037297"/>
                <a:gd name="connsiteY132" fmla="*/ 380734 h 838042"/>
                <a:gd name="connsiteX133" fmla="*/ 989672 w 1037297"/>
                <a:gd name="connsiteY133" fmla="*/ 373114 h 838042"/>
                <a:gd name="connsiteX134" fmla="*/ 978242 w 1037297"/>
                <a:gd name="connsiteY134" fmla="*/ 369304 h 838042"/>
                <a:gd name="connsiteX135" fmla="*/ 972527 w 1037297"/>
                <a:gd name="connsiteY135" fmla="*/ 367399 h 838042"/>
                <a:gd name="connsiteX136" fmla="*/ 964907 w 1037297"/>
                <a:gd name="connsiteY136" fmla="*/ 365494 h 838042"/>
                <a:gd name="connsiteX137" fmla="*/ 959192 w 1037297"/>
                <a:gd name="connsiteY137" fmla="*/ 363589 h 838042"/>
                <a:gd name="connsiteX138" fmla="*/ 938237 w 1037297"/>
                <a:gd name="connsiteY138" fmla="*/ 357874 h 838042"/>
                <a:gd name="connsiteX139" fmla="*/ 932522 w 1037297"/>
                <a:gd name="connsiteY139" fmla="*/ 355969 h 838042"/>
                <a:gd name="connsiteX140" fmla="*/ 827747 w 1037297"/>
                <a:gd name="connsiteY140" fmla="*/ 357874 h 838042"/>
                <a:gd name="connsiteX141" fmla="*/ 822032 w 1037297"/>
                <a:gd name="connsiteY141" fmla="*/ 359779 h 838042"/>
                <a:gd name="connsiteX142" fmla="*/ 732497 w 1037297"/>
                <a:gd name="connsiteY142" fmla="*/ 361684 h 838042"/>
                <a:gd name="connsiteX143" fmla="*/ 719162 w 1037297"/>
                <a:gd name="connsiteY143" fmla="*/ 365494 h 838042"/>
                <a:gd name="connsiteX144" fmla="*/ 698207 w 1037297"/>
                <a:gd name="connsiteY144" fmla="*/ 367399 h 838042"/>
                <a:gd name="connsiteX145" fmla="*/ 671537 w 1037297"/>
                <a:gd name="connsiteY145" fmla="*/ 369304 h 838042"/>
                <a:gd name="connsiteX146" fmla="*/ 671537 w 1037297"/>
                <a:gd name="connsiteY146" fmla="*/ 369304 h 838042"/>
                <a:gd name="connsiteX147" fmla="*/ 648677 w 1037297"/>
                <a:gd name="connsiteY147" fmla="*/ 373114 h 838042"/>
                <a:gd name="connsiteX148" fmla="*/ 644867 w 1037297"/>
                <a:gd name="connsiteY148" fmla="*/ 361684 h 838042"/>
                <a:gd name="connsiteX149" fmla="*/ 642962 w 1037297"/>
                <a:gd name="connsiteY149" fmla="*/ 355969 h 838042"/>
                <a:gd name="connsiteX150" fmla="*/ 644867 w 1037297"/>
                <a:gd name="connsiteY150" fmla="*/ 338824 h 838042"/>
                <a:gd name="connsiteX151" fmla="*/ 646772 w 1037297"/>
                <a:gd name="connsiteY151" fmla="*/ 333109 h 838042"/>
                <a:gd name="connsiteX152" fmla="*/ 663917 w 1037297"/>
                <a:gd name="connsiteY152" fmla="*/ 323584 h 838042"/>
                <a:gd name="connsiteX153" fmla="*/ 675347 w 1037297"/>
                <a:gd name="connsiteY153" fmla="*/ 315964 h 838042"/>
                <a:gd name="connsiteX154" fmla="*/ 677252 w 1037297"/>
                <a:gd name="connsiteY154" fmla="*/ 310249 h 838042"/>
                <a:gd name="connsiteX155" fmla="*/ 682967 w 1037297"/>
                <a:gd name="connsiteY155" fmla="*/ 308344 h 838042"/>
                <a:gd name="connsiteX156" fmla="*/ 688682 w 1037297"/>
                <a:gd name="connsiteY156" fmla="*/ 304534 h 838042"/>
                <a:gd name="connsiteX157" fmla="*/ 698207 w 1037297"/>
                <a:gd name="connsiteY157" fmla="*/ 295009 h 838042"/>
                <a:gd name="connsiteX158" fmla="*/ 707732 w 1037297"/>
                <a:gd name="connsiteY158" fmla="*/ 283579 h 838042"/>
                <a:gd name="connsiteX159" fmla="*/ 719162 w 1037297"/>
                <a:gd name="connsiteY159" fmla="*/ 275959 h 838042"/>
                <a:gd name="connsiteX160" fmla="*/ 734402 w 1037297"/>
                <a:gd name="connsiteY160" fmla="*/ 262624 h 838042"/>
                <a:gd name="connsiteX161" fmla="*/ 743927 w 1037297"/>
                <a:gd name="connsiteY161" fmla="*/ 251194 h 838042"/>
                <a:gd name="connsiteX162" fmla="*/ 755357 w 1037297"/>
                <a:gd name="connsiteY162" fmla="*/ 241669 h 838042"/>
                <a:gd name="connsiteX163" fmla="*/ 761072 w 1037297"/>
                <a:gd name="connsiteY163" fmla="*/ 230239 h 838042"/>
                <a:gd name="connsiteX164" fmla="*/ 762977 w 1037297"/>
                <a:gd name="connsiteY164" fmla="*/ 224524 h 838042"/>
                <a:gd name="connsiteX165" fmla="*/ 768692 w 1037297"/>
                <a:gd name="connsiteY165" fmla="*/ 213094 h 838042"/>
                <a:gd name="connsiteX166" fmla="*/ 766787 w 1037297"/>
                <a:gd name="connsiteY166" fmla="*/ 197854 h 838042"/>
                <a:gd name="connsiteX167" fmla="*/ 761072 w 1037297"/>
                <a:gd name="connsiteY167" fmla="*/ 195949 h 838042"/>
                <a:gd name="connsiteX168" fmla="*/ 740117 w 1037297"/>
                <a:gd name="connsiteY168" fmla="*/ 197854 h 838042"/>
                <a:gd name="connsiteX169" fmla="*/ 734402 w 1037297"/>
                <a:gd name="connsiteY169" fmla="*/ 201664 h 838042"/>
                <a:gd name="connsiteX170" fmla="*/ 722972 w 1037297"/>
                <a:gd name="connsiteY170" fmla="*/ 205474 h 838042"/>
                <a:gd name="connsiteX171" fmla="*/ 719162 w 1037297"/>
                <a:gd name="connsiteY171" fmla="*/ 211189 h 838042"/>
                <a:gd name="connsiteX172" fmla="*/ 713447 w 1037297"/>
                <a:gd name="connsiteY172" fmla="*/ 213094 h 838042"/>
                <a:gd name="connsiteX173" fmla="*/ 707732 w 1037297"/>
                <a:gd name="connsiteY173" fmla="*/ 216904 h 838042"/>
                <a:gd name="connsiteX174" fmla="*/ 702017 w 1037297"/>
                <a:gd name="connsiteY174" fmla="*/ 222619 h 838042"/>
                <a:gd name="connsiteX175" fmla="*/ 694397 w 1037297"/>
                <a:gd name="connsiteY175" fmla="*/ 226429 h 838042"/>
                <a:gd name="connsiteX176" fmla="*/ 652487 w 1037297"/>
                <a:gd name="connsiteY176" fmla="*/ 255004 h 838042"/>
                <a:gd name="connsiteX177" fmla="*/ 639152 w 1037297"/>
                <a:gd name="connsiteY177" fmla="*/ 266434 h 838042"/>
                <a:gd name="connsiteX178" fmla="*/ 629627 w 1037297"/>
                <a:gd name="connsiteY178" fmla="*/ 283579 h 838042"/>
                <a:gd name="connsiteX179" fmla="*/ 604862 w 1037297"/>
                <a:gd name="connsiteY179" fmla="*/ 289294 h 838042"/>
                <a:gd name="connsiteX180" fmla="*/ 591527 w 1037297"/>
                <a:gd name="connsiteY180" fmla="*/ 293104 h 838042"/>
                <a:gd name="connsiteX181" fmla="*/ 576287 w 1037297"/>
                <a:gd name="connsiteY181" fmla="*/ 291199 h 838042"/>
                <a:gd name="connsiteX182" fmla="*/ 564857 w 1037297"/>
                <a:gd name="connsiteY182" fmla="*/ 287389 h 838042"/>
                <a:gd name="connsiteX183" fmla="*/ 553427 w 1037297"/>
                <a:gd name="connsiteY183" fmla="*/ 283579 h 838042"/>
                <a:gd name="connsiteX184" fmla="*/ 541997 w 1037297"/>
                <a:gd name="connsiteY184" fmla="*/ 279769 h 838042"/>
                <a:gd name="connsiteX185" fmla="*/ 536282 w 1037297"/>
                <a:gd name="connsiteY185" fmla="*/ 277864 h 838042"/>
                <a:gd name="connsiteX186" fmla="*/ 530567 w 1037297"/>
                <a:gd name="connsiteY186" fmla="*/ 274054 h 838042"/>
                <a:gd name="connsiteX187" fmla="*/ 519137 w 1037297"/>
                <a:gd name="connsiteY187" fmla="*/ 268339 h 838042"/>
                <a:gd name="connsiteX188" fmla="*/ 511517 w 1037297"/>
                <a:gd name="connsiteY188" fmla="*/ 256909 h 838042"/>
                <a:gd name="connsiteX189" fmla="*/ 507707 w 1037297"/>
                <a:gd name="connsiteY189" fmla="*/ 235954 h 838042"/>
                <a:gd name="connsiteX190" fmla="*/ 509612 w 1037297"/>
                <a:gd name="connsiteY190" fmla="*/ 171184 h 838042"/>
                <a:gd name="connsiteX191" fmla="*/ 508314 w 1037297"/>
                <a:gd name="connsiteY191" fmla="*/ 73485 h 838042"/>
                <a:gd name="connsiteX192" fmla="*/ 454116 w 1037297"/>
                <a:gd name="connsiteY192" fmla="*/ 11248 h 838042"/>
                <a:gd name="connsiteX193" fmla="*/ 435401 w 1037297"/>
                <a:gd name="connsiteY193" fmla="*/ 68523 h 838042"/>
                <a:gd name="connsiteX194" fmla="*/ 427697 w 1037297"/>
                <a:gd name="connsiteY194" fmla="*/ 137103 h 838042"/>
                <a:gd name="connsiteX195" fmla="*/ 420077 w 1037297"/>
                <a:gd name="connsiteY195" fmla="*/ 169279 h 838042"/>
                <a:gd name="connsiteX196" fmla="*/ 416267 w 1037297"/>
                <a:gd name="connsiteY196" fmla="*/ 186424 h 838042"/>
                <a:gd name="connsiteX197" fmla="*/ 420077 w 1037297"/>
                <a:gd name="connsiteY197" fmla="*/ 207379 h 838042"/>
                <a:gd name="connsiteX198" fmla="*/ 423887 w 1037297"/>
                <a:gd name="connsiteY198" fmla="*/ 213094 h 838042"/>
                <a:gd name="connsiteX199" fmla="*/ 427697 w 1037297"/>
                <a:gd name="connsiteY199" fmla="*/ 224524 h 838042"/>
                <a:gd name="connsiteX200" fmla="*/ 425792 w 1037297"/>
                <a:gd name="connsiteY200" fmla="*/ 251194 h 838042"/>
                <a:gd name="connsiteX201" fmla="*/ 420077 w 1037297"/>
                <a:gd name="connsiteY201" fmla="*/ 253099 h 838042"/>
                <a:gd name="connsiteX202" fmla="*/ 414362 w 1037297"/>
                <a:gd name="connsiteY202" fmla="*/ 256909 h 838042"/>
                <a:gd name="connsiteX203" fmla="*/ 423887 w 1037297"/>
                <a:gd name="connsiteY203"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89672 w 1037297"/>
                <a:gd name="connsiteY132" fmla="*/ 373114 h 838042"/>
                <a:gd name="connsiteX133" fmla="*/ 978242 w 1037297"/>
                <a:gd name="connsiteY133" fmla="*/ 369304 h 838042"/>
                <a:gd name="connsiteX134" fmla="*/ 972527 w 1037297"/>
                <a:gd name="connsiteY134" fmla="*/ 367399 h 838042"/>
                <a:gd name="connsiteX135" fmla="*/ 964907 w 1037297"/>
                <a:gd name="connsiteY135" fmla="*/ 365494 h 838042"/>
                <a:gd name="connsiteX136" fmla="*/ 959192 w 1037297"/>
                <a:gd name="connsiteY136" fmla="*/ 363589 h 838042"/>
                <a:gd name="connsiteX137" fmla="*/ 938237 w 1037297"/>
                <a:gd name="connsiteY137" fmla="*/ 357874 h 838042"/>
                <a:gd name="connsiteX138" fmla="*/ 932522 w 1037297"/>
                <a:gd name="connsiteY138" fmla="*/ 355969 h 838042"/>
                <a:gd name="connsiteX139" fmla="*/ 827747 w 1037297"/>
                <a:gd name="connsiteY139" fmla="*/ 357874 h 838042"/>
                <a:gd name="connsiteX140" fmla="*/ 822032 w 1037297"/>
                <a:gd name="connsiteY140" fmla="*/ 359779 h 838042"/>
                <a:gd name="connsiteX141" fmla="*/ 732497 w 1037297"/>
                <a:gd name="connsiteY141" fmla="*/ 361684 h 838042"/>
                <a:gd name="connsiteX142" fmla="*/ 719162 w 1037297"/>
                <a:gd name="connsiteY142" fmla="*/ 365494 h 838042"/>
                <a:gd name="connsiteX143" fmla="*/ 698207 w 1037297"/>
                <a:gd name="connsiteY143" fmla="*/ 367399 h 838042"/>
                <a:gd name="connsiteX144" fmla="*/ 671537 w 1037297"/>
                <a:gd name="connsiteY144" fmla="*/ 369304 h 838042"/>
                <a:gd name="connsiteX145" fmla="*/ 671537 w 1037297"/>
                <a:gd name="connsiteY145" fmla="*/ 369304 h 838042"/>
                <a:gd name="connsiteX146" fmla="*/ 648677 w 1037297"/>
                <a:gd name="connsiteY146" fmla="*/ 373114 h 838042"/>
                <a:gd name="connsiteX147" fmla="*/ 644867 w 1037297"/>
                <a:gd name="connsiteY147" fmla="*/ 361684 h 838042"/>
                <a:gd name="connsiteX148" fmla="*/ 642962 w 1037297"/>
                <a:gd name="connsiteY148" fmla="*/ 355969 h 838042"/>
                <a:gd name="connsiteX149" fmla="*/ 644867 w 1037297"/>
                <a:gd name="connsiteY149" fmla="*/ 338824 h 838042"/>
                <a:gd name="connsiteX150" fmla="*/ 646772 w 1037297"/>
                <a:gd name="connsiteY150" fmla="*/ 333109 h 838042"/>
                <a:gd name="connsiteX151" fmla="*/ 663917 w 1037297"/>
                <a:gd name="connsiteY151" fmla="*/ 323584 h 838042"/>
                <a:gd name="connsiteX152" fmla="*/ 675347 w 1037297"/>
                <a:gd name="connsiteY152" fmla="*/ 315964 h 838042"/>
                <a:gd name="connsiteX153" fmla="*/ 677252 w 1037297"/>
                <a:gd name="connsiteY153" fmla="*/ 310249 h 838042"/>
                <a:gd name="connsiteX154" fmla="*/ 682967 w 1037297"/>
                <a:gd name="connsiteY154" fmla="*/ 308344 h 838042"/>
                <a:gd name="connsiteX155" fmla="*/ 688682 w 1037297"/>
                <a:gd name="connsiteY155" fmla="*/ 304534 h 838042"/>
                <a:gd name="connsiteX156" fmla="*/ 698207 w 1037297"/>
                <a:gd name="connsiteY156" fmla="*/ 295009 h 838042"/>
                <a:gd name="connsiteX157" fmla="*/ 707732 w 1037297"/>
                <a:gd name="connsiteY157" fmla="*/ 283579 h 838042"/>
                <a:gd name="connsiteX158" fmla="*/ 719162 w 1037297"/>
                <a:gd name="connsiteY158" fmla="*/ 275959 h 838042"/>
                <a:gd name="connsiteX159" fmla="*/ 734402 w 1037297"/>
                <a:gd name="connsiteY159" fmla="*/ 262624 h 838042"/>
                <a:gd name="connsiteX160" fmla="*/ 743927 w 1037297"/>
                <a:gd name="connsiteY160" fmla="*/ 251194 h 838042"/>
                <a:gd name="connsiteX161" fmla="*/ 755357 w 1037297"/>
                <a:gd name="connsiteY161" fmla="*/ 241669 h 838042"/>
                <a:gd name="connsiteX162" fmla="*/ 761072 w 1037297"/>
                <a:gd name="connsiteY162" fmla="*/ 230239 h 838042"/>
                <a:gd name="connsiteX163" fmla="*/ 762977 w 1037297"/>
                <a:gd name="connsiteY163" fmla="*/ 224524 h 838042"/>
                <a:gd name="connsiteX164" fmla="*/ 768692 w 1037297"/>
                <a:gd name="connsiteY164" fmla="*/ 213094 h 838042"/>
                <a:gd name="connsiteX165" fmla="*/ 766787 w 1037297"/>
                <a:gd name="connsiteY165" fmla="*/ 197854 h 838042"/>
                <a:gd name="connsiteX166" fmla="*/ 761072 w 1037297"/>
                <a:gd name="connsiteY166" fmla="*/ 195949 h 838042"/>
                <a:gd name="connsiteX167" fmla="*/ 740117 w 1037297"/>
                <a:gd name="connsiteY167" fmla="*/ 197854 h 838042"/>
                <a:gd name="connsiteX168" fmla="*/ 734402 w 1037297"/>
                <a:gd name="connsiteY168" fmla="*/ 201664 h 838042"/>
                <a:gd name="connsiteX169" fmla="*/ 722972 w 1037297"/>
                <a:gd name="connsiteY169" fmla="*/ 205474 h 838042"/>
                <a:gd name="connsiteX170" fmla="*/ 719162 w 1037297"/>
                <a:gd name="connsiteY170" fmla="*/ 211189 h 838042"/>
                <a:gd name="connsiteX171" fmla="*/ 713447 w 1037297"/>
                <a:gd name="connsiteY171" fmla="*/ 213094 h 838042"/>
                <a:gd name="connsiteX172" fmla="*/ 707732 w 1037297"/>
                <a:gd name="connsiteY172" fmla="*/ 216904 h 838042"/>
                <a:gd name="connsiteX173" fmla="*/ 702017 w 1037297"/>
                <a:gd name="connsiteY173" fmla="*/ 222619 h 838042"/>
                <a:gd name="connsiteX174" fmla="*/ 694397 w 1037297"/>
                <a:gd name="connsiteY174" fmla="*/ 226429 h 838042"/>
                <a:gd name="connsiteX175" fmla="*/ 652487 w 1037297"/>
                <a:gd name="connsiteY175" fmla="*/ 255004 h 838042"/>
                <a:gd name="connsiteX176" fmla="*/ 639152 w 1037297"/>
                <a:gd name="connsiteY176" fmla="*/ 266434 h 838042"/>
                <a:gd name="connsiteX177" fmla="*/ 629627 w 1037297"/>
                <a:gd name="connsiteY177" fmla="*/ 283579 h 838042"/>
                <a:gd name="connsiteX178" fmla="*/ 604862 w 1037297"/>
                <a:gd name="connsiteY178" fmla="*/ 289294 h 838042"/>
                <a:gd name="connsiteX179" fmla="*/ 591527 w 1037297"/>
                <a:gd name="connsiteY179" fmla="*/ 293104 h 838042"/>
                <a:gd name="connsiteX180" fmla="*/ 576287 w 1037297"/>
                <a:gd name="connsiteY180" fmla="*/ 291199 h 838042"/>
                <a:gd name="connsiteX181" fmla="*/ 564857 w 1037297"/>
                <a:gd name="connsiteY181" fmla="*/ 287389 h 838042"/>
                <a:gd name="connsiteX182" fmla="*/ 553427 w 1037297"/>
                <a:gd name="connsiteY182" fmla="*/ 283579 h 838042"/>
                <a:gd name="connsiteX183" fmla="*/ 541997 w 1037297"/>
                <a:gd name="connsiteY183" fmla="*/ 279769 h 838042"/>
                <a:gd name="connsiteX184" fmla="*/ 536282 w 1037297"/>
                <a:gd name="connsiteY184" fmla="*/ 277864 h 838042"/>
                <a:gd name="connsiteX185" fmla="*/ 530567 w 1037297"/>
                <a:gd name="connsiteY185" fmla="*/ 274054 h 838042"/>
                <a:gd name="connsiteX186" fmla="*/ 519137 w 1037297"/>
                <a:gd name="connsiteY186" fmla="*/ 268339 h 838042"/>
                <a:gd name="connsiteX187" fmla="*/ 511517 w 1037297"/>
                <a:gd name="connsiteY187" fmla="*/ 256909 h 838042"/>
                <a:gd name="connsiteX188" fmla="*/ 507707 w 1037297"/>
                <a:gd name="connsiteY188" fmla="*/ 235954 h 838042"/>
                <a:gd name="connsiteX189" fmla="*/ 509612 w 1037297"/>
                <a:gd name="connsiteY189" fmla="*/ 171184 h 838042"/>
                <a:gd name="connsiteX190" fmla="*/ 508314 w 1037297"/>
                <a:gd name="connsiteY190" fmla="*/ 73485 h 838042"/>
                <a:gd name="connsiteX191" fmla="*/ 454116 w 1037297"/>
                <a:gd name="connsiteY191" fmla="*/ 11248 h 838042"/>
                <a:gd name="connsiteX192" fmla="*/ 435401 w 1037297"/>
                <a:gd name="connsiteY192" fmla="*/ 68523 h 838042"/>
                <a:gd name="connsiteX193" fmla="*/ 427697 w 1037297"/>
                <a:gd name="connsiteY193" fmla="*/ 137103 h 838042"/>
                <a:gd name="connsiteX194" fmla="*/ 420077 w 1037297"/>
                <a:gd name="connsiteY194" fmla="*/ 169279 h 838042"/>
                <a:gd name="connsiteX195" fmla="*/ 416267 w 1037297"/>
                <a:gd name="connsiteY195" fmla="*/ 186424 h 838042"/>
                <a:gd name="connsiteX196" fmla="*/ 420077 w 1037297"/>
                <a:gd name="connsiteY196" fmla="*/ 207379 h 838042"/>
                <a:gd name="connsiteX197" fmla="*/ 423887 w 1037297"/>
                <a:gd name="connsiteY197" fmla="*/ 213094 h 838042"/>
                <a:gd name="connsiteX198" fmla="*/ 427697 w 1037297"/>
                <a:gd name="connsiteY198" fmla="*/ 224524 h 838042"/>
                <a:gd name="connsiteX199" fmla="*/ 425792 w 1037297"/>
                <a:gd name="connsiteY199" fmla="*/ 251194 h 838042"/>
                <a:gd name="connsiteX200" fmla="*/ 420077 w 1037297"/>
                <a:gd name="connsiteY200" fmla="*/ 253099 h 838042"/>
                <a:gd name="connsiteX201" fmla="*/ 414362 w 1037297"/>
                <a:gd name="connsiteY201" fmla="*/ 256909 h 838042"/>
                <a:gd name="connsiteX202" fmla="*/ 423887 w 1037297"/>
                <a:gd name="connsiteY20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89672 w 1037297"/>
                <a:gd name="connsiteY132" fmla="*/ 373114 h 838042"/>
                <a:gd name="connsiteX133" fmla="*/ 978242 w 1037297"/>
                <a:gd name="connsiteY133" fmla="*/ 369304 h 838042"/>
                <a:gd name="connsiteX134" fmla="*/ 972527 w 1037297"/>
                <a:gd name="connsiteY134" fmla="*/ 367399 h 838042"/>
                <a:gd name="connsiteX135" fmla="*/ 964907 w 1037297"/>
                <a:gd name="connsiteY135" fmla="*/ 365494 h 838042"/>
                <a:gd name="connsiteX136" fmla="*/ 959192 w 1037297"/>
                <a:gd name="connsiteY136" fmla="*/ 363589 h 838042"/>
                <a:gd name="connsiteX137" fmla="*/ 938237 w 1037297"/>
                <a:gd name="connsiteY137" fmla="*/ 357874 h 838042"/>
                <a:gd name="connsiteX138" fmla="*/ 932522 w 1037297"/>
                <a:gd name="connsiteY138" fmla="*/ 355969 h 838042"/>
                <a:gd name="connsiteX139" fmla="*/ 827747 w 1037297"/>
                <a:gd name="connsiteY139" fmla="*/ 357874 h 838042"/>
                <a:gd name="connsiteX140" fmla="*/ 822032 w 1037297"/>
                <a:gd name="connsiteY140" fmla="*/ 359779 h 838042"/>
                <a:gd name="connsiteX141" fmla="*/ 732497 w 1037297"/>
                <a:gd name="connsiteY141" fmla="*/ 361684 h 838042"/>
                <a:gd name="connsiteX142" fmla="*/ 719162 w 1037297"/>
                <a:gd name="connsiteY142" fmla="*/ 365494 h 838042"/>
                <a:gd name="connsiteX143" fmla="*/ 698207 w 1037297"/>
                <a:gd name="connsiteY143" fmla="*/ 367399 h 838042"/>
                <a:gd name="connsiteX144" fmla="*/ 671537 w 1037297"/>
                <a:gd name="connsiteY144" fmla="*/ 369304 h 838042"/>
                <a:gd name="connsiteX145" fmla="*/ 648677 w 1037297"/>
                <a:gd name="connsiteY145" fmla="*/ 373114 h 838042"/>
                <a:gd name="connsiteX146" fmla="*/ 644867 w 1037297"/>
                <a:gd name="connsiteY146" fmla="*/ 361684 h 838042"/>
                <a:gd name="connsiteX147" fmla="*/ 642962 w 1037297"/>
                <a:gd name="connsiteY147" fmla="*/ 355969 h 838042"/>
                <a:gd name="connsiteX148" fmla="*/ 644867 w 1037297"/>
                <a:gd name="connsiteY148" fmla="*/ 338824 h 838042"/>
                <a:gd name="connsiteX149" fmla="*/ 646772 w 1037297"/>
                <a:gd name="connsiteY149" fmla="*/ 333109 h 838042"/>
                <a:gd name="connsiteX150" fmla="*/ 663917 w 1037297"/>
                <a:gd name="connsiteY150" fmla="*/ 323584 h 838042"/>
                <a:gd name="connsiteX151" fmla="*/ 675347 w 1037297"/>
                <a:gd name="connsiteY151" fmla="*/ 315964 h 838042"/>
                <a:gd name="connsiteX152" fmla="*/ 677252 w 1037297"/>
                <a:gd name="connsiteY152" fmla="*/ 310249 h 838042"/>
                <a:gd name="connsiteX153" fmla="*/ 682967 w 1037297"/>
                <a:gd name="connsiteY153" fmla="*/ 308344 h 838042"/>
                <a:gd name="connsiteX154" fmla="*/ 688682 w 1037297"/>
                <a:gd name="connsiteY154" fmla="*/ 304534 h 838042"/>
                <a:gd name="connsiteX155" fmla="*/ 698207 w 1037297"/>
                <a:gd name="connsiteY155" fmla="*/ 295009 h 838042"/>
                <a:gd name="connsiteX156" fmla="*/ 707732 w 1037297"/>
                <a:gd name="connsiteY156" fmla="*/ 283579 h 838042"/>
                <a:gd name="connsiteX157" fmla="*/ 719162 w 1037297"/>
                <a:gd name="connsiteY157" fmla="*/ 275959 h 838042"/>
                <a:gd name="connsiteX158" fmla="*/ 734402 w 1037297"/>
                <a:gd name="connsiteY158" fmla="*/ 262624 h 838042"/>
                <a:gd name="connsiteX159" fmla="*/ 743927 w 1037297"/>
                <a:gd name="connsiteY159" fmla="*/ 251194 h 838042"/>
                <a:gd name="connsiteX160" fmla="*/ 755357 w 1037297"/>
                <a:gd name="connsiteY160" fmla="*/ 241669 h 838042"/>
                <a:gd name="connsiteX161" fmla="*/ 761072 w 1037297"/>
                <a:gd name="connsiteY161" fmla="*/ 230239 h 838042"/>
                <a:gd name="connsiteX162" fmla="*/ 762977 w 1037297"/>
                <a:gd name="connsiteY162" fmla="*/ 224524 h 838042"/>
                <a:gd name="connsiteX163" fmla="*/ 768692 w 1037297"/>
                <a:gd name="connsiteY163" fmla="*/ 213094 h 838042"/>
                <a:gd name="connsiteX164" fmla="*/ 766787 w 1037297"/>
                <a:gd name="connsiteY164" fmla="*/ 197854 h 838042"/>
                <a:gd name="connsiteX165" fmla="*/ 761072 w 1037297"/>
                <a:gd name="connsiteY165" fmla="*/ 195949 h 838042"/>
                <a:gd name="connsiteX166" fmla="*/ 740117 w 1037297"/>
                <a:gd name="connsiteY166" fmla="*/ 197854 h 838042"/>
                <a:gd name="connsiteX167" fmla="*/ 734402 w 1037297"/>
                <a:gd name="connsiteY167" fmla="*/ 201664 h 838042"/>
                <a:gd name="connsiteX168" fmla="*/ 722972 w 1037297"/>
                <a:gd name="connsiteY168" fmla="*/ 205474 h 838042"/>
                <a:gd name="connsiteX169" fmla="*/ 719162 w 1037297"/>
                <a:gd name="connsiteY169" fmla="*/ 211189 h 838042"/>
                <a:gd name="connsiteX170" fmla="*/ 713447 w 1037297"/>
                <a:gd name="connsiteY170" fmla="*/ 213094 h 838042"/>
                <a:gd name="connsiteX171" fmla="*/ 707732 w 1037297"/>
                <a:gd name="connsiteY171" fmla="*/ 216904 h 838042"/>
                <a:gd name="connsiteX172" fmla="*/ 702017 w 1037297"/>
                <a:gd name="connsiteY172" fmla="*/ 222619 h 838042"/>
                <a:gd name="connsiteX173" fmla="*/ 694397 w 1037297"/>
                <a:gd name="connsiteY173" fmla="*/ 226429 h 838042"/>
                <a:gd name="connsiteX174" fmla="*/ 652487 w 1037297"/>
                <a:gd name="connsiteY174" fmla="*/ 255004 h 838042"/>
                <a:gd name="connsiteX175" fmla="*/ 639152 w 1037297"/>
                <a:gd name="connsiteY175" fmla="*/ 266434 h 838042"/>
                <a:gd name="connsiteX176" fmla="*/ 629627 w 1037297"/>
                <a:gd name="connsiteY176" fmla="*/ 283579 h 838042"/>
                <a:gd name="connsiteX177" fmla="*/ 604862 w 1037297"/>
                <a:gd name="connsiteY177" fmla="*/ 289294 h 838042"/>
                <a:gd name="connsiteX178" fmla="*/ 591527 w 1037297"/>
                <a:gd name="connsiteY178" fmla="*/ 293104 h 838042"/>
                <a:gd name="connsiteX179" fmla="*/ 576287 w 1037297"/>
                <a:gd name="connsiteY179" fmla="*/ 291199 h 838042"/>
                <a:gd name="connsiteX180" fmla="*/ 564857 w 1037297"/>
                <a:gd name="connsiteY180" fmla="*/ 287389 h 838042"/>
                <a:gd name="connsiteX181" fmla="*/ 553427 w 1037297"/>
                <a:gd name="connsiteY181" fmla="*/ 283579 h 838042"/>
                <a:gd name="connsiteX182" fmla="*/ 541997 w 1037297"/>
                <a:gd name="connsiteY182" fmla="*/ 279769 h 838042"/>
                <a:gd name="connsiteX183" fmla="*/ 536282 w 1037297"/>
                <a:gd name="connsiteY183" fmla="*/ 277864 h 838042"/>
                <a:gd name="connsiteX184" fmla="*/ 530567 w 1037297"/>
                <a:gd name="connsiteY184" fmla="*/ 274054 h 838042"/>
                <a:gd name="connsiteX185" fmla="*/ 519137 w 1037297"/>
                <a:gd name="connsiteY185" fmla="*/ 268339 h 838042"/>
                <a:gd name="connsiteX186" fmla="*/ 511517 w 1037297"/>
                <a:gd name="connsiteY186" fmla="*/ 256909 h 838042"/>
                <a:gd name="connsiteX187" fmla="*/ 507707 w 1037297"/>
                <a:gd name="connsiteY187" fmla="*/ 235954 h 838042"/>
                <a:gd name="connsiteX188" fmla="*/ 509612 w 1037297"/>
                <a:gd name="connsiteY188" fmla="*/ 171184 h 838042"/>
                <a:gd name="connsiteX189" fmla="*/ 508314 w 1037297"/>
                <a:gd name="connsiteY189" fmla="*/ 73485 h 838042"/>
                <a:gd name="connsiteX190" fmla="*/ 454116 w 1037297"/>
                <a:gd name="connsiteY190" fmla="*/ 11248 h 838042"/>
                <a:gd name="connsiteX191" fmla="*/ 435401 w 1037297"/>
                <a:gd name="connsiteY191" fmla="*/ 68523 h 838042"/>
                <a:gd name="connsiteX192" fmla="*/ 427697 w 1037297"/>
                <a:gd name="connsiteY192" fmla="*/ 137103 h 838042"/>
                <a:gd name="connsiteX193" fmla="*/ 420077 w 1037297"/>
                <a:gd name="connsiteY193" fmla="*/ 169279 h 838042"/>
                <a:gd name="connsiteX194" fmla="*/ 416267 w 1037297"/>
                <a:gd name="connsiteY194" fmla="*/ 186424 h 838042"/>
                <a:gd name="connsiteX195" fmla="*/ 420077 w 1037297"/>
                <a:gd name="connsiteY195" fmla="*/ 207379 h 838042"/>
                <a:gd name="connsiteX196" fmla="*/ 423887 w 1037297"/>
                <a:gd name="connsiteY196" fmla="*/ 213094 h 838042"/>
                <a:gd name="connsiteX197" fmla="*/ 427697 w 1037297"/>
                <a:gd name="connsiteY197" fmla="*/ 224524 h 838042"/>
                <a:gd name="connsiteX198" fmla="*/ 425792 w 1037297"/>
                <a:gd name="connsiteY198" fmla="*/ 251194 h 838042"/>
                <a:gd name="connsiteX199" fmla="*/ 420077 w 1037297"/>
                <a:gd name="connsiteY199" fmla="*/ 253099 h 838042"/>
                <a:gd name="connsiteX200" fmla="*/ 414362 w 1037297"/>
                <a:gd name="connsiteY200" fmla="*/ 256909 h 838042"/>
                <a:gd name="connsiteX201" fmla="*/ 423887 w 1037297"/>
                <a:gd name="connsiteY201"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89672 w 1037297"/>
                <a:gd name="connsiteY132" fmla="*/ 373114 h 838042"/>
                <a:gd name="connsiteX133" fmla="*/ 978242 w 1037297"/>
                <a:gd name="connsiteY133" fmla="*/ 369304 h 838042"/>
                <a:gd name="connsiteX134" fmla="*/ 972527 w 1037297"/>
                <a:gd name="connsiteY134" fmla="*/ 367399 h 838042"/>
                <a:gd name="connsiteX135" fmla="*/ 964907 w 1037297"/>
                <a:gd name="connsiteY135" fmla="*/ 365494 h 838042"/>
                <a:gd name="connsiteX136" fmla="*/ 959192 w 1037297"/>
                <a:gd name="connsiteY136" fmla="*/ 363589 h 838042"/>
                <a:gd name="connsiteX137" fmla="*/ 938237 w 1037297"/>
                <a:gd name="connsiteY137" fmla="*/ 357874 h 838042"/>
                <a:gd name="connsiteX138" fmla="*/ 932522 w 1037297"/>
                <a:gd name="connsiteY138" fmla="*/ 355969 h 838042"/>
                <a:gd name="connsiteX139" fmla="*/ 827747 w 1037297"/>
                <a:gd name="connsiteY139" fmla="*/ 357874 h 838042"/>
                <a:gd name="connsiteX140" fmla="*/ 822032 w 1037297"/>
                <a:gd name="connsiteY140" fmla="*/ 359779 h 838042"/>
                <a:gd name="connsiteX141" fmla="*/ 732497 w 1037297"/>
                <a:gd name="connsiteY141" fmla="*/ 361684 h 838042"/>
                <a:gd name="connsiteX142" fmla="*/ 719162 w 1037297"/>
                <a:gd name="connsiteY142" fmla="*/ 365494 h 838042"/>
                <a:gd name="connsiteX143" fmla="*/ 671537 w 1037297"/>
                <a:gd name="connsiteY143" fmla="*/ 369304 h 838042"/>
                <a:gd name="connsiteX144" fmla="*/ 648677 w 1037297"/>
                <a:gd name="connsiteY144" fmla="*/ 373114 h 838042"/>
                <a:gd name="connsiteX145" fmla="*/ 644867 w 1037297"/>
                <a:gd name="connsiteY145" fmla="*/ 361684 h 838042"/>
                <a:gd name="connsiteX146" fmla="*/ 642962 w 1037297"/>
                <a:gd name="connsiteY146" fmla="*/ 355969 h 838042"/>
                <a:gd name="connsiteX147" fmla="*/ 644867 w 1037297"/>
                <a:gd name="connsiteY147" fmla="*/ 338824 h 838042"/>
                <a:gd name="connsiteX148" fmla="*/ 646772 w 1037297"/>
                <a:gd name="connsiteY148" fmla="*/ 333109 h 838042"/>
                <a:gd name="connsiteX149" fmla="*/ 663917 w 1037297"/>
                <a:gd name="connsiteY149" fmla="*/ 323584 h 838042"/>
                <a:gd name="connsiteX150" fmla="*/ 675347 w 1037297"/>
                <a:gd name="connsiteY150" fmla="*/ 315964 h 838042"/>
                <a:gd name="connsiteX151" fmla="*/ 677252 w 1037297"/>
                <a:gd name="connsiteY151" fmla="*/ 310249 h 838042"/>
                <a:gd name="connsiteX152" fmla="*/ 682967 w 1037297"/>
                <a:gd name="connsiteY152" fmla="*/ 308344 h 838042"/>
                <a:gd name="connsiteX153" fmla="*/ 688682 w 1037297"/>
                <a:gd name="connsiteY153" fmla="*/ 304534 h 838042"/>
                <a:gd name="connsiteX154" fmla="*/ 698207 w 1037297"/>
                <a:gd name="connsiteY154" fmla="*/ 295009 h 838042"/>
                <a:gd name="connsiteX155" fmla="*/ 707732 w 1037297"/>
                <a:gd name="connsiteY155" fmla="*/ 283579 h 838042"/>
                <a:gd name="connsiteX156" fmla="*/ 719162 w 1037297"/>
                <a:gd name="connsiteY156" fmla="*/ 275959 h 838042"/>
                <a:gd name="connsiteX157" fmla="*/ 734402 w 1037297"/>
                <a:gd name="connsiteY157" fmla="*/ 262624 h 838042"/>
                <a:gd name="connsiteX158" fmla="*/ 743927 w 1037297"/>
                <a:gd name="connsiteY158" fmla="*/ 251194 h 838042"/>
                <a:gd name="connsiteX159" fmla="*/ 755357 w 1037297"/>
                <a:gd name="connsiteY159" fmla="*/ 241669 h 838042"/>
                <a:gd name="connsiteX160" fmla="*/ 761072 w 1037297"/>
                <a:gd name="connsiteY160" fmla="*/ 230239 h 838042"/>
                <a:gd name="connsiteX161" fmla="*/ 762977 w 1037297"/>
                <a:gd name="connsiteY161" fmla="*/ 224524 h 838042"/>
                <a:gd name="connsiteX162" fmla="*/ 768692 w 1037297"/>
                <a:gd name="connsiteY162" fmla="*/ 213094 h 838042"/>
                <a:gd name="connsiteX163" fmla="*/ 766787 w 1037297"/>
                <a:gd name="connsiteY163" fmla="*/ 197854 h 838042"/>
                <a:gd name="connsiteX164" fmla="*/ 761072 w 1037297"/>
                <a:gd name="connsiteY164" fmla="*/ 195949 h 838042"/>
                <a:gd name="connsiteX165" fmla="*/ 740117 w 1037297"/>
                <a:gd name="connsiteY165" fmla="*/ 197854 h 838042"/>
                <a:gd name="connsiteX166" fmla="*/ 734402 w 1037297"/>
                <a:gd name="connsiteY166" fmla="*/ 201664 h 838042"/>
                <a:gd name="connsiteX167" fmla="*/ 722972 w 1037297"/>
                <a:gd name="connsiteY167" fmla="*/ 205474 h 838042"/>
                <a:gd name="connsiteX168" fmla="*/ 719162 w 1037297"/>
                <a:gd name="connsiteY168" fmla="*/ 211189 h 838042"/>
                <a:gd name="connsiteX169" fmla="*/ 713447 w 1037297"/>
                <a:gd name="connsiteY169" fmla="*/ 213094 h 838042"/>
                <a:gd name="connsiteX170" fmla="*/ 707732 w 1037297"/>
                <a:gd name="connsiteY170" fmla="*/ 216904 h 838042"/>
                <a:gd name="connsiteX171" fmla="*/ 702017 w 1037297"/>
                <a:gd name="connsiteY171" fmla="*/ 222619 h 838042"/>
                <a:gd name="connsiteX172" fmla="*/ 694397 w 1037297"/>
                <a:gd name="connsiteY172" fmla="*/ 226429 h 838042"/>
                <a:gd name="connsiteX173" fmla="*/ 652487 w 1037297"/>
                <a:gd name="connsiteY173" fmla="*/ 255004 h 838042"/>
                <a:gd name="connsiteX174" fmla="*/ 639152 w 1037297"/>
                <a:gd name="connsiteY174" fmla="*/ 266434 h 838042"/>
                <a:gd name="connsiteX175" fmla="*/ 629627 w 1037297"/>
                <a:gd name="connsiteY175" fmla="*/ 283579 h 838042"/>
                <a:gd name="connsiteX176" fmla="*/ 604862 w 1037297"/>
                <a:gd name="connsiteY176" fmla="*/ 289294 h 838042"/>
                <a:gd name="connsiteX177" fmla="*/ 591527 w 1037297"/>
                <a:gd name="connsiteY177" fmla="*/ 293104 h 838042"/>
                <a:gd name="connsiteX178" fmla="*/ 576287 w 1037297"/>
                <a:gd name="connsiteY178" fmla="*/ 291199 h 838042"/>
                <a:gd name="connsiteX179" fmla="*/ 564857 w 1037297"/>
                <a:gd name="connsiteY179" fmla="*/ 287389 h 838042"/>
                <a:gd name="connsiteX180" fmla="*/ 553427 w 1037297"/>
                <a:gd name="connsiteY180" fmla="*/ 283579 h 838042"/>
                <a:gd name="connsiteX181" fmla="*/ 541997 w 1037297"/>
                <a:gd name="connsiteY181" fmla="*/ 279769 h 838042"/>
                <a:gd name="connsiteX182" fmla="*/ 536282 w 1037297"/>
                <a:gd name="connsiteY182" fmla="*/ 277864 h 838042"/>
                <a:gd name="connsiteX183" fmla="*/ 530567 w 1037297"/>
                <a:gd name="connsiteY183" fmla="*/ 274054 h 838042"/>
                <a:gd name="connsiteX184" fmla="*/ 519137 w 1037297"/>
                <a:gd name="connsiteY184" fmla="*/ 268339 h 838042"/>
                <a:gd name="connsiteX185" fmla="*/ 511517 w 1037297"/>
                <a:gd name="connsiteY185" fmla="*/ 256909 h 838042"/>
                <a:gd name="connsiteX186" fmla="*/ 507707 w 1037297"/>
                <a:gd name="connsiteY186" fmla="*/ 235954 h 838042"/>
                <a:gd name="connsiteX187" fmla="*/ 509612 w 1037297"/>
                <a:gd name="connsiteY187" fmla="*/ 171184 h 838042"/>
                <a:gd name="connsiteX188" fmla="*/ 508314 w 1037297"/>
                <a:gd name="connsiteY188" fmla="*/ 73485 h 838042"/>
                <a:gd name="connsiteX189" fmla="*/ 454116 w 1037297"/>
                <a:gd name="connsiteY189" fmla="*/ 11248 h 838042"/>
                <a:gd name="connsiteX190" fmla="*/ 435401 w 1037297"/>
                <a:gd name="connsiteY190" fmla="*/ 68523 h 838042"/>
                <a:gd name="connsiteX191" fmla="*/ 427697 w 1037297"/>
                <a:gd name="connsiteY191" fmla="*/ 137103 h 838042"/>
                <a:gd name="connsiteX192" fmla="*/ 420077 w 1037297"/>
                <a:gd name="connsiteY192" fmla="*/ 169279 h 838042"/>
                <a:gd name="connsiteX193" fmla="*/ 416267 w 1037297"/>
                <a:gd name="connsiteY193" fmla="*/ 186424 h 838042"/>
                <a:gd name="connsiteX194" fmla="*/ 420077 w 1037297"/>
                <a:gd name="connsiteY194" fmla="*/ 207379 h 838042"/>
                <a:gd name="connsiteX195" fmla="*/ 423887 w 1037297"/>
                <a:gd name="connsiteY195" fmla="*/ 213094 h 838042"/>
                <a:gd name="connsiteX196" fmla="*/ 427697 w 1037297"/>
                <a:gd name="connsiteY196" fmla="*/ 224524 h 838042"/>
                <a:gd name="connsiteX197" fmla="*/ 425792 w 1037297"/>
                <a:gd name="connsiteY197" fmla="*/ 251194 h 838042"/>
                <a:gd name="connsiteX198" fmla="*/ 420077 w 1037297"/>
                <a:gd name="connsiteY198" fmla="*/ 253099 h 838042"/>
                <a:gd name="connsiteX199" fmla="*/ 414362 w 1037297"/>
                <a:gd name="connsiteY199" fmla="*/ 256909 h 838042"/>
                <a:gd name="connsiteX200" fmla="*/ 423887 w 1037297"/>
                <a:gd name="connsiteY200"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89672 w 1037297"/>
                <a:gd name="connsiteY132" fmla="*/ 373114 h 838042"/>
                <a:gd name="connsiteX133" fmla="*/ 978242 w 1037297"/>
                <a:gd name="connsiteY133" fmla="*/ 369304 h 838042"/>
                <a:gd name="connsiteX134" fmla="*/ 972527 w 1037297"/>
                <a:gd name="connsiteY134" fmla="*/ 367399 h 838042"/>
                <a:gd name="connsiteX135" fmla="*/ 964907 w 1037297"/>
                <a:gd name="connsiteY135" fmla="*/ 365494 h 838042"/>
                <a:gd name="connsiteX136" fmla="*/ 959192 w 1037297"/>
                <a:gd name="connsiteY136" fmla="*/ 363589 h 838042"/>
                <a:gd name="connsiteX137" fmla="*/ 938237 w 1037297"/>
                <a:gd name="connsiteY137" fmla="*/ 357874 h 838042"/>
                <a:gd name="connsiteX138" fmla="*/ 932522 w 1037297"/>
                <a:gd name="connsiteY138" fmla="*/ 355969 h 838042"/>
                <a:gd name="connsiteX139" fmla="*/ 827747 w 1037297"/>
                <a:gd name="connsiteY139" fmla="*/ 357874 h 838042"/>
                <a:gd name="connsiteX140" fmla="*/ 822032 w 1037297"/>
                <a:gd name="connsiteY140" fmla="*/ 359779 h 838042"/>
                <a:gd name="connsiteX141" fmla="*/ 732497 w 1037297"/>
                <a:gd name="connsiteY141" fmla="*/ 361684 h 838042"/>
                <a:gd name="connsiteX142" fmla="*/ 671537 w 1037297"/>
                <a:gd name="connsiteY142" fmla="*/ 369304 h 838042"/>
                <a:gd name="connsiteX143" fmla="*/ 648677 w 1037297"/>
                <a:gd name="connsiteY143" fmla="*/ 373114 h 838042"/>
                <a:gd name="connsiteX144" fmla="*/ 644867 w 1037297"/>
                <a:gd name="connsiteY144" fmla="*/ 361684 h 838042"/>
                <a:gd name="connsiteX145" fmla="*/ 642962 w 1037297"/>
                <a:gd name="connsiteY145" fmla="*/ 355969 h 838042"/>
                <a:gd name="connsiteX146" fmla="*/ 644867 w 1037297"/>
                <a:gd name="connsiteY146" fmla="*/ 338824 h 838042"/>
                <a:gd name="connsiteX147" fmla="*/ 646772 w 1037297"/>
                <a:gd name="connsiteY147" fmla="*/ 333109 h 838042"/>
                <a:gd name="connsiteX148" fmla="*/ 663917 w 1037297"/>
                <a:gd name="connsiteY148" fmla="*/ 323584 h 838042"/>
                <a:gd name="connsiteX149" fmla="*/ 675347 w 1037297"/>
                <a:gd name="connsiteY149" fmla="*/ 315964 h 838042"/>
                <a:gd name="connsiteX150" fmla="*/ 677252 w 1037297"/>
                <a:gd name="connsiteY150" fmla="*/ 310249 h 838042"/>
                <a:gd name="connsiteX151" fmla="*/ 682967 w 1037297"/>
                <a:gd name="connsiteY151" fmla="*/ 308344 h 838042"/>
                <a:gd name="connsiteX152" fmla="*/ 688682 w 1037297"/>
                <a:gd name="connsiteY152" fmla="*/ 304534 h 838042"/>
                <a:gd name="connsiteX153" fmla="*/ 698207 w 1037297"/>
                <a:gd name="connsiteY153" fmla="*/ 295009 h 838042"/>
                <a:gd name="connsiteX154" fmla="*/ 707732 w 1037297"/>
                <a:gd name="connsiteY154" fmla="*/ 283579 h 838042"/>
                <a:gd name="connsiteX155" fmla="*/ 719162 w 1037297"/>
                <a:gd name="connsiteY155" fmla="*/ 275959 h 838042"/>
                <a:gd name="connsiteX156" fmla="*/ 734402 w 1037297"/>
                <a:gd name="connsiteY156" fmla="*/ 262624 h 838042"/>
                <a:gd name="connsiteX157" fmla="*/ 743927 w 1037297"/>
                <a:gd name="connsiteY157" fmla="*/ 251194 h 838042"/>
                <a:gd name="connsiteX158" fmla="*/ 755357 w 1037297"/>
                <a:gd name="connsiteY158" fmla="*/ 241669 h 838042"/>
                <a:gd name="connsiteX159" fmla="*/ 761072 w 1037297"/>
                <a:gd name="connsiteY159" fmla="*/ 230239 h 838042"/>
                <a:gd name="connsiteX160" fmla="*/ 762977 w 1037297"/>
                <a:gd name="connsiteY160" fmla="*/ 224524 h 838042"/>
                <a:gd name="connsiteX161" fmla="*/ 768692 w 1037297"/>
                <a:gd name="connsiteY161" fmla="*/ 213094 h 838042"/>
                <a:gd name="connsiteX162" fmla="*/ 766787 w 1037297"/>
                <a:gd name="connsiteY162" fmla="*/ 197854 h 838042"/>
                <a:gd name="connsiteX163" fmla="*/ 761072 w 1037297"/>
                <a:gd name="connsiteY163" fmla="*/ 195949 h 838042"/>
                <a:gd name="connsiteX164" fmla="*/ 740117 w 1037297"/>
                <a:gd name="connsiteY164" fmla="*/ 197854 h 838042"/>
                <a:gd name="connsiteX165" fmla="*/ 734402 w 1037297"/>
                <a:gd name="connsiteY165" fmla="*/ 201664 h 838042"/>
                <a:gd name="connsiteX166" fmla="*/ 722972 w 1037297"/>
                <a:gd name="connsiteY166" fmla="*/ 205474 h 838042"/>
                <a:gd name="connsiteX167" fmla="*/ 719162 w 1037297"/>
                <a:gd name="connsiteY167" fmla="*/ 211189 h 838042"/>
                <a:gd name="connsiteX168" fmla="*/ 713447 w 1037297"/>
                <a:gd name="connsiteY168" fmla="*/ 213094 h 838042"/>
                <a:gd name="connsiteX169" fmla="*/ 707732 w 1037297"/>
                <a:gd name="connsiteY169" fmla="*/ 216904 h 838042"/>
                <a:gd name="connsiteX170" fmla="*/ 702017 w 1037297"/>
                <a:gd name="connsiteY170" fmla="*/ 222619 h 838042"/>
                <a:gd name="connsiteX171" fmla="*/ 694397 w 1037297"/>
                <a:gd name="connsiteY171" fmla="*/ 226429 h 838042"/>
                <a:gd name="connsiteX172" fmla="*/ 652487 w 1037297"/>
                <a:gd name="connsiteY172" fmla="*/ 255004 h 838042"/>
                <a:gd name="connsiteX173" fmla="*/ 639152 w 1037297"/>
                <a:gd name="connsiteY173" fmla="*/ 266434 h 838042"/>
                <a:gd name="connsiteX174" fmla="*/ 629627 w 1037297"/>
                <a:gd name="connsiteY174" fmla="*/ 283579 h 838042"/>
                <a:gd name="connsiteX175" fmla="*/ 604862 w 1037297"/>
                <a:gd name="connsiteY175" fmla="*/ 289294 h 838042"/>
                <a:gd name="connsiteX176" fmla="*/ 591527 w 1037297"/>
                <a:gd name="connsiteY176" fmla="*/ 293104 h 838042"/>
                <a:gd name="connsiteX177" fmla="*/ 576287 w 1037297"/>
                <a:gd name="connsiteY177" fmla="*/ 291199 h 838042"/>
                <a:gd name="connsiteX178" fmla="*/ 564857 w 1037297"/>
                <a:gd name="connsiteY178" fmla="*/ 287389 h 838042"/>
                <a:gd name="connsiteX179" fmla="*/ 553427 w 1037297"/>
                <a:gd name="connsiteY179" fmla="*/ 283579 h 838042"/>
                <a:gd name="connsiteX180" fmla="*/ 541997 w 1037297"/>
                <a:gd name="connsiteY180" fmla="*/ 279769 h 838042"/>
                <a:gd name="connsiteX181" fmla="*/ 536282 w 1037297"/>
                <a:gd name="connsiteY181" fmla="*/ 277864 h 838042"/>
                <a:gd name="connsiteX182" fmla="*/ 530567 w 1037297"/>
                <a:gd name="connsiteY182" fmla="*/ 274054 h 838042"/>
                <a:gd name="connsiteX183" fmla="*/ 519137 w 1037297"/>
                <a:gd name="connsiteY183" fmla="*/ 268339 h 838042"/>
                <a:gd name="connsiteX184" fmla="*/ 511517 w 1037297"/>
                <a:gd name="connsiteY184" fmla="*/ 256909 h 838042"/>
                <a:gd name="connsiteX185" fmla="*/ 507707 w 1037297"/>
                <a:gd name="connsiteY185" fmla="*/ 235954 h 838042"/>
                <a:gd name="connsiteX186" fmla="*/ 509612 w 1037297"/>
                <a:gd name="connsiteY186" fmla="*/ 171184 h 838042"/>
                <a:gd name="connsiteX187" fmla="*/ 508314 w 1037297"/>
                <a:gd name="connsiteY187" fmla="*/ 73485 h 838042"/>
                <a:gd name="connsiteX188" fmla="*/ 454116 w 1037297"/>
                <a:gd name="connsiteY188" fmla="*/ 11248 h 838042"/>
                <a:gd name="connsiteX189" fmla="*/ 435401 w 1037297"/>
                <a:gd name="connsiteY189" fmla="*/ 68523 h 838042"/>
                <a:gd name="connsiteX190" fmla="*/ 427697 w 1037297"/>
                <a:gd name="connsiteY190" fmla="*/ 137103 h 838042"/>
                <a:gd name="connsiteX191" fmla="*/ 420077 w 1037297"/>
                <a:gd name="connsiteY191" fmla="*/ 169279 h 838042"/>
                <a:gd name="connsiteX192" fmla="*/ 416267 w 1037297"/>
                <a:gd name="connsiteY192" fmla="*/ 186424 h 838042"/>
                <a:gd name="connsiteX193" fmla="*/ 420077 w 1037297"/>
                <a:gd name="connsiteY193" fmla="*/ 207379 h 838042"/>
                <a:gd name="connsiteX194" fmla="*/ 423887 w 1037297"/>
                <a:gd name="connsiteY194" fmla="*/ 213094 h 838042"/>
                <a:gd name="connsiteX195" fmla="*/ 427697 w 1037297"/>
                <a:gd name="connsiteY195" fmla="*/ 224524 h 838042"/>
                <a:gd name="connsiteX196" fmla="*/ 425792 w 1037297"/>
                <a:gd name="connsiteY196" fmla="*/ 251194 h 838042"/>
                <a:gd name="connsiteX197" fmla="*/ 420077 w 1037297"/>
                <a:gd name="connsiteY197" fmla="*/ 253099 h 838042"/>
                <a:gd name="connsiteX198" fmla="*/ 414362 w 1037297"/>
                <a:gd name="connsiteY198" fmla="*/ 256909 h 838042"/>
                <a:gd name="connsiteX199" fmla="*/ 423887 w 1037297"/>
                <a:gd name="connsiteY199"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89672 w 1037297"/>
                <a:gd name="connsiteY132" fmla="*/ 373114 h 838042"/>
                <a:gd name="connsiteX133" fmla="*/ 978242 w 1037297"/>
                <a:gd name="connsiteY133" fmla="*/ 369304 h 838042"/>
                <a:gd name="connsiteX134" fmla="*/ 964907 w 1037297"/>
                <a:gd name="connsiteY134" fmla="*/ 365494 h 838042"/>
                <a:gd name="connsiteX135" fmla="*/ 959192 w 1037297"/>
                <a:gd name="connsiteY135" fmla="*/ 363589 h 838042"/>
                <a:gd name="connsiteX136" fmla="*/ 938237 w 1037297"/>
                <a:gd name="connsiteY136" fmla="*/ 357874 h 838042"/>
                <a:gd name="connsiteX137" fmla="*/ 932522 w 1037297"/>
                <a:gd name="connsiteY137" fmla="*/ 355969 h 838042"/>
                <a:gd name="connsiteX138" fmla="*/ 827747 w 1037297"/>
                <a:gd name="connsiteY138" fmla="*/ 357874 h 838042"/>
                <a:gd name="connsiteX139" fmla="*/ 822032 w 1037297"/>
                <a:gd name="connsiteY139" fmla="*/ 359779 h 838042"/>
                <a:gd name="connsiteX140" fmla="*/ 732497 w 1037297"/>
                <a:gd name="connsiteY140" fmla="*/ 361684 h 838042"/>
                <a:gd name="connsiteX141" fmla="*/ 671537 w 1037297"/>
                <a:gd name="connsiteY141" fmla="*/ 369304 h 838042"/>
                <a:gd name="connsiteX142" fmla="*/ 648677 w 1037297"/>
                <a:gd name="connsiteY142" fmla="*/ 373114 h 838042"/>
                <a:gd name="connsiteX143" fmla="*/ 644867 w 1037297"/>
                <a:gd name="connsiteY143" fmla="*/ 361684 h 838042"/>
                <a:gd name="connsiteX144" fmla="*/ 642962 w 1037297"/>
                <a:gd name="connsiteY144" fmla="*/ 355969 h 838042"/>
                <a:gd name="connsiteX145" fmla="*/ 644867 w 1037297"/>
                <a:gd name="connsiteY145" fmla="*/ 338824 h 838042"/>
                <a:gd name="connsiteX146" fmla="*/ 646772 w 1037297"/>
                <a:gd name="connsiteY146" fmla="*/ 333109 h 838042"/>
                <a:gd name="connsiteX147" fmla="*/ 663917 w 1037297"/>
                <a:gd name="connsiteY147" fmla="*/ 323584 h 838042"/>
                <a:gd name="connsiteX148" fmla="*/ 675347 w 1037297"/>
                <a:gd name="connsiteY148" fmla="*/ 315964 h 838042"/>
                <a:gd name="connsiteX149" fmla="*/ 677252 w 1037297"/>
                <a:gd name="connsiteY149" fmla="*/ 310249 h 838042"/>
                <a:gd name="connsiteX150" fmla="*/ 682967 w 1037297"/>
                <a:gd name="connsiteY150" fmla="*/ 308344 h 838042"/>
                <a:gd name="connsiteX151" fmla="*/ 688682 w 1037297"/>
                <a:gd name="connsiteY151" fmla="*/ 304534 h 838042"/>
                <a:gd name="connsiteX152" fmla="*/ 698207 w 1037297"/>
                <a:gd name="connsiteY152" fmla="*/ 295009 h 838042"/>
                <a:gd name="connsiteX153" fmla="*/ 707732 w 1037297"/>
                <a:gd name="connsiteY153" fmla="*/ 283579 h 838042"/>
                <a:gd name="connsiteX154" fmla="*/ 719162 w 1037297"/>
                <a:gd name="connsiteY154" fmla="*/ 275959 h 838042"/>
                <a:gd name="connsiteX155" fmla="*/ 734402 w 1037297"/>
                <a:gd name="connsiteY155" fmla="*/ 262624 h 838042"/>
                <a:gd name="connsiteX156" fmla="*/ 743927 w 1037297"/>
                <a:gd name="connsiteY156" fmla="*/ 251194 h 838042"/>
                <a:gd name="connsiteX157" fmla="*/ 755357 w 1037297"/>
                <a:gd name="connsiteY157" fmla="*/ 241669 h 838042"/>
                <a:gd name="connsiteX158" fmla="*/ 761072 w 1037297"/>
                <a:gd name="connsiteY158" fmla="*/ 230239 h 838042"/>
                <a:gd name="connsiteX159" fmla="*/ 762977 w 1037297"/>
                <a:gd name="connsiteY159" fmla="*/ 224524 h 838042"/>
                <a:gd name="connsiteX160" fmla="*/ 768692 w 1037297"/>
                <a:gd name="connsiteY160" fmla="*/ 213094 h 838042"/>
                <a:gd name="connsiteX161" fmla="*/ 766787 w 1037297"/>
                <a:gd name="connsiteY161" fmla="*/ 197854 h 838042"/>
                <a:gd name="connsiteX162" fmla="*/ 761072 w 1037297"/>
                <a:gd name="connsiteY162" fmla="*/ 195949 h 838042"/>
                <a:gd name="connsiteX163" fmla="*/ 740117 w 1037297"/>
                <a:gd name="connsiteY163" fmla="*/ 197854 h 838042"/>
                <a:gd name="connsiteX164" fmla="*/ 734402 w 1037297"/>
                <a:gd name="connsiteY164" fmla="*/ 201664 h 838042"/>
                <a:gd name="connsiteX165" fmla="*/ 722972 w 1037297"/>
                <a:gd name="connsiteY165" fmla="*/ 205474 h 838042"/>
                <a:gd name="connsiteX166" fmla="*/ 719162 w 1037297"/>
                <a:gd name="connsiteY166" fmla="*/ 211189 h 838042"/>
                <a:gd name="connsiteX167" fmla="*/ 713447 w 1037297"/>
                <a:gd name="connsiteY167" fmla="*/ 213094 h 838042"/>
                <a:gd name="connsiteX168" fmla="*/ 707732 w 1037297"/>
                <a:gd name="connsiteY168" fmla="*/ 216904 h 838042"/>
                <a:gd name="connsiteX169" fmla="*/ 702017 w 1037297"/>
                <a:gd name="connsiteY169" fmla="*/ 222619 h 838042"/>
                <a:gd name="connsiteX170" fmla="*/ 694397 w 1037297"/>
                <a:gd name="connsiteY170" fmla="*/ 226429 h 838042"/>
                <a:gd name="connsiteX171" fmla="*/ 652487 w 1037297"/>
                <a:gd name="connsiteY171" fmla="*/ 255004 h 838042"/>
                <a:gd name="connsiteX172" fmla="*/ 639152 w 1037297"/>
                <a:gd name="connsiteY172" fmla="*/ 266434 h 838042"/>
                <a:gd name="connsiteX173" fmla="*/ 629627 w 1037297"/>
                <a:gd name="connsiteY173" fmla="*/ 283579 h 838042"/>
                <a:gd name="connsiteX174" fmla="*/ 604862 w 1037297"/>
                <a:gd name="connsiteY174" fmla="*/ 289294 h 838042"/>
                <a:gd name="connsiteX175" fmla="*/ 591527 w 1037297"/>
                <a:gd name="connsiteY175" fmla="*/ 293104 h 838042"/>
                <a:gd name="connsiteX176" fmla="*/ 576287 w 1037297"/>
                <a:gd name="connsiteY176" fmla="*/ 291199 h 838042"/>
                <a:gd name="connsiteX177" fmla="*/ 564857 w 1037297"/>
                <a:gd name="connsiteY177" fmla="*/ 287389 h 838042"/>
                <a:gd name="connsiteX178" fmla="*/ 553427 w 1037297"/>
                <a:gd name="connsiteY178" fmla="*/ 283579 h 838042"/>
                <a:gd name="connsiteX179" fmla="*/ 541997 w 1037297"/>
                <a:gd name="connsiteY179" fmla="*/ 279769 h 838042"/>
                <a:gd name="connsiteX180" fmla="*/ 536282 w 1037297"/>
                <a:gd name="connsiteY180" fmla="*/ 277864 h 838042"/>
                <a:gd name="connsiteX181" fmla="*/ 530567 w 1037297"/>
                <a:gd name="connsiteY181" fmla="*/ 274054 h 838042"/>
                <a:gd name="connsiteX182" fmla="*/ 519137 w 1037297"/>
                <a:gd name="connsiteY182" fmla="*/ 268339 h 838042"/>
                <a:gd name="connsiteX183" fmla="*/ 511517 w 1037297"/>
                <a:gd name="connsiteY183" fmla="*/ 256909 h 838042"/>
                <a:gd name="connsiteX184" fmla="*/ 507707 w 1037297"/>
                <a:gd name="connsiteY184" fmla="*/ 235954 h 838042"/>
                <a:gd name="connsiteX185" fmla="*/ 509612 w 1037297"/>
                <a:gd name="connsiteY185" fmla="*/ 171184 h 838042"/>
                <a:gd name="connsiteX186" fmla="*/ 508314 w 1037297"/>
                <a:gd name="connsiteY186" fmla="*/ 73485 h 838042"/>
                <a:gd name="connsiteX187" fmla="*/ 454116 w 1037297"/>
                <a:gd name="connsiteY187" fmla="*/ 11248 h 838042"/>
                <a:gd name="connsiteX188" fmla="*/ 435401 w 1037297"/>
                <a:gd name="connsiteY188" fmla="*/ 68523 h 838042"/>
                <a:gd name="connsiteX189" fmla="*/ 427697 w 1037297"/>
                <a:gd name="connsiteY189" fmla="*/ 137103 h 838042"/>
                <a:gd name="connsiteX190" fmla="*/ 420077 w 1037297"/>
                <a:gd name="connsiteY190" fmla="*/ 169279 h 838042"/>
                <a:gd name="connsiteX191" fmla="*/ 416267 w 1037297"/>
                <a:gd name="connsiteY191" fmla="*/ 186424 h 838042"/>
                <a:gd name="connsiteX192" fmla="*/ 420077 w 1037297"/>
                <a:gd name="connsiteY192" fmla="*/ 207379 h 838042"/>
                <a:gd name="connsiteX193" fmla="*/ 423887 w 1037297"/>
                <a:gd name="connsiteY193" fmla="*/ 213094 h 838042"/>
                <a:gd name="connsiteX194" fmla="*/ 427697 w 1037297"/>
                <a:gd name="connsiteY194" fmla="*/ 224524 h 838042"/>
                <a:gd name="connsiteX195" fmla="*/ 425792 w 1037297"/>
                <a:gd name="connsiteY195" fmla="*/ 251194 h 838042"/>
                <a:gd name="connsiteX196" fmla="*/ 420077 w 1037297"/>
                <a:gd name="connsiteY196" fmla="*/ 253099 h 838042"/>
                <a:gd name="connsiteX197" fmla="*/ 414362 w 1037297"/>
                <a:gd name="connsiteY197" fmla="*/ 256909 h 838042"/>
                <a:gd name="connsiteX198" fmla="*/ 423887 w 1037297"/>
                <a:gd name="connsiteY198"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1001102 w 1037297"/>
                <a:gd name="connsiteY131" fmla="*/ 380734 h 838042"/>
                <a:gd name="connsiteX132" fmla="*/ 978242 w 1037297"/>
                <a:gd name="connsiteY132" fmla="*/ 369304 h 838042"/>
                <a:gd name="connsiteX133" fmla="*/ 964907 w 1037297"/>
                <a:gd name="connsiteY133" fmla="*/ 365494 h 838042"/>
                <a:gd name="connsiteX134" fmla="*/ 959192 w 1037297"/>
                <a:gd name="connsiteY134" fmla="*/ 363589 h 838042"/>
                <a:gd name="connsiteX135" fmla="*/ 938237 w 1037297"/>
                <a:gd name="connsiteY135" fmla="*/ 357874 h 838042"/>
                <a:gd name="connsiteX136" fmla="*/ 932522 w 1037297"/>
                <a:gd name="connsiteY136" fmla="*/ 355969 h 838042"/>
                <a:gd name="connsiteX137" fmla="*/ 827747 w 1037297"/>
                <a:gd name="connsiteY137" fmla="*/ 357874 h 838042"/>
                <a:gd name="connsiteX138" fmla="*/ 822032 w 1037297"/>
                <a:gd name="connsiteY138" fmla="*/ 359779 h 838042"/>
                <a:gd name="connsiteX139" fmla="*/ 732497 w 1037297"/>
                <a:gd name="connsiteY139" fmla="*/ 361684 h 838042"/>
                <a:gd name="connsiteX140" fmla="*/ 671537 w 1037297"/>
                <a:gd name="connsiteY140" fmla="*/ 369304 h 838042"/>
                <a:gd name="connsiteX141" fmla="*/ 648677 w 1037297"/>
                <a:gd name="connsiteY141" fmla="*/ 373114 h 838042"/>
                <a:gd name="connsiteX142" fmla="*/ 644867 w 1037297"/>
                <a:gd name="connsiteY142" fmla="*/ 361684 h 838042"/>
                <a:gd name="connsiteX143" fmla="*/ 642962 w 1037297"/>
                <a:gd name="connsiteY143" fmla="*/ 355969 h 838042"/>
                <a:gd name="connsiteX144" fmla="*/ 644867 w 1037297"/>
                <a:gd name="connsiteY144" fmla="*/ 338824 h 838042"/>
                <a:gd name="connsiteX145" fmla="*/ 646772 w 1037297"/>
                <a:gd name="connsiteY145" fmla="*/ 333109 h 838042"/>
                <a:gd name="connsiteX146" fmla="*/ 663917 w 1037297"/>
                <a:gd name="connsiteY146" fmla="*/ 323584 h 838042"/>
                <a:gd name="connsiteX147" fmla="*/ 675347 w 1037297"/>
                <a:gd name="connsiteY147" fmla="*/ 315964 h 838042"/>
                <a:gd name="connsiteX148" fmla="*/ 677252 w 1037297"/>
                <a:gd name="connsiteY148" fmla="*/ 310249 h 838042"/>
                <a:gd name="connsiteX149" fmla="*/ 682967 w 1037297"/>
                <a:gd name="connsiteY149" fmla="*/ 308344 h 838042"/>
                <a:gd name="connsiteX150" fmla="*/ 688682 w 1037297"/>
                <a:gd name="connsiteY150" fmla="*/ 304534 h 838042"/>
                <a:gd name="connsiteX151" fmla="*/ 698207 w 1037297"/>
                <a:gd name="connsiteY151" fmla="*/ 295009 h 838042"/>
                <a:gd name="connsiteX152" fmla="*/ 707732 w 1037297"/>
                <a:gd name="connsiteY152" fmla="*/ 283579 h 838042"/>
                <a:gd name="connsiteX153" fmla="*/ 719162 w 1037297"/>
                <a:gd name="connsiteY153" fmla="*/ 275959 h 838042"/>
                <a:gd name="connsiteX154" fmla="*/ 734402 w 1037297"/>
                <a:gd name="connsiteY154" fmla="*/ 262624 h 838042"/>
                <a:gd name="connsiteX155" fmla="*/ 743927 w 1037297"/>
                <a:gd name="connsiteY155" fmla="*/ 251194 h 838042"/>
                <a:gd name="connsiteX156" fmla="*/ 755357 w 1037297"/>
                <a:gd name="connsiteY156" fmla="*/ 241669 h 838042"/>
                <a:gd name="connsiteX157" fmla="*/ 761072 w 1037297"/>
                <a:gd name="connsiteY157" fmla="*/ 230239 h 838042"/>
                <a:gd name="connsiteX158" fmla="*/ 762977 w 1037297"/>
                <a:gd name="connsiteY158" fmla="*/ 224524 h 838042"/>
                <a:gd name="connsiteX159" fmla="*/ 768692 w 1037297"/>
                <a:gd name="connsiteY159" fmla="*/ 213094 h 838042"/>
                <a:gd name="connsiteX160" fmla="*/ 766787 w 1037297"/>
                <a:gd name="connsiteY160" fmla="*/ 197854 h 838042"/>
                <a:gd name="connsiteX161" fmla="*/ 761072 w 1037297"/>
                <a:gd name="connsiteY161" fmla="*/ 195949 h 838042"/>
                <a:gd name="connsiteX162" fmla="*/ 740117 w 1037297"/>
                <a:gd name="connsiteY162" fmla="*/ 197854 h 838042"/>
                <a:gd name="connsiteX163" fmla="*/ 734402 w 1037297"/>
                <a:gd name="connsiteY163" fmla="*/ 201664 h 838042"/>
                <a:gd name="connsiteX164" fmla="*/ 722972 w 1037297"/>
                <a:gd name="connsiteY164" fmla="*/ 205474 h 838042"/>
                <a:gd name="connsiteX165" fmla="*/ 719162 w 1037297"/>
                <a:gd name="connsiteY165" fmla="*/ 211189 h 838042"/>
                <a:gd name="connsiteX166" fmla="*/ 713447 w 1037297"/>
                <a:gd name="connsiteY166" fmla="*/ 213094 h 838042"/>
                <a:gd name="connsiteX167" fmla="*/ 707732 w 1037297"/>
                <a:gd name="connsiteY167" fmla="*/ 216904 h 838042"/>
                <a:gd name="connsiteX168" fmla="*/ 702017 w 1037297"/>
                <a:gd name="connsiteY168" fmla="*/ 222619 h 838042"/>
                <a:gd name="connsiteX169" fmla="*/ 694397 w 1037297"/>
                <a:gd name="connsiteY169" fmla="*/ 226429 h 838042"/>
                <a:gd name="connsiteX170" fmla="*/ 652487 w 1037297"/>
                <a:gd name="connsiteY170" fmla="*/ 255004 h 838042"/>
                <a:gd name="connsiteX171" fmla="*/ 639152 w 1037297"/>
                <a:gd name="connsiteY171" fmla="*/ 266434 h 838042"/>
                <a:gd name="connsiteX172" fmla="*/ 629627 w 1037297"/>
                <a:gd name="connsiteY172" fmla="*/ 283579 h 838042"/>
                <a:gd name="connsiteX173" fmla="*/ 604862 w 1037297"/>
                <a:gd name="connsiteY173" fmla="*/ 289294 h 838042"/>
                <a:gd name="connsiteX174" fmla="*/ 591527 w 1037297"/>
                <a:gd name="connsiteY174" fmla="*/ 293104 h 838042"/>
                <a:gd name="connsiteX175" fmla="*/ 576287 w 1037297"/>
                <a:gd name="connsiteY175" fmla="*/ 291199 h 838042"/>
                <a:gd name="connsiteX176" fmla="*/ 564857 w 1037297"/>
                <a:gd name="connsiteY176" fmla="*/ 287389 h 838042"/>
                <a:gd name="connsiteX177" fmla="*/ 553427 w 1037297"/>
                <a:gd name="connsiteY177" fmla="*/ 283579 h 838042"/>
                <a:gd name="connsiteX178" fmla="*/ 541997 w 1037297"/>
                <a:gd name="connsiteY178" fmla="*/ 279769 h 838042"/>
                <a:gd name="connsiteX179" fmla="*/ 536282 w 1037297"/>
                <a:gd name="connsiteY179" fmla="*/ 277864 h 838042"/>
                <a:gd name="connsiteX180" fmla="*/ 530567 w 1037297"/>
                <a:gd name="connsiteY180" fmla="*/ 274054 h 838042"/>
                <a:gd name="connsiteX181" fmla="*/ 519137 w 1037297"/>
                <a:gd name="connsiteY181" fmla="*/ 268339 h 838042"/>
                <a:gd name="connsiteX182" fmla="*/ 511517 w 1037297"/>
                <a:gd name="connsiteY182" fmla="*/ 256909 h 838042"/>
                <a:gd name="connsiteX183" fmla="*/ 507707 w 1037297"/>
                <a:gd name="connsiteY183" fmla="*/ 235954 h 838042"/>
                <a:gd name="connsiteX184" fmla="*/ 509612 w 1037297"/>
                <a:gd name="connsiteY184" fmla="*/ 171184 h 838042"/>
                <a:gd name="connsiteX185" fmla="*/ 508314 w 1037297"/>
                <a:gd name="connsiteY185" fmla="*/ 73485 h 838042"/>
                <a:gd name="connsiteX186" fmla="*/ 454116 w 1037297"/>
                <a:gd name="connsiteY186" fmla="*/ 11248 h 838042"/>
                <a:gd name="connsiteX187" fmla="*/ 435401 w 1037297"/>
                <a:gd name="connsiteY187" fmla="*/ 68523 h 838042"/>
                <a:gd name="connsiteX188" fmla="*/ 427697 w 1037297"/>
                <a:gd name="connsiteY188" fmla="*/ 137103 h 838042"/>
                <a:gd name="connsiteX189" fmla="*/ 420077 w 1037297"/>
                <a:gd name="connsiteY189" fmla="*/ 169279 h 838042"/>
                <a:gd name="connsiteX190" fmla="*/ 416267 w 1037297"/>
                <a:gd name="connsiteY190" fmla="*/ 186424 h 838042"/>
                <a:gd name="connsiteX191" fmla="*/ 420077 w 1037297"/>
                <a:gd name="connsiteY191" fmla="*/ 207379 h 838042"/>
                <a:gd name="connsiteX192" fmla="*/ 423887 w 1037297"/>
                <a:gd name="connsiteY192" fmla="*/ 213094 h 838042"/>
                <a:gd name="connsiteX193" fmla="*/ 427697 w 1037297"/>
                <a:gd name="connsiteY193" fmla="*/ 224524 h 838042"/>
                <a:gd name="connsiteX194" fmla="*/ 425792 w 1037297"/>
                <a:gd name="connsiteY194" fmla="*/ 251194 h 838042"/>
                <a:gd name="connsiteX195" fmla="*/ 420077 w 1037297"/>
                <a:gd name="connsiteY195" fmla="*/ 253099 h 838042"/>
                <a:gd name="connsiteX196" fmla="*/ 414362 w 1037297"/>
                <a:gd name="connsiteY196" fmla="*/ 256909 h 838042"/>
                <a:gd name="connsiteX197" fmla="*/ 423887 w 1037297"/>
                <a:gd name="connsiteY197"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1008722 w 1037297"/>
                <a:gd name="connsiteY130" fmla="*/ 382639 h 838042"/>
                <a:gd name="connsiteX131" fmla="*/ 978242 w 1037297"/>
                <a:gd name="connsiteY131" fmla="*/ 369304 h 838042"/>
                <a:gd name="connsiteX132" fmla="*/ 964907 w 1037297"/>
                <a:gd name="connsiteY132" fmla="*/ 365494 h 838042"/>
                <a:gd name="connsiteX133" fmla="*/ 959192 w 1037297"/>
                <a:gd name="connsiteY133" fmla="*/ 363589 h 838042"/>
                <a:gd name="connsiteX134" fmla="*/ 938237 w 1037297"/>
                <a:gd name="connsiteY134" fmla="*/ 357874 h 838042"/>
                <a:gd name="connsiteX135" fmla="*/ 932522 w 1037297"/>
                <a:gd name="connsiteY135" fmla="*/ 355969 h 838042"/>
                <a:gd name="connsiteX136" fmla="*/ 827747 w 1037297"/>
                <a:gd name="connsiteY136" fmla="*/ 357874 h 838042"/>
                <a:gd name="connsiteX137" fmla="*/ 822032 w 1037297"/>
                <a:gd name="connsiteY137" fmla="*/ 359779 h 838042"/>
                <a:gd name="connsiteX138" fmla="*/ 732497 w 1037297"/>
                <a:gd name="connsiteY138" fmla="*/ 361684 h 838042"/>
                <a:gd name="connsiteX139" fmla="*/ 671537 w 1037297"/>
                <a:gd name="connsiteY139" fmla="*/ 369304 h 838042"/>
                <a:gd name="connsiteX140" fmla="*/ 648677 w 1037297"/>
                <a:gd name="connsiteY140" fmla="*/ 373114 h 838042"/>
                <a:gd name="connsiteX141" fmla="*/ 644867 w 1037297"/>
                <a:gd name="connsiteY141" fmla="*/ 361684 h 838042"/>
                <a:gd name="connsiteX142" fmla="*/ 642962 w 1037297"/>
                <a:gd name="connsiteY142" fmla="*/ 355969 h 838042"/>
                <a:gd name="connsiteX143" fmla="*/ 644867 w 1037297"/>
                <a:gd name="connsiteY143" fmla="*/ 338824 h 838042"/>
                <a:gd name="connsiteX144" fmla="*/ 646772 w 1037297"/>
                <a:gd name="connsiteY144" fmla="*/ 333109 h 838042"/>
                <a:gd name="connsiteX145" fmla="*/ 663917 w 1037297"/>
                <a:gd name="connsiteY145" fmla="*/ 323584 h 838042"/>
                <a:gd name="connsiteX146" fmla="*/ 675347 w 1037297"/>
                <a:gd name="connsiteY146" fmla="*/ 315964 h 838042"/>
                <a:gd name="connsiteX147" fmla="*/ 677252 w 1037297"/>
                <a:gd name="connsiteY147" fmla="*/ 310249 h 838042"/>
                <a:gd name="connsiteX148" fmla="*/ 682967 w 1037297"/>
                <a:gd name="connsiteY148" fmla="*/ 308344 h 838042"/>
                <a:gd name="connsiteX149" fmla="*/ 688682 w 1037297"/>
                <a:gd name="connsiteY149" fmla="*/ 304534 h 838042"/>
                <a:gd name="connsiteX150" fmla="*/ 698207 w 1037297"/>
                <a:gd name="connsiteY150" fmla="*/ 295009 h 838042"/>
                <a:gd name="connsiteX151" fmla="*/ 707732 w 1037297"/>
                <a:gd name="connsiteY151" fmla="*/ 283579 h 838042"/>
                <a:gd name="connsiteX152" fmla="*/ 719162 w 1037297"/>
                <a:gd name="connsiteY152" fmla="*/ 275959 h 838042"/>
                <a:gd name="connsiteX153" fmla="*/ 734402 w 1037297"/>
                <a:gd name="connsiteY153" fmla="*/ 262624 h 838042"/>
                <a:gd name="connsiteX154" fmla="*/ 743927 w 1037297"/>
                <a:gd name="connsiteY154" fmla="*/ 251194 h 838042"/>
                <a:gd name="connsiteX155" fmla="*/ 755357 w 1037297"/>
                <a:gd name="connsiteY155" fmla="*/ 241669 h 838042"/>
                <a:gd name="connsiteX156" fmla="*/ 761072 w 1037297"/>
                <a:gd name="connsiteY156" fmla="*/ 230239 h 838042"/>
                <a:gd name="connsiteX157" fmla="*/ 762977 w 1037297"/>
                <a:gd name="connsiteY157" fmla="*/ 224524 h 838042"/>
                <a:gd name="connsiteX158" fmla="*/ 768692 w 1037297"/>
                <a:gd name="connsiteY158" fmla="*/ 213094 h 838042"/>
                <a:gd name="connsiteX159" fmla="*/ 766787 w 1037297"/>
                <a:gd name="connsiteY159" fmla="*/ 197854 h 838042"/>
                <a:gd name="connsiteX160" fmla="*/ 761072 w 1037297"/>
                <a:gd name="connsiteY160" fmla="*/ 195949 h 838042"/>
                <a:gd name="connsiteX161" fmla="*/ 740117 w 1037297"/>
                <a:gd name="connsiteY161" fmla="*/ 197854 h 838042"/>
                <a:gd name="connsiteX162" fmla="*/ 734402 w 1037297"/>
                <a:gd name="connsiteY162" fmla="*/ 201664 h 838042"/>
                <a:gd name="connsiteX163" fmla="*/ 722972 w 1037297"/>
                <a:gd name="connsiteY163" fmla="*/ 205474 h 838042"/>
                <a:gd name="connsiteX164" fmla="*/ 719162 w 1037297"/>
                <a:gd name="connsiteY164" fmla="*/ 211189 h 838042"/>
                <a:gd name="connsiteX165" fmla="*/ 713447 w 1037297"/>
                <a:gd name="connsiteY165" fmla="*/ 213094 h 838042"/>
                <a:gd name="connsiteX166" fmla="*/ 707732 w 1037297"/>
                <a:gd name="connsiteY166" fmla="*/ 216904 h 838042"/>
                <a:gd name="connsiteX167" fmla="*/ 702017 w 1037297"/>
                <a:gd name="connsiteY167" fmla="*/ 222619 h 838042"/>
                <a:gd name="connsiteX168" fmla="*/ 694397 w 1037297"/>
                <a:gd name="connsiteY168" fmla="*/ 226429 h 838042"/>
                <a:gd name="connsiteX169" fmla="*/ 652487 w 1037297"/>
                <a:gd name="connsiteY169" fmla="*/ 255004 h 838042"/>
                <a:gd name="connsiteX170" fmla="*/ 639152 w 1037297"/>
                <a:gd name="connsiteY170" fmla="*/ 266434 h 838042"/>
                <a:gd name="connsiteX171" fmla="*/ 629627 w 1037297"/>
                <a:gd name="connsiteY171" fmla="*/ 283579 h 838042"/>
                <a:gd name="connsiteX172" fmla="*/ 604862 w 1037297"/>
                <a:gd name="connsiteY172" fmla="*/ 289294 h 838042"/>
                <a:gd name="connsiteX173" fmla="*/ 591527 w 1037297"/>
                <a:gd name="connsiteY173" fmla="*/ 293104 h 838042"/>
                <a:gd name="connsiteX174" fmla="*/ 576287 w 1037297"/>
                <a:gd name="connsiteY174" fmla="*/ 291199 h 838042"/>
                <a:gd name="connsiteX175" fmla="*/ 564857 w 1037297"/>
                <a:gd name="connsiteY175" fmla="*/ 287389 h 838042"/>
                <a:gd name="connsiteX176" fmla="*/ 553427 w 1037297"/>
                <a:gd name="connsiteY176" fmla="*/ 283579 h 838042"/>
                <a:gd name="connsiteX177" fmla="*/ 541997 w 1037297"/>
                <a:gd name="connsiteY177" fmla="*/ 279769 h 838042"/>
                <a:gd name="connsiteX178" fmla="*/ 536282 w 1037297"/>
                <a:gd name="connsiteY178" fmla="*/ 277864 h 838042"/>
                <a:gd name="connsiteX179" fmla="*/ 530567 w 1037297"/>
                <a:gd name="connsiteY179" fmla="*/ 274054 h 838042"/>
                <a:gd name="connsiteX180" fmla="*/ 519137 w 1037297"/>
                <a:gd name="connsiteY180" fmla="*/ 268339 h 838042"/>
                <a:gd name="connsiteX181" fmla="*/ 511517 w 1037297"/>
                <a:gd name="connsiteY181" fmla="*/ 256909 h 838042"/>
                <a:gd name="connsiteX182" fmla="*/ 507707 w 1037297"/>
                <a:gd name="connsiteY182" fmla="*/ 235954 h 838042"/>
                <a:gd name="connsiteX183" fmla="*/ 509612 w 1037297"/>
                <a:gd name="connsiteY183" fmla="*/ 171184 h 838042"/>
                <a:gd name="connsiteX184" fmla="*/ 508314 w 1037297"/>
                <a:gd name="connsiteY184" fmla="*/ 73485 h 838042"/>
                <a:gd name="connsiteX185" fmla="*/ 454116 w 1037297"/>
                <a:gd name="connsiteY185" fmla="*/ 11248 h 838042"/>
                <a:gd name="connsiteX186" fmla="*/ 435401 w 1037297"/>
                <a:gd name="connsiteY186" fmla="*/ 68523 h 838042"/>
                <a:gd name="connsiteX187" fmla="*/ 427697 w 1037297"/>
                <a:gd name="connsiteY187" fmla="*/ 137103 h 838042"/>
                <a:gd name="connsiteX188" fmla="*/ 420077 w 1037297"/>
                <a:gd name="connsiteY188" fmla="*/ 169279 h 838042"/>
                <a:gd name="connsiteX189" fmla="*/ 416267 w 1037297"/>
                <a:gd name="connsiteY189" fmla="*/ 186424 h 838042"/>
                <a:gd name="connsiteX190" fmla="*/ 420077 w 1037297"/>
                <a:gd name="connsiteY190" fmla="*/ 207379 h 838042"/>
                <a:gd name="connsiteX191" fmla="*/ 423887 w 1037297"/>
                <a:gd name="connsiteY191" fmla="*/ 213094 h 838042"/>
                <a:gd name="connsiteX192" fmla="*/ 427697 w 1037297"/>
                <a:gd name="connsiteY192" fmla="*/ 224524 h 838042"/>
                <a:gd name="connsiteX193" fmla="*/ 425792 w 1037297"/>
                <a:gd name="connsiteY193" fmla="*/ 251194 h 838042"/>
                <a:gd name="connsiteX194" fmla="*/ 420077 w 1037297"/>
                <a:gd name="connsiteY194" fmla="*/ 253099 h 838042"/>
                <a:gd name="connsiteX195" fmla="*/ 414362 w 1037297"/>
                <a:gd name="connsiteY195" fmla="*/ 256909 h 838042"/>
                <a:gd name="connsiteX196" fmla="*/ 423887 w 1037297"/>
                <a:gd name="connsiteY196"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78242 w 1037297"/>
                <a:gd name="connsiteY130" fmla="*/ 369304 h 838042"/>
                <a:gd name="connsiteX131" fmla="*/ 964907 w 1037297"/>
                <a:gd name="connsiteY131" fmla="*/ 365494 h 838042"/>
                <a:gd name="connsiteX132" fmla="*/ 959192 w 1037297"/>
                <a:gd name="connsiteY132" fmla="*/ 363589 h 838042"/>
                <a:gd name="connsiteX133" fmla="*/ 938237 w 1037297"/>
                <a:gd name="connsiteY133" fmla="*/ 357874 h 838042"/>
                <a:gd name="connsiteX134" fmla="*/ 932522 w 1037297"/>
                <a:gd name="connsiteY134" fmla="*/ 355969 h 838042"/>
                <a:gd name="connsiteX135" fmla="*/ 827747 w 1037297"/>
                <a:gd name="connsiteY135" fmla="*/ 357874 h 838042"/>
                <a:gd name="connsiteX136" fmla="*/ 822032 w 1037297"/>
                <a:gd name="connsiteY136" fmla="*/ 359779 h 838042"/>
                <a:gd name="connsiteX137" fmla="*/ 732497 w 1037297"/>
                <a:gd name="connsiteY137" fmla="*/ 361684 h 838042"/>
                <a:gd name="connsiteX138" fmla="*/ 671537 w 1037297"/>
                <a:gd name="connsiteY138" fmla="*/ 369304 h 838042"/>
                <a:gd name="connsiteX139" fmla="*/ 648677 w 1037297"/>
                <a:gd name="connsiteY139" fmla="*/ 373114 h 838042"/>
                <a:gd name="connsiteX140" fmla="*/ 644867 w 1037297"/>
                <a:gd name="connsiteY140" fmla="*/ 361684 h 838042"/>
                <a:gd name="connsiteX141" fmla="*/ 642962 w 1037297"/>
                <a:gd name="connsiteY141" fmla="*/ 355969 h 838042"/>
                <a:gd name="connsiteX142" fmla="*/ 644867 w 1037297"/>
                <a:gd name="connsiteY142" fmla="*/ 338824 h 838042"/>
                <a:gd name="connsiteX143" fmla="*/ 646772 w 1037297"/>
                <a:gd name="connsiteY143" fmla="*/ 333109 h 838042"/>
                <a:gd name="connsiteX144" fmla="*/ 663917 w 1037297"/>
                <a:gd name="connsiteY144" fmla="*/ 323584 h 838042"/>
                <a:gd name="connsiteX145" fmla="*/ 675347 w 1037297"/>
                <a:gd name="connsiteY145" fmla="*/ 315964 h 838042"/>
                <a:gd name="connsiteX146" fmla="*/ 677252 w 1037297"/>
                <a:gd name="connsiteY146" fmla="*/ 310249 h 838042"/>
                <a:gd name="connsiteX147" fmla="*/ 682967 w 1037297"/>
                <a:gd name="connsiteY147" fmla="*/ 308344 h 838042"/>
                <a:gd name="connsiteX148" fmla="*/ 688682 w 1037297"/>
                <a:gd name="connsiteY148" fmla="*/ 304534 h 838042"/>
                <a:gd name="connsiteX149" fmla="*/ 698207 w 1037297"/>
                <a:gd name="connsiteY149" fmla="*/ 295009 h 838042"/>
                <a:gd name="connsiteX150" fmla="*/ 707732 w 1037297"/>
                <a:gd name="connsiteY150" fmla="*/ 283579 h 838042"/>
                <a:gd name="connsiteX151" fmla="*/ 719162 w 1037297"/>
                <a:gd name="connsiteY151" fmla="*/ 275959 h 838042"/>
                <a:gd name="connsiteX152" fmla="*/ 734402 w 1037297"/>
                <a:gd name="connsiteY152" fmla="*/ 262624 h 838042"/>
                <a:gd name="connsiteX153" fmla="*/ 743927 w 1037297"/>
                <a:gd name="connsiteY153" fmla="*/ 251194 h 838042"/>
                <a:gd name="connsiteX154" fmla="*/ 755357 w 1037297"/>
                <a:gd name="connsiteY154" fmla="*/ 241669 h 838042"/>
                <a:gd name="connsiteX155" fmla="*/ 761072 w 1037297"/>
                <a:gd name="connsiteY155" fmla="*/ 230239 h 838042"/>
                <a:gd name="connsiteX156" fmla="*/ 762977 w 1037297"/>
                <a:gd name="connsiteY156" fmla="*/ 224524 h 838042"/>
                <a:gd name="connsiteX157" fmla="*/ 768692 w 1037297"/>
                <a:gd name="connsiteY157" fmla="*/ 213094 h 838042"/>
                <a:gd name="connsiteX158" fmla="*/ 766787 w 1037297"/>
                <a:gd name="connsiteY158" fmla="*/ 197854 h 838042"/>
                <a:gd name="connsiteX159" fmla="*/ 761072 w 1037297"/>
                <a:gd name="connsiteY159" fmla="*/ 195949 h 838042"/>
                <a:gd name="connsiteX160" fmla="*/ 740117 w 1037297"/>
                <a:gd name="connsiteY160" fmla="*/ 197854 h 838042"/>
                <a:gd name="connsiteX161" fmla="*/ 734402 w 1037297"/>
                <a:gd name="connsiteY161" fmla="*/ 201664 h 838042"/>
                <a:gd name="connsiteX162" fmla="*/ 722972 w 1037297"/>
                <a:gd name="connsiteY162" fmla="*/ 205474 h 838042"/>
                <a:gd name="connsiteX163" fmla="*/ 719162 w 1037297"/>
                <a:gd name="connsiteY163" fmla="*/ 211189 h 838042"/>
                <a:gd name="connsiteX164" fmla="*/ 713447 w 1037297"/>
                <a:gd name="connsiteY164" fmla="*/ 213094 h 838042"/>
                <a:gd name="connsiteX165" fmla="*/ 707732 w 1037297"/>
                <a:gd name="connsiteY165" fmla="*/ 216904 h 838042"/>
                <a:gd name="connsiteX166" fmla="*/ 702017 w 1037297"/>
                <a:gd name="connsiteY166" fmla="*/ 222619 h 838042"/>
                <a:gd name="connsiteX167" fmla="*/ 694397 w 1037297"/>
                <a:gd name="connsiteY167" fmla="*/ 226429 h 838042"/>
                <a:gd name="connsiteX168" fmla="*/ 652487 w 1037297"/>
                <a:gd name="connsiteY168" fmla="*/ 255004 h 838042"/>
                <a:gd name="connsiteX169" fmla="*/ 639152 w 1037297"/>
                <a:gd name="connsiteY169" fmla="*/ 266434 h 838042"/>
                <a:gd name="connsiteX170" fmla="*/ 629627 w 1037297"/>
                <a:gd name="connsiteY170" fmla="*/ 283579 h 838042"/>
                <a:gd name="connsiteX171" fmla="*/ 604862 w 1037297"/>
                <a:gd name="connsiteY171" fmla="*/ 289294 h 838042"/>
                <a:gd name="connsiteX172" fmla="*/ 591527 w 1037297"/>
                <a:gd name="connsiteY172" fmla="*/ 293104 h 838042"/>
                <a:gd name="connsiteX173" fmla="*/ 576287 w 1037297"/>
                <a:gd name="connsiteY173" fmla="*/ 291199 h 838042"/>
                <a:gd name="connsiteX174" fmla="*/ 564857 w 1037297"/>
                <a:gd name="connsiteY174" fmla="*/ 287389 h 838042"/>
                <a:gd name="connsiteX175" fmla="*/ 553427 w 1037297"/>
                <a:gd name="connsiteY175" fmla="*/ 283579 h 838042"/>
                <a:gd name="connsiteX176" fmla="*/ 541997 w 1037297"/>
                <a:gd name="connsiteY176" fmla="*/ 279769 h 838042"/>
                <a:gd name="connsiteX177" fmla="*/ 536282 w 1037297"/>
                <a:gd name="connsiteY177" fmla="*/ 277864 h 838042"/>
                <a:gd name="connsiteX178" fmla="*/ 530567 w 1037297"/>
                <a:gd name="connsiteY178" fmla="*/ 274054 h 838042"/>
                <a:gd name="connsiteX179" fmla="*/ 519137 w 1037297"/>
                <a:gd name="connsiteY179" fmla="*/ 268339 h 838042"/>
                <a:gd name="connsiteX180" fmla="*/ 511517 w 1037297"/>
                <a:gd name="connsiteY180" fmla="*/ 256909 h 838042"/>
                <a:gd name="connsiteX181" fmla="*/ 507707 w 1037297"/>
                <a:gd name="connsiteY181" fmla="*/ 235954 h 838042"/>
                <a:gd name="connsiteX182" fmla="*/ 509612 w 1037297"/>
                <a:gd name="connsiteY182" fmla="*/ 171184 h 838042"/>
                <a:gd name="connsiteX183" fmla="*/ 508314 w 1037297"/>
                <a:gd name="connsiteY183" fmla="*/ 73485 h 838042"/>
                <a:gd name="connsiteX184" fmla="*/ 454116 w 1037297"/>
                <a:gd name="connsiteY184" fmla="*/ 11248 h 838042"/>
                <a:gd name="connsiteX185" fmla="*/ 435401 w 1037297"/>
                <a:gd name="connsiteY185" fmla="*/ 68523 h 838042"/>
                <a:gd name="connsiteX186" fmla="*/ 427697 w 1037297"/>
                <a:gd name="connsiteY186" fmla="*/ 137103 h 838042"/>
                <a:gd name="connsiteX187" fmla="*/ 420077 w 1037297"/>
                <a:gd name="connsiteY187" fmla="*/ 169279 h 838042"/>
                <a:gd name="connsiteX188" fmla="*/ 416267 w 1037297"/>
                <a:gd name="connsiteY188" fmla="*/ 186424 h 838042"/>
                <a:gd name="connsiteX189" fmla="*/ 420077 w 1037297"/>
                <a:gd name="connsiteY189" fmla="*/ 207379 h 838042"/>
                <a:gd name="connsiteX190" fmla="*/ 423887 w 1037297"/>
                <a:gd name="connsiteY190" fmla="*/ 213094 h 838042"/>
                <a:gd name="connsiteX191" fmla="*/ 427697 w 1037297"/>
                <a:gd name="connsiteY191" fmla="*/ 224524 h 838042"/>
                <a:gd name="connsiteX192" fmla="*/ 425792 w 1037297"/>
                <a:gd name="connsiteY192" fmla="*/ 251194 h 838042"/>
                <a:gd name="connsiteX193" fmla="*/ 420077 w 1037297"/>
                <a:gd name="connsiteY193" fmla="*/ 253099 h 838042"/>
                <a:gd name="connsiteX194" fmla="*/ 414362 w 1037297"/>
                <a:gd name="connsiteY194" fmla="*/ 256909 h 838042"/>
                <a:gd name="connsiteX195" fmla="*/ 423887 w 1037297"/>
                <a:gd name="connsiteY195"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78242 w 1037297"/>
                <a:gd name="connsiteY130" fmla="*/ 369304 h 838042"/>
                <a:gd name="connsiteX131" fmla="*/ 964907 w 1037297"/>
                <a:gd name="connsiteY131" fmla="*/ 365494 h 838042"/>
                <a:gd name="connsiteX132" fmla="*/ 938237 w 1037297"/>
                <a:gd name="connsiteY132" fmla="*/ 357874 h 838042"/>
                <a:gd name="connsiteX133" fmla="*/ 932522 w 1037297"/>
                <a:gd name="connsiteY133" fmla="*/ 355969 h 838042"/>
                <a:gd name="connsiteX134" fmla="*/ 827747 w 1037297"/>
                <a:gd name="connsiteY134" fmla="*/ 357874 h 838042"/>
                <a:gd name="connsiteX135" fmla="*/ 822032 w 1037297"/>
                <a:gd name="connsiteY135" fmla="*/ 359779 h 838042"/>
                <a:gd name="connsiteX136" fmla="*/ 732497 w 1037297"/>
                <a:gd name="connsiteY136" fmla="*/ 361684 h 838042"/>
                <a:gd name="connsiteX137" fmla="*/ 671537 w 1037297"/>
                <a:gd name="connsiteY137" fmla="*/ 369304 h 838042"/>
                <a:gd name="connsiteX138" fmla="*/ 648677 w 1037297"/>
                <a:gd name="connsiteY138" fmla="*/ 373114 h 838042"/>
                <a:gd name="connsiteX139" fmla="*/ 644867 w 1037297"/>
                <a:gd name="connsiteY139" fmla="*/ 361684 h 838042"/>
                <a:gd name="connsiteX140" fmla="*/ 642962 w 1037297"/>
                <a:gd name="connsiteY140" fmla="*/ 355969 h 838042"/>
                <a:gd name="connsiteX141" fmla="*/ 644867 w 1037297"/>
                <a:gd name="connsiteY141" fmla="*/ 338824 h 838042"/>
                <a:gd name="connsiteX142" fmla="*/ 646772 w 1037297"/>
                <a:gd name="connsiteY142" fmla="*/ 333109 h 838042"/>
                <a:gd name="connsiteX143" fmla="*/ 663917 w 1037297"/>
                <a:gd name="connsiteY143" fmla="*/ 323584 h 838042"/>
                <a:gd name="connsiteX144" fmla="*/ 675347 w 1037297"/>
                <a:gd name="connsiteY144" fmla="*/ 315964 h 838042"/>
                <a:gd name="connsiteX145" fmla="*/ 677252 w 1037297"/>
                <a:gd name="connsiteY145" fmla="*/ 310249 h 838042"/>
                <a:gd name="connsiteX146" fmla="*/ 682967 w 1037297"/>
                <a:gd name="connsiteY146" fmla="*/ 308344 h 838042"/>
                <a:gd name="connsiteX147" fmla="*/ 688682 w 1037297"/>
                <a:gd name="connsiteY147" fmla="*/ 304534 h 838042"/>
                <a:gd name="connsiteX148" fmla="*/ 698207 w 1037297"/>
                <a:gd name="connsiteY148" fmla="*/ 295009 h 838042"/>
                <a:gd name="connsiteX149" fmla="*/ 707732 w 1037297"/>
                <a:gd name="connsiteY149" fmla="*/ 283579 h 838042"/>
                <a:gd name="connsiteX150" fmla="*/ 719162 w 1037297"/>
                <a:gd name="connsiteY150" fmla="*/ 275959 h 838042"/>
                <a:gd name="connsiteX151" fmla="*/ 734402 w 1037297"/>
                <a:gd name="connsiteY151" fmla="*/ 262624 h 838042"/>
                <a:gd name="connsiteX152" fmla="*/ 743927 w 1037297"/>
                <a:gd name="connsiteY152" fmla="*/ 251194 h 838042"/>
                <a:gd name="connsiteX153" fmla="*/ 755357 w 1037297"/>
                <a:gd name="connsiteY153" fmla="*/ 241669 h 838042"/>
                <a:gd name="connsiteX154" fmla="*/ 761072 w 1037297"/>
                <a:gd name="connsiteY154" fmla="*/ 230239 h 838042"/>
                <a:gd name="connsiteX155" fmla="*/ 762977 w 1037297"/>
                <a:gd name="connsiteY155" fmla="*/ 224524 h 838042"/>
                <a:gd name="connsiteX156" fmla="*/ 768692 w 1037297"/>
                <a:gd name="connsiteY156" fmla="*/ 213094 h 838042"/>
                <a:gd name="connsiteX157" fmla="*/ 766787 w 1037297"/>
                <a:gd name="connsiteY157" fmla="*/ 197854 h 838042"/>
                <a:gd name="connsiteX158" fmla="*/ 761072 w 1037297"/>
                <a:gd name="connsiteY158" fmla="*/ 195949 h 838042"/>
                <a:gd name="connsiteX159" fmla="*/ 740117 w 1037297"/>
                <a:gd name="connsiteY159" fmla="*/ 197854 h 838042"/>
                <a:gd name="connsiteX160" fmla="*/ 734402 w 1037297"/>
                <a:gd name="connsiteY160" fmla="*/ 201664 h 838042"/>
                <a:gd name="connsiteX161" fmla="*/ 722972 w 1037297"/>
                <a:gd name="connsiteY161" fmla="*/ 205474 h 838042"/>
                <a:gd name="connsiteX162" fmla="*/ 719162 w 1037297"/>
                <a:gd name="connsiteY162" fmla="*/ 211189 h 838042"/>
                <a:gd name="connsiteX163" fmla="*/ 713447 w 1037297"/>
                <a:gd name="connsiteY163" fmla="*/ 213094 h 838042"/>
                <a:gd name="connsiteX164" fmla="*/ 707732 w 1037297"/>
                <a:gd name="connsiteY164" fmla="*/ 216904 h 838042"/>
                <a:gd name="connsiteX165" fmla="*/ 702017 w 1037297"/>
                <a:gd name="connsiteY165" fmla="*/ 222619 h 838042"/>
                <a:gd name="connsiteX166" fmla="*/ 694397 w 1037297"/>
                <a:gd name="connsiteY166" fmla="*/ 226429 h 838042"/>
                <a:gd name="connsiteX167" fmla="*/ 652487 w 1037297"/>
                <a:gd name="connsiteY167" fmla="*/ 255004 h 838042"/>
                <a:gd name="connsiteX168" fmla="*/ 639152 w 1037297"/>
                <a:gd name="connsiteY168" fmla="*/ 266434 h 838042"/>
                <a:gd name="connsiteX169" fmla="*/ 629627 w 1037297"/>
                <a:gd name="connsiteY169" fmla="*/ 283579 h 838042"/>
                <a:gd name="connsiteX170" fmla="*/ 604862 w 1037297"/>
                <a:gd name="connsiteY170" fmla="*/ 289294 h 838042"/>
                <a:gd name="connsiteX171" fmla="*/ 591527 w 1037297"/>
                <a:gd name="connsiteY171" fmla="*/ 293104 h 838042"/>
                <a:gd name="connsiteX172" fmla="*/ 576287 w 1037297"/>
                <a:gd name="connsiteY172" fmla="*/ 291199 h 838042"/>
                <a:gd name="connsiteX173" fmla="*/ 564857 w 1037297"/>
                <a:gd name="connsiteY173" fmla="*/ 287389 h 838042"/>
                <a:gd name="connsiteX174" fmla="*/ 553427 w 1037297"/>
                <a:gd name="connsiteY174" fmla="*/ 283579 h 838042"/>
                <a:gd name="connsiteX175" fmla="*/ 541997 w 1037297"/>
                <a:gd name="connsiteY175" fmla="*/ 279769 h 838042"/>
                <a:gd name="connsiteX176" fmla="*/ 536282 w 1037297"/>
                <a:gd name="connsiteY176" fmla="*/ 277864 h 838042"/>
                <a:gd name="connsiteX177" fmla="*/ 530567 w 1037297"/>
                <a:gd name="connsiteY177" fmla="*/ 274054 h 838042"/>
                <a:gd name="connsiteX178" fmla="*/ 519137 w 1037297"/>
                <a:gd name="connsiteY178" fmla="*/ 268339 h 838042"/>
                <a:gd name="connsiteX179" fmla="*/ 511517 w 1037297"/>
                <a:gd name="connsiteY179" fmla="*/ 256909 h 838042"/>
                <a:gd name="connsiteX180" fmla="*/ 507707 w 1037297"/>
                <a:gd name="connsiteY180" fmla="*/ 235954 h 838042"/>
                <a:gd name="connsiteX181" fmla="*/ 509612 w 1037297"/>
                <a:gd name="connsiteY181" fmla="*/ 171184 h 838042"/>
                <a:gd name="connsiteX182" fmla="*/ 508314 w 1037297"/>
                <a:gd name="connsiteY182" fmla="*/ 73485 h 838042"/>
                <a:gd name="connsiteX183" fmla="*/ 454116 w 1037297"/>
                <a:gd name="connsiteY183" fmla="*/ 11248 h 838042"/>
                <a:gd name="connsiteX184" fmla="*/ 435401 w 1037297"/>
                <a:gd name="connsiteY184" fmla="*/ 68523 h 838042"/>
                <a:gd name="connsiteX185" fmla="*/ 427697 w 1037297"/>
                <a:gd name="connsiteY185" fmla="*/ 137103 h 838042"/>
                <a:gd name="connsiteX186" fmla="*/ 420077 w 1037297"/>
                <a:gd name="connsiteY186" fmla="*/ 169279 h 838042"/>
                <a:gd name="connsiteX187" fmla="*/ 416267 w 1037297"/>
                <a:gd name="connsiteY187" fmla="*/ 186424 h 838042"/>
                <a:gd name="connsiteX188" fmla="*/ 420077 w 1037297"/>
                <a:gd name="connsiteY188" fmla="*/ 207379 h 838042"/>
                <a:gd name="connsiteX189" fmla="*/ 423887 w 1037297"/>
                <a:gd name="connsiteY189" fmla="*/ 213094 h 838042"/>
                <a:gd name="connsiteX190" fmla="*/ 427697 w 1037297"/>
                <a:gd name="connsiteY190" fmla="*/ 224524 h 838042"/>
                <a:gd name="connsiteX191" fmla="*/ 425792 w 1037297"/>
                <a:gd name="connsiteY191" fmla="*/ 251194 h 838042"/>
                <a:gd name="connsiteX192" fmla="*/ 420077 w 1037297"/>
                <a:gd name="connsiteY192" fmla="*/ 253099 h 838042"/>
                <a:gd name="connsiteX193" fmla="*/ 414362 w 1037297"/>
                <a:gd name="connsiteY193" fmla="*/ 256909 h 838042"/>
                <a:gd name="connsiteX194" fmla="*/ 423887 w 1037297"/>
                <a:gd name="connsiteY194"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78242 w 1037297"/>
                <a:gd name="connsiteY130" fmla="*/ 369304 h 838042"/>
                <a:gd name="connsiteX131" fmla="*/ 938237 w 1037297"/>
                <a:gd name="connsiteY131" fmla="*/ 357874 h 838042"/>
                <a:gd name="connsiteX132" fmla="*/ 932522 w 1037297"/>
                <a:gd name="connsiteY132" fmla="*/ 355969 h 838042"/>
                <a:gd name="connsiteX133" fmla="*/ 827747 w 1037297"/>
                <a:gd name="connsiteY133" fmla="*/ 357874 h 838042"/>
                <a:gd name="connsiteX134" fmla="*/ 822032 w 1037297"/>
                <a:gd name="connsiteY134" fmla="*/ 359779 h 838042"/>
                <a:gd name="connsiteX135" fmla="*/ 732497 w 1037297"/>
                <a:gd name="connsiteY135" fmla="*/ 361684 h 838042"/>
                <a:gd name="connsiteX136" fmla="*/ 671537 w 1037297"/>
                <a:gd name="connsiteY136" fmla="*/ 369304 h 838042"/>
                <a:gd name="connsiteX137" fmla="*/ 648677 w 1037297"/>
                <a:gd name="connsiteY137" fmla="*/ 373114 h 838042"/>
                <a:gd name="connsiteX138" fmla="*/ 644867 w 1037297"/>
                <a:gd name="connsiteY138" fmla="*/ 361684 h 838042"/>
                <a:gd name="connsiteX139" fmla="*/ 642962 w 1037297"/>
                <a:gd name="connsiteY139" fmla="*/ 355969 h 838042"/>
                <a:gd name="connsiteX140" fmla="*/ 644867 w 1037297"/>
                <a:gd name="connsiteY140" fmla="*/ 338824 h 838042"/>
                <a:gd name="connsiteX141" fmla="*/ 646772 w 1037297"/>
                <a:gd name="connsiteY141" fmla="*/ 333109 h 838042"/>
                <a:gd name="connsiteX142" fmla="*/ 663917 w 1037297"/>
                <a:gd name="connsiteY142" fmla="*/ 323584 h 838042"/>
                <a:gd name="connsiteX143" fmla="*/ 675347 w 1037297"/>
                <a:gd name="connsiteY143" fmla="*/ 315964 h 838042"/>
                <a:gd name="connsiteX144" fmla="*/ 677252 w 1037297"/>
                <a:gd name="connsiteY144" fmla="*/ 310249 h 838042"/>
                <a:gd name="connsiteX145" fmla="*/ 682967 w 1037297"/>
                <a:gd name="connsiteY145" fmla="*/ 308344 h 838042"/>
                <a:gd name="connsiteX146" fmla="*/ 688682 w 1037297"/>
                <a:gd name="connsiteY146" fmla="*/ 304534 h 838042"/>
                <a:gd name="connsiteX147" fmla="*/ 698207 w 1037297"/>
                <a:gd name="connsiteY147" fmla="*/ 295009 h 838042"/>
                <a:gd name="connsiteX148" fmla="*/ 707732 w 1037297"/>
                <a:gd name="connsiteY148" fmla="*/ 283579 h 838042"/>
                <a:gd name="connsiteX149" fmla="*/ 719162 w 1037297"/>
                <a:gd name="connsiteY149" fmla="*/ 275959 h 838042"/>
                <a:gd name="connsiteX150" fmla="*/ 734402 w 1037297"/>
                <a:gd name="connsiteY150" fmla="*/ 262624 h 838042"/>
                <a:gd name="connsiteX151" fmla="*/ 743927 w 1037297"/>
                <a:gd name="connsiteY151" fmla="*/ 251194 h 838042"/>
                <a:gd name="connsiteX152" fmla="*/ 755357 w 1037297"/>
                <a:gd name="connsiteY152" fmla="*/ 241669 h 838042"/>
                <a:gd name="connsiteX153" fmla="*/ 761072 w 1037297"/>
                <a:gd name="connsiteY153" fmla="*/ 230239 h 838042"/>
                <a:gd name="connsiteX154" fmla="*/ 762977 w 1037297"/>
                <a:gd name="connsiteY154" fmla="*/ 224524 h 838042"/>
                <a:gd name="connsiteX155" fmla="*/ 768692 w 1037297"/>
                <a:gd name="connsiteY155" fmla="*/ 213094 h 838042"/>
                <a:gd name="connsiteX156" fmla="*/ 766787 w 1037297"/>
                <a:gd name="connsiteY156" fmla="*/ 197854 h 838042"/>
                <a:gd name="connsiteX157" fmla="*/ 761072 w 1037297"/>
                <a:gd name="connsiteY157" fmla="*/ 195949 h 838042"/>
                <a:gd name="connsiteX158" fmla="*/ 740117 w 1037297"/>
                <a:gd name="connsiteY158" fmla="*/ 197854 h 838042"/>
                <a:gd name="connsiteX159" fmla="*/ 734402 w 1037297"/>
                <a:gd name="connsiteY159" fmla="*/ 201664 h 838042"/>
                <a:gd name="connsiteX160" fmla="*/ 722972 w 1037297"/>
                <a:gd name="connsiteY160" fmla="*/ 205474 h 838042"/>
                <a:gd name="connsiteX161" fmla="*/ 719162 w 1037297"/>
                <a:gd name="connsiteY161" fmla="*/ 211189 h 838042"/>
                <a:gd name="connsiteX162" fmla="*/ 713447 w 1037297"/>
                <a:gd name="connsiteY162" fmla="*/ 213094 h 838042"/>
                <a:gd name="connsiteX163" fmla="*/ 707732 w 1037297"/>
                <a:gd name="connsiteY163" fmla="*/ 216904 h 838042"/>
                <a:gd name="connsiteX164" fmla="*/ 702017 w 1037297"/>
                <a:gd name="connsiteY164" fmla="*/ 222619 h 838042"/>
                <a:gd name="connsiteX165" fmla="*/ 694397 w 1037297"/>
                <a:gd name="connsiteY165" fmla="*/ 226429 h 838042"/>
                <a:gd name="connsiteX166" fmla="*/ 652487 w 1037297"/>
                <a:gd name="connsiteY166" fmla="*/ 255004 h 838042"/>
                <a:gd name="connsiteX167" fmla="*/ 639152 w 1037297"/>
                <a:gd name="connsiteY167" fmla="*/ 266434 h 838042"/>
                <a:gd name="connsiteX168" fmla="*/ 629627 w 1037297"/>
                <a:gd name="connsiteY168" fmla="*/ 283579 h 838042"/>
                <a:gd name="connsiteX169" fmla="*/ 604862 w 1037297"/>
                <a:gd name="connsiteY169" fmla="*/ 289294 h 838042"/>
                <a:gd name="connsiteX170" fmla="*/ 591527 w 1037297"/>
                <a:gd name="connsiteY170" fmla="*/ 293104 h 838042"/>
                <a:gd name="connsiteX171" fmla="*/ 576287 w 1037297"/>
                <a:gd name="connsiteY171" fmla="*/ 291199 h 838042"/>
                <a:gd name="connsiteX172" fmla="*/ 564857 w 1037297"/>
                <a:gd name="connsiteY172" fmla="*/ 287389 h 838042"/>
                <a:gd name="connsiteX173" fmla="*/ 553427 w 1037297"/>
                <a:gd name="connsiteY173" fmla="*/ 283579 h 838042"/>
                <a:gd name="connsiteX174" fmla="*/ 541997 w 1037297"/>
                <a:gd name="connsiteY174" fmla="*/ 279769 h 838042"/>
                <a:gd name="connsiteX175" fmla="*/ 536282 w 1037297"/>
                <a:gd name="connsiteY175" fmla="*/ 277864 h 838042"/>
                <a:gd name="connsiteX176" fmla="*/ 530567 w 1037297"/>
                <a:gd name="connsiteY176" fmla="*/ 274054 h 838042"/>
                <a:gd name="connsiteX177" fmla="*/ 519137 w 1037297"/>
                <a:gd name="connsiteY177" fmla="*/ 268339 h 838042"/>
                <a:gd name="connsiteX178" fmla="*/ 511517 w 1037297"/>
                <a:gd name="connsiteY178" fmla="*/ 256909 h 838042"/>
                <a:gd name="connsiteX179" fmla="*/ 507707 w 1037297"/>
                <a:gd name="connsiteY179" fmla="*/ 235954 h 838042"/>
                <a:gd name="connsiteX180" fmla="*/ 509612 w 1037297"/>
                <a:gd name="connsiteY180" fmla="*/ 171184 h 838042"/>
                <a:gd name="connsiteX181" fmla="*/ 508314 w 1037297"/>
                <a:gd name="connsiteY181" fmla="*/ 73485 h 838042"/>
                <a:gd name="connsiteX182" fmla="*/ 454116 w 1037297"/>
                <a:gd name="connsiteY182" fmla="*/ 11248 h 838042"/>
                <a:gd name="connsiteX183" fmla="*/ 435401 w 1037297"/>
                <a:gd name="connsiteY183" fmla="*/ 68523 h 838042"/>
                <a:gd name="connsiteX184" fmla="*/ 427697 w 1037297"/>
                <a:gd name="connsiteY184" fmla="*/ 137103 h 838042"/>
                <a:gd name="connsiteX185" fmla="*/ 420077 w 1037297"/>
                <a:gd name="connsiteY185" fmla="*/ 169279 h 838042"/>
                <a:gd name="connsiteX186" fmla="*/ 416267 w 1037297"/>
                <a:gd name="connsiteY186" fmla="*/ 186424 h 838042"/>
                <a:gd name="connsiteX187" fmla="*/ 420077 w 1037297"/>
                <a:gd name="connsiteY187" fmla="*/ 207379 h 838042"/>
                <a:gd name="connsiteX188" fmla="*/ 423887 w 1037297"/>
                <a:gd name="connsiteY188" fmla="*/ 213094 h 838042"/>
                <a:gd name="connsiteX189" fmla="*/ 427697 w 1037297"/>
                <a:gd name="connsiteY189" fmla="*/ 224524 h 838042"/>
                <a:gd name="connsiteX190" fmla="*/ 425792 w 1037297"/>
                <a:gd name="connsiteY190" fmla="*/ 251194 h 838042"/>
                <a:gd name="connsiteX191" fmla="*/ 420077 w 1037297"/>
                <a:gd name="connsiteY191" fmla="*/ 253099 h 838042"/>
                <a:gd name="connsiteX192" fmla="*/ 414362 w 1037297"/>
                <a:gd name="connsiteY192" fmla="*/ 256909 h 838042"/>
                <a:gd name="connsiteX193" fmla="*/ 423887 w 1037297"/>
                <a:gd name="connsiteY193"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78242 w 1037297"/>
                <a:gd name="connsiteY130" fmla="*/ 369304 h 838042"/>
                <a:gd name="connsiteX131" fmla="*/ 938237 w 1037297"/>
                <a:gd name="connsiteY131" fmla="*/ 357874 h 838042"/>
                <a:gd name="connsiteX132" fmla="*/ 827747 w 1037297"/>
                <a:gd name="connsiteY132" fmla="*/ 357874 h 838042"/>
                <a:gd name="connsiteX133" fmla="*/ 822032 w 1037297"/>
                <a:gd name="connsiteY133" fmla="*/ 359779 h 838042"/>
                <a:gd name="connsiteX134" fmla="*/ 732497 w 1037297"/>
                <a:gd name="connsiteY134" fmla="*/ 361684 h 838042"/>
                <a:gd name="connsiteX135" fmla="*/ 671537 w 1037297"/>
                <a:gd name="connsiteY135" fmla="*/ 369304 h 838042"/>
                <a:gd name="connsiteX136" fmla="*/ 648677 w 1037297"/>
                <a:gd name="connsiteY136" fmla="*/ 373114 h 838042"/>
                <a:gd name="connsiteX137" fmla="*/ 644867 w 1037297"/>
                <a:gd name="connsiteY137" fmla="*/ 361684 h 838042"/>
                <a:gd name="connsiteX138" fmla="*/ 642962 w 1037297"/>
                <a:gd name="connsiteY138" fmla="*/ 355969 h 838042"/>
                <a:gd name="connsiteX139" fmla="*/ 644867 w 1037297"/>
                <a:gd name="connsiteY139" fmla="*/ 338824 h 838042"/>
                <a:gd name="connsiteX140" fmla="*/ 646772 w 1037297"/>
                <a:gd name="connsiteY140" fmla="*/ 333109 h 838042"/>
                <a:gd name="connsiteX141" fmla="*/ 663917 w 1037297"/>
                <a:gd name="connsiteY141" fmla="*/ 323584 h 838042"/>
                <a:gd name="connsiteX142" fmla="*/ 675347 w 1037297"/>
                <a:gd name="connsiteY142" fmla="*/ 315964 h 838042"/>
                <a:gd name="connsiteX143" fmla="*/ 677252 w 1037297"/>
                <a:gd name="connsiteY143" fmla="*/ 310249 h 838042"/>
                <a:gd name="connsiteX144" fmla="*/ 682967 w 1037297"/>
                <a:gd name="connsiteY144" fmla="*/ 308344 h 838042"/>
                <a:gd name="connsiteX145" fmla="*/ 688682 w 1037297"/>
                <a:gd name="connsiteY145" fmla="*/ 304534 h 838042"/>
                <a:gd name="connsiteX146" fmla="*/ 698207 w 1037297"/>
                <a:gd name="connsiteY146" fmla="*/ 295009 h 838042"/>
                <a:gd name="connsiteX147" fmla="*/ 707732 w 1037297"/>
                <a:gd name="connsiteY147" fmla="*/ 283579 h 838042"/>
                <a:gd name="connsiteX148" fmla="*/ 719162 w 1037297"/>
                <a:gd name="connsiteY148" fmla="*/ 275959 h 838042"/>
                <a:gd name="connsiteX149" fmla="*/ 734402 w 1037297"/>
                <a:gd name="connsiteY149" fmla="*/ 262624 h 838042"/>
                <a:gd name="connsiteX150" fmla="*/ 743927 w 1037297"/>
                <a:gd name="connsiteY150" fmla="*/ 251194 h 838042"/>
                <a:gd name="connsiteX151" fmla="*/ 755357 w 1037297"/>
                <a:gd name="connsiteY151" fmla="*/ 241669 h 838042"/>
                <a:gd name="connsiteX152" fmla="*/ 761072 w 1037297"/>
                <a:gd name="connsiteY152" fmla="*/ 230239 h 838042"/>
                <a:gd name="connsiteX153" fmla="*/ 762977 w 1037297"/>
                <a:gd name="connsiteY153" fmla="*/ 224524 h 838042"/>
                <a:gd name="connsiteX154" fmla="*/ 768692 w 1037297"/>
                <a:gd name="connsiteY154" fmla="*/ 213094 h 838042"/>
                <a:gd name="connsiteX155" fmla="*/ 766787 w 1037297"/>
                <a:gd name="connsiteY155" fmla="*/ 197854 h 838042"/>
                <a:gd name="connsiteX156" fmla="*/ 761072 w 1037297"/>
                <a:gd name="connsiteY156" fmla="*/ 195949 h 838042"/>
                <a:gd name="connsiteX157" fmla="*/ 740117 w 1037297"/>
                <a:gd name="connsiteY157" fmla="*/ 197854 h 838042"/>
                <a:gd name="connsiteX158" fmla="*/ 734402 w 1037297"/>
                <a:gd name="connsiteY158" fmla="*/ 201664 h 838042"/>
                <a:gd name="connsiteX159" fmla="*/ 722972 w 1037297"/>
                <a:gd name="connsiteY159" fmla="*/ 205474 h 838042"/>
                <a:gd name="connsiteX160" fmla="*/ 719162 w 1037297"/>
                <a:gd name="connsiteY160" fmla="*/ 211189 h 838042"/>
                <a:gd name="connsiteX161" fmla="*/ 713447 w 1037297"/>
                <a:gd name="connsiteY161" fmla="*/ 213094 h 838042"/>
                <a:gd name="connsiteX162" fmla="*/ 707732 w 1037297"/>
                <a:gd name="connsiteY162" fmla="*/ 216904 h 838042"/>
                <a:gd name="connsiteX163" fmla="*/ 702017 w 1037297"/>
                <a:gd name="connsiteY163" fmla="*/ 222619 h 838042"/>
                <a:gd name="connsiteX164" fmla="*/ 694397 w 1037297"/>
                <a:gd name="connsiteY164" fmla="*/ 226429 h 838042"/>
                <a:gd name="connsiteX165" fmla="*/ 652487 w 1037297"/>
                <a:gd name="connsiteY165" fmla="*/ 255004 h 838042"/>
                <a:gd name="connsiteX166" fmla="*/ 639152 w 1037297"/>
                <a:gd name="connsiteY166" fmla="*/ 266434 h 838042"/>
                <a:gd name="connsiteX167" fmla="*/ 629627 w 1037297"/>
                <a:gd name="connsiteY167" fmla="*/ 283579 h 838042"/>
                <a:gd name="connsiteX168" fmla="*/ 604862 w 1037297"/>
                <a:gd name="connsiteY168" fmla="*/ 289294 h 838042"/>
                <a:gd name="connsiteX169" fmla="*/ 591527 w 1037297"/>
                <a:gd name="connsiteY169" fmla="*/ 293104 h 838042"/>
                <a:gd name="connsiteX170" fmla="*/ 576287 w 1037297"/>
                <a:gd name="connsiteY170" fmla="*/ 291199 h 838042"/>
                <a:gd name="connsiteX171" fmla="*/ 564857 w 1037297"/>
                <a:gd name="connsiteY171" fmla="*/ 287389 h 838042"/>
                <a:gd name="connsiteX172" fmla="*/ 553427 w 1037297"/>
                <a:gd name="connsiteY172" fmla="*/ 283579 h 838042"/>
                <a:gd name="connsiteX173" fmla="*/ 541997 w 1037297"/>
                <a:gd name="connsiteY173" fmla="*/ 279769 h 838042"/>
                <a:gd name="connsiteX174" fmla="*/ 536282 w 1037297"/>
                <a:gd name="connsiteY174" fmla="*/ 277864 h 838042"/>
                <a:gd name="connsiteX175" fmla="*/ 530567 w 1037297"/>
                <a:gd name="connsiteY175" fmla="*/ 274054 h 838042"/>
                <a:gd name="connsiteX176" fmla="*/ 519137 w 1037297"/>
                <a:gd name="connsiteY176" fmla="*/ 268339 h 838042"/>
                <a:gd name="connsiteX177" fmla="*/ 511517 w 1037297"/>
                <a:gd name="connsiteY177" fmla="*/ 256909 h 838042"/>
                <a:gd name="connsiteX178" fmla="*/ 507707 w 1037297"/>
                <a:gd name="connsiteY178" fmla="*/ 235954 h 838042"/>
                <a:gd name="connsiteX179" fmla="*/ 509612 w 1037297"/>
                <a:gd name="connsiteY179" fmla="*/ 171184 h 838042"/>
                <a:gd name="connsiteX180" fmla="*/ 508314 w 1037297"/>
                <a:gd name="connsiteY180" fmla="*/ 73485 h 838042"/>
                <a:gd name="connsiteX181" fmla="*/ 454116 w 1037297"/>
                <a:gd name="connsiteY181" fmla="*/ 11248 h 838042"/>
                <a:gd name="connsiteX182" fmla="*/ 435401 w 1037297"/>
                <a:gd name="connsiteY182" fmla="*/ 68523 h 838042"/>
                <a:gd name="connsiteX183" fmla="*/ 427697 w 1037297"/>
                <a:gd name="connsiteY183" fmla="*/ 137103 h 838042"/>
                <a:gd name="connsiteX184" fmla="*/ 420077 w 1037297"/>
                <a:gd name="connsiteY184" fmla="*/ 169279 h 838042"/>
                <a:gd name="connsiteX185" fmla="*/ 416267 w 1037297"/>
                <a:gd name="connsiteY185" fmla="*/ 186424 h 838042"/>
                <a:gd name="connsiteX186" fmla="*/ 420077 w 1037297"/>
                <a:gd name="connsiteY186" fmla="*/ 207379 h 838042"/>
                <a:gd name="connsiteX187" fmla="*/ 423887 w 1037297"/>
                <a:gd name="connsiteY187" fmla="*/ 213094 h 838042"/>
                <a:gd name="connsiteX188" fmla="*/ 427697 w 1037297"/>
                <a:gd name="connsiteY188" fmla="*/ 224524 h 838042"/>
                <a:gd name="connsiteX189" fmla="*/ 425792 w 1037297"/>
                <a:gd name="connsiteY189" fmla="*/ 251194 h 838042"/>
                <a:gd name="connsiteX190" fmla="*/ 420077 w 1037297"/>
                <a:gd name="connsiteY190" fmla="*/ 253099 h 838042"/>
                <a:gd name="connsiteX191" fmla="*/ 414362 w 1037297"/>
                <a:gd name="connsiteY191" fmla="*/ 256909 h 838042"/>
                <a:gd name="connsiteX192" fmla="*/ 423887 w 1037297"/>
                <a:gd name="connsiteY19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78242 w 1037297"/>
                <a:gd name="connsiteY130" fmla="*/ 369304 h 838042"/>
                <a:gd name="connsiteX131" fmla="*/ 907856 w 1037297"/>
                <a:gd name="connsiteY131" fmla="*/ 350516 h 838042"/>
                <a:gd name="connsiteX132" fmla="*/ 827747 w 1037297"/>
                <a:gd name="connsiteY132" fmla="*/ 357874 h 838042"/>
                <a:gd name="connsiteX133" fmla="*/ 822032 w 1037297"/>
                <a:gd name="connsiteY133" fmla="*/ 359779 h 838042"/>
                <a:gd name="connsiteX134" fmla="*/ 732497 w 1037297"/>
                <a:gd name="connsiteY134" fmla="*/ 361684 h 838042"/>
                <a:gd name="connsiteX135" fmla="*/ 671537 w 1037297"/>
                <a:gd name="connsiteY135" fmla="*/ 369304 h 838042"/>
                <a:gd name="connsiteX136" fmla="*/ 648677 w 1037297"/>
                <a:gd name="connsiteY136" fmla="*/ 373114 h 838042"/>
                <a:gd name="connsiteX137" fmla="*/ 644867 w 1037297"/>
                <a:gd name="connsiteY137" fmla="*/ 361684 h 838042"/>
                <a:gd name="connsiteX138" fmla="*/ 642962 w 1037297"/>
                <a:gd name="connsiteY138" fmla="*/ 355969 h 838042"/>
                <a:gd name="connsiteX139" fmla="*/ 644867 w 1037297"/>
                <a:gd name="connsiteY139" fmla="*/ 338824 h 838042"/>
                <a:gd name="connsiteX140" fmla="*/ 646772 w 1037297"/>
                <a:gd name="connsiteY140" fmla="*/ 333109 h 838042"/>
                <a:gd name="connsiteX141" fmla="*/ 663917 w 1037297"/>
                <a:gd name="connsiteY141" fmla="*/ 323584 h 838042"/>
                <a:gd name="connsiteX142" fmla="*/ 675347 w 1037297"/>
                <a:gd name="connsiteY142" fmla="*/ 315964 h 838042"/>
                <a:gd name="connsiteX143" fmla="*/ 677252 w 1037297"/>
                <a:gd name="connsiteY143" fmla="*/ 310249 h 838042"/>
                <a:gd name="connsiteX144" fmla="*/ 682967 w 1037297"/>
                <a:gd name="connsiteY144" fmla="*/ 308344 h 838042"/>
                <a:gd name="connsiteX145" fmla="*/ 688682 w 1037297"/>
                <a:gd name="connsiteY145" fmla="*/ 304534 h 838042"/>
                <a:gd name="connsiteX146" fmla="*/ 698207 w 1037297"/>
                <a:gd name="connsiteY146" fmla="*/ 295009 h 838042"/>
                <a:gd name="connsiteX147" fmla="*/ 707732 w 1037297"/>
                <a:gd name="connsiteY147" fmla="*/ 283579 h 838042"/>
                <a:gd name="connsiteX148" fmla="*/ 719162 w 1037297"/>
                <a:gd name="connsiteY148" fmla="*/ 275959 h 838042"/>
                <a:gd name="connsiteX149" fmla="*/ 734402 w 1037297"/>
                <a:gd name="connsiteY149" fmla="*/ 262624 h 838042"/>
                <a:gd name="connsiteX150" fmla="*/ 743927 w 1037297"/>
                <a:gd name="connsiteY150" fmla="*/ 251194 h 838042"/>
                <a:gd name="connsiteX151" fmla="*/ 755357 w 1037297"/>
                <a:gd name="connsiteY151" fmla="*/ 241669 h 838042"/>
                <a:gd name="connsiteX152" fmla="*/ 761072 w 1037297"/>
                <a:gd name="connsiteY152" fmla="*/ 230239 h 838042"/>
                <a:gd name="connsiteX153" fmla="*/ 762977 w 1037297"/>
                <a:gd name="connsiteY153" fmla="*/ 224524 h 838042"/>
                <a:gd name="connsiteX154" fmla="*/ 768692 w 1037297"/>
                <a:gd name="connsiteY154" fmla="*/ 213094 h 838042"/>
                <a:gd name="connsiteX155" fmla="*/ 766787 w 1037297"/>
                <a:gd name="connsiteY155" fmla="*/ 197854 h 838042"/>
                <a:gd name="connsiteX156" fmla="*/ 761072 w 1037297"/>
                <a:gd name="connsiteY156" fmla="*/ 195949 h 838042"/>
                <a:gd name="connsiteX157" fmla="*/ 740117 w 1037297"/>
                <a:gd name="connsiteY157" fmla="*/ 197854 h 838042"/>
                <a:gd name="connsiteX158" fmla="*/ 734402 w 1037297"/>
                <a:gd name="connsiteY158" fmla="*/ 201664 h 838042"/>
                <a:gd name="connsiteX159" fmla="*/ 722972 w 1037297"/>
                <a:gd name="connsiteY159" fmla="*/ 205474 h 838042"/>
                <a:gd name="connsiteX160" fmla="*/ 719162 w 1037297"/>
                <a:gd name="connsiteY160" fmla="*/ 211189 h 838042"/>
                <a:gd name="connsiteX161" fmla="*/ 713447 w 1037297"/>
                <a:gd name="connsiteY161" fmla="*/ 213094 h 838042"/>
                <a:gd name="connsiteX162" fmla="*/ 707732 w 1037297"/>
                <a:gd name="connsiteY162" fmla="*/ 216904 h 838042"/>
                <a:gd name="connsiteX163" fmla="*/ 702017 w 1037297"/>
                <a:gd name="connsiteY163" fmla="*/ 222619 h 838042"/>
                <a:gd name="connsiteX164" fmla="*/ 694397 w 1037297"/>
                <a:gd name="connsiteY164" fmla="*/ 226429 h 838042"/>
                <a:gd name="connsiteX165" fmla="*/ 652487 w 1037297"/>
                <a:gd name="connsiteY165" fmla="*/ 255004 h 838042"/>
                <a:gd name="connsiteX166" fmla="*/ 639152 w 1037297"/>
                <a:gd name="connsiteY166" fmla="*/ 266434 h 838042"/>
                <a:gd name="connsiteX167" fmla="*/ 629627 w 1037297"/>
                <a:gd name="connsiteY167" fmla="*/ 283579 h 838042"/>
                <a:gd name="connsiteX168" fmla="*/ 604862 w 1037297"/>
                <a:gd name="connsiteY168" fmla="*/ 289294 h 838042"/>
                <a:gd name="connsiteX169" fmla="*/ 591527 w 1037297"/>
                <a:gd name="connsiteY169" fmla="*/ 293104 h 838042"/>
                <a:gd name="connsiteX170" fmla="*/ 576287 w 1037297"/>
                <a:gd name="connsiteY170" fmla="*/ 291199 h 838042"/>
                <a:gd name="connsiteX171" fmla="*/ 564857 w 1037297"/>
                <a:gd name="connsiteY171" fmla="*/ 287389 h 838042"/>
                <a:gd name="connsiteX172" fmla="*/ 553427 w 1037297"/>
                <a:gd name="connsiteY172" fmla="*/ 283579 h 838042"/>
                <a:gd name="connsiteX173" fmla="*/ 541997 w 1037297"/>
                <a:gd name="connsiteY173" fmla="*/ 279769 h 838042"/>
                <a:gd name="connsiteX174" fmla="*/ 536282 w 1037297"/>
                <a:gd name="connsiteY174" fmla="*/ 277864 h 838042"/>
                <a:gd name="connsiteX175" fmla="*/ 530567 w 1037297"/>
                <a:gd name="connsiteY175" fmla="*/ 274054 h 838042"/>
                <a:gd name="connsiteX176" fmla="*/ 519137 w 1037297"/>
                <a:gd name="connsiteY176" fmla="*/ 268339 h 838042"/>
                <a:gd name="connsiteX177" fmla="*/ 511517 w 1037297"/>
                <a:gd name="connsiteY177" fmla="*/ 256909 h 838042"/>
                <a:gd name="connsiteX178" fmla="*/ 507707 w 1037297"/>
                <a:gd name="connsiteY178" fmla="*/ 235954 h 838042"/>
                <a:gd name="connsiteX179" fmla="*/ 509612 w 1037297"/>
                <a:gd name="connsiteY179" fmla="*/ 171184 h 838042"/>
                <a:gd name="connsiteX180" fmla="*/ 508314 w 1037297"/>
                <a:gd name="connsiteY180" fmla="*/ 73485 h 838042"/>
                <a:gd name="connsiteX181" fmla="*/ 454116 w 1037297"/>
                <a:gd name="connsiteY181" fmla="*/ 11248 h 838042"/>
                <a:gd name="connsiteX182" fmla="*/ 435401 w 1037297"/>
                <a:gd name="connsiteY182" fmla="*/ 68523 h 838042"/>
                <a:gd name="connsiteX183" fmla="*/ 427697 w 1037297"/>
                <a:gd name="connsiteY183" fmla="*/ 137103 h 838042"/>
                <a:gd name="connsiteX184" fmla="*/ 420077 w 1037297"/>
                <a:gd name="connsiteY184" fmla="*/ 169279 h 838042"/>
                <a:gd name="connsiteX185" fmla="*/ 416267 w 1037297"/>
                <a:gd name="connsiteY185" fmla="*/ 186424 h 838042"/>
                <a:gd name="connsiteX186" fmla="*/ 420077 w 1037297"/>
                <a:gd name="connsiteY186" fmla="*/ 207379 h 838042"/>
                <a:gd name="connsiteX187" fmla="*/ 423887 w 1037297"/>
                <a:gd name="connsiteY187" fmla="*/ 213094 h 838042"/>
                <a:gd name="connsiteX188" fmla="*/ 427697 w 1037297"/>
                <a:gd name="connsiteY188" fmla="*/ 224524 h 838042"/>
                <a:gd name="connsiteX189" fmla="*/ 425792 w 1037297"/>
                <a:gd name="connsiteY189" fmla="*/ 251194 h 838042"/>
                <a:gd name="connsiteX190" fmla="*/ 420077 w 1037297"/>
                <a:gd name="connsiteY190" fmla="*/ 253099 h 838042"/>
                <a:gd name="connsiteX191" fmla="*/ 414362 w 1037297"/>
                <a:gd name="connsiteY191" fmla="*/ 256909 h 838042"/>
                <a:gd name="connsiteX192" fmla="*/ 423887 w 1037297"/>
                <a:gd name="connsiteY19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64889 w 1037297"/>
                <a:gd name="connsiteY130" fmla="*/ 358029 h 838042"/>
                <a:gd name="connsiteX131" fmla="*/ 907856 w 1037297"/>
                <a:gd name="connsiteY131" fmla="*/ 350516 h 838042"/>
                <a:gd name="connsiteX132" fmla="*/ 827747 w 1037297"/>
                <a:gd name="connsiteY132" fmla="*/ 357874 h 838042"/>
                <a:gd name="connsiteX133" fmla="*/ 822032 w 1037297"/>
                <a:gd name="connsiteY133" fmla="*/ 359779 h 838042"/>
                <a:gd name="connsiteX134" fmla="*/ 732497 w 1037297"/>
                <a:gd name="connsiteY134" fmla="*/ 361684 h 838042"/>
                <a:gd name="connsiteX135" fmla="*/ 671537 w 1037297"/>
                <a:gd name="connsiteY135" fmla="*/ 369304 h 838042"/>
                <a:gd name="connsiteX136" fmla="*/ 648677 w 1037297"/>
                <a:gd name="connsiteY136" fmla="*/ 373114 h 838042"/>
                <a:gd name="connsiteX137" fmla="*/ 644867 w 1037297"/>
                <a:gd name="connsiteY137" fmla="*/ 361684 h 838042"/>
                <a:gd name="connsiteX138" fmla="*/ 642962 w 1037297"/>
                <a:gd name="connsiteY138" fmla="*/ 355969 h 838042"/>
                <a:gd name="connsiteX139" fmla="*/ 644867 w 1037297"/>
                <a:gd name="connsiteY139" fmla="*/ 338824 h 838042"/>
                <a:gd name="connsiteX140" fmla="*/ 646772 w 1037297"/>
                <a:gd name="connsiteY140" fmla="*/ 333109 h 838042"/>
                <a:gd name="connsiteX141" fmla="*/ 663917 w 1037297"/>
                <a:gd name="connsiteY141" fmla="*/ 323584 h 838042"/>
                <a:gd name="connsiteX142" fmla="*/ 675347 w 1037297"/>
                <a:gd name="connsiteY142" fmla="*/ 315964 h 838042"/>
                <a:gd name="connsiteX143" fmla="*/ 677252 w 1037297"/>
                <a:gd name="connsiteY143" fmla="*/ 310249 h 838042"/>
                <a:gd name="connsiteX144" fmla="*/ 682967 w 1037297"/>
                <a:gd name="connsiteY144" fmla="*/ 308344 h 838042"/>
                <a:gd name="connsiteX145" fmla="*/ 688682 w 1037297"/>
                <a:gd name="connsiteY145" fmla="*/ 304534 h 838042"/>
                <a:gd name="connsiteX146" fmla="*/ 698207 w 1037297"/>
                <a:gd name="connsiteY146" fmla="*/ 295009 h 838042"/>
                <a:gd name="connsiteX147" fmla="*/ 707732 w 1037297"/>
                <a:gd name="connsiteY147" fmla="*/ 283579 h 838042"/>
                <a:gd name="connsiteX148" fmla="*/ 719162 w 1037297"/>
                <a:gd name="connsiteY148" fmla="*/ 275959 h 838042"/>
                <a:gd name="connsiteX149" fmla="*/ 734402 w 1037297"/>
                <a:gd name="connsiteY149" fmla="*/ 262624 h 838042"/>
                <a:gd name="connsiteX150" fmla="*/ 743927 w 1037297"/>
                <a:gd name="connsiteY150" fmla="*/ 251194 h 838042"/>
                <a:gd name="connsiteX151" fmla="*/ 755357 w 1037297"/>
                <a:gd name="connsiteY151" fmla="*/ 241669 h 838042"/>
                <a:gd name="connsiteX152" fmla="*/ 761072 w 1037297"/>
                <a:gd name="connsiteY152" fmla="*/ 230239 h 838042"/>
                <a:gd name="connsiteX153" fmla="*/ 762977 w 1037297"/>
                <a:gd name="connsiteY153" fmla="*/ 224524 h 838042"/>
                <a:gd name="connsiteX154" fmla="*/ 768692 w 1037297"/>
                <a:gd name="connsiteY154" fmla="*/ 213094 h 838042"/>
                <a:gd name="connsiteX155" fmla="*/ 766787 w 1037297"/>
                <a:gd name="connsiteY155" fmla="*/ 197854 h 838042"/>
                <a:gd name="connsiteX156" fmla="*/ 761072 w 1037297"/>
                <a:gd name="connsiteY156" fmla="*/ 195949 h 838042"/>
                <a:gd name="connsiteX157" fmla="*/ 740117 w 1037297"/>
                <a:gd name="connsiteY157" fmla="*/ 197854 h 838042"/>
                <a:gd name="connsiteX158" fmla="*/ 734402 w 1037297"/>
                <a:gd name="connsiteY158" fmla="*/ 201664 h 838042"/>
                <a:gd name="connsiteX159" fmla="*/ 722972 w 1037297"/>
                <a:gd name="connsiteY159" fmla="*/ 205474 h 838042"/>
                <a:gd name="connsiteX160" fmla="*/ 719162 w 1037297"/>
                <a:gd name="connsiteY160" fmla="*/ 211189 h 838042"/>
                <a:gd name="connsiteX161" fmla="*/ 713447 w 1037297"/>
                <a:gd name="connsiteY161" fmla="*/ 213094 h 838042"/>
                <a:gd name="connsiteX162" fmla="*/ 707732 w 1037297"/>
                <a:gd name="connsiteY162" fmla="*/ 216904 h 838042"/>
                <a:gd name="connsiteX163" fmla="*/ 702017 w 1037297"/>
                <a:gd name="connsiteY163" fmla="*/ 222619 h 838042"/>
                <a:gd name="connsiteX164" fmla="*/ 694397 w 1037297"/>
                <a:gd name="connsiteY164" fmla="*/ 226429 h 838042"/>
                <a:gd name="connsiteX165" fmla="*/ 652487 w 1037297"/>
                <a:gd name="connsiteY165" fmla="*/ 255004 h 838042"/>
                <a:gd name="connsiteX166" fmla="*/ 639152 w 1037297"/>
                <a:gd name="connsiteY166" fmla="*/ 266434 h 838042"/>
                <a:gd name="connsiteX167" fmla="*/ 629627 w 1037297"/>
                <a:gd name="connsiteY167" fmla="*/ 283579 h 838042"/>
                <a:gd name="connsiteX168" fmla="*/ 604862 w 1037297"/>
                <a:gd name="connsiteY168" fmla="*/ 289294 h 838042"/>
                <a:gd name="connsiteX169" fmla="*/ 591527 w 1037297"/>
                <a:gd name="connsiteY169" fmla="*/ 293104 h 838042"/>
                <a:gd name="connsiteX170" fmla="*/ 576287 w 1037297"/>
                <a:gd name="connsiteY170" fmla="*/ 291199 h 838042"/>
                <a:gd name="connsiteX171" fmla="*/ 564857 w 1037297"/>
                <a:gd name="connsiteY171" fmla="*/ 287389 h 838042"/>
                <a:gd name="connsiteX172" fmla="*/ 553427 w 1037297"/>
                <a:gd name="connsiteY172" fmla="*/ 283579 h 838042"/>
                <a:gd name="connsiteX173" fmla="*/ 541997 w 1037297"/>
                <a:gd name="connsiteY173" fmla="*/ 279769 h 838042"/>
                <a:gd name="connsiteX174" fmla="*/ 536282 w 1037297"/>
                <a:gd name="connsiteY174" fmla="*/ 277864 h 838042"/>
                <a:gd name="connsiteX175" fmla="*/ 530567 w 1037297"/>
                <a:gd name="connsiteY175" fmla="*/ 274054 h 838042"/>
                <a:gd name="connsiteX176" fmla="*/ 519137 w 1037297"/>
                <a:gd name="connsiteY176" fmla="*/ 268339 h 838042"/>
                <a:gd name="connsiteX177" fmla="*/ 511517 w 1037297"/>
                <a:gd name="connsiteY177" fmla="*/ 256909 h 838042"/>
                <a:gd name="connsiteX178" fmla="*/ 507707 w 1037297"/>
                <a:gd name="connsiteY178" fmla="*/ 235954 h 838042"/>
                <a:gd name="connsiteX179" fmla="*/ 509612 w 1037297"/>
                <a:gd name="connsiteY179" fmla="*/ 171184 h 838042"/>
                <a:gd name="connsiteX180" fmla="*/ 508314 w 1037297"/>
                <a:gd name="connsiteY180" fmla="*/ 73485 h 838042"/>
                <a:gd name="connsiteX181" fmla="*/ 454116 w 1037297"/>
                <a:gd name="connsiteY181" fmla="*/ 11248 h 838042"/>
                <a:gd name="connsiteX182" fmla="*/ 435401 w 1037297"/>
                <a:gd name="connsiteY182" fmla="*/ 68523 h 838042"/>
                <a:gd name="connsiteX183" fmla="*/ 427697 w 1037297"/>
                <a:gd name="connsiteY183" fmla="*/ 137103 h 838042"/>
                <a:gd name="connsiteX184" fmla="*/ 420077 w 1037297"/>
                <a:gd name="connsiteY184" fmla="*/ 169279 h 838042"/>
                <a:gd name="connsiteX185" fmla="*/ 416267 w 1037297"/>
                <a:gd name="connsiteY185" fmla="*/ 186424 h 838042"/>
                <a:gd name="connsiteX186" fmla="*/ 420077 w 1037297"/>
                <a:gd name="connsiteY186" fmla="*/ 207379 h 838042"/>
                <a:gd name="connsiteX187" fmla="*/ 423887 w 1037297"/>
                <a:gd name="connsiteY187" fmla="*/ 213094 h 838042"/>
                <a:gd name="connsiteX188" fmla="*/ 427697 w 1037297"/>
                <a:gd name="connsiteY188" fmla="*/ 224524 h 838042"/>
                <a:gd name="connsiteX189" fmla="*/ 425792 w 1037297"/>
                <a:gd name="connsiteY189" fmla="*/ 251194 h 838042"/>
                <a:gd name="connsiteX190" fmla="*/ 420077 w 1037297"/>
                <a:gd name="connsiteY190" fmla="*/ 253099 h 838042"/>
                <a:gd name="connsiteX191" fmla="*/ 414362 w 1037297"/>
                <a:gd name="connsiteY191" fmla="*/ 256909 h 838042"/>
                <a:gd name="connsiteX192" fmla="*/ 423887 w 1037297"/>
                <a:gd name="connsiteY19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1014437 w 1037297"/>
                <a:gd name="connsiteY129" fmla="*/ 384544 h 838042"/>
                <a:gd name="connsiteX130" fmla="*/ 964889 w 1037297"/>
                <a:gd name="connsiteY130" fmla="*/ 358029 h 838042"/>
                <a:gd name="connsiteX131" fmla="*/ 907856 w 1037297"/>
                <a:gd name="connsiteY131" fmla="*/ 350516 h 838042"/>
                <a:gd name="connsiteX132" fmla="*/ 827747 w 1037297"/>
                <a:gd name="connsiteY132" fmla="*/ 357874 h 838042"/>
                <a:gd name="connsiteX133" fmla="*/ 822032 w 1037297"/>
                <a:gd name="connsiteY133" fmla="*/ 359779 h 838042"/>
                <a:gd name="connsiteX134" fmla="*/ 732497 w 1037297"/>
                <a:gd name="connsiteY134" fmla="*/ 361684 h 838042"/>
                <a:gd name="connsiteX135" fmla="*/ 671537 w 1037297"/>
                <a:gd name="connsiteY135" fmla="*/ 369304 h 838042"/>
                <a:gd name="connsiteX136" fmla="*/ 648677 w 1037297"/>
                <a:gd name="connsiteY136" fmla="*/ 373114 h 838042"/>
                <a:gd name="connsiteX137" fmla="*/ 644867 w 1037297"/>
                <a:gd name="connsiteY137" fmla="*/ 361684 h 838042"/>
                <a:gd name="connsiteX138" fmla="*/ 642962 w 1037297"/>
                <a:gd name="connsiteY138" fmla="*/ 355969 h 838042"/>
                <a:gd name="connsiteX139" fmla="*/ 644867 w 1037297"/>
                <a:gd name="connsiteY139" fmla="*/ 338824 h 838042"/>
                <a:gd name="connsiteX140" fmla="*/ 646772 w 1037297"/>
                <a:gd name="connsiteY140" fmla="*/ 333109 h 838042"/>
                <a:gd name="connsiteX141" fmla="*/ 663917 w 1037297"/>
                <a:gd name="connsiteY141" fmla="*/ 323584 h 838042"/>
                <a:gd name="connsiteX142" fmla="*/ 675347 w 1037297"/>
                <a:gd name="connsiteY142" fmla="*/ 315964 h 838042"/>
                <a:gd name="connsiteX143" fmla="*/ 677252 w 1037297"/>
                <a:gd name="connsiteY143" fmla="*/ 310249 h 838042"/>
                <a:gd name="connsiteX144" fmla="*/ 682967 w 1037297"/>
                <a:gd name="connsiteY144" fmla="*/ 308344 h 838042"/>
                <a:gd name="connsiteX145" fmla="*/ 688682 w 1037297"/>
                <a:gd name="connsiteY145" fmla="*/ 304534 h 838042"/>
                <a:gd name="connsiteX146" fmla="*/ 698207 w 1037297"/>
                <a:gd name="connsiteY146" fmla="*/ 295009 h 838042"/>
                <a:gd name="connsiteX147" fmla="*/ 707732 w 1037297"/>
                <a:gd name="connsiteY147" fmla="*/ 283579 h 838042"/>
                <a:gd name="connsiteX148" fmla="*/ 719162 w 1037297"/>
                <a:gd name="connsiteY148" fmla="*/ 275959 h 838042"/>
                <a:gd name="connsiteX149" fmla="*/ 734402 w 1037297"/>
                <a:gd name="connsiteY149" fmla="*/ 262624 h 838042"/>
                <a:gd name="connsiteX150" fmla="*/ 743927 w 1037297"/>
                <a:gd name="connsiteY150" fmla="*/ 251194 h 838042"/>
                <a:gd name="connsiteX151" fmla="*/ 755357 w 1037297"/>
                <a:gd name="connsiteY151" fmla="*/ 241669 h 838042"/>
                <a:gd name="connsiteX152" fmla="*/ 761072 w 1037297"/>
                <a:gd name="connsiteY152" fmla="*/ 230239 h 838042"/>
                <a:gd name="connsiteX153" fmla="*/ 762977 w 1037297"/>
                <a:gd name="connsiteY153" fmla="*/ 224524 h 838042"/>
                <a:gd name="connsiteX154" fmla="*/ 768692 w 1037297"/>
                <a:gd name="connsiteY154" fmla="*/ 213094 h 838042"/>
                <a:gd name="connsiteX155" fmla="*/ 766787 w 1037297"/>
                <a:gd name="connsiteY155" fmla="*/ 197854 h 838042"/>
                <a:gd name="connsiteX156" fmla="*/ 761072 w 1037297"/>
                <a:gd name="connsiteY156" fmla="*/ 195949 h 838042"/>
                <a:gd name="connsiteX157" fmla="*/ 740117 w 1037297"/>
                <a:gd name="connsiteY157" fmla="*/ 197854 h 838042"/>
                <a:gd name="connsiteX158" fmla="*/ 734402 w 1037297"/>
                <a:gd name="connsiteY158" fmla="*/ 201664 h 838042"/>
                <a:gd name="connsiteX159" fmla="*/ 722972 w 1037297"/>
                <a:gd name="connsiteY159" fmla="*/ 205474 h 838042"/>
                <a:gd name="connsiteX160" fmla="*/ 719162 w 1037297"/>
                <a:gd name="connsiteY160" fmla="*/ 211189 h 838042"/>
                <a:gd name="connsiteX161" fmla="*/ 713447 w 1037297"/>
                <a:gd name="connsiteY161" fmla="*/ 213094 h 838042"/>
                <a:gd name="connsiteX162" fmla="*/ 707732 w 1037297"/>
                <a:gd name="connsiteY162" fmla="*/ 216904 h 838042"/>
                <a:gd name="connsiteX163" fmla="*/ 702017 w 1037297"/>
                <a:gd name="connsiteY163" fmla="*/ 222619 h 838042"/>
                <a:gd name="connsiteX164" fmla="*/ 694397 w 1037297"/>
                <a:gd name="connsiteY164" fmla="*/ 226429 h 838042"/>
                <a:gd name="connsiteX165" fmla="*/ 652487 w 1037297"/>
                <a:gd name="connsiteY165" fmla="*/ 255004 h 838042"/>
                <a:gd name="connsiteX166" fmla="*/ 639152 w 1037297"/>
                <a:gd name="connsiteY166" fmla="*/ 266434 h 838042"/>
                <a:gd name="connsiteX167" fmla="*/ 629627 w 1037297"/>
                <a:gd name="connsiteY167" fmla="*/ 283579 h 838042"/>
                <a:gd name="connsiteX168" fmla="*/ 604862 w 1037297"/>
                <a:gd name="connsiteY168" fmla="*/ 289294 h 838042"/>
                <a:gd name="connsiteX169" fmla="*/ 591527 w 1037297"/>
                <a:gd name="connsiteY169" fmla="*/ 293104 h 838042"/>
                <a:gd name="connsiteX170" fmla="*/ 576287 w 1037297"/>
                <a:gd name="connsiteY170" fmla="*/ 291199 h 838042"/>
                <a:gd name="connsiteX171" fmla="*/ 564857 w 1037297"/>
                <a:gd name="connsiteY171" fmla="*/ 287389 h 838042"/>
                <a:gd name="connsiteX172" fmla="*/ 553427 w 1037297"/>
                <a:gd name="connsiteY172" fmla="*/ 283579 h 838042"/>
                <a:gd name="connsiteX173" fmla="*/ 541997 w 1037297"/>
                <a:gd name="connsiteY173" fmla="*/ 279769 h 838042"/>
                <a:gd name="connsiteX174" fmla="*/ 536282 w 1037297"/>
                <a:gd name="connsiteY174" fmla="*/ 277864 h 838042"/>
                <a:gd name="connsiteX175" fmla="*/ 530567 w 1037297"/>
                <a:gd name="connsiteY175" fmla="*/ 274054 h 838042"/>
                <a:gd name="connsiteX176" fmla="*/ 519137 w 1037297"/>
                <a:gd name="connsiteY176" fmla="*/ 268339 h 838042"/>
                <a:gd name="connsiteX177" fmla="*/ 511517 w 1037297"/>
                <a:gd name="connsiteY177" fmla="*/ 256909 h 838042"/>
                <a:gd name="connsiteX178" fmla="*/ 507707 w 1037297"/>
                <a:gd name="connsiteY178" fmla="*/ 235954 h 838042"/>
                <a:gd name="connsiteX179" fmla="*/ 509612 w 1037297"/>
                <a:gd name="connsiteY179" fmla="*/ 171184 h 838042"/>
                <a:gd name="connsiteX180" fmla="*/ 508314 w 1037297"/>
                <a:gd name="connsiteY180" fmla="*/ 73485 h 838042"/>
                <a:gd name="connsiteX181" fmla="*/ 454116 w 1037297"/>
                <a:gd name="connsiteY181" fmla="*/ 11248 h 838042"/>
                <a:gd name="connsiteX182" fmla="*/ 435401 w 1037297"/>
                <a:gd name="connsiteY182" fmla="*/ 68523 h 838042"/>
                <a:gd name="connsiteX183" fmla="*/ 427697 w 1037297"/>
                <a:gd name="connsiteY183" fmla="*/ 137103 h 838042"/>
                <a:gd name="connsiteX184" fmla="*/ 420077 w 1037297"/>
                <a:gd name="connsiteY184" fmla="*/ 169279 h 838042"/>
                <a:gd name="connsiteX185" fmla="*/ 416267 w 1037297"/>
                <a:gd name="connsiteY185" fmla="*/ 186424 h 838042"/>
                <a:gd name="connsiteX186" fmla="*/ 420077 w 1037297"/>
                <a:gd name="connsiteY186" fmla="*/ 207379 h 838042"/>
                <a:gd name="connsiteX187" fmla="*/ 423887 w 1037297"/>
                <a:gd name="connsiteY187" fmla="*/ 213094 h 838042"/>
                <a:gd name="connsiteX188" fmla="*/ 427697 w 1037297"/>
                <a:gd name="connsiteY188" fmla="*/ 224524 h 838042"/>
                <a:gd name="connsiteX189" fmla="*/ 425792 w 1037297"/>
                <a:gd name="connsiteY189" fmla="*/ 251194 h 838042"/>
                <a:gd name="connsiteX190" fmla="*/ 420077 w 1037297"/>
                <a:gd name="connsiteY190" fmla="*/ 253099 h 838042"/>
                <a:gd name="connsiteX191" fmla="*/ 414362 w 1037297"/>
                <a:gd name="connsiteY191" fmla="*/ 256909 h 838042"/>
                <a:gd name="connsiteX192" fmla="*/ 423887 w 1037297"/>
                <a:gd name="connsiteY192"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9677 w 1037297"/>
                <a:gd name="connsiteY128" fmla="*/ 386449 h 838042"/>
                <a:gd name="connsiteX129" fmla="*/ 964889 w 1037297"/>
                <a:gd name="connsiteY129" fmla="*/ 358029 h 838042"/>
                <a:gd name="connsiteX130" fmla="*/ 907856 w 1037297"/>
                <a:gd name="connsiteY130" fmla="*/ 350516 h 838042"/>
                <a:gd name="connsiteX131" fmla="*/ 827747 w 1037297"/>
                <a:gd name="connsiteY131" fmla="*/ 357874 h 838042"/>
                <a:gd name="connsiteX132" fmla="*/ 822032 w 1037297"/>
                <a:gd name="connsiteY132" fmla="*/ 359779 h 838042"/>
                <a:gd name="connsiteX133" fmla="*/ 732497 w 1037297"/>
                <a:gd name="connsiteY133" fmla="*/ 361684 h 838042"/>
                <a:gd name="connsiteX134" fmla="*/ 671537 w 1037297"/>
                <a:gd name="connsiteY134" fmla="*/ 369304 h 838042"/>
                <a:gd name="connsiteX135" fmla="*/ 648677 w 1037297"/>
                <a:gd name="connsiteY135" fmla="*/ 373114 h 838042"/>
                <a:gd name="connsiteX136" fmla="*/ 644867 w 1037297"/>
                <a:gd name="connsiteY136" fmla="*/ 361684 h 838042"/>
                <a:gd name="connsiteX137" fmla="*/ 642962 w 1037297"/>
                <a:gd name="connsiteY137" fmla="*/ 355969 h 838042"/>
                <a:gd name="connsiteX138" fmla="*/ 644867 w 1037297"/>
                <a:gd name="connsiteY138" fmla="*/ 338824 h 838042"/>
                <a:gd name="connsiteX139" fmla="*/ 646772 w 1037297"/>
                <a:gd name="connsiteY139" fmla="*/ 333109 h 838042"/>
                <a:gd name="connsiteX140" fmla="*/ 663917 w 1037297"/>
                <a:gd name="connsiteY140" fmla="*/ 323584 h 838042"/>
                <a:gd name="connsiteX141" fmla="*/ 675347 w 1037297"/>
                <a:gd name="connsiteY141" fmla="*/ 315964 h 838042"/>
                <a:gd name="connsiteX142" fmla="*/ 677252 w 1037297"/>
                <a:gd name="connsiteY142" fmla="*/ 310249 h 838042"/>
                <a:gd name="connsiteX143" fmla="*/ 682967 w 1037297"/>
                <a:gd name="connsiteY143" fmla="*/ 308344 h 838042"/>
                <a:gd name="connsiteX144" fmla="*/ 688682 w 1037297"/>
                <a:gd name="connsiteY144" fmla="*/ 304534 h 838042"/>
                <a:gd name="connsiteX145" fmla="*/ 698207 w 1037297"/>
                <a:gd name="connsiteY145" fmla="*/ 295009 h 838042"/>
                <a:gd name="connsiteX146" fmla="*/ 707732 w 1037297"/>
                <a:gd name="connsiteY146" fmla="*/ 283579 h 838042"/>
                <a:gd name="connsiteX147" fmla="*/ 719162 w 1037297"/>
                <a:gd name="connsiteY147" fmla="*/ 275959 h 838042"/>
                <a:gd name="connsiteX148" fmla="*/ 734402 w 1037297"/>
                <a:gd name="connsiteY148" fmla="*/ 262624 h 838042"/>
                <a:gd name="connsiteX149" fmla="*/ 743927 w 1037297"/>
                <a:gd name="connsiteY149" fmla="*/ 251194 h 838042"/>
                <a:gd name="connsiteX150" fmla="*/ 755357 w 1037297"/>
                <a:gd name="connsiteY150" fmla="*/ 241669 h 838042"/>
                <a:gd name="connsiteX151" fmla="*/ 761072 w 1037297"/>
                <a:gd name="connsiteY151" fmla="*/ 230239 h 838042"/>
                <a:gd name="connsiteX152" fmla="*/ 762977 w 1037297"/>
                <a:gd name="connsiteY152" fmla="*/ 224524 h 838042"/>
                <a:gd name="connsiteX153" fmla="*/ 768692 w 1037297"/>
                <a:gd name="connsiteY153" fmla="*/ 213094 h 838042"/>
                <a:gd name="connsiteX154" fmla="*/ 766787 w 1037297"/>
                <a:gd name="connsiteY154" fmla="*/ 197854 h 838042"/>
                <a:gd name="connsiteX155" fmla="*/ 761072 w 1037297"/>
                <a:gd name="connsiteY155" fmla="*/ 195949 h 838042"/>
                <a:gd name="connsiteX156" fmla="*/ 740117 w 1037297"/>
                <a:gd name="connsiteY156" fmla="*/ 197854 h 838042"/>
                <a:gd name="connsiteX157" fmla="*/ 734402 w 1037297"/>
                <a:gd name="connsiteY157" fmla="*/ 201664 h 838042"/>
                <a:gd name="connsiteX158" fmla="*/ 722972 w 1037297"/>
                <a:gd name="connsiteY158" fmla="*/ 205474 h 838042"/>
                <a:gd name="connsiteX159" fmla="*/ 719162 w 1037297"/>
                <a:gd name="connsiteY159" fmla="*/ 211189 h 838042"/>
                <a:gd name="connsiteX160" fmla="*/ 713447 w 1037297"/>
                <a:gd name="connsiteY160" fmla="*/ 213094 h 838042"/>
                <a:gd name="connsiteX161" fmla="*/ 707732 w 1037297"/>
                <a:gd name="connsiteY161" fmla="*/ 216904 h 838042"/>
                <a:gd name="connsiteX162" fmla="*/ 702017 w 1037297"/>
                <a:gd name="connsiteY162" fmla="*/ 222619 h 838042"/>
                <a:gd name="connsiteX163" fmla="*/ 694397 w 1037297"/>
                <a:gd name="connsiteY163" fmla="*/ 226429 h 838042"/>
                <a:gd name="connsiteX164" fmla="*/ 652487 w 1037297"/>
                <a:gd name="connsiteY164" fmla="*/ 255004 h 838042"/>
                <a:gd name="connsiteX165" fmla="*/ 639152 w 1037297"/>
                <a:gd name="connsiteY165" fmla="*/ 266434 h 838042"/>
                <a:gd name="connsiteX166" fmla="*/ 629627 w 1037297"/>
                <a:gd name="connsiteY166" fmla="*/ 283579 h 838042"/>
                <a:gd name="connsiteX167" fmla="*/ 604862 w 1037297"/>
                <a:gd name="connsiteY167" fmla="*/ 289294 h 838042"/>
                <a:gd name="connsiteX168" fmla="*/ 591527 w 1037297"/>
                <a:gd name="connsiteY168" fmla="*/ 293104 h 838042"/>
                <a:gd name="connsiteX169" fmla="*/ 576287 w 1037297"/>
                <a:gd name="connsiteY169" fmla="*/ 291199 h 838042"/>
                <a:gd name="connsiteX170" fmla="*/ 564857 w 1037297"/>
                <a:gd name="connsiteY170" fmla="*/ 287389 h 838042"/>
                <a:gd name="connsiteX171" fmla="*/ 553427 w 1037297"/>
                <a:gd name="connsiteY171" fmla="*/ 283579 h 838042"/>
                <a:gd name="connsiteX172" fmla="*/ 541997 w 1037297"/>
                <a:gd name="connsiteY172" fmla="*/ 279769 h 838042"/>
                <a:gd name="connsiteX173" fmla="*/ 536282 w 1037297"/>
                <a:gd name="connsiteY173" fmla="*/ 277864 h 838042"/>
                <a:gd name="connsiteX174" fmla="*/ 530567 w 1037297"/>
                <a:gd name="connsiteY174" fmla="*/ 274054 h 838042"/>
                <a:gd name="connsiteX175" fmla="*/ 519137 w 1037297"/>
                <a:gd name="connsiteY175" fmla="*/ 268339 h 838042"/>
                <a:gd name="connsiteX176" fmla="*/ 511517 w 1037297"/>
                <a:gd name="connsiteY176" fmla="*/ 256909 h 838042"/>
                <a:gd name="connsiteX177" fmla="*/ 507707 w 1037297"/>
                <a:gd name="connsiteY177" fmla="*/ 235954 h 838042"/>
                <a:gd name="connsiteX178" fmla="*/ 509612 w 1037297"/>
                <a:gd name="connsiteY178" fmla="*/ 171184 h 838042"/>
                <a:gd name="connsiteX179" fmla="*/ 508314 w 1037297"/>
                <a:gd name="connsiteY179" fmla="*/ 73485 h 838042"/>
                <a:gd name="connsiteX180" fmla="*/ 454116 w 1037297"/>
                <a:gd name="connsiteY180" fmla="*/ 11248 h 838042"/>
                <a:gd name="connsiteX181" fmla="*/ 435401 w 1037297"/>
                <a:gd name="connsiteY181" fmla="*/ 68523 h 838042"/>
                <a:gd name="connsiteX182" fmla="*/ 427697 w 1037297"/>
                <a:gd name="connsiteY182" fmla="*/ 137103 h 838042"/>
                <a:gd name="connsiteX183" fmla="*/ 420077 w 1037297"/>
                <a:gd name="connsiteY183" fmla="*/ 169279 h 838042"/>
                <a:gd name="connsiteX184" fmla="*/ 416267 w 1037297"/>
                <a:gd name="connsiteY184" fmla="*/ 186424 h 838042"/>
                <a:gd name="connsiteX185" fmla="*/ 420077 w 1037297"/>
                <a:gd name="connsiteY185" fmla="*/ 207379 h 838042"/>
                <a:gd name="connsiteX186" fmla="*/ 423887 w 1037297"/>
                <a:gd name="connsiteY186" fmla="*/ 213094 h 838042"/>
                <a:gd name="connsiteX187" fmla="*/ 427697 w 1037297"/>
                <a:gd name="connsiteY187" fmla="*/ 224524 h 838042"/>
                <a:gd name="connsiteX188" fmla="*/ 425792 w 1037297"/>
                <a:gd name="connsiteY188" fmla="*/ 251194 h 838042"/>
                <a:gd name="connsiteX189" fmla="*/ 420077 w 1037297"/>
                <a:gd name="connsiteY189" fmla="*/ 253099 h 838042"/>
                <a:gd name="connsiteX190" fmla="*/ 414362 w 1037297"/>
                <a:gd name="connsiteY190" fmla="*/ 256909 h 838042"/>
                <a:gd name="connsiteX191" fmla="*/ 423887 w 1037297"/>
                <a:gd name="connsiteY191"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959192 w 1037297"/>
                <a:gd name="connsiteY123" fmla="*/ 424549 h 838042"/>
                <a:gd name="connsiteX124" fmla="*/ 1004912 w 1037297"/>
                <a:gd name="connsiteY124" fmla="*/ 422644 h 838042"/>
                <a:gd name="connsiteX125" fmla="*/ 1033487 w 1037297"/>
                <a:gd name="connsiteY125" fmla="*/ 415024 h 838042"/>
                <a:gd name="connsiteX126" fmla="*/ 1037297 w 1037297"/>
                <a:gd name="connsiteY126" fmla="*/ 409309 h 838042"/>
                <a:gd name="connsiteX127" fmla="*/ 1035392 w 1037297"/>
                <a:gd name="connsiteY127" fmla="*/ 390259 h 838042"/>
                <a:gd name="connsiteX128" fmla="*/ 1020514 w 1037297"/>
                <a:gd name="connsiteY128" fmla="*/ 377797 h 838042"/>
                <a:gd name="connsiteX129" fmla="*/ 964889 w 1037297"/>
                <a:gd name="connsiteY129" fmla="*/ 358029 h 838042"/>
                <a:gd name="connsiteX130" fmla="*/ 907856 w 1037297"/>
                <a:gd name="connsiteY130" fmla="*/ 350516 h 838042"/>
                <a:gd name="connsiteX131" fmla="*/ 827747 w 1037297"/>
                <a:gd name="connsiteY131" fmla="*/ 357874 h 838042"/>
                <a:gd name="connsiteX132" fmla="*/ 822032 w 1037297"/>
                <a:gd name="connsiteY132" fmla="*/ 359779 h 838042"/>
                <a:gd name="connsiteX133" fmla="*/ 732497 w 1037297"/>
                <a:gd name="connsiteY133" fmla="*/ 361684 h 838042"/>
                <a:gd name="connsiteX134" fmla="*/ 671537 w 1037297"/>
                <a:gd name="connsiteY134" fmla="*/ 369304 h 838042"/>
                <a:gd name="connsiteX135" fmla="*/ 648677 w 1037297"/>
                <a:gd name="connsiteY135" fmla="*/ 373114 h 838042"/>
                <a:gd name="connsiteX136" fmla="*/ 644867 w 1037297"/>
                <a:gd name="connsiteY136" fmla="*/ 361684 h 838042"/>
                <a:gd name="connsiteX137" fmla="*/ 642962 w 1037297"/>
                <a:gd name="connsiteY137" fmla="*/ 355969 h 838042"/>
                <a:gd name="connsiteX138" fmla="*/ 644867 w 1037297"/>
                <a:gd name="connsiteY138" fmla="*/ 338824 h 838042"/>
                <a:gd name="connsiteX139" fmla="*/ 646772 w 1037297"/>
                <a:gd name="connsiteY139" fmla="*/ 333109 h 838042"/>
                <a:gd name="connsiteX140" fmla="*/ 663917 w 1037297"/>
                <a:gd name="connsiteY140" fmla="*/ 323584 h 838042"/>
                <a:gd name="connsiteX141" fmla="*/ 675347 w 1037297"/>
                <a:gd name="connsiteY141" fmla="*/ 315964 h 838042"/>
                <a:gd name="connsiteX142" fmla="*/ 677252 w 1037297"/>
                <a:gd name="connsiteY142" fmla="*/ 310249 h 838042"/>
                <a:gd name="connsiteX143" fmla="*/ 682967 w 1037297"/>
                <a:gd name="connsiteY143" fmla="*/ 308344 h 838042"/>
                <a:gd name="connsiteX144" fmla="*/ 688682 w 1037297"/>
                <a:gd name="connsiteY144" fmla="*/ 304534 h 838042"/>
                <a:gd name="connsiteX145" fmla="*/ 698207 w 1037297"/>
                <a:gd name="connsiteY145" fmla="*/ 295009 h 838042"/>
                <a:gd name="connsiteX146" fmla="*/ 707732 w 1037297"/>
                <a:gd name="connsiteY146" fmla="*/ 283579 h 838042"/>
                <a:gd name="connsiteX147" fmla="*/ 719162 w 1037297"/>
                <a:gd name="connsiteY147" fmla="*/ 275959 h 838042"/>
                <a:gd name="connsiteX148" fmla="*/ 734402 w 1037297"/>
                <a:gd name="connsiteY148" fmla="*/ 262624 h 838042"/>
                <a:gd name="connsiteX149" fmla="*/ 743927 w 1037297"/>
                <a:gd name="connsiteY149" fmla="*/ 251194 h 838042"/>
                <a:gd name="connsiteX150" fmla="*/ 755357 w 1037297"/>
                <a:gd name="connsiteY150" fmla="*/ 241669 h 838042"/>
                <a:gd name="connsiteX151" fmla="*/ 761072 w 1037297"/>
                <a:gd name="connsiteY151" fmla="*/ 230239 h 838042"/>
                <a:gd name="connsiteX152" fmla="*/ 762977 w 1037297"/>
                <a:gd name="connsiteY152" fmla="*/ 224524 h 838042"/>
                <a:gd name="connsiteX153" fmla="*/ 768692 w 1037297"/>
                <a:gd name="connsiteY153" fmla="*/ 213094 h 838042"/>
                <a:gd name="connsiteX154" fmla="*/ 766787 w 1037297"/>
                <a:gd name="connsiteY154" fmla="*/ 197854 h 838042"/>
                <a:gd name="connsiteX155" fmla="*/ 761072 w 1037297"/>
                <a:gd name="connsiteY155" fmla="*/ 195949 h 838042"/>
                <a:gd name="connsiteX156" fmla="*/ 740117 w 1037297"/>
                <a:gd name="connsiteY156" fmla="*/ 197854 h 838042"/>
                <a:gd name="connsiteX157" fmla="*/ 734402 w 1037297"/>
                <a:gd name="connsiteY157" fmla="*/ 201664 h 838042"/>
                <a:gd name="connsiteX158" fmla="*/ 722972 w 1037297"/>
                <a:gd name="connsiteY158" fmla="*/ 205474 h 838042"/>
                <a:gd name="connsiteX159" fmla="*/ 719162 w 1037297"/>
                <a:gd name="connsiteY159" fmla="*/ 211189 h 838042"/>
                <a:gd name="connsiteX160" fmla="*/ 713447 w 1037297"/>
                <a:gd name="connsiteY160" fmla="*/ 213094 h 838042"/>
                <a:gd name="connsiteX161" fmla="*/ 707732 w 1037297"/>
                <a:gd name="connsiteY161" fmla="*/ 216904 h 838042"/>
                <a:gd name="connsiteX162" fmla="*/ 702017 w 1037297"/>
                <a:gd name="connsiteY162" fmla="*/ 222619 h 838042"/>
                <a:gd name="connsiteX163" fmla="*/ 694397 w 1037297"/>
                <a:gd name="connsiteY163" fmla="*/ 226429 h 838042"/>
                <a:gd name="connsiteX164" fmla="*/ 652487 w 1037297"/>
                <a:gd name="connsiteY164" fmla="*/ 255004 h 838042"/>
                <a:gd name="connsiteX165" fmla="*/ 639152 w 1037297"/>
                <a:gd name="connsiteY165" fmla="*/ 266434 h 838042"/>
                <a:gd name="connsiteX166" fmla="*/ 629627 w 1037297"/>
                <a:gd name="connsiteY166" fmla="*/ 283579 h 838042"/>
                <a:gd name="connsiteX167" fmla="*/ 604862 w 1037297"/>
                <a:gd name="connsiteY167" fmla="*/ 289294 h 838042"/>
                <a:gd name="connsiteX168" fmla="*/ 591527 w 1037297"/>
                <a:gd name="connsiteY168" fmla="*/ 293104 h 838042"/>
                <a:gd name="connsiteX169" fmla="*/ 576287 w 1037297"/>
                <a:gd name="connsiteY169" fmla="*/ 291199 h 838042"/>
                <a:gd name="connsiteX170" fmla="*/ 564857 w 1037297"/>
                <a:gd name="connsiteY170" fmla="*/ 287389 h 838042"/>
                <a:gd name="connsiteX171" fmla="*/ 553427 w 1037297"/>
                <a:gd name="connsiteY171" fmla="*/ 283579 h 838042"/>
                <a:gd name="connsiteX172" fmla="*/ 541997 w 1037297"/>
                <a:gd name="connsiteY172" fmla="*/ 279769 h 838042"/>
                <a:gd name="connsiteX173" fmla="*/ 536282 w 1037297"/>
                <a:gd name="connsiteY173" fmla="*/ 277864 h 838042"/>
                <a:gd name="connsiteX174" fmla="*/ 530567 w 1037297"/>
                <a:gd name="connsiteY174" fmla="*/ 274054 h 838042"/>
                <a:gd name="connsiteX175" fmla="*/ 519137 w 1037297"/>
                <a:gd name="connsiteY175" fmla="*/ 268339 h 838042"/>
                <a:gd name="connsiteX176" fmla="*/ 511517 w 1037297"/>
                <a:gd name="connsiteY176" fmla="*/ 256909 h 838042"/>
                <a:gd name="connsiteX177" fmla="*/ 507707 w 1037297"/>
                <a:gd name="connsiteY177" fmla="*/ 235954 h 838042"/>
                <a:gd name="connsiteX178" fmla="*/ 509612 w 1037297"/>
                <a:gd name="connsiteY178" fmla="*/ 171184 h 838042"/>
                <a:gd name="connsiteX179" fmla="*/ 508314 w 1037297"/>
                <a:gd name="connsiteY179" fmla="*/ 73485 h 838042"/>
                <a:gd name="connsiteX180" fmla="*/ 454116 w 1037297"/>
                <a:gd name="connsiteY180" fmla="*/ 11248 h 838042"/>
                <a:gd name="connsiteX181" fmla="*/ 435401 w 1037297"/>
                <a:gd name="connsiteY181" fmla="*/ 68523 h 838042"/>
                <a:gd name="connsiteX182" fmla="*/ 427697 w 1037297"/>
                <a:gd name="connsiteY182" fmla="*/ 137103 h 838042"/>
                <a:gd name="connsiteX183" fmla="*/ 420077 w 1037297"/>
                <a:gd name="connsiteY183" fmla="*/ 169279 h 838042"/>
                <a:gd name="connsiteX184" fmla="*/ 416267 w 1037297"/>
                <a:gd name="connsiteY184" fmla="*/ 186424 h 838042"/>
                <a:gd name="connsiteX185" fmla="*/ 420077 w 1037297"/>
                <a:gd name="connsiteY185" fmla="*/ 207379 h 838042"/>
                <a:gd name="connsiteX186" fmla="*/ 423887 w 1037297"/>
                <a:gd name="connsiteY186" fmla="*/ 213094 h 838042"/>
                <a:gd name="connsiteX187" fmla="*/ 427697 w 1037297"/>
                <a:gd name="connsiteY187" fmla="*/ 224524 h 838042"/>
                <a:gd name="connsiteX188" fmla="*/ 425792 w 1037297"/>
                <a:gd name="connsiteY188" fmla="*/ 251194 h 838042"/>
                <a:gd name="connsiteX189" fmla="*/ 420077 w 1037297"/>
                <a:gd name="connsiteY189" fmla="*/ 253099 h 838042"/>
                <a:gd name="connsiteX190" fmla="*/ 414362 w 1037297"/>
                <a:gd name="connsiteY190" fmla="*/ 256909 h 838042"/>
                <a:gd name="connsiteX191" fmla="*/ 423887 w 1037297"/>
                <a:gd name="connsiteY191"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24902 w 1037297"/>
                <a:gd name="connsiteY121" fmla="*/ 418834 h 838042"/>
                <a:gd name="connsiteX122" fmla="*/ 953477 w 1037297"/>
                <a:gd name="connsiteY122" fmla="*/ 424549 h 838042"/>
                <a:gd name="connsiteX123" fmla="*/ 1004912 w 1037297"/>
                <a:gd name="connsiteY123" fmla="*/ 422644 h 838042"/>
                <a:gd name="connsiteX124" fmla="*/ 1033487 w 1037297"/>
                <a:gd name="connsiteY124" fmla="*/ 415024 h 838042"/>
                <a:gd name="connsiteX125" fmla="*/ 1037297 w 1037297"/>
                <a:gd name="connsiteY125" fmla="*/ 409309 h 838042"/>
                <a:gd name="connsiteX126" fmla="*/ 1035392 w 1037297"/>
                <a:gd name="connsiteY126" fmla="*/ 390259 h 838042"/>
                <a:gd name="connsiteX127" fmla="*/ 1020514 w 1037297"/>
                <a:gd name="connsiteY127" fmla="*/ 377797 h 838042"/>
                <a:gd name="connsiteX128" fmla="*/ 964889 w 1037297"/>
                <a:gd name="connsiteY128" fmla="*/ 358029 h 838042"/>
                <a:gd name="connsiteX129" fmla="*/ 907856 w 1037297"/>
                <a:gd name="connsiteY129" fmla="*/ 350516 h 838042"/>
                <a:gd name="connsiteX130" fmla="*/ 827747 w 1037297"/>
                <a:gd name="connsiteY130" fmla="*/ 357874 h 838042"/>
                <a:gd name="connsiteX131" fmla="*/ 822032 w 1037297"/>
                <a:gd name="connsiteY131" fmla="*/ 359779 h 838042"/>
                <a:gd name="connsiteX132" fmla="*/ 732497 w 1037297"/>
                <a:gd name="connsiteY132" fmla="*/ 361684 h 838042"/>
                <a:gd name="connsiteX133" fmla="*/ 671537 w 1037297"/>
                <a:gd name="connsiteY133" fmla="*/ 369304 h 838042"/>
                <a:gd name="connsiteX134" fmla="*/ 648677 w 1037297"/>
                <a:gd name="connsiteY134" fmla="*/ 373114 h 838042"/>
                <a:gd name="connsiteX135" fmla="*/ 644867 w 1037297"/>
                <a:gd name="connsiteY135" fmla="*/ 361684 h 838042"/>
                <a:gd name="connsiteX136" fmla="*/ 642962 w 1037297"/>
                <a:gd name="connsiteY136" fmla="*/ 355969 h 838042"/>
                <a:gd name="connsiteX137" fmla="*/ 644867 w 1037297"/>
                <a:gd name="connsiteY137" fmla="*/ 338824 h 838042"/>
                <a:gd name="connsiteX138" fmla="*/ 646772 w 1037297"/>
                <a:gd name="connsiteY138" fmla="*/ 333109 h 838042"/>
                <a:gd name="connsiteX139" fmla="*/ 663917 w 1037297"/>
                <a:gd name="connsiteY139" fmla="*/ 323584 h 838042"/>
                <a:gd name="connsiteX140" fmla="*/ 675347 w 1037297"/>
                <a:gd name="connsiteY140" fmla="*/ 315964 h 838042"/>
                <a:gd name="connsiteX141" fmla="*/ 677252 w 1037297"/>
                <a:gd name="connsiteY141" fmla="*/ 310249 h 838042"/>
                <a:gd name="connsiteX142" fmla="*/ 682967 w 1037297"/>
                <a:gd name="connsiteY142" fmla="*/ 308344 h 838042"/>
                <a:gd name="connsiteX143" fmla="*/ 688682 w 1037297"/>
                <a:gd name="connsiteY143" fmla="*/ 304534 h 838042"/>
                <a:gd name="connsiteX144" fmla="*/ 698207 w 1037297"/>
                <a:gd name="connsiteY144" fmla="*/ 295009 h 838042"/>
                <a:gd name="connsiteX145" fmla="*/ 707732 w 1037297"/>
                <a:gd name="connsiteY145" fmla="*/ 283579 h 838042"/>
                <a:gd name="connsiteX146" fmla="*/ 719162 w 1037297"/>
                <a:gd name="connsiteY146" fmla="*/ 275959 h 838042"/>
                <a:gd name="connsiteX147" fmla="*/ 734402 w 1037297"/>
                <a:gd name="connsiteY147" fmla="*/ 262624 h 838042"/>
                <a:gd name="connsiteX148" fmla="*/ 743927 w 1037297"/>
                <a:gd name="connsiteY148" fmla="*/ 251194 h 838042"/>
                <a:gd name="connsiteX149" fmla="*/ 755357 w 1037297"/>
                <a:gd name="connsiteY149" fmla="*/ 241669 h 838042"/>
                <a:gd name="connsiteX150" fmla="*/ 761072 w 1037297"/>
                <a:gd name="connsiteY150" fmla="*/ 230239 h 838042"/>
                <a:gd name="connsiteX151" fmla="*/ 762977 w 1037297"/>
                <a:gd name="connsiteY151" fmla="*/ 224524 h 838042"/>
                <a:gd name="connsiteX152" fmla="*/ 768692 w 1037297"/>
                <a:gd name="connsiteY152" fmla="*/ 213094 h 838042"/>
                <a:gd name="connsiteX153" fmla="*/ 766787 w 1037297"/>
                <a:gd name="connsiteY153" fmla="*/ 197854 h 838042"/>
                <a:gd name="connsiteX154" fmla="*/ 761072 w 1037297"/>
                <a:gd name="connsiteY154" fmla="*/ 195949 h 838042"/>
                <a:gd name="connsiteX155" fmla="*/ 740117 w 1037297"/>
                <a:gd name="connsiteY155" fmla="*/ 197854 h 838042"/>
                <a:gd name="connsiteX156" fmla="*/ 734402 w 1037297"/>
                <a:gd name="connsiteY156" fmla="*/ 201664 h 838042"/>
                <a:gd name="connsiteX157" fmla="*/ 722972 w 1037297"/>
                <a:gd name="connsiteY157" fmla="*/ 205474 h 838042"/>
                <a:gd name="connsiteX158" fmla="*/ 719162 w 1037297"/>
                <a:gd name="connsiteY158" fmla="*/ 211189 h 838042"/>
                <a:gd name="connsiteX159" fmla="*/ 713447 w 1037297"/>
                <a:gd name="connsiteY159" fmla="*/ 213094 h 838042"/>
                <a:gd name="connsiteX160" fmla="*/ 707732 w 1037297"/>
                <a:gd name="connsiteY160" fmla="*/ 216904 h 838042"/>
                <a:gd name="connsiteX161" fmla="*/ 702017 w 1037297"/>
                <a:gd name="connsiteY161" fmla="*/ 222619 h 838042"/>
                <a:gd name="connsiteX162" fmla="*/ 694397 w 1037297"/>
                <a:gd name="connsiteY162" fmla="*/ 226429 h 838042"/>
                <a:gd name="connsiteX163" fmla="*/ 652487 w 1037297"/>
                <a:gd name="connsiteY163" fmla="*/ 255004 h 838042"/>
                <a:gd name="connsiteX164" fmla="*/ 639152 w 1037297"/>
                <a:gd name="connsiteY164" fmla="*/ 266434 h 838042"/>
                <a:gd name="connsiteX165" fmla="*/ 629627 w 1037297"/>
                <a:gd name="connsiteY165" fmla="*/ 283579 h 838042"/>
                <a:gd name="connsiteX166" fmla="*/ 604862 w 1037297"/>
                <a:gd name="connsiteY166" fmla="*/ 289294 h 838042"/>
                <a:gd name="connsiteX167" fmla="*/ 591527 w 1037297"/>
                <a:gd name="connsiteY167" fmla="*/ 293104 h 838042"/>
                <a:gd name="connsiteX168" fmla="*/ 576287 w 1037297"/>
                <a:gd name="connsiteY168" fmla="*/ 291199 h 838042"/>
                <a:gd name="connsiteX169" fmla="*/ 564857 w 1037297"/>
                <a:gd name="connsiteY169" fmla="*/ 287389 h 838042"/>
                <a:gd name="connsiteX170" fmla="*/ 553427 w 1037297"/>
                <a:gd name="connsiteY170" fmla="*/ 283579 h 838042"/>
                <a:gd name="connsiteX171" fmla="*/ 541997 w 1037297"/>
                <a:gd name="connsiteY171" fmla="*/ 279769 h 838042"/>
                <a:gd name="connsiteX172" fmla="*/ 536282 w 1037297"/>
                <a:gd name="connsiteY172" fmla="*/ 277864 h 838042"/>
                <a:gd name="connsiteX173" fmla="*/ 530567 w 1037297"/>
                <a:gd name="connsiteY173" fmla="*/ 274054 h 838042"/>
                <a:gd name="connsiteX174" fmla="*/ 519137 w 1037297"/>
                <a:gd name="connsiteY174" fmla="*/ 268339 h 838042"/>
                <a:gd name="connsiteX175" fmla="*/ 511517 w 1037297"/>
                <a:gd name="connsiteY175" fmla="*/ 256909 h 838042"/>
                <a:gd name="connsiteX176" fmla="*/ 507707 w 1037297"/>
                <a:gd name="connsiteY176" fmla="*/ 235954 h 838042"/>
                <a:gd name="connsiteX177" fmla="*/ 509612 w 1037297"/>
                <a:gd name="connsiteY177" fmla="*/ 171184 h 838042"/>
                <a:gd name="connsiteX178" fmla="*/ 508314 w 1037297"/>
                <a:gd name="connsiteY178" fmla="*/ 73485 h 838042"/>
                <a:gd name="connsiteX179" fmla="*/ 454116 w 1037297"/>
                <a:gd name="connsiteY179" fmla="*/ 11248 h 838042"/>
                <a:gd name="connsiteX180" fmla="*/ 435401 w 1037297"/>
                <a:gd name="connsiteY180" fmla="*/ 68523 h 838042"/>
                <a:gd name="connsiteX181" fmla="*/ 427697 w 1037297"/>
                <a:gd name="connsiteY181" fmla="*/ 137103 h 838042"/>
                <a:gd name="connsiteX182" fmla="*/ 420077 w 1037297"/>
                <a:gd name="connsiteY182" fmla="*/ 169279 h 838042"/>
                <a:gd name="connsiteX183" fmla="*/ 416267 w 1037297"/>
                <a:gd name="connsiteY183" fmla="*/ 186424 h 838042"/>
                <a:gd name="connsiteX184" fmla="*/ 420077 w 1037297"/>
                <a:gd name="connsiteY184" fmla="*/ 207379 h 838042"/>
                <a:gd name="connsiteX185" fmla="*/ 423887 w 1037297"/>
                <a:gd name="connsiteY185" fmla="*/ 213094 h 838042"/>
                <a:gd name="connsiteX186" fmla="*/ 427697 w 1037297"/>
                <a:gd name="connsiteY186" fmla="*/ 224524 h 838042"/>
                <a:gd name="connsiteX187" fmla="*/ 425792 w 1037297"/>
                <a:gd name="connsiteY187" fmla="*/ 251194 h 838042"/>
                <a:gd name="connsiteX188" fmla="*/ 420077 w 1037297"/>
                <a:gd name="connsiteY188" fmla="*/ 253099 h 838042"/>
                <a:gd name="connsiteX189" fmla="*/ 414362 w 1037297"/>
                <a:gd name="connsiteY189" fmla="*/ 256909 h 838042"/>
                <a:gd name="connsiteX190" fmla="*/ 423887 w 1037297"/>
                <a:gd name="connsiteY190" fmla="*/ 253099 h 838042"/>
                <a:gd name="connsiteX0" fmla="*/ 423887 w 1037297"/>
                <a:gd name="connsiteY0" fmla="*/ 253099 h 838042"/>
                <a:gd name="connsiteX1" fmla="*/ 423887 w 1037297"/>
                <a:gd name="connsiteY1" fmla="*/ 253099 h 838042"/>
                <a:gd name="connsiteX2" fmla="*/ 397217 w 1037297"/>
                <a:gd name="connsiteY2" fmla="*/ 262624 h 838042"/>
                <a:gd name="connsiteX3" fmla="*/ 389597 w 1037297"/>
                <a:gd name="connsiteY3" fmla="*/ 264529 h 838042"/>
                <a:gd name="connsiteX4" fmla="*/ 359117 w 1037297"/>
                <a:gd name="connsiteY4" fmla="*/ 266434 h 838042"/>
                <a:gd name="connsiteX5" fmla="*/ 353402 w 1037297"/>
                <a:gd name="connsiteY5" fmla="*/ 270244 h 838042"/>
                <a:gd name="connsiteX6" fmla="*/ 341972 w 1037297"/>
                <a:gd name="connsiteY6" fmla="*/ 279769 h 838042"/>
                <a:gd name="connsiteX7" fmla="*/ 330542 w 1037297"/>
                <a:gd name="connsiteY7" fmla="*/ 283579 h 838042"/>
                <a:gd name="connsiteX8" fmla="*/ 315302 w 1037297"/>
                <a:gd name="connsiteY8" fmla="*/ 289294 h 838042"/>
                <a:gd name="connsiteX9" fmla="*/ 267677 w 1037297"/>
                <a:gd name="connsiteY9" fmla="*/ 285484 h 838042"/>
                <a:gd name="connsiteX10" fmla="*/ 256247 w 1037297"/>
                <a:gd name="connsiteY10" fmla="*/ 281674 h 838042"/>
                <a:gd name="connsiteX11" fmla="*/ 244817 w 1037297"/>
                <a:gd name="connsiteY11" fmla="*/ 277864 h 838042"/>
                <a:gd name="connsiteX12" fmla="*/ 239102 w 1037297"/>
                <a:gd name="connsiteY12" fmla="*/ 275959 h 838042"/>
                <a:gd name="connsiteX13" fmla="*/ 233387 w 1037297"/>
                <a:gd name="connsiteY13" fmla="*/ 274054 h 838042"/>
                <a:gd name="connsiteX14" fmla="*/ 221957 w 1037297"/>
                <a:gd name="connsiteY14" fmla="*/ 272149 h 838042"/>
                <a:gd name="connsiteX15" fmla="*/ 216242 w 1037297"/>
                <a:gd name="connsiteY15" fmla="*/ 270244 h 838042"/>
                <a:gd name="connsiteX16" fmla="*/ 208622 w 1037297"/>
                <a:gd name="connsiteY16" fmla="*/ 268339 h 838042"/>
                <a:gd name="connsiteX17" fmla="*/ 197192 w 1037297"/>
                <a:gd name="connsiteY17" fmla="*/ 264529 h 838042"/>
                <a:gd name="connsiteX18" fmla="*/ 191477 w 1037297"/>
                <a:gd name="connsiteY18" fmla="*/ 262624 h 838042"/>
                <a:gd name="connsiteX19" fmla="*/ 183857 w 1037297"/>
                <a:gd name="connsiteY19" fmla="*/ 260719 h 838042"/>
                <a:gd name="connsiteX20" fmla="*/ 172427 w 1037297"/>
                <a:gd name="connsiteY20" fmla="*/ 255004 h 838042"/>
                <a:gd name="connsiteX21" fmla="*/ 166712 w 1037297"/>
                <a:gd name="connsiteY21" fmla="*/ 251194 h 838042"/>
                <a:gd name="connsiteX22" fmla="*/ 159092 w 1037297"/>
                <a:gd name="connsiteY22" fmla="*/ 239764 h 838042"/>
                <a:gd name="connsiteX23" fmla="*/ 147662 w 1037297"/>
                <a:gd name="connsiteY23" fmla="*/ 235954 h 838042"/>
                <a:gd name="connsiteX24" fmla="*/ 141947 w 1037297"/>
                <a:gd name="connsiteY24" fmla="*/ 232144 h 838042"/>
                <a:gd name="connsiteX25" fmla="*/ 136232 w 1037297"/>
                <a:gd name="connsiteY25" fmla="*/ 230239 h 838042"/>
                <a:gd name="connsiteX26" fmla="*/ 119087 w 1037297"/>
                <a:gd name="connsiteY26" fmla="*/ 226429 h 838042"/>
                <a:gd name="connsiteX27" fmla="*/ 113372 w 1037297"/>
                <a:gd name="connsiteY27" fmla="*/ 220714 h 838042"/>
                <a:gd name="connsiteX28" fmla="*/ 103847 w 1037297"/>
                <a:gd name="connsiteY28" fmla="*/ 203569 h 838042"/>
                <a:gd name="connsiteX29" fmla="*/ 86702 w 1037297"/>
                <a:gd name="connsiteY29" fmla="*/ 195949 h 838042"/>
                <a:gd name="connsiteX30" fmla="*/ 80987 w 1037297"/>
                <a:gd name="connsiteY30" fmla="*/ 194044 h 838042"/>
                <a:gd name="connsiteX31" fmla="*/ 61937 w 1037297"/>
                <a:gd name="connsiteY31" fmla="*/ 197854 h 838042"/>
                <a:gd name="connsiteX32" fmla="*/ 56222 w 1037297"/>
                <a:gd name="connsiteY32" fmla="*/ 201664 h 838042"/>
                <a:gd name="connsiteX33" fmla="*/ 52412 w 1037297"/>
                <a:gd name="connsiteY33" fmla="*/ 207379 h 838042"/>
                <a:gd name="connsiteX34" fmla="*/ 48602 w 1037297"/>
                <a:gd name="connsiteY34" fmla="*/ 218809 h 838042"/>
                <a:gd name="connsiteX35" fmla="*/ 52412 w 1037297"/>
                <a:gd name="connsiteY35" fmla="*/ 256909 h 838042"/>
                <a:gd name="connsiteX36" fmla="*/ 56222 w 1037297"/>
                <a:gd name="connsiteY36" fmla="*/ 262624 h 838042"/>
                <a:gd name="connsiteX37" fmla="*/ 61937 w 1037297"/>
                <a:gd name="connsiteY37" fmla="*/ 266434 h 838042"/>
                <a:gd name="connsiteX38" fmla="*/ 65747 w 1037297"/>
                <a:gd name="connsiteY38" fmla="*/ 272149 h 838042"/>
                <a:gd name="connsiteX39" fmla="*/ 82892 w 1037297"/>
                <a:gd name="connsiteY39" fmla="*/ 281674 h 838042"/>
                <a:gd name="connsiteX40" fmla="*/ 105752 w 1037297"/>
                <a:gd name="connsiteY40" fmla="*/ 283579 h 838042"/>
                <a:gd name="connsiteX41" fmla="*/ 126707 w 1037297"/>
                <a:gd name="connsiteY41" fmla="*/ 289294 h 838042"/>
                <a:gd name="connsiteX42" fmla="*/ 132422 w 1037297"/>
                <a:gd name="connsiteY42" fmla="*/ 291199 h 838042"/>
                <a:gd name="connsiteX43" fmla="*/ 138137 w 1037297"/>
                <a:gd name="connsiteY43" fmla="*/ 296914 h 838042"/>
                <a:gd name="connsiteX44" fmla="*/ 145757 w 1037297"/>
                <a:gd name="connsiteY44" fmla="*/ 298819 h 838042"/>
                <a:gd name="connsiteX45" fmla="*/ 168617 w 1037297"/>
                <a:gd name="connsiteY45" fmla="*/ 302629 h 838042"/>
                <a:gd name="connsiteX46" fmla="*/ 193382 w 1037297"/>
                <a:gd name="connsiteY46" fmla="*/ 308344 h 838042"/>
                <a:gd name="connsiteX47" fmla="*/ 210527 w 1037297"/>
                <a:gd name="connsiteY47" fmla="*/ 314059 h 838042"/>
                <a:gd name="connsiteX48" fmla="*/ 216242 w 1037297"/>
                <a:gd name="connsiteY48" fmla="*/ 315964 h 838042"/>
                <a:gd name="connsiteX49" fmla="*/ 231482 w 1037297"/>
                <a:gd name="connsiteY49" fmla="*/ 319774 h 838042"/>
                <a:gd name="connsiteX50" fmla="*/ 250532 w 1037297"/>
                <a:gd name="connsiteY50" fmla="*/ 325489 h 838042"/>
                <a:gd name="connsiteX51" fmla="*/ 256247 w 1037297"/>
                <a:gd name="connsiteY51" fmla="*/ 329299 h 838042"/>
                <a:gd name="connsiteX52" fmla="*/ 269582 w 1037297"/>
                <a:gd name="connsiteY52" fmla="*/ 344539 h 838042"/>
                <a:gd name="connsiteX53" fmla="*/ 275297 w 1037297"/>
                <a:gd name="connsiteY53" fmla="*/ 363589 h 838042"/>
                <a:gd name="connsiteX54" fmla="*/ 277202 w 1037297"/>
                <a:gd name="connsiteY54" fmla="*/ 369304 h 838042"/>
                <a:gd name="connsiteX55" fmla="*/ 279107 w 1037297"/>
                <a:gd name="connsiteY55" fmla="*/ 375019 h 838042"/>
                <a:gd name="connsiteX56" fmla="*/ 281012 w 1037297"/>
                <a:gd name="connsiteY56" fmla="*/ 399784 h 838042"/>
                <a:gd name="connsiteX57" fmla="*/ 282917 w 1037297"/>
                <a:gd name="connsiteY57" fmla="*/ 405499 h 838042"/>
                <a:gd name="connsiteX58" fmla="*/ 281012 w 1037297"/>
                <a:gd name="connsiteY58" fmla="*/ 424549 h 838042"/>
                <a:gd name="connsiteX59" fmla="*/ 279107 w 1037297"/>
                <a:gd name="connsiteY59" fmla="*/ 434074 h 838042"/>
                <a:gd name="connsiteX60" fmla="*/ 265772 w 1037297"/>
                <a:gd name="connsiteY60" fmla="*/ 447409 h 838042"/>
                <a:gd name="connsiteX61" fmla="*/ 254342 w 1037297"/>
                <a:gd name="connsiteY61" fmla="*/ 455029 h 838042"/>
                <a:gd name="connsiteX62" fmla="*/ 242912 w 1037297"/>
                <a:gd name="connsiteY62" fmla="*/ 458839 h 838042"/>
                <a:gd name="connsiteX63" fmla="*/ 128612 w 1037297"/>
                <a:gd name="connsiteY63" fmla="*/ 458839 h 838042"/>
                <a:gd name="connsiteX64" fmla="*/ 122897 w 1037297"/>
                <a:gd name="connsiteY64" fmla="*/ 460744 h 838042"/>
                <a:gd name="connsiteX65" fmla="*/ 107657 w 1037297"/>
                <a:gd name="connsiteY65" fmla="*/ 462649 h 838042"/>
                <a:gd name="connsiteX66" fmla="*/ 90512 w 1037297"/>
                <a:gd name="connsiteY66" fmla="*/ 468364 h 838042"/>
                <a:gd name="connsiteX67" fmla="*/ 84797 w 1037297"/>
                <a:gd name="connsiteY67" fmla="*/ 470269 h 838042"/>
                <a:gd name="connsiteX68" fmla="*/ 79082 w 1037297"/>
                <a:gd name="connsiteY68" fmla="*/ 474079 h 838042"/>
                <a:gd name="connsiteX69" fmla="*/ 67652 w 1037297"/>
                <a:gd name="connsiteY69" fmla="*/ 475984 h 838042"/>
                <a:gd name="connsiteX70" fmla="*/ 29552 w 1037297"/>
                <a:gd name="connsiteY70" fmla="*/ 477889 h 838042"/>
                <a:gd name="connsiteX71" fmla="*/ 18122 w 1037297"/>
                <a:gd name="connsiteY71" fmla="*/ 483604 h 838042"/>
                <a:gd name="connsiteX72" fmla="*/ 8597 w 1037297"/>
                <a:gd name="connsiteY72" fmla="*/ 493129 h 838042"/>
                <a:gd name="connsiteX73" fmla="*/ 6692 w 1037297"/>
                <a:gd name="connsiteY73" fmla="*/ 498844 h 838042"/>
                <a:gd name="connsiteX74" fmla="*/ 2882 w 1037297"/>
                <a:gd name="connsiteY74" fmla="*/ 504559 h 838042"/>
                <a:gd name="connsiteX75" fmla="*/ 14312 w 1037297"/>
                <a:gd name="connsiteY75" fmla="*/ 540754 h 838042"/>
                <a:gd name="connsiteX76" fmla="*/ 147662 w 1037297"/>
                <a:gd name="connsiteY76" fmla="*/ 540754 h 838042"/>
                <a:gd name="connsiteX77" fmla="*/ 155282 w 1037297"/>
                <a:gd name="connsiteY77" fmla="*/ 538849 h 838042"/>
                <a:gd name="connsiteX78" fmla="*/ 305777 w 1037297"/>
                <a:gd name="connsiteY78" fmla="*/ 533134 h 838042"/>
                <a:gd name="connsiteX79" fmla="*/ 321017 w 1037297"/>
                <a:gd name="connsiteY79" fmla="*/ 540754 h 838042"/>
                <a:gd name="connsiteX80" fmla="*/ 332447 w 1037297"/>
                <a:gd name="connsiteY80" fmla="*/ 546469 h 838042"/>
                <a:gd name="connsiteX81" fmla="*/ 336257 w 1037297"/>
                <a:gd name="connsiteY81" fmla="*/ 552184 h 838042"/>
                <a:gd name="connsiteX82" fmla="*/ 341972 w 1037297"/>
                <a:gd name="connsiteY82" fmla="*/ 554089 h 838042"/>
                <a:gd name="connsiteX83" fmla="*/ 353402 w 1037297"/>
                <a:gd name="connsiteY83" fmla="*/ 561709 h 838042"/>
                <a:gd name="connsiteX84" fmla="*/ 359117 w 1037297"/>
                <a:gd name="connsiteY84" fmla="*/ 565519 h 838042"/>
                <a:gd name="connsiteX85" fmla="*/ 362927 w 1037297"/>
                <a:gd name="connsiteY85" fmla="*/ 571234 h 838042"/>
                <a:gd name="connsiteX86" fmla="*/ 368642 w 1037297"/>
                <a:gd name="connsiteY86" fmla="*/ 582664 h 838042"/>
                <a:gd name="connsiteX87" fmla="*/ 364832 w 1037297"/>
                <a:gd name="connsiteY87" fmla="*/ 609334 h 838042"/>
                <a:gd name="connsiteX88" fmla="*/ 361022 w 1037297"/>
                <a:gd name="connsiteY88" fmla="*/ 615049 h 838042"/>
                <a:gd name="connsiteX89" fmla="*/ 359117 w 1037297"/>
                <a:gd name="connsiteY89" fmla="*/ 620764 h 838042"/>
                <a:gd name="connsiteX90" fmla="*/ 355307 w 1037297"/>
                <a:gd name="connsiteY90" fmla="*/ 626479 h 838042"/>
                <a:gd name="connsiteX91" fmla="*/ 353402 w 1037297"/>
                <a:gd name="connsiteY91" fmla="*/ 632194 h 838042"/>
                <a:gd name="connsiteX92" fmla="*/ 349592 w 1037297"/>
                <a:gd name="connsiteY92" fmla="*/ 637909 h 838042"/>
                <a:gd name="connsiteX93" fmla="*/ 332447 w 1037297"/>
                <a:gd name="connsiteY93" fmla="*/ 704584 h 838042"/>
                <a:gd name="connsiteX94" fmla="*/ 330542 w 1037297"/>
                <a:gd name="connsiteY94" fmla="*/ 756019 h 838042"/>
                <a:gd name="connsiteX95" fmla="*/ 332447 w 1037297"/>
                <a:gd name="connsiteY95" fmla="*/ 780784 h 838042"/>
                <a:gd name="connsiteX96" fmla="*/ 334352 w 1037297"/>
                <a:gd name="connsiteY96" fmla="*/ 786499 h 838042"/>
                <a:gd name="connsiteX97" fmla="*/ 338162 w 1037297"/>
                <a:gd name="connsiteY97" fmla="*/ 790309 h 838042"/>
                <a:gd name="connsiteX98" fmla="*/ 366737 w 1037297"/>
                <a:gd name="connsiteY98" fmla="*/ 836029 h 838042"/>
                <a:gd name="connsiteX99" fmla="*/ 389597 w 1037297"/>
                <a:gd name="connsiteY99" fmla="*/ 837934 h 838042"/>
                <a:gd name="connsiteX100" fmla="*/ 397407 w 1037297"/>
                <a:gd name="connsiteY100" fmla="*/ 833530 h 838042"/>
                <a:gd name="connsiteX101" fmla="*/ 402932 w 1037297"/>
                <a:gd name="connsiteY101" fmla="*/ 784594 h 838042"/>
                <a:gd name="connsiteX102" fmla="*/ 406742 w 1037297"/>
                <a:gd name="connsiteY102" fmla="*/ 727444 h 838042"/>
                <a:gd name="connsiteX103" fmla="*/ 423887 w 1037297"/>
                <a:gd name="connsiteY103" fmla="*/ 672199 h 838042"/>
                <a:gd name="connsiteX104" fmla="*/ 429602 w 1037297"/>
                <a:gd name="connsiteY104" fmla="*/ 658864 h 838042"/>
                <a:gd name="connsiteX105" fmla="*/ 444084 w 1037297"/>
                <a:gd name="connsiteY105" fmla="*/ 626947 h 838042"/>
                <a:gd name="connsiteX106" fmla="*/ 464289 w 1037297"/>
                <a:gd name="connsiteY106" fmla="*/ 600072 h 838042"/>
                <a:gd name="connsiteX107" fmla="*/ 523510 w 1037297"/>
                <a:gd name="connsiteY107" fmla="*/ 565123 h 838042"/>
                <a:gd name="connsiteX108" fmla="*/ 599348 w 1037297"/>
                <a:gd name="connsiteY108" fmla="*/ 550915 h 838042"/>
                <a:gd name="connsiteX109" fmla="*/ 707801 w 1037297"/>
                <a:gd name="connsiteY109" fmla="*/ 612819 h 838042"/>
                <a:gd name="connsiteX110" fmla="*/ 780122 w 1037297"/>
                <a:gd name="connsiteY110" fmla="*/ 656959 h 838042"/>
                <a:gd name="connsiteX111" fmla="*/ 804887 w 1037297"/>
                <a:gd name="connsiteY111" fmla="*/ 632194 h 838042"/>
                <a:gd name="connsiteX112" fmla="*/ 801077 w 1037297"/>
                <a:gd name="connsiteY112" fmla="*/ 601714 h 838042"/>
                <a:gd name="connsiteX113" fmla="*/ 762796 w 1037297"/>
                <a:gd name="connsiteY113" fmla="*/ 562523 h 838042"/>
                <a:gd name="connsiteX114" fmla="*/ 650582 w 1037297"/>
                <a:gd name="connsiteY114" fmla="*/ 479794 h 838042"/>
                <a:gd name="connsiteX115" fmla="*/ 646772 w 1037297"/>
                <a:gd name="connsiteY115" fmla="*/ 462649 h 838042"/>
                <a:gd name="connsiteX116" fmla="*/ 658202 w 1037297"/>
                <a:gd name="connsiteY116" fmla="*/ 426454 h 838042"/>
                <a:gd name="connsiteX117" fmla="*/ 726782 w 1037297"/>
                <a:gd name="connsiteY117" fmla="*/ 405499 h 838042"/>
                <a:gd name="connsiteX118" fmla="*/ 844892 w 1037297"/>
                <a:gd name="connsiteY118" fmla="*/ 407404 h 838042"/>
                <a:gd name="connsiteX119" fmla="*/ 873467 w 1037297"/>
                <a:gd name="connsiteY119" fmla="*/ 409309 h 838042"/>
                <a:gd name="connsiteX120" fmla="*/ 902042 w 1037297"/>
                <a:gd name="connsiteY120" fmla="*/ 415024 h 838042"/>
                <a:gd name="connsiteX121" fmla="*/ 953477 w 1037297"/>
                <a:gd name="connsiteY121" fmla="*/ 424549 h 838042"/>
                <a:gd name="connsiteX122" fmla="*/ 1004912 w 1037297"/>
                <a:gd name="connsiteY122" fmla="*/ 422644 h 838042"/>
                <a:gd name="connsiteX123" fmla="*/ 1033487 w 1037297"/>
                <a:gd name="connsiteY123" fmla="*/ 415024 h 838042"/>
                <a:gd name="connsiteX124" fmla="*/ 1037297 w 1037297"/>
                <a:gd name="connsiteY124" fmla="*/ 409309 h 838042"/>
                <a:gd name="connsiteX125" fmla="*/ 1035392 w 1037297"/>
                <a:gd name="connsiteY125" fmla="*/ 390259 h 838042"/>
                <a:gd name="connsiteX126" fmla="*/ 1020514 w 1037297"/>
                <a:gd name="connsiteY126" fmla="*/ 377797 h 838042"/>
                <a:gd name="connsiteX127" fmla="*/ 964889 w 1037297"/>
                <a:gd name="connsiteY127" fmla="*/ 358029 h 838042"/>
                <a:gd name="connsiteX128" fmla="*/ 907856 w 1037297"/>
                <a:gd name="connsiteY128" fmla="*/ 350516 h 838042"/>
                <a:gd name="connsiteX129" fmla="*/ 827747 w 1037297"/>
                <a:gd name="connsiteY129" fmla="*/ 357874 h 838042"/>
                <a:gd name="connsiteX130" fmla="*/ 822032 w 1037297"/>
                <a:gd name="connsiteY130" fmla="*/ 359779 h 838042"/>
                <a:gd name="connsiteX131" fmla="*/ 732497 w 1037297"/>
                <a:gd name="connsiteY131" fmla="*/ 361684 h 838042"/>
                <a:gd name="connsiteX132" fmla="*/ 671537 w 1037297"/>
                <a:gd name="connsiteY132" fmla="*/ 369304 h 838042"/>
                <a:gd name="connsiteX133" fmla="*/ 648677 w 1037297"/>
                <a:gd name="connsiteY133" fmla="*/ 373114 h 838042"/>
                <a:gd name="connsiteX134" fmla="*/ 644867 w 1037297"/>
                <a:gd name="connsiteY134" fmla="*/ 361684 h 838042"/>
                <a:gd name="connsiteX135" fmla="*/ 642962 w 1037297"/>
                <a:gd name="connsiteY135" fmla="*/ 355969 h 838042"/>
                <a:gd name="connsiteX136" fmla="*/ 644867 w 1037297"/>
                <a:gd name="connsiteY136" fmla="*/ 338824 h 838042"/>
                <a:gd name="connsiteX137" fmla="*/ 646772 w 1037297"/>
                <a:gd name="connsiteY137" fmla="*/ 333109 h 838042"/>
                <a:gd name="connsiteX138" fmla="*/ 663917 w 1037297"/>
                <a:gd name="connsiteY138" fmla="*/ 323584 h 838042"/>
                <a:gd name="connsiteX139" fmla="*/ 675347 w 1037297"/>
                <a:gd name="connsiteY139" fmla="*/ 315964 h 838042"/>
                <a:gd name="connsiteX140" fmla="*/ 677252 w 1037297"/>
                <a:gd name="connsiteY140" fmla="*/ 310249 h 838042"/>
                <a:gd name="connsiteX141" fmla="*/ 682967 w 1037297"/>
                <a:gd name="connsiteY141" fmla="*/ 308344 h 838042"/>
                <a:gd name="connsiteX142" fmla="*/ 688682 w 1037297"/>
                <a:gd name="connsiteY142" fmla="*/ 304534 h 838042"/>
                <a:gd name="connsiteX143" fmla="*/ 698207 w 1037297"/>
                <a:gd name="connsiteY143" fmla="*/ 295009 h 838042"/>
                <a:gd name="connsiteX144" fmla="*/ 707732 w 1037297"/>
                <a:gd name="connsiteY144" fmla="*/ 283579 h 838042"/>
                <a:gd name="connsiteX145" fmla="*/ 719162 w 1037297"/>
                <a:gd name="connsiteY145" fmla="*/ 275959 h 838042"/>
                <a:gd name="connsiteX146" fmla="*/ 734402 w 1037297"/>
                <a:gd name="connsiteY146" fmla="*/ 262624 h 838042"/>
                <a:gd name="connsiteX147" fmla="*/ 743927 w 1037297"/>
                <a:gd name="connsiteY147" fmla="*/ 251194 h 838042"/>
                <a:gd name="connsiteX148" fmla="*/ 755357 w 1037297"/>
                <a:gd name="connsiteY148" fmla="*/ 241669 h 838042"/>
                <a:gd name="connsiteX149" fmla="*/ 761072 w 1037297"/>
                <a:gd name="connsiteY149" fmla="*/ 230239 h 838042"/>
                <a:gd name="connsiteX150" fmla="*/ 762977 w 1037297"/>
                <a:gd name="connsiteY150" fmla="*/ 224524 h 838042"/>
                <a:gd name="connsiteX151" fmla="*/ 768692 w 1037297"/>
                <a:gd name="connsiteY151" fmla="*/ 213094 h 838042"/>
                <a:gd name="connsiteX152" fmla="*/ 766787 w 1037297"/>
                <a:gd name="connsiteY152" fmla="*/ 197854 h 838042"/>
                <a:gd name="connsiteX153" fmla="*/ 761072 w 1037297"/>
                <a:gd name="connsiteY153" fmla="*/ 195949 h 838042"/>
                <a:gd name="connsiteX154" fmla="*/ 740117 w 1037297"/>
                <a:gd name="connsiteY154" fmla="*/ 197854 h 838042"/>
                <a:gd name="connsiteX155" fmla="*/ 734402 w 1037297"/>
                <a:gd name="connsiteY155" fmla="*/ 201664 h 838042"/>
                <a:gd name="connsiteX156" fmla="*/ 722972 w 1037297"/>
                <a:gd name="connsiteY156" fmla="*/ 205474 h 838042"/>
                <a:gd name="connsiteX157" fmla="*/ 719162 w 1037297"/>
                <a:gd name="connsiteY157" fmla="*/ 211189 h 838042"/>
                <a:gd name="connsiteX158" fmla="*/ 713447 w 1037297"/>
                <a:gd name="connsiteY158" fmla="*/ 213094 h 838042"/>
                <a:gd name="connsiteX159" fmla="*/ 707732 w 1037297"/>
                <a:gd name="connsiteY159" fmla="*/ 216904 h 838042"/>
                <a:gd name="connsiteX160" fmla="*/ 702017 w 1037297"/>
                <a:gd name="connsiteY160" fmla="*/ 222619 h 838042"/>
                <a:gd name="connsiteX161" fmla="*/ 694397 w 1037297"/>
                <a:gd name="connsiteY161" fmla="*/ 226429 h 838042"/>
                <a:gd name="connsiteX162" fmla="*/ 652487 w 1037297"/>
                <a:gd name="connsiteY162" fmla="*/ 255004 h 838042"/>
                <a:gd name="connsiteX163" fmla="*/ 639152 w 1037297"/>
                <a:gd name="connsiteY163" fmla="*/ 266434 h 838042"/>
                <a:gd name="connsiteX164" fmla="*/ 629627 w 1037297"/>
                <a:gd name="connsiteY164" fmla="*/ 283579 h 838042"/>
                <a:gd name="connsiteX165" fmla="*/ 604862 w 1037297"/>
                <a:gd name="connsiteY165" fmla="*/ 289294 h 838042"/>
                <a:gd name="connsiteX166" fmla="*/ 591527 w 1037297"/>
                <a:gd name="connsiteY166" fmla="*/ 293104 h 838042"/>
                <a:gd name="connsiteX167" fmla="*/ 576287 w 1037297"/>
                <a:gd name="connsiteY167" fmla="*/ 291199 h 838042"/>
                <a:gd name="connsiteX168" fmla="*/ 564857 w 1037297"/>
                <a:gd name="connsiteY168" fmla="*/ 287389 h 838042"/>
                <a:gd name="connsiteX169" fmla="*/ 553427 w 1037297"/>
                <a:gd name="connsiteY169" fmla="*/ 283579 h 838042"/>
                <a:gd name="connsiteX170" fmla="*/ 541997 w 1037297"/>
                <a:gd name="connsiteY170" fmla="*/ 279769 h 838042"/>
                <a:gd name="connsiteX171" fmla="*/ 536282 w 1037297"/>
                <a:gd name="connsiteY171" fmla="*/ 277864 h 838042"/>
                <a:gd name="connsiteX172" fmla="*/ 530567 w 1037297"/>
                <a:gd name="connsiteY172" fmla="*/ 274054 h 838042"/>
                <a:gd name="connsiteX173" fmla="*/ 519137 w 1037297"/>
                <a:gd name="connsiteY173" fmla="*/ 268339 h 838042"/>
                <a:gd name="connsiteX174" fmla="*/ 511517 w 1037297"/>
                <a:gd name="connsiteY174" fmla="*/ 256909 h 838042"/>
                <a:gd name="connsiteX175" fmla="*/ 507707 w 1037297"/>
                <a:gd name="connsiteY175" fmla="*/ 235954 h 838042"/>
                <a:gd name="connsiteX176" fmla="*/ 509612 w 1037297"/>
                <a:gd name="connsiteY176" fmla="*/ 171184 h 838042"/>
                <a:gd name="connsiteX177" fmla="*/ 508314 w 1037297"/>
                <a:gd name="connsiteY177" fmla="*/ 73485 h 838042"/>
                <a:gd name="connsiteX178" fmla="*/ 454116 w 1037297"/>
                <a:gd name="connsiteY178" fmla="*/ 11248 h 838042"/>
                <a:gd name="connsiteX179" fmla="*/ 435401 w 1037297"/>
                <a:gd name="connsiteY179" fmla="*/ 68523 h 838042"/>
                <a:gd name="connsiteX180" fmla="*/ 427697 w 1037297"/>
                <a:gd name="connsiteY180" fmla="*/ 137103 h 838042"/>
                <a:gd name="connsiteX181" fmla="*/ 420077 w 1037297"/>
                <a:gd name="connsiteY181" fmla="*/ 169279 h 838042"/>
                <a:gd name="connsiteX182" fmla="*/ 416267 w 1037297"/>
                <a:gd name="connsiteY182" fmla="*/ 186424 h 838042"/>
                <a:gd name="connsiteX183" fmla="*/ 420077 w 1037297"/>
                <a:gd name="connsiteY183" fmla="*/ 207379 h 838042"/>
                <a:gd name="connsiteX184" fmla="*/ 423887 w 1037297"/>
                <a:gd name="connsiteY184" fmla="*/ 213094 h 838042"/>
                <a:gd name="connsiteX185" fmla="*/ 427697 w 1037297"/>
                <a:gd name="connsiteY185" fmla="*/ 224524 h 838042"/>
                <a:gd name="connsiteX186" fmla="*/ 425792 w 1037297"/>
                <a:gd name="connsiteY186" fmla="*/ 251194 h 838042"/>
                <a:gd name="connsiteX187" fmla="*/ 420077 w 1037297"/>
                <a:gd name="connsiteY187" fmla="*/ 253099 h 838042"/>
                <a:gd name="connsiteX188" fmla="*/ 414362 w 1037297"/>
                <a:gd name="connsiteY188" fmla="*/ 256909 h 838042"/>
                <a:gd name="connsiteX189" fmla="*/ 423887 w 1037297"/>
                <a:gd name="connsiteY189" fmla="*/ 253099 h 838042"/>
                <a:gd name="connsiteX0" fmla="*/ 423887 w 1037165"/>
                <a:gd name="connsiteY0" fmla="*/ 253099 h 838042"/>
                <a:gd name="connsiteX1" fmla="*/ 423887 w 1037165"/>
                <a:gd name="connsiteY1" fmla="*/ 253099 h 838042"/>
                <a:gd name="connsiteX2" fmla="*/ 397217 w 1037165"/>
                <a:gd name="connsiteY2" fmla="*/ 262624 h 838042"/>
                <a:gd name="connsiteX3" fmla="*/ 389597 w 1037165"/>
                <a:gd name="connsiteY3" fmla="*/ 264529 h 838042"/>
                <a:gd name="connsiteX4" fmla="*/ 359117 w 1037165"/>
                <a:gd name="connsiteY4" fmla="*/ 266434 h 838042"/>
                <a:gd name="connsiteX5" fmla="*/ 353402 w 1037165"/>
                <a:gd name="connsiteY5" fmla="*/ 270244 h 838042"/>
                <a:gd name="connsiteX6" fmla="*/ 341972 w 1037165"/>
                <a:gd name="connsiteY6" fmla="*/ 279769 h 838042"/>
                <a:gd name="connsiteX7" fmla="*/ 330542 w 1037165"/>
                <a:gd name="connsiteY7" fmla="*/ 283579 h 838042"/>
                <a:gd name="connsiteX8" fmla="*/ 315302 w 1037165"/>
                <a:gd name="connsiteY8" fmla="*/ 289294 h 838042"/>
                <a:gd name="connsiteX9" fmla="*/ 267677 w 1037165"/>
                <a:gd name="connsiteY9" fmla="*/ 285484 h 838042"/>
                <a:gd name="connsiteX10" fmla="*/ 256247 w 1037165"/>
                <a:gd name="connsiteY10" fmla="*/ 281674 h 838042"/>
                <a:gd name="connsiteX11" fmla="*/ 244817 w 1037165"/>
                <a:gd name="connsiteY11" fmla="*/ 277864 h 838042"/>
                <a:gd name="connsiteX12" fmla="*/ 239102 w 1037165"/>
                <a:gd name="connsiteY12" fmla="*/ 275959 h 838042"/>
                <a:gd name="connsiteX13" fmla="*/ 233387 w 1037165"/>
                <a:gd name="connsiteY13" fmla="*/ 274054 h 838042"/>
                <a:gd name="connsiteX14" fmla="*/ 221957 w 1037165"/>
                <a:gd name="connsiteY14" fmla="*/ 272149 h 838042"/>
                <a:gd name="connsiteX15" fmla="*/ 216242 w 1037165"/>
                <a:gd name="connsiteY15" fmla="*/ 270244 h 838042"/>
                <a:gd name="connsiteX16" fmla="*/ 208622 w 1037165"/>
                <a:gd name="connsiteY16" fmla="*/ 268339 h 838042"/>
                <a:gd name="connsiteX17" fmla="*/ 197192 w 1037165"/>
                <a:gd name="connsiteY17" fmla="*/ 264529 h 838042"/>
                <a:gd name="connsiteX18" fmla="*/ 191477 w 1037165"/>
                <a:gd name="connsiteY18" fmla="*/ 262624 h 838042"/>
                <a:gd name="connsiteX19" fmla="*/ 183857 w 1037165"/>
                <a:gd name="connsiteY19" fmla="*/ 260719 h 838042"/>
                <a:gd name="connsiteX20" fmla="*/ 172427 w 1037165"/>
                <a:gd name="connsiteY20" fmla="*/ 255004 h 838042"/>
                <a:gd name="connsiteX21" fmla="*/ 166712 w 1037165"/>
                <a:gd name="connsiteY21" fmla="*/ 251194 h 838042"/>
                <a:gd name="connsiteX22" fmla="*/ 159092 w 1037165"/>
                <a:gd name="connsiteY22" fmla="*/ 239764 h 838042"/>
                <a:gd name="connsiteX23" fmla="*/ 147662 w 1037165"/>
                <a:gd name="connsiteY23" fmla="*/ 235954 h 838042"/>
                <a:gd name="connsiteX24" fmla="*/ 141947 w 1037165"/>
                <a:gd name="connsiteY24" fmla="*/ 232144 h 838042"/>
                <a:gd name="connsiteX25" fmla="*/ 136232 w 1037165"/>
                <a:gd name="connsiteY25" fmla="*/ 230239 h 838042"/>
                <a:gd name="connsiteX26" fmla="*/ 119087 w 1037165"/>
                <a:gd name="connsiteY26" fmla="*/ 226429 h 838042"/>
                <a:gd name="connsiteX27" fmla="*/ 113372 w 1037165"/>
                <a:gd name="connsiteY27" fmla="*/ 220714 h 838042"/>
                <a:gd name="connsiteX28" fmla="*/ 103847 w 1037165"/>
                <a:gd name="connsiteY28" fmla="*/ 203569 h 838042"/>
                <a:gd name="connsiteX29" fmla="*/ 86702 w 1037165"/>
                <a:gd name="connsiteY29" fmla="*/ 195949 h 838042"/>
                <a:gd name="connsiteX30" fmla="*/ 80987 w 1037165"/>
                <a:gd name="connsiteY30" fmla="*/ 194044 h 838042"/>
                <a:gd name="connsiteX31" fmla="*/ 61937 w 1037165"/>
                <a:gd name="connsiteY31" fmla="*/ 197854 h 838042"/>
                <a:gd name="connsiteX32" fmla="*/ 56222 w 1037165"/>
                <a:gd name="connsiteY32" fmla="*/ 201664 h 838042"/>
                <a:gd name="connsiteX33" fmla="*/ 52412 w 1037165"/>
                <a:gd name="connsiteY33" fmla="*/ 207379 h 838042"/>
                <a:gd name="connsiteX34" fmla="*/ 48602 w 1037165"/>
                <a:gd name="connsiteY34" fmla="*/ 218809 h 838042"/>
                <a:gd name="connsiteX35" fmla="*/ 52412 w 1037165"/>
                <a:gd name="connsiteY35" fmla="*/ 256909 h 838042"/>
                <a:gd name="connsiteX36" fmla="*/ 56222 w 1037165"/>
                <a:gd name="connsiteY36" fmla="*/ 262624 h 838042"/>
                <a:gd name="connsiteX37" fmla="*/ 61937 w 1037165"/>
                <a:gd name="connsiteY37" fmla="*/ 266434 h 838042"/>
                <a:gd name="connsiteX38" fmla="*/ 65747 w 1037165"/>
                <a:gd name="connsiteY38" fmla="*/ 272149 h 838042"/>
                <a:gd name="connsiteX39" fmla="*/ 82892 w 1037165"/>
                <a:gd name="connsiteY39" fmla="*/ 281674 h 838042"/>
                <a:gd name="connsiteX40" fmla="*/ 105752 w 1037165"/>
                <a:gd name="connsiteY40" fmla="*/ 283579 h 838042"/>
                <a:gd name="connsiteX41" fmla="*/ 126707 w 1037165"/>
                <a:gd name="connsiteY41" fmla="*/ 289294 h 838042"/>
                <a:gd name="connsiteX42" fmla="*/ 132422 w 1037165"/>
                <a:gd name="connsiteY42" fmla="*/ 291199 h 838042"/>
                <a:gd name="connsiteX43" fmla="*/ 138137 w 1037165"/>
                <a:gd name="connsiteY43" fmla="*/ 296914 h 838042"/>
                <a:gd name="connsiteX44" fmla="*/ 145757 w 1037165"/>
                <a:gd name="connsiteY44" fmla="*/ 298819 h 838042"/>
                <a:gd name="connsiteX45" fmla="*/ 168617 w 1037165"/>
                <a:gd name="connsiteY45" fmla="*/ 302629 h 838042"/>
                <a:gd name="connsiteX46" fmla="*/ 193382 w 1037165"/>
                <a:gd name="connsiteY46" fmla="*/ 308344 h 838042"/>
                <a:gd name="connsiteX47" fmla="*/ 210527 w 1037165"/>
                <a:gd name="connsiteY47" fmla="*/ 314059 h 838042"/>
                <a:gd name="connsiteX48" fmla="*/ 216242 w 1037165"/>
                <a:gd name="connsiteY48" fmla="*/ 315964 h 838042"/>
                <a:gd name="connsiteX49" fmla="*/ 231482 w 1037165"/>
                <a:gd name="connsiteY49" fmla="*/ 319774 h 838042"/>
                <a:gd name="connsiteX50" fmla="*/ 250532 w 1037165"/>
                <a:gd name="connsiteY50" fmla="*/ 325489 h 838042"/>
                <a:gd name="connsiteX51" fmla="*/ 256247 w 1037165"/>
                <a:gd name="connsiteY51" fmla="*/ 329299 h 838042"/>
                <a:gd name="connsiteX52" fmla="*/ 269582 w 1037165"/>
                <a:gd name="connsiteY52" fmla="*/ 344539 h 838042"/>
                <a:gd name="connsiteX53" fmla="*/ 275297 w 1037165"/>
                <a:gd name="connsiteY53" fmla="*/ 363589 h 838042"/>
                <a:gd name="connsiteX54" fmla="*/ 277202 w 1037165"/>
                <a:gd name="connsiteY54" fmla="*/ 369304 h 838042"/>
                <a:gd name="connsiteX55" fmla="*/ 279107 w 1037165"/>
                <a:gd name="connsiteY55" fmla="*/ 375019 h 838042"/>
                <a:gd name="connsiteX56" fmla="*/ 281012 w 1037165"/>
                <a:gd name="connsiteY56" fmla="*/ 399784 h 838042"/>
                <a:gd name="connsiteX57" fmla="*/ 282917 w 1037165"/>
                <a:gd name="connsiteY57" fmla="*/ 405499 h 838042"/>
                <a:gd name="connsiteX58" fmla="*/ 281012 w 1037165"/>
                <a:gd name="connsiteY58" fmla="*/ 424549 h 838042"/>
                <a:gd name="connsiteX59" fmla="*/ 279107 w 1037165"/>
                <a:gd name="connsiteY59" fmla="*/ 434074 h 838042"/>
                <a:gd name="connsiteX60" fmla="*/ 265772 w 1037165"/>
                <a:gd name="connsiteY60" fmla="*/ 447409 h 838042"/>
                <a:gd name="connsiteX61" fmla="*/ 254342 w 1037165"/>
                <a:gd name="connsiteY61" fmla="*/ 455029 h 838042"/>
                <a:gd name="connsiteX62" fmla="*/ 242912 w 1037165"/>
                <a:gd name="connsiteY62" fmla="*/ 458839 h 838042"/>
                <a:gd name="connsiteX63" fmla="*/ 128612 w 1037165"/>
                <a:gd name="connsiteY63" fmla="*/ 458839 h 838042"/>
                <a:gd name="connsiteX64" fmla="*/ 122897 w 1037165"/>
                <a:gd name="connsiteY64" fmla="*/ 460744 h 838042"/>
                <a:gd name="connsiteX65" fmla="*/ 107657 w 1037165"/>
                <a:gd name="connsiteY65" fmla="*/ 462649 h 838042"/>
                <a:gd name="connsiteX66" fmla="*/ 90512 w 1037165"/>
                <a:gd name="connsiteY66" fmla="*/ 468364 h 838042"/>
                <a:gd name="connsiteX67" fmla="*/ 84797 w 1037165"/>
                <a:gd name="connsiteY67" fmla="*/ 470269 h 838042"/>
                <a:gd name="connsiteX68" fmla="*/ 79082 w 1037165"/>
                <a:gd name="connsiteY68" fmla="*/ 474079 h 838042"/>
                <a:gd name="connsiteX69" fmla="*/ 67652 w 1037165"/>
                <a:gd name="connsiteY69" fmla="*/ 475984 h 838042"/>
                <a:gd name="connsiteX70" fmla="*/ 29552 w 1037165"/>
                <a:gd name="connsiteY70" fmla="*/ 477889 h 838042"/>
                <a:gd name="connsiteX71" fmla="*/ 18122 w 1037165"/>
                <a:gd name="connsiteY71" fmla="*/ 483604 h 838042"/>
                <a:gd name="connsiteX72" fmla="*/ 8597 w 1037165"/>
                <a:gd name="connsiteY72" fmla="*/ 493129 h 838042"/>
                <a:gd name="connsiteX73" fmla="*/ 6692 w 1037165"/>
                <a:gd name="connsiteY73" fmla="*/ 498844 h 838042"/>
                <a:gd name="connsiteX74" fmla="*/ 2882 w 1037165"/>
                <a:gd name="connsiteY74" fmla="*/ 504559 h 838042"/>
                <a:gd name="connsiteX75" fmla="*/ 14312 w 1037165"/>
                <a:gd name="connsiteY75" fmla="*/ 540754 h 838042"/>
                <a:gd name="connsiteX76" fmla="*/ 147662 w 1037165"/>
                <a:gd name="connsiteY76" fmla="*/ 540754 h 838042"/>
                <a:gd name="connsiteX77" fmla="*/ 155282 w 1037165"/>
                <a:gd name="connsiteY77" fmla="*/ 538849 h 838042"/>
                <a:gd name="connsiteX78" fmla="*/ 305777 w 1037165"/>
                <a:gd name="connsiteY78" fmla="*/ 533134 h 838042"/>
                <a:gd name="connsiteX79" fmla="*/ 321017 w 1037165"/>
                <a:gd name="connsiteY79" fmla="*/ 540754 h 838042"/>
                <a:gd name="connsiteX80" fmla="*/ 332447 w 1037165"/>
                <a:gd name="connsiteY80" fmla="*/ 546469 h 838042"/>
                <a:gd name="connsiteX81" fmla="*/ 336257 w 1037165"/>
                <a:gd name="connsiteY81" fmla="*/ 552184 h 838042"/>
                <a:gd name="connsiteX82" fmla="*/ 341972 w 1037165"/>
                <a:gd name="connsiteY82" fmla="*/ 554089 h 838042"/>
                <a:gd name="connsiteX83" fmla="*/ 353402 w 1037165"/>
                <a:gd name="connsiteY83" fmla="*/ 561709 h 838042"/>
                <a:gd name="connsiteX84" fmla="*/ 359117 w 1037165"/>
                <a:gd name="connsiteY84" fmla="*/ 565519 h 838042"/>
                <a:gd name="connsiteX85" fmla="*/ 362927 w 1037165"/>
                <a:gd name="connsiteY85" fmla="*/ 571234 h 838042"/>
                <a:gd name="connsiteX86" fmla="*/ 368642 w 1037165"/>
                <a:gd name="connsiteY86" fmla="*/ 582664 h 838042"/>
                <a:gd name="connsiteX87" fmla="*/ 364832 w 1037165"/>
                <a:gd name="connsiteY87" fmla="*/ 609334 h 838042"/>
                <a:gd name="connsiteX88" fmla="*/ 361022 w 1037165"/>
                <a:gd name="connsiteY88" fmla="*/ 615049 h 838042"/>
                <a:gd name="connsiteX89" fmla="*/ 359117 w 1037165"/>
                <a:gd name="connsiteY89" fmla="*/ 620764 h 838042"/>
                <a:gd name="connsiteX90" fmla="*/ 355307 w 1037165"/>
                <a:gd name="connsiteY90" fmla="*/ 626479 h 838042"/>
                <a:gd name="connsiteX91" fmla="*/ 353402 w 1037165"/>
                <a:gd name="connsiteY91" fmla="*/ 632194 h 838042"/>
                <a:gd name="connsiteX92" fmla="*/ 349592 w 1037165"/>
                <a:gd name="connsiteY92" fmla="*/ 637909 h 838042"/>
                <a:gd name="connsiteX93" fmla="*/ 332447 w 1037165"/>
                <a:gd name="connsiteY93" fmla="*/ 704584 h 838042"/>
                <a:gd name="connsiteX94" fmla="*/ 330542 w 1037165"/>
                <a:gd name="connsiteY94" fmla="*/ 756019 h 838042"/>
                <a:gd name="connsiteX95" fmla="*/ 332447 w 1037165"/>
                <a:gd name="connsiteY95" fmla="*/ 780784 h 838042"/>
                <a:gd name="connsiteX96" fmla="*/ 334352 w 1037165"/>
                <a:gd name="connsiteY96" fmla="*/ 786499 h 838042"/>
                <a:gd name="connsiteX97" fmla="*/ 338162 w 1037165"/>
                <a:gd name="connsiteY97" fmla="*/ 790309 h 838042"/>
                <a:gd name="connsiteX98" fmla="*/ 366737 w 1037165"/>
                <a:gd name="connsiteY98" fmla="*/ 836029 h 838042"/>
                <a:gd name="connsiteX99" fmla="*/ 389597 w 1037165"/>
                <a:gd name="connsiteY99" fmla="*/ 837934 h 838042"/>
                <a:gd name="connsiteX100" fmla="*/ 397407 w 1037165"/>
                <a:gd name="connsiteY100" fmla="*/ 833530 h 838042"/>
                <a:gd name="connsiteX101" fmla="*/ 402932 w 1037165"/>
                <a:gd name="connsiteY101" fmla="*/ 784594 h 838042"/>
                <a:gd name="connsiteX102" fmla="*/ 406742 w 1037165"/>
                <a:gd name="connsiteY102" fmla="*/ 727444 h 838042"/>
                <a:gd name="connsiteX103" fmla="*/ 423887 w 1037165"/>
                <a:gd name="connsiteY103" fmla="*/ 672199 h 838042"/>
                <a:gd name="connsiteX104" fmla="*/ 429602 w 1037165"/>
                <a:gd name="connsiteY104" fmla="*/ 658864 h 838042"/>
                <a:gd name="connsiteX105" fmla="*/ 444084 w 1037165"/>
                <a:gd name="connsiteY105" fmla="*/ 626947 h 838042"/>
                <a:gd name="connsiteX106" fmla="*/ 464289 w 1037165"/>
                <a:gd name="connsiteY106" fmla="*/ 600072 h 838042"/>
                <a:gd name="connsiteX107" fmla="*/ 523510 w 1037165"/>
                <a:gd name="connsiteY107" fmla="*/ 565123 h 838042"/>
                <a:gd name="connsiteX108" fmla="*/ 599348 w 1037165"/>
                <a:gd name="connsiteY108" fmla="*/ 550915 h 838042"/>
                <a:gd name="connsiteX109" fmla="*/ 707801 w 1037165"/>
                <a:gd name="connsiteY109" fmla="*/ 612819 h 838042"/>
                <a:gd name="connsiteX110" fmla="*/ 780122 w 1037165"/>
                <a:gd name="connsiteY110" fmla="*/ 656959 h 838042"/>
                <a:gd name="connsiteX111" fmla="*/ 804887 w 1037165"/>
                <a:gd name="connsiteY111" fmla="*/ 632194 h 838042"/>
                <a:gd name="connsiteX112" fmla="*/ 801077 w 1037165"/>
                <a:gd name="connsiteY112" fmla="*/ 601714 h 838042"/>
                <a:gd name="connsiteX113" fmla="*/ 762796 w 1037165"/>
                <a:gd name="connsiteY113" fmla="*/ 562523 h 838042"/>
                <a:gd name="connsiteX114" fmla="*/ 650582 w 1037165"/>
                <a:gd name="connsiteY114" fmla="*/ 479794 h 838042"/>
                <a:gd name="connsiteX115" fmla="*/ 646772 w 1037165"/>
                <a:gd name="connsiteY115" fmla="*/ 462649 h 838042"/>
                <a:gd name="connsiteX116" fmla="*/ 658202 w 1037165"/>
                <a:gd name="connsiteY116" fmla="*/ 426454 h 838042"/>
                <a:gd name="connsiteX117" fmla="*/ 726782 w 1037165"/>
                <a:gd name="connsiteY117" fmla="*/ 405499 h 838042"/>
                <a:gd name="connsiteX118" fmla="*/ 844892 w 1037165"/>
                <a:gd name="connsiteY118" fmla="*/ 407404 h 838042"/>
                <a:gd name="connsiteX119" fmla="*/ 873467 w 1037165"/>
                <a:gd name="connsiteY119" fmla="*/ 409309 h 838042"/>
                <a:gd name="connsiteX120" fmla="*/ 902042 w 1037165"/>
                <a:gd name="connsiteY120" fmla="*/ 415024 h 838042"/>
                <a:gd name="connsiteX121" fmla="*/ 953477 w 1037165"/>
                <a:gd name="connsiteY121" fmla="*/ 424549 h 838042"/>
                <a:gd name="connsiteX122" fmla="*/ 1004912 w 1037165"/>
                <a:gd name="connsiteY122" fmla="*/ 422644 h 838042"/>
                <a:gd name="connsiteX123" fmla="*/ 1033487 w 1037165"/>
                <a:gd name="connsiteY123" fmla="*/ 415024 h 838042"/>
                <a:gd name="connsiteX124" fmla="*/ 1035392 w 1037165"/>
                <a:gd name="connsiteY124" fmla="*/ 390259 h 838042"/>
                <a:gd name="connsiteX125" fmla="*/ 1020514 w 1037165"/>
                <a:gd name="connsiteY125" fmla="*/ 377797 h 838042"/>
                <a:gd name="connsiteX126" fmla="*/ 964889 w 1037165"/>
                <a:gd name="connsiteY126" fmla="*/ 358029 h 838042"/>
                <a:gd name="connsiteX127" fmla="*/ 907856 w 1037165"/>
                <a:gd name="connsiteY127" fmla="*/ 350516 h 838042"/>
                <a:gd name="connsiteX128" fmla="*/ 827747 w 1037165"/>
                <a:gd name="connsiteY128" fmla="*/ 357874 h 838042"/>
                <a:gd name="connsiteX129" fmla="*/ 822032 w 1037165"/>
                <a:gd name="connsiteY129" fmla="*/ 359779 h 838042"/>
                <a:gd name="connsiteX130" fmla="*/ 732497 w 1037165"/>
                <a:gd name="connsiteY130" fmla="*/ 361684 h 838042"/>
                <a:gd name="connsiteX131" fmla="*/ 671537 w 1037165"/>
                <a:gd name="connsiteY131" fmla="*/ 369304 h 838042"/>
                <a:gd name="connsiteX132" fmla="*/ 648677 w 1037165"/>
                <a:gd name="connsiteY132" fmla="*/ 373114 h 838042"/>
                <a:gd name="connsiteX133" fmla="*/ 644867 w 1037165"/>
                <a:gd name="connsiteY133" fmla="*/ 361684 h 838042"/>
                <a:gd name="connsiteX134" fmla="*/ 642962 w 1037165"/>
                <a:gd name="connsiteY134" fmla="*/ 355969 h 838042"/>
                <a:gd name="connsiteX135" fmla="*/ 644867 w 1037165"/>
                <a:gd name="connsiteY135" fmla="*/ 338824 h 838042"/>
                <a:gd name="connsiteX136" fmla="*/ 646772 w 1037165"/>
                <a:gd name="connsiteY136" fmla="*/ 333109 h 838042"/>
                <a:gd name="connsiteX137" fmla="*/ 663917 w 1037165"/>
                <a:gd name="connsiteY137" fmla="*/ 323584 h 838042"/>
                <a:gd name="connsiteX138" fmla="*/ 675347 w 1037165"/>
                <a:gd name="connsiteY138" fmla="*/ 315964 h 838042"/>
                <a:gd name="connsiteX139" fmla="*/ 677252 w 1037165"/>
                <a:gd name="connsiteY139" fmla="*/ 310249 h 838042"/>
                <a:gd name="connsiteX140" fmla="*/ 682967 w 1037165"/>
                <a:gd name="connsiteY140" fmla="*/ 308344 h 838042"/>
                <a:gd name="connsiteX141" fmla="*/ 688682 w 1037165"/>
                <a:gd name="connsiteY141" fmla="*/ 304534 h 838042"/>
                <a:gd name="connsiteX142" fmla="*/ 698207 w 1037165"/>
                <a:gd name="connsiteY142" fmla="*/ 295009 h 838042"/>
                <a:gd name="connsiteX143" fmla="*/ 707732 w 1037165"/>
                <a:gd name="connsiteY143" fmla="*/ 283579 h 838042"/>
                <a:gd name="connsiteX144" fmla="*/ 719162 w 1037165"/>
                <a:gd name="connsiteY144" fmla="*/ 275959 h 838042"/>
                <a:gd name="connsiteX145" fmla="*/ 734402 w 1037165"/>
                <a:gd name="connsiteY145" fmla="*/ 262624 h 838042"/>
                <a:gd name="connsiteX146" fmla="*/ 743927 w 1037165"/>
                <a:gd name="connsiteY146" fmla="*/ 251194 h 838042"/>
                <a:gd name="connsiteX147" fmla="*/ 755357 w 1037165"/>
                <a:gd name="connsiteY147" fmla="*/ 241669 h 838042"/>
                <a:gd name="connsiteX148" fmla="*/ 761072 w 1037165"/>
                <a:gd name="connsiteY148" fmla="*/ 230239 h 838042"/>
                <a:gd name="connsiteX149" fmla="*/ 762977 w 1037165"/>
                <a:gd name="connsiteY149" fmla="*/ 224524 h 838042"/>
                <a:gd name="connsiteX150" fmla="*/ 768692 w 1037165"/>
                <a:gd name="connsiteY150" fmla="*/ 213094 h 838042"/>
                <a:gd name="connsiteX151" fmla="*/ 766787 w 1037165"/>
                <a:gd name="connsiteY151" fmla="*/ 197854 h 838042"/>
                <a:gd name="connsiteX152" fmla="*/ 761072 w 1037165"/>
                <a:gd name="connsiteY152" fmla="*/ 195949 h 838042"/>
                <a:gd name="connsiteX153" fmla="*/ 740117 w 1037165"/>
                <a:gd name="connsiteY153" fmla="*/ 197854 h 838042"/>
                <a:gd name="connsiteX154" fmla="*/ 734402 w 1037165"/>
                <a:gd name="connsiteY154" fmla="*/ 201664 h 838042"/>
                <a:gd name="connsiteX155" fmla="*/ 722972 w 1037165"/>
                <a:gd name="connsiteY155" fmla="*/ 205474 h 838042"/>
                <a:gd name="connsiteX156" fmla="*/ 719162 w 1037165"/>
                <a:gd name="connsiteY156" fmla="*/ 211189 h 838042"/>
                <a:gd name="connsiteX157" fmla="*/ 713447 w 1037165"/>
                <a:gd name="connsiteY157" fmla="*/ 213094 h 838042"/>
                <a:gd name="connsiteX158" fmla="*/ 707732 w 1037165"/>
                <a:gd name="connsiteY158" fmla="*/ 216904 h 838042"/>
                <a:gd name="connsiteX159" fmla="*/ 702017 w 1037165"/>
                <a:gd name="connsiteY159" fmla="*/ 222619 h 838042"/>
                <a:gd name="connsiteX160" fmla="*/ 694397 w 1037165"/>
                <a:gd name="connsiteY160" fmla="*/ 226429 h 838042"/>
                <a:gd name="connsiteX161" fmla="*/ 652487 w 1037165"/>
                <a:gd name="connsiteY161" fmla="*/ 255004 h 838042"/>
                <a:gd name="connsiteX162" fmla="*/ 639152 w 1037165"/>
                <a:gd name="connsiteY162" fmla="*/ 266434 h 838042"/>
                <a:gd name="connsiteX163" fmla="*/ 629627 w 1037165"/>
                <a:gd name="connsiteY163" fmla="*/ 283579 h 838042"/>
                <a:gd name="connsiteX164" fmla="*/ 604862 w 1037165"/>
                <a:gd name="connsiteY164" fmla="*/ 289294 h 838042"/>
                <a:gd name="connsiteX165" fmla="*/ 591527 w 1037165"/>
                <a:gd name="connsiteY165" fmla="*/ 293104 h 838042"/>
                <a:gd name="connsiteX166" fmla="*/ 576287 w 1037165"/>
                <a:gd name="connsiteY166" fmla="*/ 291199 h 838042"/>
                <a:gd name="connsiteX167" fmla="*/ 564857 w 1037165"/>
                <a:gd name="connsiteY167" fmla="*/ 287389 h 838042"/>
                <a:gd name="connsiteX168" fmla="*/ 553427 w 1037165"/>
                <a:gd name="connsiteY168" fmla="*/ 283579 h 838042"/>
                <a:gd name="connsiteX169" fmla="*/ 541997 w 1037165"/>
                <a:gd name="connsiteY169" fmla="*/ 279769 h 838042"/>
                <a:gd name="connsiteX170" fmla="*/ 536282 w 1037165"/>
                <a:gd name="connsiteY170" fmla="*/ 277864 h 838042"/>
                <a:gd name="connsiteX171" fmla="*/ 530567 w 1037165"/>
                <a:gd name="connsiteY171" fmla="*/ 274054 h 838042"/>
                <a:gd name="connsiteX172" fmla="*/ 519137 w 1037165"/>
                <a:gd name="connsiteY172" fmla="*/ 268339 h 838042"/>
                <a:gd name="connsiteX173" fmla="*/ 511517 w 1037165"/>
                <a:gd name="connsiteY173" fmla="*/ 256909 h 838042"/>
                <a:gd name="connsiteX174" fmla="*/ 507707 w 1037165"/>
                <a:gd name="connsiteY174" fmla="*/ 235954 h 838042"/>
                <a:gd name="connsiteX175" fmla="*/ 509612 w 1037165"/>
                <a:gd name="connsiteY175" fmla="*/ 171184 h 838042"/>
                <a:gd name="connsiteX176" fmla="*/ 508314 w 1037165"/>
                <a:gd name="connsiteY176" fmla="*/ 73485 h 838042"/>
                <a:gd name="connsiteX177" fmla="*/ 454116 w 1037165"/>
                <a:gd name="connsiteY177" fmla="*/ 11248 h 838042"/>
                <a:gd name="connsiteX178" fmla="*/ 435401 w 1037165"/>
                <a:gd name="connsiteY178" fmla="*/ 68523 h 838042"/>
                <a:gd name="connsiteX179" fmla="*/ 427697 w 1037165"/>
                <a:gd name="connsiteY179" fmla="*/ 137103 h 838042"/>
                <a:gd name="connsiteX180" fmla="*/ 420077 w 1037165"/>
                <a:gd name="connsiteY180" fmla="*/ 169279 h 838042"/>
                <a:gd name="connsiteX181" fmla="*/ 416267 w 1037165"/>
                <a:gd name="connsiteY181" fmla="*/ 186424 h 838042"/>
                <a:gd name="connsiteX182" fmla="*/ 420077 w 1037165"/>
                <a:gd name="connsiteY182" fmla="*/ 207379 h 838042"/>
                <a:gd name="connsiteX183" fmla="*/ 423887 w 1037165"/>
                <a:gd name="connsiteY183" fmla="*/ 213094 h 838042"/>
                <a:gd name="connsiteX184" fmla="*/ 427697 w 1037165"/>
                <a:gd name="connsiteY184" fmla="*/ 224524 h 838042"/>
                <a:gd name="connsiteX185" fmla="*/ 425792 w 1037165"/>
                <a:gd name="connsiteY185" fmla="*/ 251194 h 838042"/>
                <a:gd name="connsiteX186" fmla="*/ 420077 w 1037165"/>
                <a:gd name="connsiteY186" fmla="*/ 253099 h 838042"/>
                <a:gd name="connsiteX187" fmla="*/ 414362 w 1037165"/>
                <a:gd name="connsiteY187" fmla="*/ 256909 h 838042"/>
                <a:gd name="connsiteX188" fmla="*/ 423887 w 1037165"/>
                <a:gd name="connsiteY188" fmla="*/ 253099 h 838042"/>
                <a:gd name="connsiteX0" fmla="*/ 423887 w 1037165"/>
                <a:gd name="connsiteY0" fmla="*/ 253099 h 838042"/>
                <a:gd name="connsiteX1" fmla="*/ 423887 w 1037165"/>
                <a:gd name="connsiteY1" fmla="*/ 253099 h 838042"/>
                <a:gd name="connsiteX2" fmla="*/ 397217 w 1037165"/>
                <a:gd name="connsiteY2" fmla="*/ 262624 h 838042"/>
                <a:gd name="connsiteX3" fmla="*/ 389597 w 1037165"/>
                <a:gd name="connsiteY3" fmla="*/ 264529 h 838042"/>
                <a:gd name="connsiteX4" fmla="*/ 359117 w 1037165"/>
                <a:gd name="connsiteY4" fmla="*/ 266434 h 838042"/>
                <a:gd name="connsiteX5" fmla="*/ 353402 w 1037165"/>
                <a:gd name="connsiteY5" fmla="*/ 270244 h 838042"/>
                <a:gd name="connsiteX6" fmla="*/ 341972 w 1037165"/>
                <a:gd name="connsiteY6" fmla="*/ 279769 h 838042"/>
                <a:gd name="connsiteX7" fmla="*/ 330542 w 1037165"/>
                <a:gd name="connsiteY7" fmla="*/ 283579 h 838042"/>
                <a:gd name="connsiteX8" fmla="*/ 315302 w 1037165"/>
                <a:gd name="connsiteY8" fmla="*/ 289294 h 838042"/>
                <a:gd name="connsiteX9" fmla="*/ 267677 w 1037165"/>
                <a:gd name="connsiteY9" fmla="*/ 285484 h 838042"/>
                <a:gd name="connsiteX10" fmla="*/ 256247 w 1037165"/>
                <a:gd name="connsiteY10" fmla="*/ 281674 h 838042"/>
                <a:gd name="connsiteX11" fmla="*/ 244817 w 1037165"/>
                <a:gd name="connsiteY11" fmla="*/ 277864 h 838042"/>
                <a:gd name="connsiteX12" fmla="*/ 239102 w 1037165"/>
                <a:gd name="connsiteY12" fmla="*/ 275959 h 838042"/>
                <a:gd name="connsiteX13" fmla="*/ 233387 w 1037165"/>
                <a:gd name="connsiteY13" fmla="*/ 274054 h 838042"/>
                <a:gd name="connsiteX14" fmla="*/ 221957 w 1037165"/>
                <a:gd name="connsiteY14" fmla="*/ 272149 h 838042"/>
                <a:gd name="connsiteX15" fmla="*/ 216242 w 1037165"/>
                <a:gd name="connsiteY15" fmla="*/ 270244 h 838042"/>
                <a:gd name="connsiteX16" fmla="*/ 208622 w 1037165"/>
                <a:gd name="connsiteY16" fmla="*/ 268339 h 838042"/>
                <a:gd name="connsiteX17" fmla="*/ 197192 w 1037165"/>
                <a:gd name="connsiteY17" fmla="*/ 264529 h 838042"/>
                <a:gd name="connsiteX18" fmla="*/ 191477 w 1037165"/>
                <a:gd name="connsiteY18" fmla="*/ 262624 h 838042"/>
                <a:gd name="connsiteX19" fmla="*/ 183857 w 1037165"/>
                <a:gd name="connsiteY19" fmla="*/ 260719 h 838042"/>
                <a:gd name="connsiteX20" fmla="*/ 172427 w 1037165"/>
                <a:gd name="connsiteY20" fmla="*/ 255004 h 838042"/>
                <a:gd name="connsiteX21" fmla="*/ 166712 w 1037165"/>
                <a:gd name="connsiteY21" fmla="*/ 251194 h 838042"/>
                <a:gd name="connsiteX22" fmla="*/ 159092 w 1037165"/>
                <a:gd name="connsiteY22" fmla="*/ 239764 h 838042"/>
                <a:gd name="connsiteX23" fmla="*/ 147662 w 1037165"/>
                <a:gd name="connsiteY23" fmla="*/ 235954 h 838042"/>
                <a:gd name="connsiteX24" fmla="*/ 141947 w 1037165"/>
                <a:gd name="connsiteY24" fmla="*/ 232144 h 838042"/>
                <a:gd name="connsiteX25" fmla="*/ 136232 w 1037165"/>
                <a:gd name="connsiteY25" fmla="*/ 230239 h 838042"/>
                <a:gd name="connsiteX26" fmla="*/ 119087 w 1037165"/>
                <a:gd name="connsiteY26" fmla="*/ 226429 h 838042"/>
                <a:gd name="connsiteX27" fmla="*/ 113372 w 1037165"/>
                <a:gd name="connsiteY27" fmla="*/ 220714 h 838042"/>
                <a:gd name="connsiteX28" fmla="*/ 103847 w 1037165"/>
                <a:gd name="connsiteY28" fmla="*/ 203569 h 838042"/>
                <a:gd name="connsiteX29" fmla="*/ 86702 w 1037165"/>
                <a:gd name="connsiteY29" fmla="*/ 195949 h 838042"/>
                <a:gd name="connsiteX30" fmla="*/ 80987 w 1037165"/>
                <a:gd name="connsiteY30" fmla="*/ 194044 h 838042"/>
                <a:gd name="connsiteX31" fmla="*/ 61937 w 1037165"/>
                <a:gd name="connsiteY31" fmla="*/ 197854 h 838042"/>
                <a:gd name="connsiteX32" fmla="*/ 56222 w 1037165"/>
                <a:gd name="connsiteY32" fmla="*/ 201664 h 838042"/>
                <a:gd name="connsiteX33" fmla="*/ 52412 w 1037165"/>
                <a:gd name="connsiteY33" fmla="*/ 207379 h 838042"/>
                <a:gd name="connsiteX34" fmla="*/ 48602 w 1037165"/>
                <a:gd name="connsiteY34" fmla="*/ 218809 h 838042"/>
                <a:gd name="connsiteX35" fmla="*/ 52412 w 1037165"/>
                <a:gd name="connsiteY35" fmla="*/ 256909 h 838042"/>
                <a:gd name="connsiteX36" fmla="*/ 56222 w 1037165"/>
                <a:gd name="connsiteY36" fmla="*/ 262624 h 838042"/>
                <a:gd name="connsiteX37" fmla="*/ 61937 w 1037165"/>
                <a:gd name="connsiteY37" fmla="*/ 266434 h 838042"/>
                <a:gd name="connsiteX38" fmla="*/ 65747 w 1037165"/>
                <a:gd name="connsiteY38" fmla="*/ 272149 h 838042"/>
                <a:gd name="connsiteX39" fmla="*/ 82892 w 1037165"/>
                <a:gd name="connsiteY39" fmla="*/ 281674 h 838042"/>
                <a:gd name="connsiteX40" fmla="*/ 105752 w 1037165"/>
                <a:gd name="connsiteY40" fmla="*/ 283579 h 838042"/>
                <a:gd name="connsiteX41" fmla="*/ 126707 w 1037165"/>
                <a:gd name="connsiteY41" fmla="*/ 289294 h 838042"/>
                <a:gd name="connsiteX42" fmla="*/ 132422 w 1037165"/>
                <a:gd name="connsiteY42" fmla="*/ 291199 h 838042"/>
                <a:gd name="connsiteX43" fmla="*/ 138137 w 1037165"/>
                <a:gd name="connsiteY43" fmla="*/ 296914 h 838042"/>
                <a:gd name="connsiteX44" fmla="*/ 145757 w 1037165"/>
                <a:gd name="connsiteY44" fmla="*/ 298819 h 838042"/>
                <a:gd name="connsiteX45" fmla="*/ 168617 w 1037165"/>
                <a:gd name="connsiteY45" fmla="*/ 302629 h 838042"/>
                <a:gd name="connsiteX46" fmla="*/ 193382 w 1037165"/>
                <a:gd name="connsiteY46" fmla="*/ 308344 h 838042"/>
                <a:gd name="connsiteX47" fmla="*/ 210527 w 1037165"/>
                <a:gd name="connsiteY47" fmla="*/ 314059 h 838042"/>
                <a:gd name="connsiteX48" fmla="*/ 216242 w 1037165"/>
                <a:gd name="connsiteY48" fmla="*/ 315964 h 838042"/>
                <a:gd name="connsiteX49" fmla="*/ 231482 w 1037165"/>
                <a:gd name="connsiteY49" fmla="*/ 319774 h 838042"/>
                <a:gd name="connsiteX50" fmla="*/ 250532 w 1037165"/>
                <a:gd name="connsiteY50" fmla="*/ 325489 h 838042"/>
                <a:gd name="connsiteX51" fmla="*/ 256247 w 1037165"/>
                <a:gd name="connsiteY51" fmla="*/ 329299 h 838042"/>
                <a:gd name="connsiteX52" fmla="*/ 269582 w 1037165"/>
                <a:gd name="connsiteY52" fmla="*/ 344539 h 838042"/>
                <a:gd name="connsiteX53" fmla="*/ 275297 w 1037165"/>
                <a:gd name="connsiteY53" fmla="*/ 363589 h 838042"/>
                <a:gd name="connsiteX54" fmla="*/ 277202 w 1037165"/>
                <a:gd name="connsiteY54" fmla="*/ 369304 h 838042"/>
                <a:gd name="connsiteX55" fmla="*/ 279107 w 1037165"/>
                <a:gd name="connsiteY55" fmla="*/ 375019 h 838042"/>
                <a:gd name="connsiteX56" fmla="*/ 281012 w 1037165"/>
                <a:gd name="connsiteY56" fmla="*/ 399784 h 838042"/>
                <a:gd name="connsiteX57" fmla="*/ 282917 w 1037165"/>
                <a:gd name="connsiteY57" fmla="*/ 405499 h 838042"/>
                <a:gd name="connsiteX58" fmla="*/ 281012 w 1037165"/>
                <a:gd name="connsiteY58" fmla="*/ 424549 h 838042"/>
                <a:gd name="connsiteX59" fmla="*/ 279107 w 1037165"/>
                <a:gd name="connsiteY59" fmla="*/ 434074 h 838042"/>
                <a:gd name="connsiteX60" fmla="*/ 265772 w 1037165"/>
                <a:gd name="connsiteY60" fmla="*/ 447409 h 838042"/>
                <a:gd name="connsiteX61" fmla="*/ 254342 w 1037165"/>
                <a:gd name="connsiteY61" fmla="*/ 455029 h 838042"/>
                <a:gd name="connsiteX62" fmla="*/ 242912 w 1037165"/>
                <a:gd name="connsiteY62" fmla="*/ 458839 h 838042"/>
                <a:gd name="connsiteX63" fmla="*/ 128612 w 1037165"/>
                <a:gd name="connsiteY63" fmla="*/ 458839 h 838042"/>
                <a:gd name="connsiteX64" fmla="*/ 122897 w 1037165"/>
                <a:gd name="connsiteY64" fmla="*/ 460744 h 838042"/>
                <a:gd name="connsiteX65" fmla="*/ 107657 w 1037165"/>
                <a:gd name="connsiteY65" fmla="*/ 462649 h 838042"/>
                <a:gd name="connsiteX66" fmla="*/ 90512 w 1037165"/>
                <a:gd name="connsiteY66" fmla="*/ 468364 h 838042"/>
                <a:gd name="connsiteX67" fmla="*/ 84797 w 1037165"/>
                <a:gd name="connsiteY67" fmla="*/ 470269 h 838042"/>
                <a:gd name="connsiteX68" fmla="*/ 79082 w 1037165"/>
                <a:gd name="connsiteY68" fmla="*/ 474079 h 838042"/>
                <a:gd name="connsiteX69" fmla="*/ 67652 w 1037165"/>
                <a:gd name="connsiteY69" fmla="*/ 475984 h 838042"/>
                <a:gd name="connsiteX70" fmla="*/ 29552 w 1037165"/>
                <a:gd name="connsiteY70" fmla="*/ 477889 h 838042"/>
                <a:gd name="connsiteX71" fmla="*/ 18122 w 1037165"/>
                <a:gd name="connsiteY71" fmla="*/ 483604 h 838042"/>
                <a:gd name="connsiteX72" fmla="*/ 8597 w 1037165"/>
                <a:gd name="connsiteY72" fmla="*/ 493129 h 838042"/>
                <a:gd name="connsiteX73" fmla="*/ 6692 w 1037165"/>
                <a:gd name="connsiteY73" fmla="*/ 498844 h 838042"/>
                <a:gd name="connsiteX74" fmla="*/ 2882 w 1037165"/>
                <a:gd name="connsiteY74" fmla="*/ 504559 h 838042"/>
                <a:gd name="connsiteX75" fmla="*/ 14312 w 1037165"/>
                <a:gd name="connsiteY75" fmla="*/ 540754 h 838042"/>
                <a:gd name="connsiteX76" fmla="*/ 147662 w 1037165"/>
                <a:gd name="connsiteY76" fmla="*/ 540754 h 838042"/>
                <a:gd name="connsiteX77" fmla="*/ 155282 w 1037165"/>
                <a:gd name="connsiteY77" fmla="*/ 538849 h 838042"/>
                <a:gd name="connsiteX78" fmla="*/ 305777 w 1037165"/>
                <a:gd name="connsiteY78" fmla="*/ 533134 h 838042"/>
                <a:gd name="connsiteX79" fmla="*/ 321017 w 1037165"/>
                <a:gd name="connsiteY79" fmla="*/ 540754 h 838042"/>
                <a:gd name="connsiteX80" fmla="*/ 332447 w 1037165"/>
                <a:gd name="connsiteY80" fmla="*/ 546469 h 838042"/>
                <a:gd name="connsiteX81" fmla="*/ 336257 w 1037165"/>
                <a:gd name="connsiteY81" fmla="*/ 552184 h 838042"/>
                <a:gd name="connsiteX82" fmla="*/ 341972 w 1037165"/>
                <a:gd name="connsiteY82" fmla="*/ 554089 h 838042"/>
                <a:gd name="connsiteX83" fmla="*/ 353402 w 1037165"/>
                <a:gd name="connsiteY83" fmla="*/ 561709 h 838042"/>
                <a:gd name="connsiteX84" fmla="*/ 359117 w 1037165"/>
                <a:gd name="connsiteY84" fmla="*/ 565519 h 838042"/>
                <a:gd name="connsiteX85" fmla="*/ 362927 w 1037165"/>
                <a:gd name="connsiteY85" fmla="*/ 571234 h 838042"/>
                <a:gd name="connsiteX86" fmla="*/ 368642 w 1037165"/>
                <a:gd name="connsiteY86" fmla="*/ 582664 h 838042"/>
                <a:gd name="connsiteX87" fmla="*/ 364832 w 1037165"/>
                <a:gd name="connsiteY87" fmla="*/ 609334 h 838042"/>
                <a:gd name="connsiteX88" fmla="*/ 361022 w 1037165"/>
                <a:gd name="connsiteY88" fmla="*/ 615049 h 838042"/>
                <a:gd name="connsiteX89" fmla="*/ 359117 w 1037165"/>
                <a:gd name="connsiteY89" fmla="*/ 620764 h 838042"/>
                <a:gd name="connsiteX90" fmla="*/ 355307 w 1037165"/>
                <a:gd name="connsiteY90" fmla="*/ 626479 h 838042"/>
                <a:gd name="connsiteX91" fmla="*/ 353402 w 1037165"/>
                <a:gd name="connsiteY91" fmla="*/ 632194 h 838042"/>
                <a:gd name="connsiteX92" fmla="*/ 349592 w 1037165"/>
                <a:gd name="connsiteY92" fmla="*/ 637909 h 838042"/>
                <a:gd name="connsiteX93" fmla="*/ 332447 w 1037165"/>
                <a:gd name="connsiteY93" fmla="*/ 704584 h 838042"/>
                <a:gd name="connsiteX94" fmla="*/ 330542 w 1037165"/>
                <a:gd name="connsiteY94" fmla="*/ 756019 h 838042"/>
                <a:gd name="connsiteX95" fmla="*/ 332447 w 1037165"/>
                <a:gd name="connsiteY95" fmla="*/ 780784 h 838042"/>
                <a:gd name="connsiteX96" fmla="*/ 334352 w 1037165"/>
                <a:gd name="connsiteY96" fmla="*/ 786499 h 838042"/>
                <a:gd name="connsiteX97" fmla="*/ 338162 w 1037165"/>
                <a:gd name="connsiteY97" fmla="*/ 790309 h 838042"/>
                <a:gd name="connsiteX98" fmla="*/ 366737 w 1037165"/>
                <a:gd name="connsiteY98" fmla="*/ 836029 h 838042"/>
                <a:gd name="connsiteX99" fmla="*/ 389597 w 1037165"/>
                <a:gd name="connsiteY99" fmla="*/ 837934 h 838042"/>
                <a:gd name="connsiteX100" fmla="*/ 397407 w 1037165"/>
                <a:gd name="connsiteY100" fmla="*/ 833530 h 838042"/>
                <a:gd name="connsiteX101" fmla="*/ 402932 w 1037165"/>
                <a:gd name="connsiteY101" fmla="*/ 784594 h 838042"/>
                <a:gd name="connsiteX102" fmla="*/ 406742 w 1037165"/>
                <a:gd name="connsiteY102" fmla="*/ 727444 h 838042"/>
                <a:gd name="connsiteX103" fmla="*/ 423887 w 1037165"/>
                <a:gd name="connsiteY103" fmla="*/ 672199 h 838042"/>
                <a:gd name="connsiteX104" fmla="*/ 429602 w 1037165"/>
                <a:gd name="connsiteY104" fmla="*/ 658864 h 838042"/>
                <a:gd name="connsiteX105" fmla="*/ 444084 w 1037165"/>
                <a:gd name="connsiteY105" fmla="*/ 626947 h 838042"/>
                <a:gd name="connsiteX106" fmla="*/ 464289 w 1037165"/>
                <a:gd name="connsiteY106" fmla="*/ 600072 h 838042"/>
                <a:gd name="connsiteX107" fmla="*/ 523510 w 1037165"/>
                <a:gd name="connsiteY107" fmla="*/ 565123 h 838042"/>
                <a:gd name="connsiteX108" fmla="*/ 599348 w 1037165"/>
                <a:gd name="connsiteY108" fmla="*/ 550915 h 838042"/>
                <a:gd name="connsiteX109" fmla="*/ 707801 w 1037165"/>
                <a:gd name="connsiteY109" fmla="*/ 612819 h 838042"/>
                <a:gd name="connsiteX110" fmla="*/ 780122 w 1037165"/>
                <a:gd name="connsiteY110" fmla="*/ 656959 h 838042"/>
                <a:gd name="connsiteX111" fmla="*/ 804887 w 1037165"/>
                <a:gd name="connsiteY111" fmla="*/ 632194 h 838042"/>
                <a:gd name="connsiteX112" fmla="*/ 801077 w 1037165"/>
                <a:gd name="connsiteY112" fmla="*/ 601714 h 838042"/>
                <a:gd name="connsiteX113" fmla="*/ 762796 w 1037165"/>
                <a:gd name="connsiteY113" fmla="*/ 562523 h 838042"/>
                <a:gd name="connsiteX114" fmla="*/ 650582 w 1037165"/>
                <a:gd name="connsiteY114" fmla="*/ 479794 h 838042"/>
                <a:gd name="connsiteX115" fmla="*/ 646772 w 1037165"/>
                <a:gd name="connsiteY115" fmla="*/ 462649 h 838042"/>
                <a:gd name="connsiteX116" fmla="*/ 658202 w 1037165"/>
                <a:gd name="connsiteY116" fmla="*/ 426454 h 838042"/>
                <a:gd name="connsiteX117" fmla="*/ 726782 w 1037165"/>
                <a:gd name="connsiteY117" fmla="*/ 405499 h 838042"/>
                <a:gd name="connsiteX118" fmla="*/ 844892 w 1037165"/>
                <a:gd name="connsiteY118" fmla="*/ 407404 h 838042"/>
                <a:gd name="connsiteX119" fmla="*/ 873467 w 1037165"/>
                <a:gd name="connsiteY119" fmla="*/ 409309 h 838042"/>
                <a:gd name="connsiteX120" fmla="*/ 902042 w 1037165"/>
                <a:gd name="connsiteY120" fmla="*/ 415024 h 838042"/>
                <a:gd name="connsiteX121" fmla="*/ 953477 w 1037165"/>
                <a:gd name="connsiteY121" fmla="*/ 424549 h 838042"/>
                <a:gd name="connsiteX122" fmla="*/ 1004912 w 1037165"/>
                <a:gd name="connsiteY122" fmla="*/ 422644 h 838042"/>
                <a:gd name="connsiteX123" fmla="*/ 1033487 w 1037165"/>
                <a:gd name="connsiteY123" fmla="*/ 415024 h 838042"/>
                <a:gd name="connsiteX124" fmla="*/ 1035392 w 1037165"/>
                <a:gd name="connsiteY124" fmla="*/ 390259 h 838042"/>
                <a:gd name="connsiteX125" fmla="*/ 1020514 w 1037165"/>
                <a:gd name="connsiteY125" fmla="*/ 377797 h 838042"/>
                <a:gd name="connsiteX126" fmla="*/ 964889 w 1037165"/>
                <a:gd name="connsiteY126" fmla="*/ 358029 h 838042"/>
                <a:gd name="connsiteX127" fmla="*/ 907856 w 1037165"/>
                <a:gd name="connsiteY127" fmla="*/ 350516 h 838042"/>
                <a:gd name="connsiteX128" fmla="*/ 827747 w 1037165"/>
                <a:gd name="connsiteY128" fmla="*/ 357874 h 838042"/>
                <a:gd name="connsiteX129" fmla="*/ 822032 w 1037165"/>
                <a:gd name="connsiteY129" fmla="*/ 359779 h 838042"/>
                <a:gd name="connsiteX130" fmla="*/ 732497 w 1037165"/>
                <a:gd name="connsiteY130" fmla="*/ 361684 h 838042"/>
                <a:gd name="connsiteX131" fmla="*/ 671537 w 1037165"/>
                <a:gd name="connsiteY131" fmla="*/ 369304 h 838042"/>
                <a:gd name="connsiteX132" fmla="*/ 648677 w 1037165"/>
                <a:gd name="connsiteY132" fmla="*/ 373114 h 838042"/>
                <a:gd name="connsiteX133" fmla="*/ 644867 w 1037165"/>
                <a:gd name="connsiteY133" fmla="*/ 361684 h 838042"/>
                <a:gd name="connsiteX134" fmla="*/ 642962 w 1037165"/>
                <a:gd name="connsiteY134" fmla="*/ 355969 h 838042"/>
                <a:gd name="connsiteX135" fmla="*/ 644867 w 1037165"/>
                <a:gd name="connsiteY135" fmla="*/ 338824 h 838042"/>
                <a:gd name="connsiteX136" fmla="*/ 646772 w 1037165"/>
                <a:gd name="connsiteY136" fmla="*/ 333109 h 838042"/>
                <a:gd name="connsiteX137" fmla="*/ 663917 w 1037165"/>
                <a:gd name="connsiteY137" fmla="*/ 323584 h 838042"/>
                <a:gd name="connsiteX138" fmla="*/ 675347 w 1037165"/>
                <a:gd name="connsiteY138" fmla="*/ 315964 h 838042"/>
                <a:gd name="connsiteX139" fmla="*/ 677252 w 1037165"/>
                <a:gd name="connsiteY139" fmla="*/ 310249 h 838042"/>
                <a:gd name="connsiteX140" fmla="*/ 682967 w 1037165"/>
                <a:gd name="connsiteY140" fmla="*/ 308344 h 838042"/>
                <a:gd name="connsiteX141" fmla="*/ 688682 w 1037165"/>
                <a:gd name="connsiteY141" fmla="*/ 304534 h 838042"/>
                <a:gd name="connsiteX142" fmla="*/ 698207 w 1037165"/>
                <a:gd name="connsiteY142" fmla="*/ 295009 h 838042"/>
                <a:gd name="connsiteX143" fmla="*/ 707732 w 1037165"/>
                <a:gd name="connsiteY143" fmla="*/ 283579 h 838042"/>
                <a:gd name="connsiteX144" fmla="*/ 719162 w 1037165"/>
                <a:gd name="connsiteY144" fmla="*/ 275959 h 838042"/>
                <a:gd name="connsiteX145" fmla="*/ 734402 w 1037165"/>
                <a:gd name="connsiteY145" fmla="*/ 262624 h 838042"/>
                <a:gd name="connsiteX146" fmla="*/ 743927 w 1037165"/>
                <a:gd name="connsiteY146" fmla="*/ 251194 h 838042"/>
                <a:gd name="connsiteX147" fmla="*/ 755357 w 1037165"/>
                <a:gd name="connsiteY147" fmla="*/ 241669 h 838042"/>
                <a:gd name="connsiteX148" fmla="*/ 761072 w 1037165"/>
                <a:gd name="connsiteY148" fmla="*/ 230239 h 838042"/>
                <a:gd name="connsiteX149" fmla="*/ 762977 w 1037165"/>
                <a:gd name="connsiteY149" fmla="*/ 224524 h 838042"/>
                <a:gd name="connsiteX150" fmla="*/ 768692 w 1037165"/>
                <a:gd name="connsiteY150" fmla="*/ 213094 h 838042"/>
                <a:gd name="connsiteX151" fmla="*/ 766787 w 1037165"/>
                <a:gd name="connsiteY151" fmla="*/ 197854 h 838042"/>
                <a:gd name="connsiteX152" fmla="*/ 761072 w 1037165"/>
                <a:gd name="connsiteY152" fmla="*/ 195949 h 838042"/>
                <a:gd name="connsiteX153" fmla="*/ 740117 w 1037165"/>
                <a:gd name="connsiteY153" fmla="*/ 197854 h 838042"/>
                <a:gd name="connsiteX154" fmla="*/ 734402 w 1037165"/>
                <a:gd name="connsiteY154" fmla="*/ 201664 h 838042"/>
                <a:gd name="connsiteX155" fmla="*/ 722972 w 1037165"/>
                <a:gd name="connsiteY155" fmla="*/ 205474 h 838042"/>
                <a:gd name="connsiteX156" fmla="*/ 719162 w 1037165"/>
                <a:gd name="connsiteY156" fmla="*/ 211189 h 838042"/>
                <a:gd name="connsiteX157" fmla="*/ 713447 w 1037165"/>
                <a:gd name="connsiteY157" fmla="*/ 213094 h 838042"/>
                <a:gd name="connsiteX158" fmla="*/ 707732 w 1037165"/>
                <a:gd name="connsiteY158" fmla="*/ 216904 h 838042"/>
                <a:gd name="connsiteX159" fmla="*/ 702017 w 1037165"/>
                <a:gd name="connsiteY159" fmla="*/ 222619 h 838042"/>
                <a:gd name="connsiteX160" fmla="*/ 694397 w 1037165"/>
                <a:gd name="connsiteY160" fmla="*/ 226429 h 838042"/>
                <a:gd name="connsiteX161" fmla="*/ 652487 w 1037165"/>
                <a:gd name="connsiteY161" fmla="*/ 255004 h 838042"/>
                <a:gd name="connsiteX162" fmla="*/ 639152 w 1037165"/>
                <a:gd name="connsiteY162" fmla="*/ 266434 h 838042"/>
                <a:gd name="connsiteX163" fmla="*/ 629627 w 1037165"/>
                <a:gd name="connsiteY163" fmla="*/ 283579 h 838042"/>
                <a:gd name="connsiteX164" fmla="*/ 604862 w 1037165"/>
                <a:gd name="connsiteY164" fmla="*/ 289294 h 838042"/>
                <a:gd name="connsiteX165" fmla="*/ 591527 w 1037165"/>
                <a:gd name="connsiteY165" fmla="*/ 293104 h 838042"/>
                <a:gd name="connsiteX166" fmla="*/ 576287 w 1037165"/>
                <a:gd name="connsiteY166" fmla="*/ 291199 h 838042"/>
                <a:gd name="connsiteX167" fmla="*/ 564857 w 1037165"/>
                <a:gd name="connsiteY167" fmla="*/ 287389 h 838042"/>
                <a:gd name="connsiteX168" fmla="*/ 553427 w 1037165"/>
                <a:gd name="connsiteY168" fmla="*/ 283579 h 838042"/>
                <a:gd name="connsiteX169" fmla="*/ 541997 w 1037165"/>
                <a:gd name="connsiteY169" fmla="*/ 279769 h 838042"/>
                <a:gd name="connsiteX170" fmla="*/ 536282 w 1037165"/>
                <a:gd name="connsiteY170" fmla="*/ 277864 h 838042"/>
                <a:gd name="connsiteX171" fmla="*/ 530567 w 1037165"/>
                <a:gd name="connsiteY171" fmla="*/ 274054 h 838042"/>
                <a:gd name="connsiteX172" fmla="*/ 519137 w 1037165"/>
                <a:gd name="connsiteY172" fmla="*/ 268339 h 838042"/>
                <a:gd name="connsiteX173" fmla="*/ 511517 w 1037165"/>
                <a:gd name="connsiteY173" fmla="*/ 256909 h 838042"/>
                <a:gd name="connsiteX174" fmla="*/ 507707 w 1037165"/>
                <a:gd name="connsiteY174" fmla="*/ 235954 h 838042"/>
                <a:gd name="connsiteX175" fmla="*/ 509612 w 1037165"/>
                <a:gd name="connsiteY175" fmla="*/ 171184 h 838042"/>
                <a:gd name="connsiteX176" fmla="*/ 508314 w 1037165"/>
                <a:gd name="connsiteY176" fmla="*/ 73485 h 838042"/>
                <a:gd name="connsiteX177" fmla="*/ 454116 w 1037165"/>
                <a:gd name="connsiteY177" fmla="*/ 11248 h 838042"/>
                <a:gd name="connsiteX178" fmla="*/ 435401 w 1037165"/>
                <a:gd name="connsiteY178" fmla="*/ 68523 h 838042"/>
                <a:gd name="connsiteX179" fmla="*/ 427697 w 1037165"/>
                <a:gd name="connsiteY179" fmla="*/ 137103 h 838042"/>
                <a:gd name="connsiteX180" fmla="*/ 420077 w 1037165"/>
                <a:gd name="connsiteY180" fmla="*/ 169279 h 838042"/>
                <a:gd name="connsiteX181" fmla="*/ 416267 w 1037165"/>
                <a:gd name="connsiteY181" fmla="*/ 186424 h 838042"/>
                <a:gd name="connsiteX182" fmla="*/ 420077 w 1037165"/>
                <a:gd name="connsiteY182" fmla="*/ 207379 h 838042"/>
                <a:gd name="connsiteX183" fmla="*/ 423887 w 1037165"/>
                <a:gd name="connsiteY183" fmla="*/ 213094 h 838042"/>
                <a:gd name="connsiteX184" fmla="*/ 427697 w 1037165"/>
                <a:gd name="connsiteY184" fmla="*/ 224524 h 838042"/>
                <a:gd name="connsiteX185" fmla="*/ 425792 w 1037165"/>
                <a:gd name="connsiteY185" fmla="*/ 251194 h 838042"/>
                <a:gd name="connsiteX186" fmla="*/ 420077 w 1037165"/>
                <a:gd name="connsiteY186" fmla="*/ 253099 h 838042"/>
                <a:gd name="connsiteX187" fmla="*/ 414362 w 1037165"/>
                <a:gd name="connsiteY187" fmla="*/ 256909 h 838042"/>
                <a:gd name="connsiteX188" fmla="*/ 423887 w 1037165"/>
                <a:gd name="connsiteY188" fmla="*/ 253099 h 838042"/>
                <a:gd name="connsiteX0" fmla="*/ 423887 w 1037165"/>
                <a:gd name="connsiteY0" fmla="*/ 253099 h 838042"/>
                <a:gd name="connsiteX1" fmla="*/ 423887 w 1037165"/>
                <a:gd name="connsiteY1" fmla="*/ 253099 h 838042"/>
                <a:gd name="connsiteX2" fmla="*/ 397217 w 1037165"/>
                <a:gd name="connsiteY2" fmla="*/ 262624 h 838042"/>
                <a:gd name="connsiteX3" fmla="*/ 389597 w 1037165"/>
                <a:gd name="connsiteY3" fmla="*/ 264529 h 838042"/>
                <a:gd name="connsiteX4" fmla="*/ 359117 w 1037165"/>
                <a:gd name="connsiteY4" fmla="*/ 266434 h 838042"/>
                <a:gd name="connsiteX5" fmla="*/ 353402 w 1037165"/>
                <a:gd name="connsiteY5" fmla="*/ 270244 h 838042"/>
                <a:gd name="connsiteX6" fmla="*/ 341972 w 1037165"/>
                <a:gd name="connsiteY6" fmla="*/ 279769 h 838042"/>
                <a:gd name="connsiteX7" fmla="*/ 330542 w 1037165"/>
                <a:gd name="connsiteY7" fmla="*/ 283579 h 838042"/>
                <a:gd name="connsiteX8" fmla="*/ 315302 w 1037165"/>
                <a:gd name="connsiteY8" fmla="*/ 289294 h 838042"/>
                <a:gd name="connsiteX9" fmla="*/ 267677 w 1037165"/>
                <a:gd name="connsiteY9" fmla="*/ 285484 h 838042"/>
                <a:gd name="connsiteX10" fmla="*/ 256247 w 1037165"/>
                <a:gd name="connsiteY10" fmla="*/ 281674 h 838042"/>
                <a:gd name="connsiteX11" fmla="*/ 244817 w 1037165"/>
                <a:gd name="connsiteY11" fmla="*/ 277864 h 838042"/>
                <a:gd name="connsiteX12" fmla="*/ 239102 w 1037165"/>
                <a:gd name="connsiteY12" fmla="*/ 275959 h 838042"/>
                <a:gd name="connsiteX13" fmla="*/ 233387 w 1037165"/>
                <a:gd name="connsiteY13" fmla="*/ 274054 h 838042"/>
                <a:gd name="connsiteX14" fmla="*/ 221957 w 1037165"/>
                <a:gd name="connsiteY14" fmla="*/ 272149 h 838042"/>
                <a:gd name="connsiteX15" fmla="*/ 216242 w 1037165"/>
                <a:gd name="connsiteY15" fmla="*/ 270244 h 838042"/>
                <a:gd name="connsiteX16" fmla="*/ 208622 w 1037165"/>
                <a:gd name="connsiteY16" fmla="*/ 268339 h 838042"/>
                <a:gd name="connsiteX17" fmla="*/ 197192 w 1037165"/>
                <a:gd name="connsiteY17" fmla="*/ 264529 h 838042"/>
                <a:gd name="connsiteX18" fmla="*/ 191477 w 1037165"/>
                <a:gd name="connsiteY18" fmla="*/ 262624 h 838042"/>
                <a:gd name="connsiteX19" fmla="*/ 183857 w 1037165"/>
                <a:gd name="connsiteY19" fmla="*/ 260719 h 838042"/>
                <a:gd name="connsiteX20" fmla="*/ 172427 w 1037165"/>
                <a:gd name="connsiteY20" fmla="*/ 255004 h 838042"/>
                <a:gd name="connsiteX21" fmla="*/ 166712 w 1037165"/>
                <a:gd name="connsiteY21" fmla="*/ 251194 h 838042"/>
                <a:gd name="connsiteX22" fmla="*/ 159092 w 1037165"/>
                <a:gd name="connsiteY22" fmla="*/ 239764 h 838042"/>
                <a:gd name="connsiteX23" fmla="*/ 147662 w 1037165"/>
                <a:gd name="connsiteY23" fmla="*/ 235954 h 838042"/>
                <a:gd name="connsiteX24" fmla="*/ 141947 w 1037165"/>
                <a:gd name="connsiteY24" fmla="*/ 232144 h 838042"/>
                <a:gd name="connsiteX25" fmla="*/ 136232 w 1037165"/>
                <a:gd name="connsiteY25" fmla="*/ 230239 h 838042"/>
                <a:gd name="connsiteX26" fmla="*/ 119087 w 1037165"/>
                <a:gd name="connsiteY26" fmla="*/ 226429 h 838042"/>
                <a:gd name="connsiteX27" fmla="*/ 113372 w 1037165"/>
                <a:gd name="connsiteY27" fmla="*/ 220714 h 838042"/>
                <a:gd name="connsiteX28" fmla="*/ 103847 w 1037165"/>
                <a:gd name="connsiteY28" fmla="*/ 203569 h 838042"/>
                <a:gd name="connsiteX29" fmla="*/ 86702 w 1037165"/>
                <a:gd name="connsiteY29" fmla="*/ 195949 h 838042"/>
                <a:gd name="connsiteX30" fmla="*/ 80987 w 1037165"/>
                <a:gd name="connsiteY30" fmla="*/ 194044 h 838042"/>
                <a:gd name="connsiteX31" fmla="*/ 61937 w 1037165"/>
                <a:gd name="connsiteY31" fmla="*/ 197854 h 838042"/>
                <a:gd name="connsiteX32" fmla="*/ 56222 w 1037165"/>
                <a:gd name="connsiteY32" fmla="*/ 201664 h 838042"/>
                <a:gd name="connsiteX33" fmla="*/ 52412 w 1037165"/>
                <a:gd name="connsiteY33" fmla="*/ 207379 h 838042"/>
                <a:gd name="connsiteX34" fmla="*/ 48602 w 1037165"/>
                <a:gd name="connsiteY34" fmla="*/ 218809 h 838042"/>
                <a:gd name="connsiteX35" fmla="*/ 52412 w 1037165"/>
                <a:gd name="connsiteY35" fmla="*/ 256909 h 838042"/>
                <a:gd name="connsiteX36" fmla="*/ 56222 w 1037165"/>
                <a:gd name="connsiteY36" fmla="*/ 262624 h 838042"/>
                <a:gd name="connsiteX37" fmla="*/ 61937 w 1037165"/>
                <a:gd name="connsiteY37" fmla="*/ 266434 h 838042"/>
                <a:gd name="connsiteX38" fmla="*/ 65747 w 1037165"/>
                <a:gd name="connsiteY38" fmla="*/ 272149 h 838042"/>
                <a:gd name="connsiteX39" fmla="*/ 82892 w 1037165"/>
                <a:gd name="connsiteY39" fmla="*/ 281674 h 838042"/>
                <a:gd name="connsiteX40" fmla="*/ 105752 w 1037165"/>
                <a:gd name="connsiteY40" fmla="*/ 283579 h 838042"/>
                <a:gd name="connsiteX41" fmla="*/ 126707 w 1037165"/>
                <a:gd name="connsiteY41" fmla="*/ 289294 h 838042"/>
                <a:gd name="connsiteX42" fmla="*/ 132422 w 1037165"/>
                <a:gd name="connsiteY42" fmla="*/ 291199 h 838042"/>
                <a:gd name="connsiteX43" fmla="*/ 138137 w 1037165"/>
                <a:gd name="connsiteY43" fmla="*/ 296914 h 838042"/>
                <a:gd name="connsiteX44" fmla="*/ 145757 w 1037165"/>
                <a:gd name="connsiteY44" fmla="*/ 298819 h 838042"/>
                <a:gd name="connsiteX45" fmla="*/ 168617 w 1037165"/>
                <a:gd name="connsiteY45" fmla="*/ 302629 h 838042"/>
                <a:gd name="connsiteX46" fmla="*/ 193382 w 1037165"/>
                <a:gd name="connsiteY46" fmla="*/ 308344 h 838042"/>
                <a:gd name="connsiteX47" fmla="*/ 210527 w 1037165"/>
                <a:gd name="connsiteY47" fmla="*/ 314059 h 838042"/>
                <a:gd name="connsiteX48" fmla="*/ 216242 w 1037165"/>
                <a:gd name="connsiteY48" fmla="*/ 315964 h 838042"/>
                <a:gd name="connsiteX49" fmla="*/ 231482 w 1037165"/>
                <a:gd name="connsiteY49" fmla="*/ 319774 h 838042"/>
                <a:gd name="connsiteX50" fmla="*/ 250532 w 1037165"/>
                <a:gd name="connsiteY50" fmla="*/ 325489 h 838042"/>
                <a:gd name="connsiteX51" fmla="*/ 256247 w 1037165"/>
                <a:gd name="connsiteY51" fmla="*/ 329299 h 838042"/>
                <a:gd name="connsiteX52" fmla="*/ 269582 w 1037165"/>
                <a:gd name="connsiteY52" fmla="*/ 344539 h 838042"/>
                <a:gd name="connsiteX53" fmla="*/ 275297 w 1037165"/>
                <a:gd name="connsiteY53" fmla="*/ 363589 h 838042"/>
                <a:gd name="connsiteX54" fmla="*/ 277202 w 1037165"/>
                <a:gd name="connsiteY54" fmla="*/ 369304 h 838042"/>
                <a:gd name="connsiteX55" fmla="*/ 279107 w 1037165"/>
                <a:gd name="connsiteY55" fmla="*/ 375019 h 838042"/>
                <a:gd name="connsiteX56" fmla="*/ 281012 w 1037165"/>
                <a:gd name="connsiteY56" fmla="*/ 399784 h 838042"/>
                <a:gd name="connsiteX57" fmla="*/ 282917 w 1037165"/>
                <a:gd name="connsiteY57" fmla="*/ 405499 h 838042"/>
                <a:gd name="connsiteX58" fmla="*/ 281012 w 1037165"/>
                <a:gd name="connsiteY58" fmla="*/ 424549 h 838042"/>
                <a:gd name="connsiteX59" fmla="*/ 279107 w 1037165"/>
                <a:gd name="connsiteY59" fmla="*/ 434074 h 838042"/>
                <a:gd name="connsiteX60" fmla="*/ 265772 w 1037165"/>
                <a:gd name="connsiteY60" fmla="*/ 447409 h 838042"/>
                <a:gd name="connsiteX61" fmla="*/ 254342 w 1037165"/>
                <a:gd name="connsiteY61" fmla="*/ 455029 h 838042"/>
                <a:gd name="connsiteX62" fmla="*/ 242912 w 1037165"/>
                <a:gd name="connsiteY62" fmla="*/ 458839 h 838042"/>
                <a:gd name="connsiteX63" fmla="*/ 128612 w 1037165"/>
                <a:gd name="connsiteY63" fmla="*/ 458839 h 838042"/>
                <a:gd name="connsiteX64" fmla="*/ 122897 w 1037165"/>
                <a:gd name="connsiteY64" fmla="*/ 460744 h 838042"/>
                <a:gd name="connsiteX65" fmla="*/ 107657 w 1037165"/>
                <a:gd name="connsiteY65" fmla="*/ 462649 h 838042"/>
                <a:gd name="connsiteX66" fmla="*/ 90512 w 1037165"/>
                <a:gd name="connsiteY66" fmla="*/ 468364 h 838042"/>
                <a:gd name="connsiteX67" fmla="*/ 84797 w 1037165"/>
                <a:gd name="connsiteY67" fmla="*/ 470269 h 838042"/>
                <a:gd name="connsiteX68" fmla="*/ 79082 w 1037165"/>
                <a:gd name="connsiteY68" fmla="*/ 474079 h 838042"/>
                <a:gd name="connsiteX69" fmla="*/ 67652 w 1037165"/>
                <a:gd name="connsiteY69" fmla="*/ 475984 h 838042"/>
                <a:gd name="connsiteX70" fmla="*/ 29552 w 1037165"/>
                <a:gd name="connsiteY70" fmla="*/ 477889 h 838042"/>
                <a:gd name="connsiteX71" fmla="*/ 18122 w 1037165"/>
                <a:gd name="connsiteY71" fmla="*/ 483604 h 838042"/>
                <a:gd name="connsiteX72" fmla="*/ 8597 w 1037165"/>
                <a:gd name="connsiteY72" fmla="*/ 493129 h 838042"/>
                <a:gd name="connsiteX73" fmla="*/ 6692 w 1037165"/>
                <a:gd name="connsiteY73" fmla="*/ 498844 h 838042"/>
                <a:gd name="connsiteX74" fmla="*/ 2882 w 1037165"/>
                <a:gd name="connsiteY74" fmla="*/ 504559 h 838042"/>
                <a:gd name="connsiteX75" fmla="*/ 14312 w 1037165"/>
                <a:gd name="connsiteY75" fmla="*/ 540754 h 838042"/>
                <a:gd name="connsiteX76" fmla="*/ 147662 w 1037165"/>
                <a:gd name="connsiteY76" fmla="*/ 540754 h 838042"/>
                <a:gd name="connsiteX77" fmla="*/ 155282 w 1037165"/>
                <a:gd name="connsiteY77" fmla="*/ 538849 h 838042"/>
                <a:gd name="connsiteX78" fmla="*/ 305777 w 1037165"/>
                <a:gd name="connsiteY78" fmla="*/ 533134 h 838042"/>
                <a:gd name="connsiteX79" fmla="*/ 321017 w 1037165"/>
                <a:gd name="connsiteY79" fmla="*/ 540754 h 838042"/>
                <a:gd name="connsiteX80" fmla="*/ 332447 w 1037165"/>
                <a:gd name="connsiteY80" fmla="*/ 546469 h 838042"/>
                <a:gd name="connsiteX81" fmla="*/ 336257 w 1037165"/>
                <a:gd name="connsiteY81" fmla="*/ 552184 h 838042"/>
                <a:gd name="connsiteX82" fmla="*/ 341972 w 1037165"/>
                <a:gd name="connsiteY82" fmla="*/ 554089 h 838042"/>
                <a:gd name="connsiteX83" fmla="*/ 353402 w 1037165"/>
                <a:gd name="connsiteY83" fmla="*/ 561709 h 838042"/>
                <a:gd name="connsiteX84" fmla="*/ 359117 w 1037165"/>
                <a:gd name="connsiteY84" fmla="*/ 565519 h 838042"/>
                <a:gd name="connsiteX85" fmla="*/ 362927 w 1037165"/>
                <a:gd name="connsiteY85" fmla="*/ 571234 h 838042"/>
                <a:gd name="connsiteX86" fmla="*/ 368642 w 1037165"/>
                <a:gd name="connsiteY86" fmla="*/ 582664 h 838042"/>
                <a:gd name="connsiteX87" fmla="*/ 364832 w 1037165"/>
                <a:gd name="connsiteY87" fmla="*/ 609334 h 838042"/>
                <a:gd name="connsiteX88" fmla="*/ 361022 w 1037165"/>
                <a:gd name="connsiteY88" fmla="*/ 615049 h 838042"/>
                <a:gd name="connsiteX89" fmla="*/ 359117 w 1037165"/>
                <a:gd name="connsiteY89" fmla="*/ 620764 h 838042"/>
                <a:gd name="connsiteX90" fmla="*/ 355307 w 1037165"/>
                <a:gd name="connsiteY90" fmla="*/ 626479 h 838042"/>
                <a:gd name="connsiteX91" fmla="*/ 353402 w 1037165"/>
                <a:gd name="connsiteY91" fmla="*/ 632194 h 838042"/>
                <a:gd name="connsiteX92" fmla="*/ 349592 w 1037165"/>
                <a:gd name="connsiteY92" fmla="*/ 637909 h 838042"/>
                <a:gd name="connsiteX93" fmla="*/ 332447 w 1037165"/>
                <a:gd name="connsiteY93" fmla="*/ 704584 h 838042"/>
                <a:gd name="connsiteX94" fmla="*/ 330542 w 1037165"/>
                <a:gd name="connsiteY94" fmla="*/ 756019 h 838042"/>
                <a:gd name="connsiteX95" fmla="*/ 332447 w 1037165"/>
                <a:gd name="connsiteY95" fmla="*/ 780784 h 838042"/>
                <a:gd name="connsiteX96" fmla="*/ 334352 w 1037165"/>
                <a:gd name="connsiteY96" fmla="*/ 786499 h 838042"/>
                <a:gd name="connsiteX97" fmla="*/ 338162 w 1037165"/>
                <a:gd name="connsiteY97" fmla="*/ 790309 h 838042"/>
                <a:gd name="connsiteX98" fmla="*/ 366737 w 1037165"/>
                <a:gd name="connsiteY98" fmla="*/ 836029 h 838042"/>
                <a:gd name="connsiteX99" fmla="*/ 389597 w 1037165"/>
                <a:gd name="connsiteY99" fmla="*/ 837934 h 838042"/>
                <a:gd name="connsiteX100" fmla="*/ 397407 w 1037165"/>
                <a:gd name="connsiteY100" fmla="*/ 833530 h 838042"/>
                <a:gd name="connsiteX101" fmla="*/ 402932 w 1037165"/>
                <a:gd name="connsiteY101" fmla="*/ 784594 h 838042"/>
                <a:gd name="connsiteX102" fmla="*/ 406742 w 1037165"/>
                <a:gd name="connsiteY102" fmla="*/ 727444 h 838042"/>
                <a:gd name="connsiteX103" fmla="*/ 423887 w 1037165"/>
                <a:gd name="connsiteY103" fmla="*/ 672199 h 838042"/>
                <a:gd name="connsiteX104" fmla="*/ 429602 w 1037165"/>
                <a:gd name="connsiteY104" fmla="*/ 658864 h 838042"/>
                <a:gd name="connsiteX105" fmla="*/ 444084 w 1037165"/>
                <a:gd name="connsiteY105" fmla="*/ 626947 h 838042"/>
                <a:gd name="connsiteX106" fmla="*/ 464289 w 1037165"/>
                <a:gd name="connsiteY106" fmla="*/ 600072 h 838042"/>
                <a:gd name="connsiteX107" fmla="*/ 523510 w 1037165"/>
                <a:gd name="connsiteY107" fmla="*/ 565123 h 838042"/>
                <a:gd name="connsiteX108" fmla="*/ 599348 w 1037165"/>
                <a:gd name="connsiteY108" fmla="*/ 550915 h 838042"/>
                <a:gd name="connsiteX109" fmla="*/ 707801 w 1037165"/>
                <a:gd name="connsiteY109" fmla="*/ 612819 h 838042"/>
                <a:gd name="connsiteX110" fmla="*/ 780122 w 1037165"/>
                <a:gd name="connsiteY110" fmla="*/ 656959 h 838042"/>
                <a:gd name="connsiteX111" fmla="*/ 804887 w 1037165"/>
                <a:gd name="connsiteY111" fmla="*/ 632194 h 838042"/>
                <a:gd name="connsiteX112" fmla="*/ 801077 w 1037165"/>
                <a:gd name="connsiteY112" fmla="*/ 601714 h 838042"/>
                <a:gd name="connsiteX113" fmla="*/ 762796 w 1037165"/>
                <a:gd name="connsiteY113" fmla="*/ 562523 h 838042"/>
                <a:gd name="connsiteX114" fmla="*/ 650582 w 1037165"/>
                <a:gd name="connsiteY114" fmla="*/ 479794 h 838042"/>
                <a:gd name="connsiteX115" fmla="*/ 646772 w 1037165"/>
                <a:gd name="connsiteY115" fmla="*/ 462649 h 838042"/>
                <a:gd name="connsiteX116" fmla="*/ 658202 w 1037165"/>
                <a:gd name="connsiteY116" fmla="*/ 426454 h 838042"/>
                <a:gd name="connsiteX117" fmla="*/ 726782 w 1037165"/>
                <a:gd name="connsiteY117" fmla="*/ 405499 h 838042"/>
                <a:gd name="connsiteX118" fmla="*/ 844892 w 1037165"/>
                <a:gd name="connsiteY118" fmla="*/ 407404 h 838042"/>
                <a:gd name="connsiteX119" fmla="*/ 873467 w 1037165"/>
                <a:gd name="connsiteY119" fmla="*/ 409309 h 838042"/>
                <a:gd name="connsiteX120" fmla="*/ 902042 w 1037165"/>
                <a:gd name="connsiteY120" fmla="*/ 415024 h 838042"/>
                <a:gd name="connsiteX121" fmla="*/ 953477 w 1037165"/>
                <a:gd name="connsiteY121" fmla="*/ 424549 h 838042"/>
                <a:gd name="connsiteX122" fmla="*/ 1004912 w 1037165"/>
                <a:gd name="connsiteY122" fmla="*/ 422644 h 838042"/>
                <a:gd name="connsiteX123" fmla="*/ 1033487 w 1037165"/>
                <a:gd name="connsiteY123" fmla="*/ 415024 h 838042"/>
                <a:gd name="connsiteX124" fmla="*/ 1035392 w 1037165"/>
                <a:gd name="connsiteY124" fmla="*/ 390259 h 838042"/>
                <a:gd name="connsiteX125" fmla="*/ 1020514 w 1037165"/>
                <a:gd name="connsiteY125" fmla="*/ 377797 h 838042"/>
                <a:gd name="connsiteX126" fmla="*/ 964889 w 1037165"/>
                <a:gd name="connsiteY126" fmla="*/ 358029 h 838042"/>
                <a:gd name="connsiteX127" fmla="*/ 907856 w 1037165"/>
                <a:gd name="connsiteY127" fmla="*/ 350516 h 838042"/>
                <a:gd name="connsiteX128" fmla="*/ 827747 w 1037165"/>
                <a:gd name="connsiteY128" fmla="*/ 357874 h 838042"/>
                <a:gd name="connsiteX129" fmla="*/ 822032 w 1037165"/>
                <a:gd name="connsiteY129" fmla="*/ 359779 h 838042"/>
                <a:gd name="connsiteX130" fmla="*/ 732497 w 1037165"/>
                <a:gd name="connsiteY130" fmla="*/ 361684 h 838042"/>
                <a:gd name="connsiteX131" fmla="*/ 671537 w 1037165"/>
                <a:gd name="connsiteY131" fmla="*/ 369304 h 838042"/>
                <a:gd name="connsiteX132" fmla="*/ 648677 w 1037165"/>
                <a:gd name="connsiteY132" fmla="*/ 373114 h 838042"/>
                <a:gd name="connsiteX133" fmla="*/ 644867 w 1037165"/>
                <a:gd name="connsiteY133" fmla="*/ 361684 h 838042"/>
                <a:gd name="connsiteX134" fmla="*/ 642962 w 1037165"/>
                <a:gd name="connsiteY134" fmla="*/ 355969 h 838042"/>
                <a:gd name="connsiteX135" fmla="*/ 644867 w 1037165"/>
                <a:gd name="connsiteY135" fmla="*/ 338824 h 838042"/>
                <a:gd name="connsiteX136" fmla="*/ 646772 w 1037165"/>
                <a:gd name="connsiteY136" fmla="*/ 333109 h 838042"/>
                <a:gd name="connsiteX137" fmla="*/ 663917 w 1037165"/>
                <a:gd name="connsiteY137" fmla="*/ 323584 h 838042"/>
                <a:gd name="connsiteX138" fmla="*/ 675347 w 1037165"/>
                <a:gd name="connsiteY138" fmla="*/ 315964 h 838042"/>
                <a:gd name="connsiteX139" fmla="*/ 677252 w 1037165"/>
                <a:gd name="connsiteY139" fmla="*/ 310249 h 838042"/>
                <a:gd name="connsiteX140" fmla="*/ 682967 w 1037165"/>
                <a:gd name="connsiteY140" fmla="*/ 308344 h 838042"/>
                <a:gd name="connsiteX141" fmla="*/ 688682 w 1037165"/>
                <a:gd name="connsiteY141" fmla="*/ 304534 h 838042"/>
                <a:gd name="connsiteX142" fmla="*/ 698207 w 1037165"/>
                <a:gd name="connsiteY142" fmla="*/ 295009 h 838042"/>
                <a:gd name="connsiteX143" fmla="*/ 707732 w 1037165"/>
                <a:gd name="connsiteY143" fmla="*/ 283579 h 838042"/>
                <a:gd name="connsiteX144" fmla="*/ 719162 w 1037165"/>
                <a:gd name="connsiteY144" fmla="*/ 275959 h 838042"/>
                <a:gd name="connsiteX145" fmla="*/ 734402 w 1037165"/>
                <a:gd name="connsiteY145" fmla="*/ 262624 h 838042"/>
                <a:gd name="connsiteX146" fmla="*/ 743927 w 1037165"/>
                <a:gd name="connsiteY146" fmla="*/ 251194 h 838042"/>
                <a:gd name="connsiteX147" fmla="*/ 755357 w 1037165"/>
                <a:gd name="connsiteY147" fmla="*/ 241669 h 838042"/>
                <a:gd name="connsiteX148" fmla="*/ 761072 w 1037165"/>
                <a:gd name="connsiteY148" fmla="*/ 230239 h 838042"/>
                <a:gd name="connsiteX149" fmla="*/ 762977 w 1037165"/>
                <a:gd name="connsiteY149" fmla="*/ 224524 h 838042"/>
                <a:gd name="connsiteX150" fmla="*/ 768692 w 1037165"/>
                <a:gd name="connsiteY150" fmla="*/ 213094 h 838042"/>
                <a:gd name="connsiteX151" fmla="*/ 766787 w 1037165"/>
                <a:gd name="connsiteY151" fmla="*/ 197854 h 838042"/>
                <a:gd name="connsiteX152" fmla="*/ 761072 w 1037165"/>
                <a:gd name="connsiteY152" fmla="*/ 195949 h 838042"/>
                <a:gd name="connsiteX153" fmla="*/ 740117 w 1037165"/>
                <a:gd name="connsiteY153" fmla="*/ 197854 h 838042"/>
                <a:gd name="connsiteX154" fmla="*/ 734402 w 1037165"/>
                <a:gd name="connsiteY154" fmla="*/ 201664 h 838042"/>
                <a:gd name="connsiteX155" fmla="*/ 722972 w 1037165"/>
                <a:gd name="connsiteY155" fmla="*/ 205474 h 838042"/>
                <a:gd name="connsiteX156" fmla="*/ 719162 w 1037165"/>
                <a:gd name="connsiteY156" fmla="*/ 211189 h 838042"/>
                <a:gd name="connsiteX157" fmla="*/ 713447 w 1037165"/>
                <a:gd name="connsiteY157" fmla="*/ 213094 h 838042"/>
                <a:gd name="connsiteX158" fmla="*/ 707732 w 1037165"/>
                <a:gd name="connsiteY158" fmla="*/ 216904 h 838042"/>
                <a:gd name="connsiteX159" fmla="*/ 702017 w 1037165"/>
                <a:gd name="connsiteY159" fmla="*/ 222619 h 838042"/>
                <a:gd name="connsiteX160" fmla="*/ 694397 w 1037165"/>
                <a:gd name="connsiteY160" fmla="*/ 226429 h 838042"/>
                <a:gd name="connsiteX161" fmla="*/ 652487 w 1037165"/>
                <a:gd name="connsiteY161" fmla="*/ 255004 h 838042"/>
                <a:gd name="connsiteX162" fmla="*/ 639152 w 1037165"/>
                <a:gd name="connsiteY162" fmla="*/ 266434 h 838042"/>
                <a:gd name="connsiteX163" fmla="*/ 629627 w 1037165"/>
                <a:gd name="connsiteY163" fmla="*/ 283579 h 838042"/>
                <a:gd name="connsiteX164" fmla="*/ 604862 w 1037165"/>
                <a:gd name="connsiteY164" fmla="*/ 289294 h 838042"/>
                <a:gd name="connsiteX165" fmla="*/ 591527 w 1037165"/>
                <a:gd name="connsiteY165" fmla="*/ 293104 h 838042"/>
                <a:gd name="connsiteX166" fmla="*/ 576287 w 1037165"/>
                <a:gd name="connsiteY166" fmla="*/ 291199 h 838042"/>
                <a:gd name="connsiteX167" fmla="*/ 564857 w 1037165"/>
                <a:gd name="connsiteY167" fmla="*/ 287389 h 838042"/>
                <a:gd name="connsiteX168" fmla="*/ 553427 w 1037165"/>
                <a:gd name="connsiteY168" fmla="*/ 283579 h 838042"/>
                <a:gd name="connsiteX169" fmla="*/ 541997 w 1037165"/>
                <a:gd name="connsiteY169" fmla="*/ 279769 h 838042"/>
                <a:gd name="connsiteX170" fmla="*/ 536282 w 1037165"/>
                <a:gd name="connsiteY170" fmla="*/ 277864 h 838042"/>
                <a:gd name="connsiteX171" fmla="*/ 530567 w 1037165"/>
                <a:gd name="connsiteY171" fmla="*/ 274054 h 838042"/>
                <a:gd name="connsiteX172" fmla="*/ 519137 w 1037165"/>
                <a:gd name="connsiteY172" fmla="*/ 268339 h 838042"/>
                <a:gd name="connsiteX173" fmla="*/ 511517 w 1037165"/>
                <a:gd name="connsiteY173" fmla="*/ 256909 h 838042"/>
                <a:gd name="connsiteX174" fmla="*/ 507707 w 1037165"/>
                <a:gd name="connsiteY174" fmla="*/ 235954 h 838042"/>
                <a:gd name="connsiteX175" fmla="*/ 509612 w 1037165"/>
                <a:gd name="connsiteY175" fmla="*/ 171184 h 838042"/>
                <a:gd name="connsiteX176" fmla="*/ 508314 w 1037165"/>
                <a:gd name="connsiteY176" fmla="*/ 73485 h 838042"/>
                <a:gd name="connsiteX177" fmla="*/ 454116 w 1037165"/>
                <a:gd name="connsiteY177" fmla="*/ 11248 h 838042"/>
                <a:gd name="connsiteX178" fmla="*/ 435401 w 1037165"/>
                <a:gd name="connsiteY178" fmla="*/ 68523 h 838042"/>
                <a:gd name="connsiteX179" fmla="*/ 427697 w 1037165"/>
                <a:gd name="connsiteY179" fmla="*/ 137103 h 838042"/>
                <a:gd name="connsiteX180" fmla="*/ 420077 w 1037165"/>
                <a:gd name="connsiteY180" fmla="*/ 169279 h 838042"/>
                <a:gd name="connsiteX181" fmla="*/ 416267 w 1037165"/>
                <a:gd name="connsiteY181" fmla="*/ 186424 h 838042"/>
                <a:gd name="connsiteX182" fmla="*/ 420077 w 1037165"/>
                <a:gd name="connsiteY182" fmla="*/ 207379 h 838042"/>
                <a:gd name="connsiteX183" fmla="*/ 423887 w 1037165"/>
                <a:gd name="connsiteY183" fmla="*/ 213094 h 838042"/>
                <a:gd name="connsiteX184" fmla="*/ 427697 w 1037165"/>
                <a:gd name="connsiteY184" fmla="*/ 224524 h 838042"/>
                <a:gd name="connsiteX185" fmla="*/ 425792 w 1037165"/>
                <a:gd name="connsiteY185" fmla="*/ 251194 h 838042"/>
                <a:gd name="connsiteX186" fmla="*/ 420077 w 1037165"/>
                <a:gd name="connsiteY186" fmla="*/ 253099 h 838042"/>
                <a:gd name="connsiteX187" fmla="*/ 414362 w 1037165"/>
                <a:gd name="connsiteY187" fmla="*/ 256909 h 838042"/>
                <a:gd name="connsiteX188" fmla="*/ 423887 w 1037165"/>
                <a:gd name="connsiteY188" fmla="*/ 253099 h 838042"/>
                <a:gd name="connsiteX0" fmla="*/ 423887 w 1034236"/>
                <a:gd name="connsiteY0" fmla="*/ 253099 h 838042"/>
                <a:gd name="connsiteX1" fmla="*/ 423887 w 1034236"/>
                <a:gd name="connsiteY1" fmla="*/ 253099 h 838042"/>
                <a:gd name="connsiteX2" fmla="*/ 397217 w 1034236"/>
                <a:gd name="connsiteY2" fmla="*/ 262624 h 838042"/>
                <a:gd name="connsiteX3" fmla="*/ 389597 w 1034236"/>
                <a:gd name="connsiteY3" fmla="*/ 264529 h 838042"/>
                <a:gd name="connsiteX4" fmla="*/ 359117 w 1034236"/>
                <a:gd name="connsiteY4" fmla="*/ 266434 h 838042"/>
                <a:gd name="connsiteX5" fmla="*/ 353402 w 1034236"/>
                <a:gd name="connsiteY5" fmla="*/ 270244 h 838042"/>
                <a:gd name="connsiteX6" fmla="*/ 341972 w 1034236"/>
                <a:gd name="connsiteY6" fmla="*/ 279769 h 838042"/>
                <a:gd name="connsiteX7" fmla="*/ 330542 w 1034236"/>
                <a:gd name="connsiteY7" fmla="*/ 283579 h 838042"/>
                <a:gd name="connsiteX8" fmla="*/ 315302 w 1034236"/>
                <a:gd name="connsiteY8" fmla="*/ 289294 h 838042"/>
                <a:gd name="connsiteX9" fmla="*/ 267677 w 1034236"/>
                <a:gd name="connsiteY9" fmla="*/ 285484 h 838042"/>
                <a:gd name="connsiteX10" fmla="*/ 256247 w 1034236"/>
                <a:gd name="connsiteY10" fmla="*/ 281674 h 838042"/>
                <a:gd name="connsiteX11" fmla="*/ 244817 w 1034236"/>
                <a:gd name="connsiteY11" fmla="*/ 277864 h 838042"/>
                <a:gd name="connsiteX12" fmla="*/ 239102 w 1034236"/>
                <a:gd name="connsiteY12" fmla="*/ 275959 h 838042"/>
                <a:gd name="connsiteX13" fmla="*/ 233387 w 1034236"/>
                <a:gd name="connsiteY13" fmla="*/ 274054 h 838042"/>
                <a:gd name="connsiteX14" fmla="*/ 221957 w 1034236"/>
                <a:gd name="connsiteY14" fmla="*/ 272149 h 838042"/>
                <a:gd name="connsiteX15" fmla="*/ 216242 w 1034236"/>
                <a:gd name="connsiteY15" fmla="*/ 270244 h 838042"/>
                <a:gd name="connsiteX16" fmla="*/ 208622 w 1034236"/>
                <a:gd name="connsiteY16" fmla="*/ 268339 h 838042"/>
                <a:gd name="connsiteX17" fmla="*/ 197192 w 1034236"/>
                <a:gd name="connsiteY17" fmla="*/ 264529 h 838042"/>
                <a:gd name="connsiteX18" fmla="*/ 191477 w 1034236"/>
                <a:gd name="connsiteY18" fmla="*/ 262624 h 838042"/>
                <a:gd name="connsiteX19" fmla="*/ 183857 w 1034236"/>
                <a:gd name="connsiteY19" fmla="*/ 260719 h 838042"/>
                <a:gd name="connsiteX20" fmla="*/ 172427 w 1034236"/>
                <a:gd name="connsiteY20" fmla="*/ 255004 h 838042"/>
                <a:gd name="connsiteX21" fmla="*/ 166712 w 1034236"/>
                <a:gd name="connsiteY21" fmla="*/ 251194 h 838042"/>
                <a:gd name="connsiteX22" fmla="*/ 159092 w 1034236"/>
                <a:gd name="connsiteY22" fmla="*/ 239764 h 838042"/>
                <a:gd name="connsiteX23" fmla="*/ 147662 w 1034236"/>
                <a:gd name="connsiteY23" fmla="*/ 235954 h 838042"/>
                <a:gd name="connsiteX24" fmla="*/ 141947 w 1034236"/>
                <a:gd name="connsiteY24" fmla="*/ 232144 h 838042"/>
                <a:gd name="connsiteX25" fmla="*/ 136232 w 1034236"/>
                <a:gd name="connsiteY25" fmla="*/ 230239 h 838042"/>
                <a:gd name="connsiteX26" fmla="*/ 119087 w 1034236"/>
                <a:gd name="connsiteY26" fmla="*/ 226429 h 838042"/>
                <a:gd name="connsiteX27" fmla="*/ 113372 w 1034236"/>
                <a:gd name="connsiteY27" fmla="*/ 220714 h 838042"/>
                <a:gd name="connsiteX28" fmla="*/ 103847 w 1034236"/>
                <a:gd name="connsiteY28" fmla="*/ 203569 h 838042"/>
                <a:gd name="connsiteX29" fmla="*/ 86702 w 1034236"/>
                <a:gd name="connsiteY29" fmla="*/ 195949 h 838042"/>
                <a:gd name="connsiteX30" fmla="*/ 80987 w 1034236"/>
                <a:gd name="connsiteY30" fmla="*/ 194044 h 838042"/>
                <a:gd name="connsiteX31" fmla="*/ 61937 w 1034236"/>
                <a:gd name="connsiteY31" fmla="*/ 197854 h 838042"/>
                <a:gd name="connsiteX32" fmla="*/ 56222 w 1034236"/>
                <a:gd name="connsiteY32" fmla="*/ 201664 h 838042"/>
                <a:gd name="connsiteX33" fmla="*/ 52412 w 1034236"/>
                <a:gd name="connsiteY33" fmla="*/ 207379 h 838042"/>
                <a:gd name="connsiteX34" fmla="*/ 48602 w 1034236"/>
                <a:gd name="connsiteY34" fmla="*/ 218809 h 838042"/>
                <a:gd name="connsiteX35" fmla="*/ 52412 w 1034236"/>
                <a:gd name="connsiteY35" fmla="*/ 256909 h 838042"/>
                <a:gd name="connsiteX36" fmla="*/ 56222 w 1034236"/>
                <a:gd name="connsiteY36" fmla="*/ 262624 h 838042"/>
                <a:gd name="connsiteX37" fmla="*/ 61937 w 1034236"/>
                <a:gd name="connsiteY37" fmla="*/ 266434 h 838042"/>
                <a:gd name="connsiteX38" fmla="*/ 65747 w 1034236"/>
                <a:gd name="connsiteY38" fmla="*/ 272149 h 838042"/>
                <a:gd name="connsiteX39" fmla="*/ 82892 w 1034236"/>
                <a:gd name="connsiteY39" fmla="*/ 281674 h 838042"/>
                <a:gd name="connsiteX40" fmla="*/ 105752 w 1034236"/>
                <a:gd name="connsiteY40" fmla="*/ 283579 h 838042"/>
                <a:gd name="connsiteX41" fmla="*/ 126707 w 1034236"/>
                <a:gd name="connsiteY41" fmla="*/ 289294 h 838042"/>
                <a:gd name="connsiteX42" fmla="*/ 132422 w 1034236"/>
                <a:gd name="connsiteY42" fmla="*/ 291199 h 838042"/>
                <a:gd name="connsiteX43" fmla="*/ 138137 w 1034236"/>
                <a:gd name="connsiteY43" fmla="*/ 296914 h 838042"/>
                <a:gd name="connsiteX44" fmla="*/ 145757 w 1034236"/>
                <a:gd name="connsiteY44" fmla="*/ 298819 h 838042"/>
                <a:gd name="connsiteX45" fmla="*/ 168617 w 1034236"/>
                <a:gd name="connsiteY45" fmla="*/ 302629 h 838042"/>
                <a:gd name="connsiteX46" fmla="*/ 193382 w 1034236"/>
                <a:gd name="connsiteY46" fmla="*/ 308344 h 838042"/>
                <a:gd name="connsiteX47" fmla="*/ 210527 w 1034236"/>
                <a:gd name="connsiteY47" fmla="*/ 314059 h 838042"/>
                <a:gd name="connsiteX48" fmla="*/ 216242 w 1034236"/>
                <a:gd name="connsiteY48" fmla="*/ 315964 h 838042"/>
                <a:gd name="connsiteX49" fmla="*/ 231482 w 1034236"/>
                <a:gd name="connsiteY49" fmla="*/ 319774 h 838042"/>
                <a:gd name="connsiteX50" fmla="*/ 250532 w 1034236"/>
                <a:gd name="connsiteY50" fmla="*/ 325489 h 838042"/>
                <a:gd name="connsiteX51" fmla="*/ 256247 w 1034236"/>
                <a:gd name="connsiteY51" fmla="*/ 329299 h 838042"/>
                <a:gd name="connsiteX52" fmla="*/ 269582 w 1034236"/>
                <a:gd name="connsiteY52" fmla="*/ 344539 h 838042"/>
                <a:gd name="connsiteX53" fmla="*/ 275297 w 1034236"/>
                <a:gd name="connsiteY53" fmla="*/ 363589 h 838042"/>
                <a:gd name="connsiteX54" fmla="*/ 277202 w 1034236"/>
                <a:gd name="connsiteY54" fmla="*/ 369304 h 838042"/>
                <a:gd name="connsiteX55" fmla="*/ 279107 w 1034236"/>
                <a:gd name="connsiteY55" fmla="*/ 375019 h 838042"/>
                <a:gd name="connsiteX56" fmla="*/ 281012 w 1034236"/>
                <a:gd name="connsiteY56" fmla="*/ 399784 h 838042"/>
                <a:gd name="connsiteX57" fmla="*/ 282917 w 1034236"/>
                <a:gd name="connsiteY57" fmla="*/ 405499 h 838042"/>
                <a:gd name="connsiteX58" fmla="*/ 281012 w 1034236"/>
                <a:gd name="connsiteY58" fmla="*/ 424549 h 838042"/>
                <a:gd name="connsiteX59" fmla="*/ 279107 w 1034236"/>
                <a:gd name="connsiteY59" fmla="*/ 434074 h 838042"/>
                <a:gd name="connsiteX60" fmla="*/ 265772 w 1034236"/>
                <a:gd name="connsiteY60" fmla="*/ 447409 h 838042"/>
                <a:gd name="connsiteX61" fmla="*/ 254342 w 1034236"/>
                <a:gd name="connsiteY61" fmla="*/ 455029 h 838042"/>
                <a:gd name="connsiteX62" fmla="*/ 242912 w 1034236"/>
                <a:gd name="connsiteY62" fmla="*/ 458839 h 838042"/>
                <a:gd name="connsiteX63" fmla="*/ 128612 w 1034236"/>
                <a:gd name="connsiteY63" fmla="*/ 458839 h 838042"/>
                <a:gd name="connsiteX64" fmla="*/ 122897 w 1034236"/>
                <a:gd name="connsiteY64" fmla="*/ 460744 h 838042"/>
                <a:gd name="connsiteX65" fmla="*/ 107657 w 1034236"/>
                <a:gd name="connsiteY65" fmla="*/ 462649 h 838042"/>
                <a:gd name="connsiteX66" fmla="*/ 90512 w 1034236"/>
                <a:gd name="connsiteY66" fmla="*/ 468364 h 838042"/>
                <a:gd name="connsiteX67" fmla="*/ 84797 w 1034236"/>
                <a:gd name="connsiteY67" fmla="*/ 470269 h 838042"/>
                <a:gd name="connsiteX68" fmla="*/ 79082 w 1034236"/>
                <a:gd name="connsiteY68" fmla="*/ 474079 h 838042"/>
                <a:gd name="connsiteX69" fmla="*/ 67652 w 1034236"/>
                <a:gd name="connsiteY69" fmla="*/ 475984 h 838042"/>
                <a:gd name="connsiteX70" fmla="*/ 29552 w 1034236"/>
                <a:gd name="connsiteY70" fmla="*/ 477889 h 838042"/>
                <a:gd name="connsiteX71" fmla="*/ 18122 w 1034236"/>
                <a:gd name="connsiteY71" fmla="*/ 483604 h 838042"/>
                <a:gd name="connsiteX72" fmla="*/ 8597 w 1034236"/>
                <a:gd name="connsiteY72" fmla="*/ 493129 h 838042"/>
                <a:gd name="connsiteX73" fmla="*/ 6692 w 1034236"/>
                <a:gd name="connsiteY73" fmla="*/ 498844 h 838042"/>
                <a:gd name="connsiteX74" fmla="*/ 2882 w 1034236"/>
                <a:gd name="connsiteY74" fmla="*/ 504559 h 838042"/>
                <a:gd name="connsiteX75" fmla="*/ 14312 w 1034236"/>
                <a:gd name="connsiteY75" fmla="*/ 540754 h 838042"/>
                <a:gd name="connsiteX76" fmla="*/ 147662 w 1034236"/>
                <a:gd name="connsiteY76" fmla="*/ 540754 h 838042"/>
                <a:gd name="connsiteX77" fmla="*/ 155282 w 1034236"/>
                <a:gd name="connsiteY77" fmla="*/ 538849 h 838042"/>
                <a:gd name="connsiteX78" fmla="*/ 305777 w 1034236"/>
                <a:gd name="connsiteY78" fmla="*/ 533134 h 838042"/>
                <a:gd name="connsiteX79" fmla="*/ 321017 w 1034236"/>
                <a:gd name="connsiteY79" fmla="*/ 540754 h 838042"/>
                <a:gd name="connsiteX80" fmla="*/ 332447 w 1034236"/>
                <a:gd name="connsiteY80" fmla="*/ 546469 h 838042"/>
                <a:gd name="connsiteX81" fmla="*/ 336257 w 1034236"/>
                <a:gd name="connsiteY81" fmla="*/ 552184 h 838042"/>
                <a:gd name="connsiteX82" fmla="*/ 341972 w 1034236"/>
                <a:gd name="connsiteY82" fmla="*/ 554089 h 838042"/>
                <a:gd name="connsiteX83" fmla="*/ 353402 w 1034236"/>
                <a:gd name="connsiteY83" fmla="*/ 561709 h 838042"/>
                <a:gd name="connsiteX84" fmla="*/ 359117 w 1034236"/>
                <a:gd name="connsiteY84" fmla="*/ 565519 h 838042"/>
                <a:gd name="connsiteX85" fmla="*/ 362927 w 1034236"/>
                <a:gd name="connsiteY85" fmla="*/ 571234 h 838042"/>
                <a:gd name="connsiteX86" fmla="*/ 368642 w 1034236"/>
                <a:gd name="connsiteY86" fmla="*/ 582664 h 838042"/>
                <a:gd name="connsiteX87" fmla="*/ 364832 w 1034236"/>
                <a:gd name="connsiteY87" fmla="*/ 609334 h 838042"/>
                <a:gd name="connsiteX88" fmla="*/ 361022 w 1034236"/>
                <a:gd name="connsiteY88" fmla="*/ 615049 h 838042"/>
                <a:gd name="connsiteX89" fmla="*/ 359117 w 1034236"/>
                <a:gd name="connsiteY89" fmla="*/ 620764 h 838042"/>
                <a:gd name="connsiteX90" fmla="*/ 355307 w 1034236"/>
                <a:gd name="connsiteY90" fmla="*/ 626479 h 838042"/>
                <a:gd name="connsiteX91" fmla="*/ 353402 w 1034236"/>
                <a:gd name="connsiteY91" fmla="*/ 632194 h 838042"/>
                <a:gd name="connsiteX92" fmla="*/ 349592 w 1034236"/>
                <a:gd name="connsiteY92" fmla="*/ 637909 h 838042"/>
                <a:gd name="connsiteX93" fmla="*/ 332447 w 1034236"/>
                <a:gd name="connsiteY93" fmla="*/ 704584 h 838042"/>
                <a:gd name="connsiteX94" fmla="*/ 330542 w 1034236"/>
                <a:gd name="connsiteY94" fmla="*/ 756019 h 838042"/>
                <a:gd name="connsiteX95" fmla="*/ 332447 w 1034236"/>
                <a:gd name="connsiteY95" fmla="*/ 780784 h 838042"/>
                <a:gd name="connsiteX96" fmla="*/ 334352 w 1034236"/>
                <a:gd name="connsiteY96" fmla="*/ 786499 h 838042"/>
                <a:gd name="connsiteX97" fmla="*/ 338162 w 1034236"/>
                <a:gd name="connsiteY97" fmla="*/ 790309 h 838042"/>
                <a:gd name="connsiteX98" fmla="*/ 366737 w 1034236"/>
                <a:gd name="connsiteY98" fmla="*/ 836029 h 838042"/>
                <a:gd name="connsiteX99" fmla="*/ 389597 w 1034236"/>
                <a:gd name="connsiteY99" fmla="*/ 837934 h 838042"/>
                <a:gd name="connsiteX100" fmla="*/ 397407 w 1034236"/>
                <a:gd name="connsiteY100" fmla="*/ 833530 h 838042"/>
                <a:gd name="connsiteX101" fmla="*/ 402932 w 1034236"/>
                <a:gd name="connsiteY101" fmla="*/ 784594 h 838042"/>
                <a:gd name="connsiteX102" fmla="*/ 406742 w 1034236"/>
                <a:gd name="connsiteY102" fmla="*/ 727444 h 838042"/>
                <a:gd name="connsiteX103" fmla="*/ 423887 w 1034236"/>
                <a:gd name="connsiteY103" fmla="*/ 672199 h 838042"/>
                <a:gd name="connsiteX104" fmla="*/ 429602 w 1034236"/>
                <a:gd name="connsiteY104" fmla="*/ 658864 h 838042"/>
                <a:gd name="connsiteX105" fmla="*/ 444084 w 1034236"/>
                <a:gd name="connsiteY105" fmla="*/ 626947 h 838042"/>
                <a:gd name="connsiteX106" fmla="*/ 464289 w 1034236"/>
                <a:gd name="connsiteY106" fmla="*/ 600072 h 838042"/>
                <a:gd name="connsiteX107" fmla="*/ 523510 w 1034236"/>
                <a:gd name="connsiteY107" fmla="*/ 565123 h 838042"/>
                <a:gd name="connsiteX108" fmla="*/ 599348 w 1034236"/>
                <a:gd name="connsiteY108" fmla="*/ 550915 h 838042"/>
                <a:gd name="connsiteX109" fmla="*/ 707801 w 1034236"/>
                <a:gd name="connsiteY109" fmla="*/ 612819 h 838042"/>
                <a:gd name="connsiteX110" fmla="*/ 780122 w 1034236"/>
                <a:gd name="connsiteY110" fmla="*/ 656959 h 838042"/>
                <a:gd name="connsiteX111" fmla="*/ 804887 w 1034236"/>
                <a:gd name="connsiteY111" fmla="*/ 632194 h 838042"/>
                <a:gd name="connsiteX112" fmla="*/ 801077 w 1034236"/>
                <a:gd name="connsiteY112" fmla="*/ 601714 h 838042"/>
                <a:gd name="connsiteX113" fmla="*/ 762796 w 1034236"/>
                <a:gd name="connsiteY113" fmla="*/ 562523 h 838042"/>
                <a:gd name="connsiteX114" fmla="*/ 650582 w 1034236"/>
                <a:gd name="connsiteY114" fmla="*/ 479794 h 838042"/>
                <a:gd name="connsiteX115" fmla="*/ 646772 w 1034236"/>
                <a:gd name="connsiteY115" fmla="*/ 462649 h 838042"/>
                <a:gd name="connsiteX116" fmla="*/ 658202 w 1034236"/>
                <a:gd name="connsiteY116" fmla="*/ 426454 h 838042"/>
                <a:gd name="connsiteX117" fmla="*/ 726782 w 1034236"/>
                <a:gd name="connsiteY117" fmla="*/ 405499 h 838042"/>
                <a:gd name="connsiteX118" fmla="*/ 844892 w 1034236"/>
                <a:gd name="connsiteY118" fmla="*/ 407404 h 838042"/>
                <a:gd name="connsiteX119" fmla="*/ 873467 w 1034236"/>
                <a:gd name="connsiteY119" fmla="*/ 409309 h 838042"/>
                <a:gd name="connsiteX120" fmla="*/ 902042 w 1034236"/>
                <a:gd name="connsiteY120" fmla="*/ 415024 h 838042"/>
                <a:gd name="connsiteX121" fmla="*/ 953477 w 1034236"/>
                <a:gd name="connsiteY121" fmla="*/ 424549 h 838042"/>
                <a:gd name="connsiteX122" fmla="*/ 1004912 w 1034236"/>
                <a:gd name="connsiteY122" fmla="*/ 422644 h 838042"/>
                <a:gd name="connsiteX123" fmla="*/ 1033487 w 1034236"/>
                <a:gd name="connsiteY123" fmla="*/ 415024 h 838042"/>
                <a:gd name="connsiteX124" fmla="*/ 1020514 w 1034236"/>
                <a:gd name="connsiteY124" fmla="*/ 377797 h 838042"/>
                <a:gd name="connsiteX125" fmla="*/ 964889 w 1034236"/>
                <a:gd name="connsiteY125" fmla="*/ 358029 h 838042"/>
                <a:gd name="connsiteX126" fmla="*/ 907856 w 1034236"/>
                <a:gd name="connsiteY126" fmla="*/ 350516 h 838042"/>
                <a:gd name="connsiteX127" fmla="*/ 827747 w 1034236"/>
                <a:gd name="connsiteY127" fmla="*/ 357874 h 838042"/>
                <a:gd name="connsiteX128" fmla="*/ 822032 w 1034236"/>
                <a:gd name="connsiteY128" fmla="*/ 359779 h 838042"/>
                <a:gd name="connsiteX129" fmla="*/ 732497 w 1034236"/>
                <a:gd name="connsiteY129" fmla="*/ 361684 h 838042"/>
                <a:gd name="connsiteX130" fmla="*/ 671537 w 1034236"/>
                <a:gd name="connsiteY130" fmla="*/ 369304 h 838042"/>
                <a:gd name="connsiteX131" fmla="*/ 648677 w 1034236"/>
                <a:gd name="connsiteY131" fmla="*/ 373114 h 838042"/>
                <a:gd name="connsiteX132" fmla="*/ 644867 w 1034236"/>
                <a:gd name="connsiteY132" fmla="*/ 361684 h 838042"/>
                <a:gd name="connsiteX133" fmla="*/ 642962 w 1034236"/>
                <a:gd name="connsiteY133" fmla="*/ 355969 h 838042"/>
                <a:gd name="connsiteX134" fmla="*/ 644867 w 1034236"/>
                <a:gd name="connsiteY134" fmla="*/ 338824 h 838042"/>
                <a:gd name="connsiteX135" fmla="*/ 646772 w 1034236"/>
                <a:gd name="connsiteY135" fmla="*/ 333109 h 838042"/>
                <a:gd name="connsiteX136" fmla="*/ 663917 w 1034236"/>
                <a:gd name="connsiteY136" fmla="*/ 323584 h 838042"/>
                <a:gd name="connsiteX137" fmla="*/ 675347 w 1034236"/>
                <a:gd name="connsiteY137" fmla="*/ 315964 h 838042"/>
                <a:gd name="connsiteX138" fmla="*/ 677252 w 1034236"/>
                <a:gd name="connsiteY138" fmla="*/ 310249 h 838042"/>
                <a:gd name="connsiteX139" fmla="*/ 682967 w 1034236"/>
                <a:gd name="connsiteY139" fmla="*/ 308344 h 838042"/>
                <a:gd name="connsiteX140" fmla="*/ 688682 w 1034236"/>
                <a:gd name="connsiteY140" fmla="*/ 304534 h 838042"/>
                <a:gd name="connsiteX141" fmla="*/ 698207 w 1034236"/>
                <a:gd name="connsiteY141" fmla="*/ 295009 h 838042"/>
                <a:gd name="connsiteX142" fmla="*/ 707732 w 1034236"/>
                <a:gd name="connsiteY142" fmla="*/ 283579 h 838042"/>
                <a:gd name="connsiteX143" fmla="*/ 719162 w 1034236"/>
                <a:gd name="connsiteY143" fmla="*/ 275959 h 838042"/>
                <a:gd name="connsiteX144" fmla="*/ 734402 w 1034236"/>
                <a:gd name="connsiteY144" fmla="*/ 262624 h 838042"/>
                <a:gd name="connsiteX145" fmla="*/ 743927 w 1034236"/>
                <a:gd name="connsiteY145" fmla="*/ 251194 h 838042"/>
                <a:gd name="connsiteX146" fmla="*/ 755357 w 1034236"/>
                <a:gd name="connsiteY146" fmla="*/ 241669 h 838042"/>
                <a:gd name="connsiteX147" fmla="*/ 761072 w 1034236"/>
                <a:gd name="connsiteY147" fmla="*/ 230239 h 838042"/>
                <a:gd name="connsiteX148" fmla="*/ 762977 w 1034236"/>
                <a:gd name="connsiteY148" fmla="*/ 224524 h 838042"/>
                <a:gd name="connsiteX149" fmla="*/ 768692 w 1034236"/>
                <a:gd name="connsiteY149" fmla="*/ 213094 h 838042"/>
                <a:gd name="connsiteX150" fmla="*/ 766787 w 1034236"/>
                <a:gd name="connsiteY150" fmla="*/ 197854 h 838042"/>
                <a:gd name="connsiteX151" fmla="*/ 761072 w 1034236"/>
                <a:gd name="connsiteY151" fmla="*/ 195949 h 838042"/>
                <a:gd name="connsiteX152" fmla="*/ 740117 w 1034236"/>
                <a:gd name="connsiteY152" fmla="*/ 197854 h 838042"/>
                <a:gd name="connsiteX153" fmla="*/ 734402 w 1034236"/>
                <a:gd name="connsiteY153" fmla="*/ 201664 h 838042"/>
                <a:gd name="connsiteX154" fmla="*/ 722972 w 1034236"/>
                <a:gd name="connsiteY154" fmla="*/ 205474 h 838042"/>
                <a:gd name="connsiteX155" fmla="*/ 719162 w 1034236"/>
                <a:gd name="connsiteY155" fmla="*/ 211189 h 838042"/>
                <a:gd name="connsiteX156" fmla="*/ 713447 w 1034236"/>
                <a:gd name="connsiteY156" fmla="*/ 213094 h 838042"/>
                <a:gd name="connsiteX157" fmla="*/ 707732 w 1034236"/>
                <a:gd name="connsiteY157" fmla="*/ 216904 h 838042"/>
                <a:gd name="connsiteX158" fmla="*/ 702017 w 1034236"/>
                <a:gd name="connsiteY158" fmla="*/ 222619 h 838042"/>
                <a:gd name="connsiteX159" fmla="*/ 694397 w 1034236"/>
                <a:gd name="connsiteY159" fmla="*/ 226429 h 838042"/>
                <a:gd name="connsiteX160" fmla="*/ 652487 w 1034236"/>
                <a:gd name="connsiteY160" fmla="*/ 255004 h 838042"/>
                <a:gd name="connsiteX161" fmla="*/ 639152 w 1034236"/>
                <a:gd name="connsiteY161" fmla="*/ 266434 h 838042"/>
                <a:gd name="connsiteX162" fmla="*/ 629627 w 1034236"/>
                <a:gd name="connsiteY162" fmla="*/ 283579 h 838042"/>
                <a:gd name="connsiteX163" fmla="*/ 604862 w 1034236"/>
                <a:gd name="connsiteY163" fmla="*/ 289294 h 838042"/>
                <a:gd name="connsiteX164" fmla="*/ 591527 w 1034236"/>
                <a:gd name="connsiteY164" fmla="*/ 293104 h 838042"/>
                <a:gd name="connsiteX165" fmla="*/ 576287 w 1034236"/>
                <a:gd name="connsiteY165" fmla="*/ 291199 h 838042"/>
                <a:gd name="connsiteX166" fmla="*/ 564857 w 1034236"/>
                <a:gd name="connsiteY166" fmla="*/ 287389 h 838042"/>
                <a:gd name="connsiteX167" fmla="*/ 553427 w 1034236"/>
                <a:gd name="connsiteY167" fmla="*/ 283579 h 838042"/>
                <a:gd name="connsiteX168" fmla="*/ 541997 w 1034236"/>
                <a:gd name="connsiteY168" fmla="*/ 279769 h 838042"/>
                <a:gd name="connsiteX169" fmla="*/ 536282 w 1034236"/>
                <a:gd name="connsiteY169" fmla="*/ 277864 h 838042"/>
                <a:gd name="connsiteX170" fmla="*/ 530567 w 1034236"/>
                <a:gd name="connsiteY170" fmla="*/ 274054 h 838042"/>
                <a:gd name="connsiteX171" fmla="*/ 519137 w 1034236"/>
                <a:gd name="connsiteY171" fmla="*/ 268339 h 838042"/>
                <a:gd name="connsiteX172" fmla="*/ 511517 w 1034236"/>
                <a:gd name="connsiteY172" fmla="*/ 256909 h 838042"/>
                <a:gd name="connsiteX173" fmla="*/ 507707 w 1034236"/>
                <a:gd name="connsiteY173" fmla="*/ 235954 h 838042"/>
                <a:gd name="connsiteX174" fmla="*/ 509612 w 1034236"/>
                <a:gd name="connsiteY174" fmla="*/ 171184 h 838042"/>
                <a:gd name="connsiteX175" fmla="*/ 508314 w 1034236"/>
                <a:gd name="connsiteY175" fmla="*/ 73485 h 838042"/>
                <a:gd name="connsiteX176" fmla="*/ 454116 w 1034236"/>
                <a:gd name="connsiteY176" fmla="*/ 11248 h 838042"/>
                <a:gd name="connsiteX177" fmla="*/ 435401 w 1034236"/>
                <a:gd name="connsiteY177" fmla="*/ 68523 h 838042"/>
                <a:gd name="connsiteX178" fmla="*/ 427697 w 1034236"/>
                <a:gd name="connsiteY178" fmla="*/ 137103 h 838042"/>
                <a:gd name="connsiteX179" fmla="*/ 420077 w 1034236"/>
                <a:gd name="connsiteY179" fmla="*/ 169279 h 838042"/>
                <a:gd name="connsiteX180" fmla="*/ 416267 w 1034236"/>
                <a:gd name="connsiteY180" fmla="*/ 186424 h 838042"/>
                <a:gd name="connsiteX181" fmla="*/ 420077 w 1034236"/>
                <a:gd name="connsiteY181" fmla="*/ 207379 h 838042"/>
                <a:gd name="connsiteX182" fmla="*/ 423887 w 1034236"/>
                <a:gd name="connsiteY182" fmla="*/ 213094 h 838042"/>
                <a:gd name="connsiteX183" fmla="*/ 427697 w 1034236"/>
                <a:gd name="connsiteY183" fmla="*/ 224524 h 838042"/>
                <a:gd name="connsiteX184" fmla="*/ 425792 w 1034236"/>
                <a:gd name="connsiteY184" fmla="*/ 251194 h 838042"/>
                <a:gd name="connsiteX185" fmla="*/ 420077 w 1034236"/>
                <a:gd name="connsiteY185" fmla="*/ 253099 h 838042"/>
                <a:gd name="connsiteX186" fmla="*/ 414362 w 1034236"/>
                <a:gd name="connsiteY186" fmla="*/ 256909 h 838042"/>
                <a:gd name="connsiteX187" fmla="*/ 423887 w 1034236"/>
                <a:gd name="connsiteY187" fmla="*/ 253099 h 838042"/>
                <a:gd name="connsiteX0" fmla="*/ 423887 w 1034401"/>
                <a:gd name="connsiteY0" fmla="*/ 253099 h 838042"/>
                <a:gd name="connsiteX1" fmla="*/ 423887 w 1034401"/>
                <a:gd name="connsiteY1" fmla="*/ 253099 h 838042"/>
                <a:gd name="connsiteX2" fmla="*/ 397217 w 1034401"/>
                <a:gd name="connsiteY2" fmla="*/ 262624 h 838042"/>
                <a:gd name="connsiteX3" fmla="*/ 389597 w 1034401"/>
                <a:gd name="connsiteY3" fmla="*/ 264529 h 838042"/>
                <a:gd name="connsiteX4" fmla="*/ 359117 w 1034401"/>
                <a:gd name="connsiteY4" fmla="*/ 266434 h 838042"/>
                <a:gd name="connsiteX5" fmla="*/ 353402 w 1034401"/>
                <a:gd name="connsiteY5" fmla="*/ 270244 h 838042"/>
                <a:gd name="connsiteX6" fmla="*/ 341972 w 1034401"/>
                <a:gd name="connsiteY6" fmla="*/ 279769 h 838042"/>
                <a:gd name="connsiteX7" fmla="*/ 330542 w 1034401"/>
                <a:gd name="connsiteY7" fmla="*/ 283579 h 838042"/>
                <a:gd name="connsiteX8" fmla="*/ 315302 w 1034401"/>
                <a:gd name="connsiteY8" fmla="*/ 289294 h 838042"/>
                <a:gd name="connsiteX9" fmla="*/ 267677 w 1034401"/>
                <a:gd name="connsiteY9" fmla="*/ 285484 h 838042"/>
                <a:gd name="connsiteX10" fmla="*/ 256247 w 1034401"/>
                <a:gd name="connsiteY10" fmla="*/ 281674 h 838042"/>
                <a:gd name="connsiteX11" fmla="*/ 244817 w 1034401"/>
                <a:gd name="connsiteY11" fmla="*/ 277864 h 838042"/>
                <a:gd name="connsiteX12" fmla="*/ 239102 w 1034401"/>
                <a:gd name="connsiteY12" fmla="*/ 275959 h 838042"/>
                <a:gd name="connsiteX13" fmla="*/ 233387 w 1034401"/>
                <a:gd name="connsiteY13" fmla="*/ 274054 h 838042"/>
                <a:gd name="connsiteX14" fmla="*/ 221957 w 1034401"/>
                <a:gd name="connsiteY14" fmla="*/ 272149 h 838042"/>
                <a:gd name="connsiteX15" fmla="*/ 216242 w 1034401"/>
                <a:gd name="connsiteY15" fmla="*/ 270244 h 838042"/>
                <a:gd name="connsiteX16" fmla="*/ 208622 w 1034401"/>
                <a:gd name="connsiteY16" fmla="*/ 268339 h 838042"/>
                <a:gd name="connsiteX17" fmla="*/ 197192 w 1034401"/>
                <a:gd name="connsiteY17" fmla="*/ 264529 h 838042"/>
                <a:gd name="connsiteX18" fmla="*/ 191477 w 1034401"/>
                <a:gd name="connsiteY18" fmla="*/ 262624 h 838042"/>
                <a:gd name="connsiteX19" fmla="*/ 183857 w 1034401"/>
                <a:gd name="connsiteY19" fmla="*/ 260719 h 838042"/>
                <a:gd name="connsiteX20" fmla="*/ 172427 w 1034401"/>
                <a:gd name="connsiteY20" fmla="*/ 255004 h 838042"/>
                <a:gd name="connsiteX21" fmla="*/ 166712 w 1034401"/>
                <a:gd name="connsiteY21" fmla="*/ 251194 h 838042"/>
                <a:gd name="connsiteX22" fmla="*/ 159092 w 1034401"/>
                <a:gd name="connsiteY22" fmla="*/ 239764 h 838042"/>
                <a:gd name="connsiteX23" fmla="*/ 147662 w 1034401"/>
                <a:gd name="connsiteY23" fmla="*/ 235954 h 838042"/>
                <a:gd name="connsiteX24" fmla="*/ 141947 w 1034401"/>
                <a:gd name="connsiteY24" fmla="*/ 232144 h 838042"/>
                <a:gd name="connsiteX25" fmla="*/ 136232 w 1034401"/>
                <a:gd name="connsiteY25" fmla="*/ 230239 h 838042"/>
                <a:gd name="connsiteX26" fmla="*/ 119087 w 1034401"/>
                <a:gd name="connsiteY26" fmla="*/ 226429 h 838042"/>
                <a:gd name="connsiteX27" fmla="*/ 113372 w 1034401"/>
                <a:gd name="connsiteY27" fmla="*/ 220714 h 838042"/>
                <a:gd name="connsiteX28" fmla="*/ 103847 w 1034401"/>
                <a:gd name="connsiteY28" fmla="*/ 203569 h 838042"/>
                <a:gd name="connsiteX29" fmla="*/ 86702 w 1034401"/>
                <a:gd name="connsiteY29" fmla="*/ 195949 h 838042"/>
                <a:gd name="connsiteX30" fmla="*/ 80987 w 1034401"/>
                <a:gd name="connsiteY30" fmla="*/ 194044 h 838042"/>
                <a:gd name="connsiteX31" fmla="*/ 61937 w 1034401"/>
                <a:gd name="connsiteY31" fmla="*/ 197854 h 838042"/>
                <a:gd name="connsiteX32" fmla="*/ 56222 w 1034401"/>
                <a:gd name="connsiteY32" fmla="*/ 201664 h 838042"/>
                <a:gd name="connsiteX33" fmla="*/ 52412 w 1034401"/>
                <a:gd name="connsiteY33" fmla="*/ 207379 h 838042"/>
                <a:gd name="connsiteX34" fmla="*/ 48602 w 1034401"/>
                <a:gd name="connsiteY34" fmla="*/ 218809 h 838042"/>
                <a:gd name="connsiteX35" fmla="*/ 52412 w 1034401"/>
                <a:gd name="connsiteY35" fmla="*/ 256909 h 838042"/>
                <a:gd name="connsiteX36" fmla="*/ 56222 w 1034401"/>
                <a:gd name="connsiteY36" fmla="*/ 262624 h 838042"/>
                <a:gd name="connsiteX37" fmla="*/ 61937 w 1034401"/>
                <a:gd name="connsiteY37" fmla="*/ 266434 h 838042"/>
                <a:gd name="connsiteX38" fmla="*/ 65747 w 1034401"/>
                <a:gd name="connsiteY38" fmla="*/ 272149 h 838042"/>
                <a:gd name="connsiteX39" fmla="*/ 82892 w 1034401"/>
                <a:gd name="connsiteY39" fmla="*/ 281674 h 838042"/>
                <a:gd name="connsiteX40" fmla="*/ 105752 w 1034401"/>
                <a:gd name="connsiteY40" fmla="*/ 283579 h 838042"/>
                <a:gd name="connsiteX41" fmla="*/ 126707 w 1034401"/>
                <a:gd name="connsiteY41" fmla="*/ 289294 h 838042"/>
                <a:gd name="connsiteX42" fmla="*/ 132422 w 1034401"/>
                <a:gd name="connsiteY42" fmla="*/ 291199 h 838042"/>
                <a:gd name="connsiteX43" fmla="*/ 138137 w 1034401"/>
                <a:gd name="connsiteY43" fmla="*/ 296914 h 838042"/>
                <a:gd name="connsiteX44" fmla="*/ 145757 w 1034401"/>
                <a:gd name="connsiteY44" fmla="*/ 298819 h 838042"/>
                <a:gd name="connsiteX45" fmla="*/ 168617 w 1034401"/>
                <a:gd name="connsiteY45" fmla="*/ 302629 h 838042"/>
                <a:gd name="connsiteX46" fmla="*/ 193382 w 1034401"/>
                <a:gd name="connsiteY46" fmla="*/ 308344 h 838042"/>
                <a:gd name="connsiteX47" fmla="*/ 210527 w 1034401"/>
                <a:gd name="connsiteY47" fmla="*/ 314059 h 838042"/>
                <a:gd name="connsiteX48" fmla="*/ 216242 w 1034401"/>
                <a:gd name="connsiteY48" fmla="*/ 315964 h 838042"/>
                <a:gd name="connsiteX49" fmla="*/ 231482 w 1034401"/>
                <a:gd name="connsiteY49" fmla="*/ 319774 h 838042"/>
                <a:gd name="connsiteX50" fmla="*/ 250532 w 1034401"/>
                <a:gd name="connsiteY50" fmla="*/ 325489 h 838042"/>
                <a:gd name="connsiteX51" fmla="*/ 256247 w 1034401"/>
                <a:gd name="connsiteY51" fmla="*/ 329299 h 838042"/>
                <a:gd name="connsiteX52" fmla="*/ 269582 w 1034401"/>
                <a:gd name="connsiteY52" fmla="*/ 344539 h 838042"/>
                <a:gd name="connsiteX53" fmla="*/ 275297 w 1034401"/>
                <a:gd name="connsiteY53" fmla="*/ 363589 h 838042"/>
                <a:gd name="connsiteX54" fmla="*/ 277202 w 1034401"/>
                <a:gd name="connsiteY54" fmla="*/ 369304 h 838042"/>
                <a:gd name="connsiteX55" fmla="*/ 279107 w 1034401"/>
                <a:gd name="connsiteY55" fmla="*/ 375019 h 838042"/>
                <a:gd name="connsiteX56" fmla="*/ 281012 w 1034401"/>
                <a:gd name="connsiteY56" fmla="*/ 399784 h 838042"/>
                <a:gd name="connsiteX57" fmla="*/ 282917 w 1034401"/>
                <a:gd name="connsiteY57" fmla="*/ 405499 h 838042"/>
                <a:gd name="connsiteX58" fmla="*/ 281012 w 1034401"/>
                <a:gd name="connsiteY58" fmla="*/ 424549 h 838042"/>
                <a:gd name="connsiteX59" fmla="*/ 279107 w 1034401"/>
                <a:gd name="connsiteY59" fmla="*/ 434074 h 838042"/>
                <a:gd name="connsiteX60" fmla="*/ 265772 w 1034401"/>
                <a:gd name="connsiteY60" fmla="*/ 447409 h 838042"/>
                <a:gd name="connsiteX61" fmla="*/ 254342 w 1034401"/>
                <a:gd name="connsiteY61" fmla="*/ 455029 h 838042"/>
                <a:gd name="connsiteX62" fmla="*/ 242912 w 1034401"/>
                <a:gd name="connsiteY62" fmla="*/ 458839 h 838042"/>
                <a:gd name="connsiteX63" fmla="*/ 128612 w 1034401"/>
                <a:gd name="connsiteY63" fmla="*/ 458839 h 838042"/>
                <a:gd name="connsiteX64" fmla="*/ 122897 w 1034401"/>
                <a:gd name="connsiteY64" fmla="*/ 460744 h 838042"/>
                <a:gd name="connsiteX65" fmla="*/ 107657 w 1034401"/>
                <a:gd name="connsiteY65" fmla="*/ 462649 h 838042"/>
                <a:gd name="connsiteX66" fmla="*/ 90512 w 1034401"/>
                <a:gd name="connsiteY66" fmla="*/ 468364 h 838042"/>
                <a:gd name="connsiteX67" fmla="*/ 84797 w 1034401"/>
                <a:gd name="connsiteY67" fmla="*/ 470269 h 838042"/>
                <a:gd name="connsiteX68" fmla="*/ 79082 w 1034401"/>
                <a:gd name="connsiteY68" fmla="*/ 474079 h 838042"/>
                <a:gd name="connsiteX69" fmla="*/ 67652 w 1034401"/>
                <a:gd name="connsiteY69" fmla="*/ 475984 h 838042"/>
                <a:gd name="connsiteX70" fmla="*/ 29552 w 1034401"/>
                <a:gd name="connsiteY70" fmla="*/ 477889 h 838042"/>
                <a:gd name="connsiteX71" fmla="*/ 18122 w 1034401"/>
                <a:gd name="connsiteY71" fmla="*/ 483604 h 838042"/>
                <a:gd name="connsiteX72" fmla="*/ 8597 w 1034401"/>
                <a:gd name="connsiteY72" fmla="*/ 493129 h 838042"/>
                <a:gd name="connsiteX73" fmla="*/ 6692 w 1034401"/>
                <a:gd name="connsiteY73" fmla="*/ 498844 h 838042"/>
                <a:gd name="connsiteX74" fmla="*/ 2882 w 1034401"/>
                <a:gd name="connsiteY74" fmla="*/ 504559 h 838042"/>
                <a:gd name="connsiteX75" fmla="*/ 14312 w 1034401"/>
                <a:gd name="connsiteY75" fmla="*/ 540754 h 838042"/>
                <a:gd name="connsiteX76" fmla="*/ 147662 w 1034401"/>
                <a:gd name="connsiteY76" fmla="*/ 540754 h 838042"/>
                <a:gd name="connsiteX77" fmla="*/ 155282 w 1034401"/>
                <a:gd name="connsiteY77" fmla="*/ 538849 h 838042"/>
                <a:gd name="connsiteX78" fmla="*/ 305777 w 1034401"/>
                <a:gd name="connsiteY78" fmla="*/ 533134 h 838042"/>
                <a:gd name="connsiteX79" fmla="*/ 321017 w 1034401"/>
                <a:gd name="connsiteY79" fmla="*/ 540754 h 838042"/>
                <a:gd name="connsiteX80" fmla="*/ 332447 w 1034401"/>
                <a:gd name="connsiteY80" fmla="*/ 546469 h 838042"/>
                <a:gd name="connsiteX81" fmla="*/ 336257 w 1034401"/>
                <a:gd name="connsiteY81" fmla="*/ 552184 h 838042"/>
                <a:gd name="connsiteX82" fmla="*/ 341972 w 1034401"/>
                <a:gd name="connsiteY82" fmla="*/ 554089 h 838042"/>
                <a:gd name="connsiteX83" fmla="*/ 353402 w 1034401"/>
                <a:gd name="connsiteY83" fmla="*/ 561709 h 838042"/>
                <a:gd name="connsiteX84" fmla="*/ 359117 w 1034401"/>
                <a:gd name="connsiteY84" fmla="*/ 565519 h 838042"/>
                <a:gd name="connsiteX85" fmla="*/ 362927 w 1034401"/>
                <a:gd name="connsiteY85" fmla="*/ 571234 h 838042"/>
                <a:gd name="connsiteX86" fmla="*/ 368642 w 1034401"/>
                <a:gd name="connsiteY86" fmla="*/ 582664 h 838042"/>
                <a:gd name="connsiteX87" fmla="*/ 364832 w 1034401"/>
                <a:gd name="connsiteY87" fmla="*/ 609334 h 838042"/>
                <a:gd name="connsiteX88" fmla="*/ 361022 w 1034401"/>
                <a:gd name="connsiteY88" fmla="*/ 615049 h 838042"/>
                <a:gd name="connsiteX89" fmla="*/ 359117 w 1034401"/>
                <a:gd name="connsiteY89" fmla="*/ 620764 h 838042"/>
                <a:gd name="connsiteX90" fmla="*/ 355307 w 1034401"/>
                <a:gd name="connsiteY90" fmla="*/ 626479 h 838042"/>
                <a:gd name="connsiteX91" fmla="*/ 353402 w 1034401"/>
                <a:gd name="connsiteY91" fmla="*/ 632194 h 838042"/>
                <a:gd name="connsiteX92" fmla="*/ 349592 w 1034401"/>
                <a:gd name="connsiteY92" fmla="*/ 637909 h 838042"/>
                <a:gd name="connsiteX93" fmla="*/ 332447 w 1034401"/>
                <a:gd name="connsiteY93" fmla="*/ 704584 h 838042"/>
                <a:gd name="connsiteX94" fmla="*/ 330542 w 1034401"/>
                <a:gd name="connsiteY94" fmla="*/ 756019 h 838042"/>
                <a:gd name="connsiteX95" fmla="*/ 332447 w 1034401"/>
                <a:gd name="connsiteY95" fmla="*/ 780784 h 838042"/>
                <a:gd name="connsiteX96" fmla="*/ 334352 w 1034401"/>
                <a:gd name="connsiteY96" fmla="*/ 786499 h 838042"/>
                <a:gd name="connsiteX97" fmla="*/ 338162 w 1034401"/>
                <a:gd name="connsiteY97" fmla="*/ 790309 h 838042"/>
                <a:gd name="connsiteX98" fmla="*/ 366737 w 1034401"/>
                <a:gd name="connsiteY98" fmla="*/ 836029 h 838042"/>
                <a:gd name="connsiteX99" fmla="*/ 389597 w 1034401"/>
                <a:gd name="connsiteY99" fmla="*/ 837934 h 838042"/>
                <a:gd name="connsiteX100" fmla="*/ 397407 w 1034401"/>
                <a:gd name="connsiteY100" fmla="*/ 833530 h 838042"/>
                <a:gd name="connsiteX101" fmla="*/ 402932 w 1034401"/>
                <a:gd name="connsiteY101" fmla="*/ 784594 h 838042"/>
                <a:gd name="connsiteX102" fmla="*/ 406742 w 1034401"/>
                <a:gd name="connsiteY102" fmla="*/ 727444 h 838042"/>
                <a:gd name="connsiteX103" fmla="*/ 423887 w 1034401"/>
                <a:gd name="connsiteY103" fmla="*/ 672199 h 838042"/>
                <a:gd name="connsiteX104" fmla="*/ 429602 w 1034401"/>
                <a:gd name="connsiteY104" fmla="*/ 658864 h 838042"/>
                <a:gd name="connsiteX105" fmla="*/ 444084 w 1034401"/>
                <a:gd name="connsiteY105" fmla="*/ 626947 h 838042"/>
                <a:gd name="connsiteX106" fmla="*/ 464289 w 1034401"/>
                <a:gd name="connsiteY106" fmla="*/ 600072 h 838042"/>
                <a:gd name="connsiteX107" fmla="*/ 523510 w 1034401"/>
                <a:gd name="connsiteY107" fmla="*/ 565123 h 838042"/>
                <a:gd name="connsiteX108" fmla="*/ 599348 w 1034401"/>
                <a:gd name="connsiteY108" fmla="*/ 550915 h 838042"/>
                <a:gd name="connsiteX109" fmla="*/ 707801 w 1034401"/>
                <a:gd name="connsiteY109" fmla="*/ 612819 h 838042"/>
                <a:gd name="connsiteX110" fmla="*/ 780122 w 1034401"/>
                <a:gd name="connsiteY110" fmla="*/ 656959 h 838042"/>
                <a:gd name="connsiteX111" fmla="*/ 804887 w 1034401"/>
                <a:gd name="connsiteY111" fmla="*/ 632194 h 838042"/>
                <a:gd name="connsiteX112" fmla="*/ 801077 w 1034401"/>
                <a:gd name="connsiteY112" fmla="*/ 601714 h 838042"/>
                <a:gd name="connsiteX113" fmla="*/ 762796 w 1034401"/>
                <a:gd name="connsiteY113" fmla="*/ 562523 h 838042"/>
                <a:gd name="connsiteX114" fmla="*/ 650582 w 1034401"/>
                <a:gd name="connsiteY114" fmla="*/ 479794 h 838042"/>
                <a:gd name="connsiteX115" fmla="*/ 646772 w 1034401"/>
                <a:gd name="connsiteY115" fmla="*/ 462649 h 838042"/>
                <a:gd name="connsiteX116" fmla="*/ 658202 w 1034401"/>
                <a:gd name="connsiteY116" fmla="*/ 426454 h 838042"/>
                <a:gd name="connsiteX117" fmla="*/ 726782 w 1034401"/>
                <a:gd name="connsiteY117" fmla="*/ 405499 h 838042"/>
                <a:gd name="connsiteX118" fmla="*/ 844892 w 1034401"/>
                <a:gd name="connsiteY118" fmla="*/ 407404 h 838042"/>
                <a:gd name="connsiteX119" fmla="*/ 873467 w 1034401"/>
                <a:gd name="connsiteY119" fmla="*/ 409309 h 838042"/>
                <a:gd name="connsiteX120" fmla="*/ 902042 w 1034401"/>
                <a:gd name="connsiteY120" fmla="*/ 415024 h 838042"/>
                <a:gd name="connsiteX121" fmla="*/ 953477 w 1034401"/>
                <a:gd name="connsiteY121" fmla="*/ 424549 h 838042"/>
                <a:gd name="connsiteX122" fmla="*/ 1002290 w 1034401"/>
                <a:gd name="connsiteY122" fmla="*/ 426835 h 838042"/>
                <a:gd name="connsiteX123" fmla="*/ 1033487 w 1034401"/>
                <a:gd name="connsiteY123" fmla="*/ 415024 h 838042"/>
                <a:gd name="connsiteX124" fmla="*/ 1020514 w 1034401"/>
                <a:gd name="connsiteY124" fmla="*/ 377797 h 838042"/>
                <a:gd name="connsiteX125" fmla="*/ 964889 w 1034401"/>
                <a:gd name="connsiteY125" fmla="*/ 358029 h 838042"/>
                <a:gd name="connsiteX126" fmla="*/ 907856 w 1034401"/>
                <a:gd name="connsiteY126" fmla="*/ 350516 h 838042"/>
                <a:gd name="connsiteX127" fmla="*/ 827747 w 1034401"/>
                <a:gd name="connsiteY127" fmla="*/ 357874 h 838042"/>
                <a:gd name="connsiteX128" fmla="*/ 822032 w 1034401"/>
                <a:gd name="connsiteY128" fmla="*/ 359779 h 838042"/>
                <a:gd name="connsiteX129" fmla="*/ 732497 w 1034401"/>
                <a:gd name="connsiteY129" fmla="*/ 361684 h 838042"/>
                <a:gd name="connsiteX130" fmla="*/ 671537 w 1034401"/>
                <a:gd name="connsiteY130" fmla="*/ 369304 h 838042"/>
                <a:gd name="connsiteX131" fmla="*/ 648677 w 1034401"/>
                <a:gd name="connsiteY131" fmla="*/ 373114 h 838042"/>
                <a:gd name="connsiteX132" fmla="*/ 644867 w 1034401"/>
                <a:gd name="connsiteY132" fmla="*/ 361684 h 838042"/>
                <a:gd name="connsiteX133" fmla="*/ 642962 w 1034401"/>
                <a:gd name="connsiteY133" fmla="*/ 355969 h 838042"/>
                <a:gd name="connsiteX134" fmla="*/ 644867 w 1034401"/>
                <a:gd name="connsiteY134" fmla="*/ 338824 h 838042"/>
                <a:gd name="connsiteX135" fmla="*/ 646772 w 1034401"/>
                <a:gd name="connsiteY135" fmla="*/ 333109 h 838042"/>
                <a:gd name="connsiteX136" fmla="*/ 663917 w 1034401"/>
                <a:gd name="connsiteY136" fmla="*/ 323584 h 838042"/>
                <a:gd name="connsiteX137" fmla="*/ 675347 w 1034401"/>
                <a:gd name="connsiteY137" fmla="*/ 315964 h 838042"/>
                <a:gd name="connsiteX138" fmla="*/ 677252 w 1034401"/>
                <a:gd name="connsiteY138" fmla="*/ 310249 h 838042"/>
                <a:gd name="connsiteX139" fmla="*/ 682967 w 1034401"/>
                <a:gd name="connsiteY139" fmla="*/ 308344 h 838042"/>
                <a:gd name="connsiteX140" fmla="*/ 688682 w 1034401"/>
                <a:gd name="connsiteY140" fmla="*/ 304534 h 838042"/>
                <a:gd name="connsiteX141" fmla="*/ 698207 w 1034401"/>
                <a:gd name="connsiteY141" fmla="*/ 295009 h 838042"/>
                <a:gd name="connsiteX142" fmla="*/ 707732 w 1034401"/>
                <a:gd name="connsiteY142" fmla="*/ 283579 h 838042"/>
                <a:gd name="connsiteX143" fmla="*/ 719162 w 1034401"/>
                <a:gd name="connsiteY143" fmla="*/ 275959 h 838042"/>
                <a:gd name="connsiteX144" fmla="*/ 734402 w 1034401"/>
                <a:gd name="connsiteY144" fmla="*/ 262624 h 838042"/>
                <a:gd name="connsiteX145" fmla="*/ 743927 w 1034401"/>
                <a:gd name="connsiteY145" fmla="*/ 251194 h 838042"/>
                <a:gd name="connsiteX146" fmla="*/ 755357 w 1034401"/>
                <a:gd name="connsiteY146" fmla="*/ 241669 h 838042"/>
                <a:gd name="connsiteX147" fmla="*/ 761072 w 1034401"/>
                <a:gd name="connsiteY147" fmla="*/ 230239 h 838042"/>
                <a:gd name="connsiteX148" fmla="*/ 762977 w 1034401"/>
                <a:gd name="connsiteY148" fmla="*/ 224524 h 838042"/>
                <a:gd name="connsiteX149" fmla="*/ 768692 w 1034401"/>
                <a:gd name="connsiteY149" fmla="*/ 213094 h 838042"/>
                <a:gd name="connsiteX150" fmla="*/ 766787 w 1034401"/>
                <a:gd name="connsiteY150" fmla="*/ 197854 h 838042"/>
                <a:gd name="connsiteX151" fmla="*/ 761072 w 1034401"/>
                <a:gd name="connsiteY151" fmla="*/ 195949 h 838042"/>
                <a:gd name="connsiteX152" fmla="*/ 740117 w 1034401"/>
                <a:gd name="connsiteY152" fmla="*/ 197854 h 838042"/>
                <a:gd name="connsiteX153" fmla="*/ 734402 w 1034401"/>
                <a:gd name="connsiteY153" fmla="*/ 201664 h 838042"/>
                <a:gd name="connsiteX154" fmla="*/ 722972 w 1034401"/>
                <a:gd name="connsiteY154" fmla="*/ 205474 h 838042"/>
                <a:gd name="connsiteX155" fmla="*/ 719162 w 1034401"/>
                <a:gd name="connsiteY155" fmla="*/ 211189 h 838042"/>
                <a:gd name="connsiteX156" fmla="*/ 713447 w 1034401"/>
                <a:gd name="connsiteY156" fmla="*/ 213094 h 838042"/>
                <a:gd name="connsiteX157" fmla="*/ 707732 w 1034401"/>
                <a:gd name="connsiteY157" fmla="*/ 216904 h 838042"/>
                <a:gd name="connsiteX158" fmla="*/ 702017 w 1034401"/>
                <a:gd name="connsiteY158" fmla="*/ 222619 h 838042"/>
                <a:gd name="connsiteX159" fmla="*/ 694397 w 1034401"/>
                <a:gd name="connsiteY159" fmla="*/ 226429 h 838042"/>
                <a:gd name="connsiteX160" fmla="*/ 652487 w 1034401"/>
                <a:gd name="connsiteY160" fmla="*/ 255004 h 838042"/>
                <a:gd name="connsiteX161" fmla="*/ 639152 w 1034401"/>
                <a:gd name="connsiteY161" fmla="*/ 266434 h 838042"/>
                <a:gd name="connsiteX162" fmla="*/ 629627 w 1034401"/>
                <a:gd name="connsiteY162" fmla="*/ 283579 h 838042"/>
                <a:gd name="connsiteX163" fmla="*/ 604862 w 1034401"/>
                <a:gd name="connsiteY163" fmla="*/ 289294 h 838042"/>
                <a:gd name="connsiteX164" fmla="*/ 591527 w 1034401"/>
                <a:gd name="connsiteY164" fmla="*/ 293104 h 838042"/>
                <a:gd name="connsiteX165" fmla="*/ 576287 w 1034401"/>
                <a:gd name="connsiteY165" fmla="*/ 291199 h 838042"/>
                <a:gd name="connsiteX166" fmla="*/ 564857 w 1034401"/>
                <a:gd name="connsiteY166" fmla="*/ 287389 h 838042"/>
                <a:gd name="connsiteX167" fmla="*/ 553427 w 1034401"/>
                <a:gd name="connsiteY167" fmla="*/ 283579 h 838042"/>
                <a:gd name="connsiteX168" fmla="*/ 541997 w 1034401"/>
                <a:gd name="connsiteY168" fmla="*/ 279769 h 838042"/>
                <a:gd name="connsiteX169" fmla="*/ 536282 w 1034401"/>
                <a:gd name="connsiteY169" fmla="*/ 277864 h 838042"/>
                <a:gd name="connsiteX170" fmla="*/ 530567 w 1034401"/>
                <a:gd name="connsiteY170" fmla="*/ 274054 h 838042"/>
                <a:gd name="connsiteX171" fmla="*/ 519137 w 1034401"/>
                <a:gd name="connsiteY171" fmla="*/ 268339 h 838042"/>
                <a:gd name="connsiteX172" fmla="*/ 511517 w 1034401"/>
                <a:gd name="connsiteY172" fmla="*/ 256909 h 838042"/>
                <a:gd name="connsiteX173" fmla="*/ 507707 w 1034401"/>
                <a:gd name="connsiteY173" fmla="*/ 235954 h 838042"/>
                <a:gd name="connsiteX174" fmla="*/ 509612 w 1034401"/>
                <a:gd name="connsiteY174" fmla="*/ 171184 h 838042"/>
                <a:gd name="connsiteX175" fmla="*/ 508314 w 1034401"/>
                <a:gd name="connsiteY175" fmla="*/ 73485 h 838042"/>
                <a:gd name="connsiteX176" fmla="*/ 454116 w 1034401"/>
                <a:gd name="connsiteY176" fmla="*/ 11248 h 838042"/>
                <a:gd name="connsiteX177" fmla="*/ 435401 w 1034401"/>
                <a:gd name="connsiteY177" fmla="*/ 68523 h 838042"/>
                <a:gd name="connsiteX178" fmla="*/ 427697 w 1034401"/>
                <a:gd name="connsiteY178" fmla="*/ 137103 h 838042"/>
                <a:gd name="connsiteX179" fmla="*/ 420077 w 1034401"/>
                <a:gd name="connsiteY179" fmla="*/ 169279 h 838042"/>
                <a:gd name="connsiteX180" fmla="*/ 416267 w 1034401"/>
                <a:gd name="connsiteY180" fmla="*/ 186424 h 838042"/>
                <a:gd name="connsiteX181" fmla="*/ 420077 w 1034401"/>
                <a:gd name="connsiteY181" fmla="*/ 207379 h 838042"/>
                <a:gd name="connsiteX182" fmla="*/ 423887 w 1034401"/>
                <a:gd name="connsiteY182" fmla="*/ 213094 h 838042"/>
                <a:gd name="connsiteX183" fmla="*/ 427697 w 1034401"/>
                <a:gd name="connsiteY183" fmla="*/ 224524 h 838042"/>
                <a:gd name="connsiteX184" fmla="*/ 425792 w 1034401"/>
                <a:gd name="connsiteY184" fmla="*/ 251194 h 838042"/>
                <a:gd name="connsiteX185" fmla="*/ 420077 w 1034401"/>
                <a:gd name="connsiteY185" fmla="*/ 253099 h 838042"/>
                <a:gd name="connsiteX186" fmla="*/ 414362 w 1034401"/>
                <a:gd name="connsiteY186" fmla="*/ 256909 h 838042"/>
                <a:gd name="connsiteX187" fmla="*/ 423887 w 1034401"/>
                <a:gd name="connsiteY187" fmla="*/ 253099 h 838042"/>
                <a:gd name="connsiteX0" fmla="*/ 423887 w 1033466"/>
                <a:gd name="connsiteY0" fmla="*/ 253099 h 838042"/>
                <a:gd name="connsiteX1" fmla="*/ 423887 w 1033466"/>
                <a:gd name="connsiteY1" fmla="*/ 253099 h 838042"/>
                <a:gd name="connsiteX2" fmla="*/ 397217 w 1033466"/>
                <a:gd name="connsiteY2" fmla="*/ 262624 h 838042"/>
                <a:gd name="connsiteX3" fmla="*/ 389597 w 1033466"/>
                <a:gd name="connsiteY3" fmla="*/ 264529 h 838042"/>
                <a:gd name="connsiteX4" fmla="*/ 359117 w 1033466"/>
                <a:gd name="connsiteY4" fmla="*/ 266434 h 838042"/>
                <a:gd name="connsiteX5" fmla="*/ 353402 w 1033466"/>
                <a:gd name="connsiteY5" fmla="*/ 270244 h 838042"/>
                <a:gd name="connsiteX6" fmla="*/ 341972 w 1033466"/>
                <a:gd name="connsiteY6" fmla="*/ 279769 h 838042"/>
                <a:gd name="connsiteX7" fmla="*/ 330542 w 1033466"/>
                <a:gd name="connsiteY7" fmla="*/ 283579 h 838042"/>
                <a:gd name="connsiteX8" fmla="*/ 315302 w 1033466"/>
                <a:gd name="connsiteY8" fmla="*/ 289294 h 838042"/>
                <a:gd name="connsiteX9" fmla="*/ 267677 w 1033466"/>
                <a:gd name="connsiteY9" fmla="*/ 285484 h 838042"/>
                <a:gd name="connsiteX10" fmla="*/ 256247 w 1033466"/>
                <a:gd name="connsiteY10" fmla="*/ 281674 h 838042"/>
                <a:gd name="connsiteX11" fmla="*/ 244817 w 1033466"/>
                <a:gd name="connsiteY11" fmla="*/ 277864 h 838042"/>
                <a:gd name="connsiteX12" fmla="*/ 239102 w 1033466"/>
                <a:gd name="connsiteY12" fmla="*/ 275959 h 838042"/>
                <a:gd name="connsiteX13" fmla="*/ 233387 w 1033466"/>
                <a:gd name="connsiteY13" fmla="*/ 274054 h 838042"/>
                <a:gd name="connsiteX14" fmla="*/ 221957 w 1033466"/>
                <a:gd name="connsiteY14" fmla="*/ 272149 h 838042"/>
                <a:gd name="connsiteX15" fmla="*/ 216242 w 1033466"/>
                <a:gd name="connsiteY15" fmla="*/ 270244 h 838042"/>
                <a:gd name="connsiteX16" fmla="*/ 208622 w 1033466"/>
                <a:gd name="connsiteY16" fmla="*/ 268339 h 838042"/>
                <a:gd name="connsiteX17" fmla="*/ 197192 w 1033466"/>
                <a:gd name="connsiteY17" fmla="*/ 264529 h 838042"/>
                <a:gd name="connsiteX18" fmla="*/ 191477 w 1033466"/>
                <a:gd name="connsiteY18" fmla="*/ 262624 h 838042"/>
                <a:gd name="connsiteX19" fmla="*/ 183857 w 1033466"/>
                <a:gd name="connsiteY19" fmla="*/ 260719 h 838042"/>
                <a:gd name="connsiteX20" fmla="*/ 172427 w 1033466"/>
                <a:gd name="connsiteY20" fmla="*/ 255004 h 838042"/>
                <a:gd name="connsiteX21" fmla="*/ 166712 w 1033466"/>
                <a:gd name="connsiteY21" fmla="*/ 251194 h 838042"/>
                <a:gd name="connsiteX22" fmla="*/ 159092 w 1033466"/>
                <a:gd name="connsiteY22" fmla="*/ 239764 h 838042"/>
                <a:gd name="connsiteX23" fmla="*/ 147662 w 1033466"/>
                <a:gd name="connsiteY23" fmla="*/ 235954 h 838042"/>
                <a:gd name="connsiteX24" fmla="*/ 141947 w 1033466"/>
                <a:gd name="connsiteY24" fmla="*/ 232144 h 838042"/>
                <a:gd name="connsiteX25" fmla="*/ 136232 w 1033466"/>
                <a:gd name="connsiteY25" fmla="*/ 230239 h 838042"/>
                <a:gd name="connsiteX26" fmla="*/ 119087 w 1033466"/>
                <a:gd name="connsiteY26" fmla="*/ 226429 h 838042"/>
                <a:gd name="connsiteX27" fmla="*/ 113372 w 1033466"/>
                <a:gd name="connsiteY27" fmla="*/ 220714 h 838042"/>
                <a:gd name="connsiteX28" fmla="*/ 103847 w 1033466"/>
                <a:gd name="connsiteY28" fmla="*/ 203569 h 838042"/>
                <a:gd name="connsiteX29" fmla="*/ 86702 w 1033466"/>
                <a:gd name="connsiteY29" fmla="*/ 195949 h 838042"/>
                <a:gd name="connsiteX30" fmla="*/ 80987 w 1033466"/>
                <a:gd name="connsiteY30" fmla="*/ 194044 h 838042"/>
                <a:gd name="connsiteX31" fmla="*/ 61937 w 1033466"/>
                <a:gd name="connsiteY31" fmla="*/ 197854 h 838042"/>
                <a:gd name="connsiteX32" fmla="*/ 56222 w 1033466"/>
                <a:gd name="connsiteY32" fmla="*/ 201664 h 838042"/>
                <a:gd name="connsiteX33" fmla="*/ 52412 w 1033466"/>
                <a:gd name="connsiteY33" fmla="*/ 207379 h 838042"/>
                <a:gd name="connsiteX34" fmla="*/ 48602 w 1033466"/>
                <a:gd name="connsiteY34" fmla="*/ 218809 h 838042"/>
                <a:gd name="connsiteX35" fmla="*/ 52412 w 1033466"/>
                <a:gd name="connsiteY35" fmla="*/ 256909 h 838042"/>
                <a:gd name="connsiteX36" fmla="*/ 56222 w 1033466"/>
                <a:gd name="connsiteY36" fmla="*/ 262624 h 838042"/>
                <a:gd name="connsiteX37" fmla="*/ 61937 w 1033466"/>
                <a:gd name="connsiteY37" fmla="*/ 266434 h 838042"/>
                <a:gd name="connsiteX38" fmla="*/ 65747 w 1033466"/>
                <a:gd name="connsiteY38" fmla="*/ 272149 h 838042"/>
                <a:gd name="connsiteX39" fmla="*/ 82892 w 1033466"/>
                <a:gd name="connsiteY39" fmla="*/ 281674 h 838042"/>
                <a:gd name="connsiteX40" fmla="*/ 105752 w 1033466"/>
                <a:gd name="connsiteY40" fmla="*/ 283579 h 838042"/>
                <a:gd name="connsiteX41" fmla="*/ 126707 w 1033466"/>
                <a:gd name="connsiteY41" fmla="*/ 289294 h 838042"/>
                <a:gd name="connsiteX42" fmla="*/ 132422 w 1033466"/>
                <a:gd name="connsiteY42" fmla="*/ 291199 h 838042"/>
                <a:gd name="connsiteX43" fmla="*/ 138137 w 1033466"/>
                <a:gd name="connsiteY43" fmla="*/ 296914 h 838042"/>
                <a:gd name="connsiteX44" fmla="*/ 145757 w 1033466"/>
                <a:gd name="connsiteY44" fmla="*/ 298819 h 838042"/>
                <a:gd name="connsiteX45" fmla="*/ 168617 w 1033466"/>
                <a:gd name="connsiteY45" fmla="*/ 302629 h 838042"/>
                <a:gd name="connsiteX46" fmla="*/ 193382 w 1033466"/>
                <a:gd name="connsiteY46" fmla="*/ 308344 h 838042"/>
                <a:gd name="connsiteX47" fmla="*/ 210527 w 1033466"/>
                <a:gd name="connsiteY47" fmla="*/ 314059 h 838042"/>
                <a:gd name="connsiteX48" fmla="*/ 216242 w 1033466"/>
                <a:gd name="connsiteY48" fmla="*/ 315964 h 838042"/>
                <a:gd name="connsiteX49" fmla="*/ 231482 w 1033466"/>
                <a:gd name="connsiteY49" fmla="*/ 319774 h 838042"/>
                <a:gd name="connsiteX50" fmla="*/ 250532 w 1033466"/>
                <a:gd name="connsiteY50" fmla="*/ 325489 h 838042"/>
                <a:gd name="connsiteX51" fmla="*/ 256247 w 1033466"/>
                <a:gd name="connsiteY51" fmla="*/ 329299 h 838042"/>
                <a:gd name="connsiteX52" fmla="*/ 269582 w 1033466"/>
                <a:gd name="connsiteY52" fmla="*/ 344539 h 838042"/>
                <a:gd name="connsiteX53" fmla="*/ 275297 w 1033466"/>
                <a:gd name="connsiteY53" fmla="*/ 363589 h 838042"/>
                <a:gd name="connsiteX54" fmla="*/ 277202 w 1033466"/>
                <a:gd name="connsiteY54" fmla="*/ 369304 h 838042"/>
                <a:gd name="connsiteX55" fmla="*/ 279107 w 1033466"/>
                <a:gd name="connsiteY55" fmla="*/ 375019 h 838042"/>
                <a:gd name="connsiteX56" fmla="*/ 281012 w 1033466"/>
                <a:gd name="connsiteY56" fmla="*/ 399784 h 838042"/>
                <a:gd name="connsiteX57" fmla="*/ 282917 w 1033466"/>
                <a:gd name="connsiteY57" fmla="*/ 405499 h 838042"/>
                <a:gd name="connsiteX58" fmla="*/ 281012 w 1033466"/>
                <a:gd name="connsiteY58" fmla="*/ 424549 h 838042"/>
                <a:gd name="connsiteX59" fmla="*/ 279107 w 1033466"/>
                <a:gd name="connsiteY59" fmla="*/ 434074 h 838042"/>
                <a:gd name="connsiteX60" fmla="*/ 265772 w 1033466"/>
                <a:gd name="connsiteY60" fmla="*/ 447409 h 838042"/>
                <a:gd name="connsiteX61" fmla="*/ 254342 w 1033466"/>
                <a:gd name="connsiteY61" fmla="*/ 455029 h 838042"/>
                <a:gd name="connsiteX62" fmla="*/ 242912 w 1033466"/>
                <a:gd name="connsiteY62" fmla="*/ 458839 h 838042"/>
                <a:gd name="connsiteX63" fmla="*/ 128612 w 1033466"/>
                <a:gd name="connsiteY63" fmla="*/ 458839 h 838042"/>
                <a:gd name="connsiteX64" fmla="*/ 122897 w 1033466"/>
                <a:gd name="connsiteY64" fmla="*/ 460744 h 838042"/>
                <a:gd name="connsiteX65" fmla="*/ 107657 w 1033466"/>
                <a:gd name="connsiteY65" fmla="*/ 462649 h 838042"/>
                <a:gd name="connsiteX66" fmla="*/ 90512 w 1033466"/>
                <a:gd name="connsiteY66" fmla="*/ 468364 h 838042"/>
                <a:gd name="connsiteX67" fmla="*/ 84797 w 1033466"/>
                <a:gd name="connsiteY67" fmla="*/ 470269 h 838042"/>
                <a:gd name="connsiteX68" fmla="*/ 79082 w 1033466"/>
                <a:gd name="connsiteY68" fmla="*/ 474079 h 838042"/>
                <a:gd name="connsiteX69" fmla="*/ 67652 w 1033466"/>
                <a:gd name="connsiteY69" fmla="*/ 475984 h 838042"/>
                <a:gd name="connsiteX70" fmla="*/ 29552 w 1033466"/>
                <a:gd name="connsiteY70" fmla="*/ 477889 h 838042"/>
                <a:gd name="connsiteX71" fmla="*/ 18122 w 1033466"/>
                <a:gd name="connsiteY71" fmla="*/ 483604 h 838042"/>
                <a:gd name="connsiteX72" fmla="*/ 8597 w 1033466"/>
                <a:gd name="connsiteY72" fmla="*/ 493129 h 838042"/>
                <a:gd name="connsiteX73" fmla="*/ 6692 w 1033466"/>
                <a:gd name="connsiteY73" fmla="*/ 498844 h 838042"/>
                <a:gd name="connsiteX74" fmla="*/ 2882 w 1033466"/>
                <a:gd name="connsiteY74" fmla="*/ 504559 h 838042"/>
                <a:gd name="connsiteX75" fmla="*/ 14312 w 1033466"/>
                <a:gd name="connsiteY75" fmla="*/ 540754 h 838042"/>
                <a:gd name="connsiteX76" fmla="*/ 147662 w 1033466"/>
                <a:gd name="connsiteY76" fmla="*/ 540754 h 838042"/>
                <a:gd name="connsiteX77" fmla="*/ 155282 w 1033466"/>
                <a:gd name="connsiteY77" fmla="*/ 538849 h 838042"/>
                <a:gd name="connsiteX78" fmla="*/ 305777 w 1033466"/>
                <a:gd name="connsiteY78" fmla="*/ 533134 h 838042"/>
                <a:gd name="connsiteX79" fmla="*/ 321017 w 1033466"/>
                <a:gd name="connsiteY79" fmla="*/ 540754 h 838042"/>
                <a:gd name="connsiteX80" fmla="*/ 332447 w 1033466"/>
                <a:gd name="connsiteY80" fmla="*/ 546469 h 838042"/>
                <a:gd name="connsiteX81" fmla="*/ 336257 w 1033466"/>
                <a:gd name="connsiteY81" fmla="*/ 552184 h 838042"/>
                <a:gd name="connsiteX82" fmla="*/ 341972 w 1033466"/>
                <a:gd name="connsiteY82" fmla="*/ 554089 h 838042"/>
                <a:gd name="connsiteX83" fmla="*/ 353402 w 1033466"/>
                <a:gd name="connsiteY83" fmla="*/ 561709 h 838042"/>
                <a:gd name="connsiteX84" fmla="*/ 359117 w 1033466"/>
                <a:gd name="connsiteY84" fmla="*/ 565519 h 838042"/>
                <a:gd name="connsiteX85" fmla="*/ 362927 w 1033466"/>
                <a:gd name="connsiteY85" fmla="*/ 571234 h 838042"/>
                <a:gd name="connsiteX86" fmla="*/ 368642 w 1033466"/>
                <a:gd name="connsiteY86" fmla="*/ 582664 h 838042"/>
                <a:gd name="connsiteX87" fmla="*/ 364832 w 1033466"/>
                <a:gd name="connsiteY87" fmla="*/ 609334 h 838042"/>
                <a:gd name="connsiteX88" fmla="*/ 361022 w 1033466"/>
                <a:gd name="connsiteY88" fmla="*/ 615049 h 838042"/>
                <a:gd name="connsiteX89" fmla="*/ 359117 w 1033466"/>
                <a:gd name="connsiteY89" fmla="*/ 620764 h 838042"/>
                <a:gd name="connsiteX90" fmla="*/ 355307 w 1033466"/>
                <a:gd name="connsiteY90" fmla="*/ 626479 h 838042"/>
                <a:gd name="connsiteX91" fmla="*/ 353402 w 1033466"/>
                <a:gd name="connsiteY91" fmla="*/ 632194 h 838042"/>
                <a:gd name="connsiteX92" fmla="*/ 349592 w 1033466"/>
                <a:gd name="connsiteY92" fmla="*/ 637909 h 838042"/>
                <a:gd name="connsiteX93" fmla="*/ 332447 w 1033466"/>
                <a:gd name="connsiteY93" fmla="*/ 704584 h 838042"/>
                <a:gd name="connsiteX94" fmla="*/ 330542 w 1033466"/>
                <a:gd name="connsiteY94" fmla="*/ 756019 h 838042"/>
                <a:gd name="connsiteX95" fmla="*/ 332447 w 1033466"/>
                <a:gd name="connsiteY95" fmla="*/ 780784 h 838042"/>
                <a:gd name="connsiteX96" fmla="*/ 334352 w 1033466"/>
                <a:gd name="connsiteY96" fmla="*/ 786499 h 838042"/>
                <a:gd name="connsiteX97" fmla="*/ 338162 w 1033466"/>
                <a:gd name="connsiteY97" fmla="*/ 790309 h 838042"/>
                <a:gd name="connsiteX98" fmla="*/ 366737 w 1033466"/>
                <a:gd name="connsiteY98" fmla="*/ 836029 h 838042"/>
                <a:gd name="connsiteX99" fmla="*/ 389597 w 1033466"/>
                <a:gd name="connsiteY99" fmla="*/ 837934 h 838042"/>
                <a:gd name="connsiteX100" fmla="*/ 397407 w 1033466"/>
                <a:gd name="connsiteY100" fmla="*/ 833530 h 838042"/>
                <a:gd name="connsiteX101" fmla="*/ 402932 w 1033466"/>
                <a:gd name="connsiteY101" fmla="*/ 784594 h 838042"/>
                <a:gd name="connsiteX102" fmla="*/ 406742 w 1033466"/>
                <a:gd name="connsiteY102" fmla="*/ 727444 h 838042"/>
                <a:gd name="connsiteX103" fmla="*/ 423887 w 1033466"/>
                <a:gd name="connsiteY103" fmla="*/ 672199 h 838042"/>
                <a:gd name="connsiteX104" fmla="*/ 429602 w 1033466"/>
                <a:gd name="connsiteY104" fmla="*/ 658864 h 838042"/>
                <a:gd name="connsiteX105" fmla="*/ 444084 w 1033466"/>
                <a:gd name="connsiteY105" fmla="*/ 626947 h 838042"/>
                <a:gd name="connsiteX106" fmla="*/ 464289 w 1033466"/>
                <a:gd name="connsiteY106" fmla="*/ 600072 h 838042"/>
                <a:gd name="connsiteX107" fmla="*/ 523510 w 1033466"/>
                <a:gd name="connsiteY107" fmla="*/ 565123 h 838042"/>
                <a:gd name="connsiteX108" fmla="*/ 599348 w 1033466"/>
                <a:gd name="connsiteY108" fmla="*/ 550915 h 838042"/>
                <a:gd name="connsiteX109" fmla="*/ 707801 w 1033466"/>
                <a:gd name="connsiteY109" fmla="*/ 612819 h 838042"/>
                <a:gd name="connsiteX110" fmla="*/ 780122 w 1033466"/>
                <a:gd name="connsiteY110" fmla="*/ 656959 h 838042"/>
                <a:gd name="connsiteX111" fmla="*/ 804887 w 1033466"/>
                <a:gd name="connsiteY111" fmla="*/ 632194 h 838042"/>
                <a:gd name="connsiteX112" fmla="*/ 801077 w 1033466"/>
                <a:gd name="connsiteY112" fmla="*/ 601714 h 838042"/>
                <a:gd name="connsiteX113" fmla="*/ 762796 w 1033466"/>
                <a:gd name="connsiteY113" fmla="*/ 562523 h 838042"/>
                <a:gd name="connsiteX114" fmla="*/ 650582 w 1033466"/>
                <a:gd name="connsiteY114" fmla="*/ 479794 h 838042"/>
                <a:gd name="connsiteX115" fmla="*/ 646772 w 1033466"/>
                <a:gd name="connsiteY115" fmla="*/ 462649 h 838042"/>
                <a:gd name="connsiteX116" fmla="*/ 658202 w 1033466"/>
                <a:gd name="connsiteY116" fmla="*/ 426454 h 838042"/>
                <a:gd name="connsiteX117" fmla="*/ 726782 w 1033466"/>
                <a:gd name="connsiteY117" fmla="*/ 405499 h 838042"/>
                <a:gd name="connsiteX118" fmla="*/ 844892 w 1033466"/>
                <a:gd name="connsiteY118" fmla="*/ 407404 h 838042"/>
                <a:gd name="connsiteX119" fmla="*/ 873467 w 1033466"/>
                <a:gd name="connsiteY119" fmla="*/ 409309 h 838042"/>
                <a:gd name="connsiteX120" fmla="*/ 902042 w 1033466"/>
                <a:gd name="connsiteY120" fmla="*/ 415024 h 838042"/>
                <a:gd name="connsiteX121" fmla="*/ 953477 w 1033466"/>
                <a:gd name="connsiteY121" fmla="*/ 424549 h 838042"/>
                <a:gd name="connsiteX122" fmla="*/ 1002290 w 1033466"/>
                <a:gd name="connsiteY122" fmla="*/ 426835 h 838042"/>
                <a:gd name="connsiteX123" fmla="*/ 1032449 w 1033466"/>
                <a:gd name="connsiteY123" fmla="*/ 402711 h 838042"/>
                <a:gd name="connsiteX124" fmla="*/ 1020514 w 1033466"/>
                <a:gd name="connsiteY124" fmla="*/ 377797 h 838042"/>
                <a:gd name="connsiteX125" fmla="*/ 964889 w 1033466"/>
                <a:gd name="connsiteY125" fmla="*/ 358029 h 838042"/>
                <a:gd name="connsiteX126" fmla="*/ 907856 w 1033466"/>
                <a:gd name="connsiteY126" fmla="*/ 350516 h 838042"/>
                <a:gd name="connsiteX127" fmla="*/ 827747 w 1033466"/>
                <a:gd name="connsiteY127" fmla="*/ 357874 h 838042"/>
                <a:gd name="connsiteX128" fmla="*/ 822032 w 1033466"/>
                <a:gd name="connsiteY128" fmla="*/ 359779 h 838042"/>
                <a:gd name="connsiteX129" fmla="*/ 732497 w 1033466"/>
                <a:gd name="connsiteY129" fmla="*/ 361684 h 838042"/>
                <a:gd name="connsiteX130" fmla="*/ 671537 w 1033466"/>
                <a:gd name="connsiteY130" fmla="*/ 369304 h 838042"/>
                <a:gd name="connsiteX131" fmla="*/ 648677 w 1033466"/>
                <a:gd name="connsiteY131" fmla="*/ 373114 h 838042"/>
                <a:gd name="connsiteX132" fmla="*/ 644867 w 1033466"/>
                <a:gd name="connsiteY132" fmla="*/ 361684 h 838042"/>
                <a:gd name="connsiteX133" fmla="*/ 642962 w 1033466"/>
                <a:gd name="connsiteY133" fmla="*/ 355969 h 838042"/>
                <a:gd name="connsiteX134" fmla="*/ 644867 w 1033466"/>
                <a:gd name="connsiteY134" fmla="*/ 338824 h 838042"/>
                <a:gd name="connsiteX135" fmla="*/ 646772 w 1033466"/>
                <a:gd name="connsiteY135" fmla="*/ 333109 h 838042"/>
                <a:gd name="connsiteX136" fmla="*/ 663917 w 1033466"/>
                <a:gd name="connsiteY136" fmla="*/ 323584 h 838042"/>
                <a:gd name="connsiteX137" fmla="*/ 675347 w 1033466"/>
                <a:gd name="connsiteY137" fmla="*/ 315964 h 838042"/>
                <a:gd name="connsiteX138" fmla="*/ 677252 w 1033466"/>
                <a:gd name="connsiteY138" fmla="*/ 310249 h 838042"/>
                <a:gd name="connsiteX139" fmla="*/ 682967 w 1033466"/>
                <a:gd name="connsiteY139" fmla="*/ 308344 h 838042"/>
                <a:gd name="connsiteX140" fmla="*/ 688682 w 1033466"/>
                <a:gd name="connsiteY140" fmla="*/ 304534 h 838042"/>
                <a:gd name="connsiteX141" fmla="*/ 698207 w 1033466"/>
                <a:gd name="connsiteY141" fmla="*/ 295009 h 838042"/>
                <a:gd name="connsiteX142" fmla="*/ 707732 w 1033466"/>
                <a:gd name="connsiteY142" fmla="*/ 283579 h 838042"/>
                <a:gd name="connsiteX143" fmla="*/ 719162 w 1033466"/>
                <a:gd name="connsiteY143" fmla="*/ 275959 h 838042"/>
                <a:gd name="connsiteX144" fmla="*/ 734402 w 1033466"/>
                <a:gd name="connsiteY144" fmla="*/ 262624 h 838042"/>
                <a:gd name="connsiteX145" fmla="*/ 743927 w 1033466"/>
                <a:gd name="connsiteY145" fmla="*/ 251194 h 838042"/>
                <a:gd name="connsiteX146" fmla="*/ 755357 w 1033466"/>
                <a:gd name="connsiteY146" fmla="*/ 241669 h 838042"/>
                <a:gd name="connsiteX147" fmla="*/ 761072 w 1033466"/>
                <a:gd name="connsiteY147" fmla="*/ 230239 h 838042"/>
                <a:gd name="connsiteX148" fmla="*/ 762977 w 1033466"/>
                <a:gd name="connsiteY148" fmla="*/ 224524 h 838042"/>
                <a:gd name="connsiteX149" fmla="*/ 768692 w 1033466"/>
                <a:gd name="connsiteY149" fmla="*/ 213094 h 838042"/>
                <a:gd name="connsiteX150" fmla="*/ 766787 w 1033466"/>
                <a:gd name="connsiteY150" fmla="*/ 197854 h 838042"/>
                <a:gd name="connsiteX151" fmla="*/ 761072 w 1033466"/>
                <a:gd name="connsiteY151" fmla="*/ 195949 h 838042"/>
                <a:gd name="connsiteX152" fmla="*/ 740117 w 1033466"/>
                <a:gd name="connsiteY152" fmla="*/ 197854 h 838042"/>
                <a:gd name="connsiteX153" fmla="*/ 734402 w 1033466"/>
                <a:gd name="connsiteY153" fmla="*/ 201664 h 838042"/>
                <a:gd name="connsiteX154" fmla="*/ 722972 w 1033466"/>
                <a:gd name="connsiteY154" fmla="*/ 205474 h 838042"/>
                <a:gd name="connsiteX155" fmla="*/ 719162 w 1033466"/>
                <a:gd name="connsiteY155" fmla="*/ 211189 h 838042"/>
                <a:gd name="connsiteX156" fmla="*/ 713447 w 1033466"/>
                <a:gd name="connsiteY156" fmla="*/ 213094 h 838042"/>
                <a:gd name="connsiteX157" fmla="*/ 707732 w 1033466"/>
                <a:gd name="connsiteY157" fmla="*/ 216904 h 838042"/>
                <a:gd name="connsiteX158" fmla="*/ 702017 w 1033466"/>
                <a:gd name="connsiteY158" fmla="*/ 222619 h 838042"/>
                <a:gd name="connsiteX159" fmla="*/ 694397 w 1033466"/>
                <a:gd name="connsiteY159" fmla="*/ 226429 h 838042"/>
                <a:gd name="connsiteX160" fmla="*/ 652487 w 1033466"/>
                <a:gd name="connsiteY160" fmla="*/ 255004 h 838042"/>
                <a:gd name="connsiteX161" fmla="*/ 639152 w 1033466"/>
                <a:gd name="connsiteY161" fmla="*/ 266434 h 838042"/>
                <a:gd name="connsiteX162" fmla="*/ 629627 w 1033466"/>
                <a:gd name="connsiteY162" fmla="*/ 283579 h 838042"/>
                <a:gd name="connsiteX163" fmla="*/ 604862 w 1033466"/>
                <a:gd name="connsiteY163" fmla="*/ 289294 h 838042"/>
                <a:gd name="connsiteX164" fmla="*/ 591527 w 1033466"/>
                <a:gd name="connsiteY164" fmla="*/ 293104 h 838042"/>
                <a:gd name="connsiteX165" fmla="*/ 576287 w 1033466"/>
                <a:gd name="connsiteY165" fmla="*/ 291199 h 838042"/>
                <a:gd name="connsiteX166" fmla="*/ 564857 w 1033466"/>
                <a:gd name="connsiteY166" fmla="*/ 287389 h 838042"/>
                <a:gd name="connsiteX167" fmla="*/ 553427 w 1033466"/>
                <a:gd name="connsiteY167" fmla="*/ 283579 h 838042"/>
                <a:gd name="connsiteX168" fmla="*/ 541997 w 1033466"/>
                <a:gd name="connsiteY168" fmla="*/ 279769 h 838042"/>
                <a:gd name="connsiteX169" fmla="*/ 536282 w 1033466"/>
                <a:gd name="connsiteY169" fmla="*/ 277864 h 838042"/>
                <a:gd name="connsiteX170" fmla="*/ 530567 w 1033466"/>
                <a:gd name="connsiteY170" fmla="*/ 274054 h 838042"/>
                <a:gd name="connsiteX171" fmla="*/ 519137 w 1033466"/>
                <a:gd name="connsiteY171" fmla="*/ 268339 h 838042"/>
                <a:gd name="connsiteX172" fmla="*/ 511517 w 1033466"/>
                <a:gd name="connsiteY172" fmla="*/ 256909 h 838042"/>
                <a:gd name="connsiteX173" fmla="*/ 507707 w 1033466"/>
                <a:gd name="connsiteY173" fmla="*/ 235954 h 838042"/>
                <a:gd name="connsiteX174" fmla="*/ 509612 w 1033466"/>
                <a:gd name="connsiteY174" fmla="*/ 171184 h 838042"/>
                <a:gd name="connsiteX175" fmla="*/ 508314 w 1033466"/>
                <a:gd name="connsiteY175" fmla="*/ 73485 h 838042"/>
                <a:gd name="connsiteX176" fmla="*/ 454116 w 1033466"/>
                <a:gd name="connsiteY176" fmla="*/ 11248 h 838042"/>
                <a:gd name="connsiteX177" fmla="*/ 435401 w 1033466"/>
                <a:gd name="connsiteY177" fmla="*/ 68523 h 838042"/>
                <a:gd name="connsiteX178" fmla="*/ 427697 w 1033466"/>
                <a:gd name="connsiteY178" fmla="*/ 137103 h 838042"/>
                <a:gd name="connsiteX179" fmla="*/ 420077 w 1033466"/>
                <a:gd name="connsiteY179" fmla="*/ 169279 h 838042"/>
                <a:gd name="connsiteX180" fmla="*/ 416267 w 1033466"/>
                <a:gd name="connsiteY180" fmla="*/ 186424 h 838042"/>
                <a:gd name="connsiteX181" fmla="*/ 420077 w 1033466"/>
                <a:gd name="connsiteY181" fmla="*/ 207379 h 838042"/>
                <a:gd name="connsiteX182" fmla="*/ 423887 w 1033466"/>
                <a:gd name="connsiteY182" fmla="*/ 213094 h 838042"/>
                <a:gd name="connsiteX183" fmla="*/ 427697 w 1033466"/>
                <a:gd name="connsiteY183" fmla="*/ 224524 h 838042"/>
                <a:gd name="connsiteX184" fmla="*/ 425792 w 1033466"/>
                <a:gd name="connsiteY184" fmla="*/ 251194 h 838042"/>
                <a:gd name="connsiteX185" fmla="*/ 420077 w 1033466"/>
                <a:gd name="connsiteY185" fmla="*/ 253099 h 838042"/>
                <a:gd name="connsiteX186" fmla="*/ 414362 w 1033466"/>
                <a:gd name="connsiteY186" fmla="*/ 256909 h 838042"/>
                <a:gd name="connsiteX187" fmla="*/ 423887 w 1033466"/>
                <a:gd name="connsiteY187"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44892 w 1033465"/>
                <a:gd name="connsiteY118" fmla="*/ 407404 h 838042"/>
                <a:gd name="connsiteX119" fmla="*/ 873467 w 1033465"/>
                <a:gd name="connsiteY119" fmla="*/ 409309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822032 w 1033465"/>
                <a:gd name="connsiteY128" fmla="*/ 359779 h 838042"/>
                <a:gd name="connsiteX129" fmla="*/ 732497 w 1033465"/>
                <a:gd name="connsiteY129" fmla="*/ 361684 h 838042"/>
                <a:gd name="connsiteX130" fmla="*/ 671537 w 1033465"/>
                <a:gd name="connsiteY130" fmla="*/ 369304 h 838042"/>
                <a:gd name="connsiteX131" fmla="*/ 648677 w 1033465"/>
                <a:gd name="connsiteY131" fmla="*/ 373114 h 838042"/>
                <a:gd name="connsiteX132" fmla="*/ 644867 w 1033465"/>
                <a:gd name="connsiteY132" fmla="*/ 361684 h 838042"/>
                <a:gd name="connsiteX133" fmla="*/ 642962 w 1033465"/>
                <a:gd name="connsiteY133" fmla="*/ 355969 h 838042"/>
                <a:gd name="connsiteX134" fmla="*/ 644867 w 1033465"/>
                <a:gd name="connsiteY134" fmla="*/ 338824 h 838042"/>
                <a:gd name="connsiteX135" fmla="*/ 646772 w 1033465"/>
                <a:gd name="connsiteY135" fmla="*/ 333109 h 838042"/>
                <a:gd name="connsiteX136" fmla="*/ 663917 w 1033465"/>
                <a:gd name="connsiteY136" fmla="*/ 323584 h 838042"/>
                <a:gd name="connsiteX137" fmla="*/ 675347 w 1033465"/>
                <a:gd name="connsiteY137" fmla="*/ 315964 h 838042"/>
                <a:gd name="connsiteX138" fmla="*/ 677252 w 1033465"/>
                <a:gd name="connsiteY138" fmla="*/ 310249 h 838042"/>
                <a:gd name="connsiteX139" fmla="*/ 682967 w 1033465"/>
                <a:gd name="connsiteY139" fmla="*/ 308344 h 838042"/>
                <a:gd name="connsiteX140" fmla="*/ 688682 w 1033465"/>
                <a:gd name="connsiteY140" fmla="*/ 304534 h 838042"/>
                <a:gd name="connsiteX141" fmla="*/ 698207 w 1033465"/>
                <a:gd name="connsiteY141" fmla="*/ 295009 h 838042"/>
                <a:gd name="connsiteX142" fmla="*/ 707732 w 1033465"/>
                <a:gd name="connsiteY142" fmla="*/ 283579 h 838042"/>
                <a:gd name="connsiteX143" fmla="*/ 719162 w 1033465"/>
                <a:gd name="connsiteY143" fmla="*/ 275959 h 838042"/>
                <a:gd name="connsiteX144" fmla="*/ 734402 w 1033465"/>
                <a:gd name="connsiteY144" fmla="*/ 262624 h 838042"/>
                <a:gd name="connsiteX145" fmla="*/ 743927 w 1033465"/>
                <a:gd name="connsiteY145" fmla="*/ 251194 h 838042"/>
                <a:gd name="connsiteX146" fmla="*/ 755357 w 1033465"/>
                <a:gd name="connsiteY146" fmla="*/ 241669 h 838042"/>
                <a:gd name="connsiteX147" fmla="*/ 761072 w 1033465"/>
                <a:gd name="connsiteY147" fmla="*/ 230239 h 838042"/>
                <a:gd name="connsiteX148" fmla="*/ 762977 w 1033465"/>
                <a:gd name="connsiteY148" fmla="*/ 224524 h 838042"/>
                <a:gd name="connsiteX149" fmla="*/ 768692 w 1033465"/>
                <a:gd name="connsiteY149" fmla="*/ 213094 h 838042"/>
                <a:gd name="connsiteX150" fmla="*/ 766787 w 1033465"/>
                <a:gd name="connsiteY150" fmla="*/ 197854 h 838042"/>
                <a:gd name="connsiteX151" fmla="*/ 761072 w 1033465"/>
                <a:gd name="connsiteY151" fmla="*/ 195949 h 838042"/>
                <a:gd name="connsiteX152" fmla="*/ 740117 w 1033465"/>
                <a:gd name="connsiteY152" fmla="*/ 197854 h 838042"/>
                <a:gd name="connsiteX153" fmla="*/ 734402 w 1033465"/>
                <a:gd name="connsiteY153" fmla="*/ 201664 h 838042"/>
                <a:gd name="connsiteX154" fmla="*/ 722972 w 1033465"/>
                <a:gd name="connsiteY154" fmla="*/ 205474 h 838042"/>
                <a:gd name="connsiteX155" fmla="*/ 719162 w 1033465"/>
                <a:gd name="connsiteY155" fmla="*/ 211189 h 838042"/>
                <a:gd name="connsiteX156" fmla="*/ 713447 w 1033465"/>
                <a:gd name="connsiteY156" fmla="*/ 213094 h 838042"/>
                <a:gd name="connsiteX157" fmla="*/ 707732 w 1033465"/>
                <a:gd name="connsiteY157" fmla="*/ 216904 h 838042"/>
                <a:gd name="connsiteX158" fmla="*/ 702017 w 1033465"/>
                <a:gd name="connsiteY158" fmla="*/ 222619 h 838042"/>
                <a:gd name="connsiteX159" fmla="*/ 694397 w 1033465"/>
                <a:gd name="connsiteY159" fmla="*/ 226429 h 838042"/>
                <a:gd name="connsiteX160" fmla="*/ 652487 w 1033465"/>
                <a:gd name="connsiteY160" fmla="*/ 255004 h 838042"/>
                <a:gd name="connsiteX161" fmla="*/ 639152 w 1033465"/>
                <a:gd name="connsiteY161" fmla="*/ 266434 h 838042"/>
                <a:gd name="connsiteX162" fmla="*/ 629627 w 1033465"/>
                <a:gd name="connsiteY162" fmla="*/ 283579 h 838042"/>
                <a:gd name="connsiteX163" fmla="*/ 604862 w 1033465"/>
                <a:gd name="connsiteY163" fmla="*/ 289294 h 838042"/>
                <a:gd name="connsiteX164" fmla="*/ 591527 w 1033465"/>
                <a:gd name="connsiteY164" fmla="*/ 293104 h 838042"/>
                <a:gd name="connsiteX165" fmla="*/ 576287 w 1033465"/>
                <a:gd name="connsiteY165" fmla="*/ 291199 h 838042"/>
                <a:gd name="connsiteX166" fmla="*/ 564857 w 1033465"/>
                <a:gd name="connsiteY166" fmla="*/ 287389 h 838042"/>
                <a:gd name="connsiteX167" fmla="*/ 553427 w 1033465"/>
                <a:gd name="connsiteY167" fmla="*/ 283579 h 838042"/>
                <a:gd name="connsiteX168" fmla="*/ 541997 w 1033465"/>
                <a:gd name="connsiteY168" fmla="*/ 279769 h 838042"/>
                <a:gd name="connsiteX169" fmla="*/ 536282 w 1033465"/>
                <a:gd name="connsiteY169" fmla="*/ 277864 h 838042"/>
                <a:gd name="connsiteX170" fmla="*/ 530567 w 1033465"/>
                <a:gd name="connsiteY170" fmla="*/ 274054 h 838042"/>
                <a:gd name="connsiteX171" fmla="*/ 519137 w 1033465"/>
                <a:gd name="connsiteY171" fmla="*/ 268339 h 838042"/>
                <a:gd name="connsiteX172" fmla="*/ 511517 w 1033465"/>
                <a:gd name="connsiteY172" fmla="*/ 256909 h 838042"/>
                <a:gd name="connsiteX173" fmla="*/ 507707 w 1033465"/>
                <a:gd name="connsiteY173" fmla="*/ 235954 h 838042"/>
                <a:gd name="connsiteX174" fmla="*/ 509612 w 1033465"/>
                <a:gd name="connsiteY174" fmla="*/ 171184 h 838042"/>
                <a:gd name="connsiteX175" fmla="*/ 508314 w 1033465"/>
                <a:gd name="connsiteY175" fmla="*/ 73485 h 838042"/>
                <a:gd name="connsiteX176" fmla="*/ 454116 w 1033465"/>
                <a:gd name="connsiteY176" fmla="*/ 11248 h 838042"/>
                <a:gd name="connsiteX177" fmla="*/ 435401 w 1033465"/>
                <a:gd name="connsiteY177" fmla="*/ 68523 h 838042"/>
                <a:gd name="connsiteX178" fmla="*/ 427697 w 1033465"/>
                <a:gd name="connsiteY178" fmla="*/ 137103 h 838042"/>
                <a:gd name="connsiteX179" fmla="*/ 420077 w 1033465"/>
                <a:gd name="connsiteY179" fmla="*/ 169279 h 838042"/>
                <a:gd name="connsiteX180" fmla="*/ 416267 w 1033465"/>
                <a:gd name="connsiteY180" fmla="*/ 186424 h 838042"/>
                <a:gd name="connsiteX181" fmla="*/ 420077 w 1033465"/>
                <a:gd name="connsiteY181" fmla="*/ 207379 h 838042"/>
                <a:gd name="connsiteX182" fmla="*/ 423887 w 1033465"/>
                <a:gd name="connsiteY182" fmla="*/ 213094 h 838042"/>
                <a:gd name="connsiteX183" fmla="*/ 427697 w 1033465"/>
                <a:gd name="connsiteY183" fmla="*/ 224524 h 838042"/>
                <a:gd name="connsiteX184" fmla="*/ 425792 w 1033465"/>
                <a:gd name="connsiteY184" fmla="*/ 251194 h 838042"/>
                <a:gd name="connsiteX185" fmla="*/ 420077 w 1033465"/>
                <a:gd name="connsiteY185" fmla="*/ 253099 h 838042"/>
                <a:gd name="connsiteX186" fmla="*/ 414362 w 1033465"/>
                <a:gd name="connsiteY186" fmla="*/ 256909 h 838042"/>
                <a:gd name="connsiteX187" fmla="*/ 423887 w 1033465"/>
                <a:gd name="connsiteY187"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44892 w 1033465"/>
                <a:gd name="connsiteY118" fmla="*/ 407404 h 838042"/>
                <a:gd name="connsiteX119" fmla="*/ 873467 w 1033465"/>
                <a:gd name="connsiteY119" fmla="*/ 409309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32497 w 1033465"/>
                <a:gd name="connsiteY128" fmla="*/ 361684 h 838042"/>
                <a:gd name="connsiteX129" fmla="*/ 671537 w 1033465"/>
                <a:gd name="connsiteY129" fmla="*/ 369304 h 838042"/>
                <a:gd name="connsiteX130" fmla="*/ 648677 w 1033465"/>
                <a:gd name="connsiteY130" fmla="*/ 373114 h 838042"/>
                <a:gd name="connsiteX131" fmla="*/ 644867 w 1033465"/>
                <a:gd name="connsiteY131" fmla="*/ 361684 h 838042"/>
                <a:gd name="connsiteX132" fmla="*/ 642962 w 1033465"/>
                <a:gd name="connsiteY132" fmla="*/ 355969 h 838042"/>
                <a:gd name="connsiteX133" fmla="*/ 644867 w 1033465"/>
                <a:gd name="connsiteY133" fmla="*/ 338824 h 838042"/>
                <a:gd name="connsiteX134" fmla="*/ 646772 w 1033465"/>
                <a:gd name="connsiteY134" fmla="*/ 333109 h 838042"/>
                <a:gd name="connsiteX135" fmla="*/ 663917 w 1033465"/>
                <a:gd name="connsiteY135" fmla="*/ 323584 h 838042"/>
                <a:gd name="connsiteX136" fmla="*/ 675347 w 1033465"/>
                <a:gd name="connsiteY136" fmla="*/ 315964 h 838042"/>
                <a:gd name="connsiteX137" fmla="*/ 677252 w 1033465"/>
                <a:gd name="connsiteY137" fmla="*/ 310249 h 838042"/>
                <a:gd name="connsiteX138" fmla="*/ 682967 w 1033465"/>
                <a:gd name="connsiteY138" fmla="*/ 308344 h 838042"/>
                <a:gd name="connsiteX139" fmla="*/ 688682 w 1033465"/>
                <a:gd name="connsiteY139" fmla="*/ 304534 h 838042"/>
                <a:gd name="connsiteX140" fmla="*/ 698207 w 1033465"/>
                <a:gd name="connsiteY140" fmla="*/ 295009 h 838042"/>
                <a:gd name="connsiteX141" fmla="*/ 707732 w 1033465"/>
                <a:gd name="connsiteY141" fmla="*/ 283579 h 838042"/>
                <a:gd name="connsiteX142" fmla="*/ 719162 w 1033465"/>
                <a:gd name="connsiteY142" fmla="*/ 275959 h 838042"/>
                <a:gd name="connsiteX143" fmla="*/ 734402 w 1033465"/>
                <a:gd name="connsiteY143" fmla="*/ 262624 h 838042"/>
                <a:gd name="connsiteX144" fmla="*/ 743927 w 1033465"/>
                <a:gd name="connsiteY144" fmla="*/ 251194 h 838042"/>
                <a:gd name="connsiteX145" fmla="*/ 755357 w 1033465"/>
                <a:gd name="connsiteY145" fmla="*/ 241669 h 838042"/>
                <a:gd name="connsiteX146" fmla="*/ 761072 w 1033465"/>
                <a:gd name="connsiteY146" fmla="*/ 230239 h 838042"/>
                <a:gd name="connsiteX147" fmla="*/ 762977 w 1033465"/>
                <a:gd name="connsiteY147" fmla="*/ 224524 h 838042"/>
                <a:gd name="connsiteX148" fmla="*/ 768692 w 1033465"/>
                <a:gd name="connsiteY148" fmla="*/ 213094 h 838042"/>
                <a:gd name="connsiteX149" fmla="*/ 766787 w 1033465"/>
                <a:gd name="connsiteY149" fmla="*/ 197854 h 838042"/>
                <a:gd name="connsiteX150" fmla="*/ 761072 w 1033465"/>
                <a:gd name="connsiteY150" fmla="*/ 195949 h 838042"/>
                <a:gd name="connsiteX151" fmla="*/ 740117 w 1033465"/>
                <a:gd name="connsiteY151" fmla="*/ 197854 h 838042"/>
                <a:gd name="connsiteX152" fmla="*/ 734402 w 1033465"/>
                <a:gd name="connsiteY152" fmla="*/ 201664 h 838042"/>
                <a:gd name="connsiteX153" fmla="*/ 722972 w 1033465"/>
                <a:gd name="connsiteY153" fmla="*/ 205474 h 838042"/>
                <a:gd name="connsiteX154" fmla="*/ 719162 w 1033465"/>
                <a:gd name="connsiteY154" fmla="*/ 211189 h 838042"/>
                <a:gd name="connsiteX155" fmla="*/ 713447 w 1033465"/>
                <a:gd name="connsiteY155" fmla="*/ 213094 h 838042"/>
                <a:gd name="connsiteX156" fmla="*/ 707732 w 1033465"/>
                <a:gd name="connsiteY156" fmla="*/ 216904 h 838042"/>
                <a:gd name="connsiteX157" fmla="*/ 702017 w 1033465"/>
                <a:gd name="connsiteY157" fmla="*/ 222619 h 838042"/>
                <a:gd name="connsiteX158" fmla="*/ 694397 w 1033465"/>
                <a:gd name="connsiteY158" fmla="*/ 226429 h 838042"/>
                <a:gd name="connsiteX159" fmla="*/ 652487 w 1033465"/>
                <a:gd name="connsiteY159" fmla="*/ 255004 h 838042"/>
                <a:gd name="connsiteX160" fmla="*/ 639152 w 1033465"/>
                <a:gd name="connsiteY160" fmla="*/ 266434 h 838042"/>
                <a:gd name="connsiteX161" fmla="*/ 629627 w 1033465"/>
                <a:gd name="connsiteY161" fmla="*/ 283579 h 838042"/>
                <a:gd name="connsiteX162" fmla="*/ 604862 w 1033465"/>
                <a:gd name="connsiteY162" fmla="*/ 289294 h 838042"/>
                <a:gd name="connsiteX163" fmla="*/ 591527 w 1033465"/>
                <a:gd name="connsiteY163" fmla="*/ 293104 h 838042"/>
                <a:gd name="connsiteX164" fmla="*/ 576287 w 1033465"/>
                <a:gd name="connsiteY164" fmla="*/ 291199 h 838042"/>
                <a:gd name="connsiteX165" fmla="*/ 564857 w 1033465"/>
                <a:gd name="connsiteY165" fmla="*/ 287389 h 838042"/>
                <a:gd name="connsiteX166" fmla="*/ 553427 w 1033465"/>
                <a:gd name="connsiteY166" fmla="*/ 283579 h 838042"/>
                <a:gd name="connsiteX167" fmla="*/ 541997 w 1033465"/>
                <a:gd name="connsiteY167" fmla="*/ 279769 h 838042"/>
                <a:gd name="connsiteX168" fmla="*/ 536282 w 1033465"/>
                <a:gd name="connsiteY168" fmla="*/ 277864 h 838042"/>
                <a:gd name="connsiteX169" fmla="*/ 530567 w 1033465"/>
                <a:gd name="connsiteY169" fmla="*/ 274054 h 838042"/>
                <a:gd name="connsiteX170" fmla="*/ 519137 w 1033465"/>
                <a:gd name="connsiteY170" fmla="*/ 268339 h 838042"/>
                <a:gd name="connsiteX171" fmla="*/ 511517 w 1033465"/>
                <a:gd name="connsiteY171" fmla="*/ 256909 h 838042"/>
                <a:gd name="connsiteX172" fmla="*/ 507707 w 1033465"/>
                <a:gd name="connsiteY172" fmla="*/ 235954 h 838042"/>
                <a:gd name="connsiteX173" fmla="*/ 509612 w 1033465"/>
                <a:gd name="connsiteY173" fmla="*/ 171184 h 838042"/>
                <a:gd name="connsiteX174" fmla="*/ 508314 w 1033465"/>
                <a:gd name="connsiteY174" fmla="*/ 73485 h 838042"/>
                <a:gd name="connsiteX175" fmla="*/ 454116 w 1033465"/>
                <a:gd name="connsiteY175" fmla="*/ 11248 h 838042"/>
                <a:gd name="connsiteX176" fmla="*/ 435401 w 1033465"/>
                <a:gd name="connsiteY176" fmla="*/ 68523 h 838042"/>
                <a:gd name="connsiteX177" fmla="*/ 427697 w 1033465"/>
                <a:gd name="connsiteY177" fmla="*/ 137103 h 838042"/>
                <a:gd name="connsiteX178" fmla="*/ 420077 w 1033465"/>
                <a:gd name="connsiteY178" fmla="*/ 169279 h 838042"/>
                <a:gd name="connsiteX179" fmla="*/ 416267 w 1033465"/>
                <a:gd name="connsiteY179" fmla="*/ 186424 h 838042"/>
                <a:gd name="connsiteX180" fmla="*/ 420077 w 1033465"/>
                <a:gd name="connsiteY180" fmla="*/ 207379 h 838042"/>
                <a:gd name="connsiteX181" fmla="*/ 423887 w 1033465"/>
                <a:gd name="connsiteY181" fmla="*/ 213094 h 838042"/>
                <a:gd name="connsiteX182" fmla="*/ 427697 w 1033465"/>
                <a:gd name="connsiteY182" fmla="*/ 224524 h 838042"/>
                <a:gd name="connsiteX183" fmla="*/ 425792 w 1033465"/>
                <a:gd name="connsiteY183" fmla="*/ 251194 h 838042"/>
                <a:gd name="connsiteX184" fmla="*/ 420077 w 1033465"/>
                <a:gd name="connsiteY184" fmla="*/ 253099 h 838042"/>
                <a:gd name="connsiteX185" fmla="*/ 414362 w 1033465"/>
                <a:gd name="connsiteY185" fmla="*/ 256909 h 838042"/>
                <a:gd name="connsiteX186" fmla="*/ 423887 w 1033465"/>
                <a:gd name="connsiteY186"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44892 w 1033465"/>
                <a:gd name="connsiteY118" fmla="*/ 407404 h 838042"/>
                <a:gd name="connsiteX119" fmla="*/ 873467 w 1033465"/>
                <a:gd name="connsiteY119" fmla="*/ 409309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32497 w 1033465"/>
                <a:gd name="connsiteY128" fmla="*/ 361684 h 838042"/>
                <a:gd name="connsiteX129" fmla="*/ 671537 w 1033465"/>
                <a:gd name="connsiteY129" fmla="*/ 369304 h 838042"/>
                <a:gd name="connsiteX130" fmla="*/ 648677 w 1033465"/>
                <a:gd name="connsiteY130" fmla="*/ 373114 h 838042"/>
                <a:gd name="connsiteX131" fmla="*/ 644867 w 1033465"/>
                <a:gd name="connsiteY131" fmla="*/ 361684 h 838042"/>
                <a:gd name="connsiteX132" fmla="*/ 644867 w 1033465"/>
                <a:gd name="connsiteY132" fmla="*/ 338824 h 838042"/>
                <a:gd name="connsiteX133" fmla="*/ 646772 w 1033465"/>
                <a:gd name="connsiteY133" fmla="*/ 333109 h 838042"/>
                <a:gd name="connsiteX134" fmla="*/ 663917 w 1033465"/>
                <a:gd name="connsiteY134" fmla="*/ 323584 h 838042"/>
                <a:gd name="connsiteX135" fmla="*/ 675347 w 1033465"/>
                <a:gd name="connsiteY135" fmla="*/ 315964 h 838042"/>
                <a:gd name="connsiteX136" fmla="*/ 677252 w 1033465"/>
                <a:gd name="connsiteY136" fmla="*/ 310249 h 838042"/>
                <a:gd name="connsiteX137" fmla="*/ 682967 w 1033465"/>
                <a:gd name="connsiteY137" fmla="*/ 308344 h 838042"/>
                <a:gd name="connsiteX138" fmla="*/ 688682 w 1033465"/>
                <a:gd name="connsiteY138" fmla="*/ 304534 h 838042"/>
                <a:gd name="connsiteX139" fmla="*/ 698207 w 1033465"/>
                <a:gd name="connsiteY139" fmla="*/ 295009 h 838042"/>
                <a:gd name="connsiteX140" fmla="*/ 707732 w 1033465"/>
                <a:gd name="connsiteY140" fmla="*/ 283579 h 838042"/>
                <a:gd name="connsiteX141" fmla="*/ 719162 w 1033465"/>
                <a:gd name="connsiteY141" fmla="*/ 275959 h 838042"/>
                <a:gd name="connsiteX142" fmla="*/ 734402 w 1033465"/>
                <a:gd name="connsiteY142" fmla="*/ 262624 h 838042"/>
                <a:gd name="connsiteX143" fmla="*/ 743927 w 1033465"/>
                <a:gd name="connsiteY143" fmla="*/ 251194 h 838042"/>
                <a:gd name="connsiteX144" fmla="*/ 755357 w 1033465"/>
                <a:gd name="connsiteY144" fmla="*/ 241669 h 838042"/>
                <a:gd name="connsiteX145" fmla="*/ 761072 w 1033465"/>
                <a:gd name="connsiteY145" fmla="*/ 230239 h 838042"/>
                <a:gd name="connsiteX146" fmla="*/ 762977 w 1033465"/>
                <a:gd name="connsiteY146" fmla="*/ 224524 h 838042"/>
                <a:gd name="connsiteX147" fmla="*/ 768692 w 1033465"/>
                <a:gd name="connsiteY147" fmla="*/ 213094 h 838042"/>
                <a:gd name="connsiteX148" fmla="*/ 766787 w 1033465"/>
                <a:gd name="connsiteY148" fmla="*/ 197854 h 838042"/>
                <a:gd name="connsiteX149" fmla="*/ 761072 w 1033465"/>
                <a:gd name="connsiteY149" fmla="*/ 195949 h 838042"/>
                <a:gd name="connsiteX150" fmla="*/ 740117 w 1033465"/>
                <a:gd name="connsiteY150" fmla="*/ 197854 h 838042"/>
                <a:gd name="connsiteX151" fmla="*/ 734402 w 1033465"/>
                <a:gd name="connsiteY151" fmla="*/ 201664 h 838042"/>
                <a:gd name="connsiteX152" fmla="*/ 722972 w 1033465"/>
                <a:gd name="connsiteY152" fmla="*/ 205474 h 838042"/>
                <a:gd name="connsiteX153" fmla="*/ 719162 w 1033465"/>
                <a:gd name="connsiteY153" fmla="*/ 211189 h 838042"/>
                <a:gd name="connsiteX154" fmla="*/ 713447 w 1033465"/>
                <a:gd name="connsiteY154" fmla="*/ 213094 h 838042"/>
                <a:gd name="connsiteX155" fmla="*/ 707732 w 1033465"/>
                <a:gd name="connsiteY155" fmla="*/ 216904 h 838042"/>
                <a:gd name="connsiteX156" fmla="*/ 702017 w 1033465"/>
                <a:gd name="connsiteY156" fmla="*/ 222619 h 838042"/>
                <a:gd name="connsiteX157" fmla="*/ 694397 w 1033465"/>
                <a:gd name="connsiteY157" fmla="*/ 226429 h 838042"/>
                <a:gd name="connsiteX158" fmla="*/ 652487 w 1033465"/>
                <a:gd name="connsiteY158" fmla="*/ 255004 h 838042"/>
                <a:gd name="connsiteX159" fmla="*/ 639152 w 1033465"/>
                <a:gd name="connsiteY159" fmla="*/ 266434 h 838042"/>
                <a:gd name="connsiteX160" fmla="*/ 629627 w 1033465"/>
                <a:gd name="connsiteY160" fmla="*/ 283579 h 838042"/>
                <a:gd name="connsiteX161" fmla="*/ 604862 w 1033465"/>
                <a:gd name="connsiteY161" fmla="*/ 289294 h 838042"/>
                <a:gd name="connsiteX162" fmla="*/ 591527 w 1033465"/>
                <a:gd name="connsiteY162" fmla="*/ 293104 h 838042"/>
                <a:gd name="connsiteX163" fmla="*/ 576287 w 1033465"/>
                <a:gd name="connsiteY163" fmla="*/ 291199 h 838042"/>
                <a:gd name="connsiteX164" fmla="*/ 564857 w 1033465"/>
                <a:gd name="connsiteY164" fmla="*/ 287389 h 838042"/>
                <a:gd name="connsiteX165" fmla="*/ 553427 w 1033465"/>
                <a:gd name="connsiteY165" fmla="*/ 283579 h 838042"/>
                <a:gd name="connsiteX166" fmla="*/ 541997 w 1033465"/>
                <a:gd name="connsiteY166" fmla="*/ 279769 h 838042"/>
                <a:gd name="connsiteX167" fmla="*/ 536282 w 1033465"/>
                <a:gd name="connsiteY167" fmla="*/ 277864 h 838042"/>
                <a:gd name="connsiteX168" fmla="*/ 530567 w 1033465"/>
                <a:gd name="connsiteY168" fmla="*/ 274054 h 838042"/>
                <a:gd name="connsiteX169" fmla="*/ 519137 w 1033465"/>
                <a:gd name="connsiteY169" fmla="*/ 268339 h 838042"/>
                <a:gd name="connsiteX170" fmla="*/ 511517 w 1033465"/>
                <a:gd name="connsiteY170" fmla="*/ 256909 h 838042"/>
                <a:gd name="connsiteX171" fmla="*/ 507707 w 1033465"/>
                <a:gd name="connsiteY171" fmla="*/ 235954 h 838042"/>
                <a:gd name="connsiteX172" fmla="*/ 509612 w 1033465"/>
                <a:gd name="connsiteY172" fmla="*/ 171184 h 838042"/>
                <a:gd name="connsiteX173" fmla="*/ 508314 w 1033465"/>
                <a:gd name="connsiteY173" fmla="*/ 73485 h 838042"/>
                <a:gd name="connsiteX174" fmla="*/ 454116 w 1033465"/>
                <a:gd name="connsiteY174" fmla="*/ 11248 h 838042"/>
                <a:gd name="connsiteX175" fmla="*/ 435401 w 1033465"/>
                <a:gd name="connsiteY175" fmla="*/ 68523 h 838042"/>
                <a:gd name="connsiteX176" fmla="*/ 427697 w 1033465"/>
                <a:gd name="connsiteY176" fmla="*/ 137103 h 838042"/>
                <a:gd name="connsiteX177" fmla="*/ 420077 w 1033465"/>
                <a:gd name="connsiteY177" fmla="*/ 169279 h 838042"/>
                <a:gd name="connsiteX178" fmla="*/ 416267 w 1033465"/>
                <a:gd name="connsiteY178" fmla="*/ 186424 h 838042"/>
                <a:gd name="connsiteX179" fmla="*/ 420077 w 1033465"/>
                <a:gd name="connsiteY179" fmla="*/ 207379 h 838042"/>
                <a:gd name="connsiteX180" fmla="*/ 423887 w 1033465"/>
                <a:gd name="connsiteY180" fmla="*/ 213094 h 838042"/>
                <a:gd name="connsiteX181" fmla="*/ 427697 w 1033465"/>
                <a:gd name="connsiteY181" fmla="*/ 224524 h 838042"/>
                <a:gd name="connsiteX182" fmla="*/ 425792 w 1033465"/>
                <a:gd name="connsiteY182" fmla="*/ 251194 h 838042"/>
                <a:gd name="connsiteX183" fmla="*/ 420077 w 1033465"/>
                <a:gd name="connsiteY183" fmla="*/ 253099 h 838042"/>
                <a:gd name="connsiteX184" fmla="*/ 414362 w 1033465"/>
                <a:gd name="connsiteY184" fmla="*/ 256909 h 838042"/>
                <a:gd name="connsiteX185" fmla="*/ 423887 w 1033465"/>
                <a:gd name="connsiteY18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73467 w 1033465"/>
                <a:gd name="connsiteY119" fmla="*/ 409309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32497 w 1033465"/>
                <a:gd name="connsiteY128" fmla="*/ 361684 h 838042"/>
                <a:gd name="connsiteX129" fmla="*/ 671537 w 1033465"/>
                <a:gd name="connsiteY129" fmla="*/ 369304 h 838042"/>
                <a:gd name="connsiteX130" fmla="*/ 648677 w 1033465"/>
                <a:gd name="connsiteY130" fmla="*/ 373114 h 838042"/>
                <a:gd name="connsiteX131" fmla="*/ 644867 w 1033465"/>
                <a:gd name="connsiteY131" fmla="*/ 361684 h 838042"/>
                <a:gd name="connsiteX132" fmla="*/ 644867 w 1033465"/>
                <a:gd name="connsiteY132" fmla="*/ 338824 h 838042"/>
                <a:gd name="connsiteX133" fmla="*/ 646772 w 1033465"/>
                <a:gd name="connsiteY133" fmla="*/ 333109 h 838042"/>
                <a:gd name="connsiteX134" fmla="*/ 663917 w 1033465"/>
                <a:gd name="connsiteY134" fmla="*/ 323584 h 838042"/>
                <a:gd name="connsiteX135" fmla="*/ 675347 w 1033465"/>
                <a:gd name="connsiteY135" fmla="*/ 315964 h 838042"/>
                <a:gd name="connsiteX136" fmla="*/ 677252 w 1033465"/>
                <a:gd name="connsiteY136" fmla="*/ 310249 h 838042"/>
                <a:gd name="connsiteX137" fmla="*/ 682967 w 1033465"/>
                <a:gd name="connsiteY137" fmla="*/ 308344 h 838042"/>
                <a:gd name="connsiteX138" fmla="*/ 688682 w 1033465"/>
                <a:gd name="connsiteY138" fmla="*/ 304534 h 838042"/>
                <a:gd name="connsiteX139" fmla="*/ 698207 w 1033465"/>
                <a:gd name="connsiteY139" fmla="*/ 295009 h 838042"/>
                <a:gd name="connsiteX140" fmla="*/ 707732 w 1033465"/>
                <a:gd name="connsiteY140" fmla="*/ 283579 h 838042"/>
                <a:gd name="connsiteX141" fmla="*/ 719162 w 1033465"/>
                <a:gd name="connsiteY141" fmla="*/ 275959 h 838042"/>
                <a:gd name="connsiteX142" fmla="*/ 734402 w 1033465"/>
                <a:gd name="connsiteY142" fmla="*/ 262624 h 838042"/>
                <a:gd name="connsiteX143" fmla="*/ 743927 w 1033465"/>
                <a:gd name="connsiteY143" fmla="*/ 251194 h 838042"/>
                <a:gd name="connsiteX144" fmla="*/ 755357 w 1033465"/>
                <a:gd name="connsiteY144" fmla="*/ 241669 h 838042"/>
                <a:gd name="connsiteX145" fmla="*/ 761072 w 1033465"/>
                <a:gd name="connsiteY145" fmla="*/ 230239 h 838042"/>
                <a:gd name="connsiteX146" fmla="*/ 762977 w 1033465"/>
                <a:gd name="connsiteY146" fmla="*/ 224524 h 838042"/>
                <a:gd name="connsiteX147" fmla="*/ 768692 w 1033465"/>
                <a:gd name="connsiteY147" fmla="*/ 213094 h 838042"/>
                <a:gd name="connsiteX148" fmla="*/ 766787 w 1033465"/>
                <a:gd name="connsiteY148" fmla="*/ 197854 h 838042"/>
                <a:gd name="connsiteX149" fmla="*/ 761072 w 1033465"/>
                <a:gd name="connsiteY149" fmla="*/ 195949 h 838042"/>
                <a:gd name="connsiteX150" fmla="*/ 740117 w 1033465"/>
                <a:gd name="connsiteY150" fmla="*/ 197854 h 838042"/>
                <a:gd name="connsiteX151" fmla="*/ 734402 w 1033465"/>
                <a:gd name="connsiteY151" fmla="*/ 201664 h 838042"/>
                <a:gd name="connsiteX152" fmla="*/ 722972 w 1033465"/>
                <a:gd name="connsiteY152" fmla="*/ 205474 h 838042"/>
                <a:gd name="connsiteX153" fmla="*/ 719162 w 1033465"/>
                <a:gd name="connsiteY153" fmla="*/ 211189 h 838042"/>
                <a:gd name="connsiteX154" fmla="*/ 713447 w 1033465"/>
                <a:gd name="connsiteY154" fmla="*/ 213094 h 838042"/>
                <a:gd name="connsiteX155" fmla="*/ 707732 w 1033465"/>
                <a:gd name="connsiteY155" fmla="*/ 216904 h 838042"/>
                <a:gd name="connsiteX156" fmla="*/ 702017 w 1033465"/>
                <a:gd name="connsiteY156" fmla="*/ 222619 h 838042"/>
                <a:gd name="connsiteX157" fmla="*/ 694397 w 1033465"/>
                <a:gd name="connsiteY157" fmla="*/ 226429 h 838042"/>
                <a:gd name="connsiteX158" fmla="*/ 652487 w 1033465"/>
                <a:gd name="connsiteY158" fmla="*/ 255004 h 838042"/>
                <a:gd name="connsiteX159" fmla="*/ 639152 w 1033465"/>
                <a:gd name="connsiteY159" fmla="*/ 266434 h 838042"/>
                <a:gd name="connsiteX160" fmla="*/ 629627 w 1033465"/>
                <a:gd name="connsiteY160" fmla="*/ 283579 h 838042"/>
                <a:gd name="connsiteX161" fmla="*/ 604862 w 1033465"/>
                <a:gd name="connsiteY161" fmla="*/ 289294 h 838042"/>
                <a:gd name="connsiteX162" fmla="*/ 591527 w 1033465"/>
                <a:gd name="connsiteY162" fmla="*/ 293104 h 838042"/>
                <a:gd name="connsiteX163" fmla="*/ 576287 w 1033465"/>
                <a:gd name="connsiteY163" fmla="*/ 291199 h 838042"/>
                <a:gd name="connsiteX164" fmla="*/ 564857 w 1033465"/>
                <a:gd name="connsiteY164" fmla="*/ 287389 h 838042"/>
                <a:gd name="connsiteX165" fmla="*/ 553427 w 1033465"/>
                <a:gd name="connsiteY165" fmla="*/ 283579 h 838042"/>
                <a:gd name="connsiteX166" fmla="*/ 541997 w 1033465"/>
                <a:gd name="connsiteY166" fmla="*/ 279769 h 838042"/>
                <a:gd name="connsiteX167" fmla="*/ 536282 w 1033465"/>
                <a:gd name="connsiteY167" fmla="*/ 277864 h 838042"/>
                <a:gd name="connsiteX168" fmla="*/ 530567 w 1033465"/>
                <a:gd name="connsiteY168" fmla="*/ 274054 h 838042"/>
                <a:gd name="connsiteX169" fmla="*/ 519137 w 1033465"/>
                <a:gd name="connsiteY169" fmla="*/ 268339 h 838042"/>
                <a:gd name="connsiteX170" fmla="*/ 511517 w 1033465"/>
                <a:gd name="connsiteY170" fmla="*/ 256909 h 838042"/>
                <a:gd name="connsiteX171" fmla="*/ 507707 w 1033465"/>
                <a:gd name="connsiteY171" fmla="*/ 235954 h 838042"/>
                <a:gd name="connsiteX172" fmla="*/ 509612 w 1033465"/>
                <a:gd name="connsiteY172" fmla="*/ 171184 h 838042"/>
                <a:gd name="connsiteX173" fmla="*/ 508314 w 1033465"/>
                <a:gd name="connsiteY173" fmla="*/ 73485 h 838042"/>
                <a:gd name="connsiteX174" fmla="*/ 454116 w 1033465"/>
                <a:gd name="connsiteY174" fmla="*/ 11248 h 838042"/>
                <a:gd name="connsiteX175" fmla="*/ 435401 w 1033465"/>
                <a:gd name="connsiteY175" fmla="*/ 68523 h 838042"/>
                <a:gd name="connsiteX176" fmla="*/ 427697 w 1033465"/>
                <a:gd name="connsiteY176" fmla="*/ 137103 h 838042"/>
                <a:gd name="connsiteX177" fmla="*/ 420077 w 1033465"/>
                <a:gd name="connsiteY177" fmla="*/ 169279 h 838042"/>
                <a:gd name="connsiteX178" fmla="*/ 416267 w 1033465"/>
                <a:gd name="connsiteY178" fmla="*/ 186424 h 838042"/>
                <a:gd name="connsiteX179" fmla="*/ 420077 w 1033465"/>
                <a:gd name="connsiteY179" fmla="*/ 207379 h 838042"/>
                <a:gd name="connsiteX180" fmla="*/ 423887 w 1033465"/>
                <a:gd name="connsiteY180" fmla="*/ 213094 h 838042"/>
                <a:gd name="connsiteX181" fmla="*/ 427697 w 1033465"/>
                <a:gd name="connsiteY181" fmla="*/ 224524 h 838042"/>
                <a:gd name="connsiteX182" fmla="*/ 425792 w 1033465"/>
                <a:gd name="connsiteY182" fmla="*/ 251194 h 838042"/>
                <a:gd name="connsiteX183" fmla="*/ 420077 w 1033465"/>
                <a:gd name="connsiteY183" fmla="*/ 253099 h 838042"/>
                <a:gd name="connsiteX184" fmla="*/ 414362 w 1033465"/>
                <a:gd name="connsiteY184" fmla="*/ 256909 h 838042"/>
                <a:gd name="connsiteX185" fmla="*/ 423887 w 1033465"/>
                <a:gd name="connsiteY18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32497 w 1033465"/>
                <a:gd name="connsiteY128" fmla="*/ 361684 h 838042"/>
                <a:gd name="connsiteX129" fmla="*/ 671537 w 1033465"/>
                <a:gd name="connsiteY129" fmla="*/ 369304 h 838042"/>
                <a:gd name="connsiteX130" fmla="*/ 648677 w 1033465"/>
                <a:gd name="connsiteY130" fmla="*/ 373114 h 838042"/>
                <a:gd name="connsiteX131" fmla="*/ 644867 w 1033465"/>
                <a:gd name="connsiteY131" fmla="*/ 361684 h 838042"/>
                <a:gd name="connsiteX132" fmla="*/ 644867 w 1033465"/>
                <a:gd name="connsiteY132" fmla="*/ 338824 h 838042"/>
                <a:gd name="connsiteX133" fmla="*/ 646772 w 1033465"/>
                <a:gd name="connsiteY133" fmla="*/ 333109 h 838042"/>
                <a:gd name="connsiteX134" fmla="*/ 663917 w 1033465"/>
                <a:gd name="connsiteY134" fmla="*/ 323584 h 838042"/>
                <a:gd name="connsiteX135" fmla="*/ 675347 w 1033465"/>
                <a:gd name="connsiteY135" fmla="*/ 315964 h 838042"/>
                <a:gd name="connsiteX136" fmla="*/ 677252 w 1033465"/>
                <a:gd name="connsiteY136" fmla="*/ 310249 h 838042"/>
                <a:gd name="connsiteX137" fmla="*/ 682967 w 1033465"/>
                <a:gd name="connsiteY137" fmla="*/ 308344 h 838042"/>
                <a:gd name="connsiteX138" fmla="*/ 688682 w 1033465"/>
                <a:gd name="connsiteY138" fmla="*/ 304534 h 838042"/>
                <a:gd name="connsiteX139" fmla="*/ 698207 w 1033465"/>
                <a:gd name="connsiteY139" fmla="*/ 295009 h 838042"/>
                <a:gd name="connsiteX140" fmla="*/ 707732 w 1033465"/>
                <a:gd name="connsiteY140" fmla="*/ 283579 h 838042"/>
                <a:gd name="connsiteX141" fmla="*/ 719162 w 1033465"/>
                <a:gd name="connsiteY141" fmla="*/ 275959 h 838042"/>
                <a:gd name="connsiteX142" fmla="*/ 734402 w 1033465"/>
                <a:gd name="connsiteY142" fmla="*/ 262624 h 838042"/>
                <a:gd name="connsiteX143" fmla="*/ 743927 w 1033465"/>
                <a:gd name="connsiteY143" fmla="*/ 251194 h 838042"/>
                <a:gd name="connsiteX144" fmla="*/ 755357 w 1033465"/>
                <a:gd name="connsiteY144" fmla="*/ 241669 h 838042"/>
                <a:gd name="connsiteX145" fmla="*/ 761072 w 1033465"/>
                <a:gd name="connsiteY145" fmla="*/ 230239 h 838042"/>
                <a:gd name="connsiteX146" fmla="*/ 762977 w 1033465"/>
                <a:gd name="connsiteY146" fmla="*/ 224524 h 838042"/>
                <a:gd name="connsiteX147" fmla="*/ 768692 w 1033465"/>
                <a:gd name="connsiteY147" fmla="*/ 213094 h 838042"/>
                <a:gd name="connsiteX148" fmla="*/ 766787 w 1033465"/>
                <a:gd name="connsiteY148" fmla="*/ 197854 h 838042"/>
                <a:gd name="connsiteX149" fmla="*/ 761072 w 1033465"/>
                <a:gd name="connsiteY149" fmla="*/ 195949 h 838042"/>
                <a:gd name="connsiteX150" fmla="*/ 740117 w 1033465"/>
                <a:gd name="connsiteY150" fmla="*/ 197854 h 838042"/>
                <a:gd name="connsiteX151" fmla="*/ 734402 w 1033465"/>
                <a:gd name="connsiteY151" fmla="*/ 201664 h 838042"/>
                <a:gd name="connsiteX152" fmla="*/ 722972 w 1033465"/>
                <a:gd name="connsiteY152" fmla="*/ 205474 h 838042"/>
                <a:gd name="connsiteX153" fmla="*/ 719162 w 1033465"/>
                <a:gd name="connsiteY153" fmla="*/ 211189 h 838042"/>
                <a:gd name="connsiteX154" fmla="*/ 713447 w 1033465"/>
                <a:gd name="connsiteY154" fmla="*/ 213094 h 838042"/>
                <a:gd name="connsiteX155" fmla="*/ 707732 w 1033465"/>
                <a:gd name="connsiteY155" fmla="*/ 216904 h 838042"/>
                <a:gd name="connsiteX156" fmla="*/ 702017 w 1033465"/>
                <a:gd name="connsiteY156" fmla="*/ 222619 h 838042"/>
                <a:gd name="connsiteX157" fmla="*/ 694397 w 1033465"/>
                <a:gd name="connsiteY157" fmla="*/ 226429 h 838042"/>
                <a:gd name="connsiteX158" fmla="*/ 652487 w 1033465"/>
                <a:gd name="connsiteY158" fmla="*/ 255004 h 838042"/>
                <a:gd name="connsiteX159" fmla="*/ 639152 w 1033465"/>
                <a:gd name="connsiteY159" fmla="*/ 266434 h 838042"/>
                <a:gd name="connsiteX160" fmla="*/ 629627 w 1033465"/>
                <a:gd name="connsiteY160" fmla="*/ 283579 h 838042"/>
                <a:gd name="connsiteX161" fmla="*/ 604862 w 1033465"/>
                <a:gd name="connsiteY161" fmla="*/ 289294 h 838042"/>
                <a:gd name="connsiteX162" fmla="*/ 591527 w 1033465"/>
                <a:gd name="connsiteY162" fmla="*/ 293104 h 838042"/>
                <a:gd name="connsiteX163" fmla="*/ 576287 w 1033465"/>
                <a:gd name="connsiteY163" fmla="*/ 291199 h 838042"/>
                <a:gd name="connsiteX164" fmla="*/ 564857 w 1033465"/>
                <a:gd name="connsiteY164" fmla="*/ 287389 h 838042"/>
                <a:gd name="connsiteX165" fmla="*/ 553427 w 1033465"/>
                <a:gd name="connsiteY165" fmla="*/ 283579 h 838042"/>
                <a:gd name="connsiteX166" fmla="*/ 541997 w 1033465"/>
                <a:gd name="connsiteY166" fmla="*/ 279769 h 838042"/>
                <a:gd name="connsiteX167" fmla="*/ 536282 w 1033465"/>
                <a:gd name="connsiteY167" fmla="*/ 277864 h 838042"/>
                <a:gd name="connsiteX168" fmla="*/ 530567 w 1033465"/>
                <a:gd name="connsiteY168" fmla="*/ 274054 h 838042"/>
                <a:gd name="connsiteX169" fmla="*/ 519137 w 1033465"/>
                <a:gd name="connsiteY169" fmla="*/ 268339 h 838042"/>
                <a:gd name="connsiteX170" fmla="*/ 511517 w 1033465"/>
                <a:gd name="connsiteY170" fmla="*/ 256909 h 838042"/>
                <a:gd name="connsiteX171" fmla="*/ 507707 w 1033465"/>
                <a:gd name="connsiteY171" fmla="*/ 235954 h 838042"/>
                <a:gd name="connsiteX172" fmla="*/ 509612 w 1033465"/>
                <a:gd name="connsiteY172" fmla="*/ 171184 h 838042"/>
                <a:gd name="connsiteX173" fmla="*/ 508314 w 1033465"/>
                <a:gd name="connsiteY173" fmla="*/ 73485 h 838042"/>
                <a:gd name="connsiteX174" fmla="*/ 454116 w 1033465"/>
                <a:gd name="connsiteY174" fmla="*/ 11248 h 838042"/>
                <a:gd name="connsiteX175" fmla="*/ 435401 w 1033465"/>
                <a:gd name="connsiteY175" fmla="*/ 68523 h 838042"/>
                <a:gd name="connsiteX176" fmla="*/ 427697 w 1033465"/>
                <a:gd name="connsiteY176" fmla="*/ 137103 h 838042"/>
                <a:gd name="connsiteX177" fmla="*/ 420077 w 1033465"/>
                <a:gd name="connsiteY177" fmla="*/ 169279 h 838042"/>
                <a:gd name="connsiteX178" fmla="*/ 416267 w 1033465"/>
                <a:gd name="connsiteY178" fmla="*/ 186424 h 838042"/>
                <a:gd name="connsiteX179" fmla="*/ 420077 w 1033465"/>
                <a:gd name="connsiteY179" fmla="*/ 207379 h 838042"/>
                <a:gd name="connsiteX180" fmla="*/ 423887 w 1033465"/>
                <a:gd name="connsiteY180" fmla="*/ 213094 h 838042"/>
                <a:gd name="connsiteX181" fmla="*/ 427697 w 1033465"/>
                <a:gd name="connsiteY181" fmla="*/ 224524 h 838042"/>
                <a:gd name="connsiteX182" fmla="*/ 425792 w 1033465"/>
                <a:gd name="connsiteY182" fmla="*/ 251194 h 838042"/>
                <a:gd name="connsiteX183" fmla="*/ 420077 w 1033465"/>
                <a:gd name="connsiteY183" fmla="*/ 253099 h 838042"/>
                <a:gd name="connsiteX184" fmla="*/ 414362 w 1033465"/>
                <a:gd name="connsiteY184" fmla="*/ 256909 h 838042"/>
                <a:gd name="connsiteX185" fmla="*/ 423887 w 1033465"/>
                <a:gd name="connsiteY18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32497 w 1033465"/>
                <a:gd name="connsiteY128" fmla="*/ 361684 h 838042"/>
                <a:gd name="connsiteX129" fmla="*/ 671537 w 1033465"/>
                <a:gd name="connsiteY129" fmla="*/ 369304 h 838042"/>
                <a:gd name="connsiteX130" fmla="*/ 648677 w 1033465"/>
                <a:gd name="connsiteY130" fmla="*/ 373114 h 838042"/>
                <a:gd name="connsiteX131" fmla="*/ 644867 w 1033465"/>
                <a:gd name="connsiteY131" fmla="*/ 338824 h 838042"/>
                <a:gd name="connsiteX132" fmla="*/ 646772 w 1033465"/>
                <a:gd name="connsiteY132" fmla="*/ 333109 h 838042"/>
                <a:gd name="connsiteX133" fmla="*/ 663917 w 1033465"/>
                <a:gd name="connsiteY133" fmla="*/ 323584 h 838042"/>
                <a:gd name="connsiteX134" fmla="*/ 675347 w 1033465"/>
                <a:gd name="connsiteY134" fmla="*/ 315964 h 838042"/>
                <a:gd name="connsiteX135" fmla="*/ 677252 w 1033465"/>
                <a:gd name="connsiteY135" fmla="*/ 310249 h 838042"/>
                <a:gd name="connsiteX136" fmla="*/ 682967 w 1033465"/>
                <a:gd name="connsiteY136" fmla="*/ 308344 h 838042"/>
                <a:gd name="connsiteX137" fmla="*/ 688682 w 1033465"/>
                <a:gd name="connsiteY137" fmla="*/ 304534 h 838042"/>
                <a:gd name="connsiteX138" fmla="*/ 698207 w 1033465"/>
                <a:gd name="connsiteY138" fmla="*/ 295009 h 838042"/>
                <a:gd name="connsiteX139" fmla="*/ 707732 w 1033465"/>
                <a:gd name="connsiteY139" fmla="*/ 283579 h 838042"/>
                <a:gd name="connsiteX140" fmla="*/ 719162 w 1033465"/>
                <a:gd name="connsiteY140" fmla="*/ 275959 h 838042"/>
                <a:gd name="connsiteX141" fmla="*/ 734402 w 1033465"/>
                <a:gd name="connsiteY141" fmla="*/ 262624 h 838042"/>
                <a:gd name="connsiteX142" fmla="*/ 743927 w 1033465"/>
                <a:gd name="connsiteY142" fmla="*/ 251194 h 838042"/>
                <a:gd name="connsiteX143" fmla="*/ 755357 w 1033465"/>
                <a:gd name="connsiteY143" fmla="*/ 241669 h 838042"/>
                <a:gd name="connsiteX144" fmla="*/ 761072 w 1033465"/>
                <a:gd name="connsiteY144" fmla="*/ 230239 h 838042"/>
                <a:gd name="connsiteX145" fmla="*/ 762977 w 1033465"/>
                <a:gd name="connsiteY145" fmla="*/ 224524 h 838042"/>
                <a:gd name="connsiteX146" fmla="*/ 768692 w 1033465"/>
                <a:gd name="connsiteY146" fmla="*/ 213094 h 838042"/>
                <a:gd name="connsiteX147" fmla="*/ 766787 w 1033465"/>
                <a:gd name="connsiteY147" fmla="*/ 197854 h 838042"/>
                <a:gd name="connsiteX148" fmla="*/ 761072 w 1033465"/>
                <a:gd name="connsiteY148" fmla="*/ 195949 h 838042"/>
                <a:gd name="connsiteX149" fmla="*/ 740117 w 1033465"/>
                <a:gd name="connsiteY149" fmla="*/ 197854 h 838042"/>
                <a:gd name="connsiteX150" fmla="*/ 734402 w 1033465"/>
                <a:gd name="connsiteY150" fmla="*/ 201664 h 838042"/>
                <a:gd name="connsiteX151" fmla="*/ 722972 w 1033465"/>
                <a:gd name="connsiteY151" fmla="*/ 205474 h 838042"/>
                <a:gd name="connsiteX152" fmla="*/ 719162 w 1033465"/>
                <a:gd name="connsiteY152" fmla="*/ 211189 h 838042"/>
                <a:gd name="connsiteX153" fmla="*/ 713447 w 1033465"/>
                <a:gd name="connsiteY153" fmla="*/ 213094 h 838042"/>
                <a:gd name="connsiteX154" fmla="*/ 707732 w 1033465"/>
                <a:gd name="connsiteY154" fmla="*/ 216904 h 838042"/>
                <a:gd name="connsiteX155" fmla="*/ 702017 w 1033465"/>
                <a:gd name="connsiteY155" fmla="*/ 222619 h 838042"/>
                <a:gd name="connsiteX156" fmla="*/ 694397 w 1033465"/>
                <a:gd name="connsiteY156" fmla="*/ 226429 h 838042"/>
                <a:gd name="connsiteX157" fmla="*/ 652487 w 1033465"/>
                <a:gd name="connsiteY157" fmla="*/ 255004 h 838042"/>
                <a:gd name="connsiteX158" fmla="*/ 639152 w 1033465"/>
                <a:gd name="connsiteY158" fmla="*/ 266434 h 838042"/>
                <a:gd name="connsiteX159" fmla="*/ 629627 w 1033465"/>
                <a:gd name="connsiteY159" fmla="*/ 283579 h 838042"/>
                <a:gd name="connsiteX160" fmla="*/ 604862 w 1033465"/>
                <a:gd name="connsiteY160" fmla="*/ 289294 h 838042"/>
                <a:gd name="connsiteX161" fmla="*/ 591527 w 1033465"/>
                <a:gd name="connsiteY161" fmla="*/ 293104 h 838042"/>
                <a:gd name="connsiteX162" fmla="*/ 576287 w 1033465"/>
                <a:gd name="connsiteY162" fmla="*/ 291199 h 838042"/>
                <a:gd name="connsiteX163" fmla="*/ 564857 w 1033465"/>
                <a:gd name="connsiteY163" fmla="*/ 287389 h 838042"/>
                <a:gd name="connsiteX164" fmla="*/ 553427 w 1033465"/>
                <a:gd name="connsiteY164" fmla="*/ 283579 h 838042"/>
                <a:gd name="connsiteX165" fmla="*/ 541997 w 1033465"/>
                <a:gd name="connsiteY165" fmla="*/ 279769 h 838042"/>
                <a:gd name="connsiteX166" fmla="*/ 536282 w 1033465"/>
                <a:gd name="connsiteY166" fmla="*/ 277864 h 838042"/>
                <a:gd name="connsiteX167" fmla="*/ 530567 w 1033465"/>
                <a:gd name="connsiteY167" fmla="*/ 274054 h 838042"/>
                <a:gd name="connsiteX168" fmla="*/ 519137 w 1033465"/>
                <a:gd name="connsiteY168" fmla="*/ 268339 h 838042"/>
                <a:gd name="connsiteX169" fmla="*/ 511517 w 1033465"/>
                <a:gd name="connsiteY169" fmla="*/ 256909 h 838042"/>
                <a:gd name="connsiteX170" fmla="*/ 507707 w 1033465"/>
                <a:gd name="connsiteY170" fmla="*/ 235954 h 838042"/>
                <a:gd name="connsiteX171" fmla="*/ 509612 w 1033465"/>
                <a:gd name="connsiteY171" fmla="*/ 171184 h 838042"/>
                <a:gd name="connsiteX172" fmla="*/ 508314 w 1033465"/>
                <a:gd name="connsiteY172" fmla="*/ 73485 h 838042"/>
                <a:gd name="connsiteX173" fmla="*/ 454116 w 1033465"/>
                <a:gd name="connsiteY173" fmla="*/ 11248 h 838042"/>
                <a:gd name="connsiteX174" fmla="*/ 435401 w 1033465"/>
                <a:gd name="connsiteY174" fmla="*/ 68523 h 838042"/>
                <a:gd name="connsiteX175" fmla="*/ 427697 w 1033465"/>
                <a:gd name="connsiteY175" fmla="*/ 137103 h 838042"/>
                <a:gd name="connsiteX176" fmla="*/ 420077 w 1033465"/>
                <a:gd name="connsiteY176" fmla="*/ 169279 h 838042"/>
                <a:gd name="connsiteX177" fmla="*/ 416267 w 1033465"/>
                <a:gd name="connsiteY177" fmla="*/ 186424 h 838042"/>
                <a:gd name="connsiteX178" fmla="*/ 420077 w 1033465"/>
                <a:gd name="connsiteY178" fmla="*/ 207379 h 838042"/>
                <a:gd name="connsiteX179" fmla="*/ 423887 w 1033465"/>
                <a:gd name="connsiteY179" fmla="*/ 213094 h 838042"/>
                <a:gd name="connsiteX180" fmla="*/ 427697 w 1033465"/>
                <a:gd name="connsiteY180" fmla="*/ 224524 h 838042"/>
                <a:gd name="connsiteX181" fmla="*/ 425792 w 1033465"/>
                <a:gd name="connsiteY181" fmla="*/ 251194 h 838042"/>
                <a:gd name="connsiteX182" fmla="*/ 420077 w 1033465"/>
                <a:gd name="connsiteY182" fmla="*/ 253099 h 838042"/>
                <a:gd name="connsiteX183" fmla="*/ 414362 w 1033465"/>
                <a:gd name="connsiteY183" fmla="*/ 256909 h 838042"/>
                <a:gd name="connsiteX184" fmla="*/ 423887 w 1033465"/>
                <a:gd name="connsiteY18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8677 w 1033465"/>
                <a:gd name="connsiteY130" fmla="*/ 373114 h 838042"/>
                <a:gd name="connsiteX131" fmla="*/ 644867 w 1033465"/>
                <a:gd name="connsiteY131" fmla="*/ 338824 h 838042"/>
                <a:gd name="connsiteX132" fmla="*/ 646772 w 1033465"/>
                <a:gd name="connsiteY132" fmla="*/ 333109 h 838042"/>
                <a:gd name="connsiteX133" fmla="*/ 663917 w 1033465"/>
                <a:gd name="connsiteY133" fmla="*/ 323584 h 838042"/>
                <a:gd name="connsiteX134" fmla="*/ 675347 w 1033465"/>
                <a:gd name="connsiteY134" fmla="*/ 315964 h 838042"/>
                <a:gd name="connsiteX135" fmla="*/ 677252 w 1033465"/>
                <a:gd name="connsiteY135" fmla="*/ 310249 h 838042"/>
                <a:gd name="connsiteX136" fmla="*/ 682967 w 1033465"/>
                <a:gd name="connsiteY136" fmla="*/ 308344 h 838042"/>
                <a:gd name="connsiteX137" fmla="*/ 688682 w 1033465"/>
                <a:gd name="connsiteY137" fmla="*/ 304534 h 838042"/>
                <a:gd name="connsiteX138" fmla="*/ 698207 w 1033465"/>
                <a:gd name="connsiteY138" fmla="*/ 295009 h 838042"/>
                <a:gd name="connsiteX139" fmla="*/ 707732 w 1033465"/>
                <a:gd name="connsiteY139" fmla="*/ 283579 h 838042"/>
                <a:gd name="connsiteX140" fmla="*/ 719162 w 1033465"/>
                <a:gd name="connsiteY140" fmla="*/ 275959 h 838042"/>
                <a:gd name="connsiteX141" fmla="*/ 734402 w 1033465"/>
                <a:gd name="connsiteY141" fmla="*/ 262624 h 838042"/>
                <a:gd name="connsiteX142" fmla="*/ 743927 w 1033465"/>
                <a:gd name="connsiteY142" fmla="*/ 251194 h 838042"/>
                <a:gd name="connsiteX143" fmla="*/ 755357 w 1033465"/>
                <a:gd name="connsiteY143" fmla="*/ 241669 h 838042"/>
                <a:gd name="connsiteX144" fmla="*/ 761072 w 1033465"/>
                <a:gd name="connsiteY144" fmla="*/ 230239 h 838042"/>
                <a:gd name="connsiteX145" fmla="*/ 762977 w 1033465"/>
                <a:gd name="connsiteY145" fmla="*/ 224524 h 838042"/>
                <a:gd name="connsiteX146" fmla="*/ 768692 w 1033465"/>
                <a:gd name="connsiteY146" fmla="*/ 213094 h 838042"/>
                <a:gd name="connsiteX147" fmla="*/ 766787 w 1033465"/>
                <a:gd name="connsiteY147" fmla="*/ 197854 h 838042"/>
                <a:gd name="connsiteX148" fmla="*/ 761072 w 1033465"/>
                <a:gd name="connsiteY148" fmla="*/ 195949 h 838042"/>
                <a:gd name="connsiteX149" fmla="*/ 740117 w 1033465"/>
                <a:gd name="connsiteY149" fmla="*/ 197854 h 838042"/>
                <a:gd name="connsiteX150" fmla="*/ 734402 w 1033465"/>
                <a:gd name="connsiteY150" fmla="*/ 201664 h 838042"/>
                <a:gd name="connsiteX151" fmla="*/ 722972 w 1033465"/>
                <a:gd name="connsiteY151" fmla="*/ 205474 h 838042"/>
                <a:gd name="connsiteX152" fmla="*/ 719162 w 1033465"/>
                <a:gd name="connsiteY152" fmla="*/ 211189 h 838042"/>
                <a:gd name="connsiteX153" fmla="*/ 713447 w 1033465"/>
                <a:gd name="connsiteY153" fmla="*/ 213094 h 838042"/>
                <a:gd name="connsiteX154" fmla="*/ 707732 w 1033465"/>
                <a:gd name="connsiteY154" fmla="*/ 216904 h 838042"/>
                <a:gd name="connsiteX155" fmla="*/ 702017 w 1033465"/>
                <a:gd name="connsiteY155" fmla="*/ 222619 h 838042"/>
                <a:gd name="connsiteX156" fmla="*/ 694397 w 1033465"/>
                <a:gd name="connsiteY156" fmla="*/ 226429 h 838042"/>
                <a:gd name="connsiteX157" fmla="*/ 652487 w 1033465"/>
                <a:gd name="connsiteY157" fmla="*/ 255004 h 838042"/>
                <a:gd name="connsiteX158" fmla="*/ 639152 w 1033465"/>
                <a:gd name="connsiteY158" fmla="*/ 266434 h 838042"/>
                <a:gd name="connsiteX159" fmla="*/ 629627 w 1033465"/>
                <a:gd name="connsiteY159" fmla="*/ 283579 h 838042"/>
                <a:gd name="connsiteX160" fmla="*/ 604862 w 1033465"/>
                <a:gd name="connsiteY160" fmla="*/ 289294 h 838042"/>
                <a:gd name="connsiteX161" fmla="*/ 591527 w 1033465"/>
                <a:gd name="connsiteY161" fmla="*/ 293104 h 838042"/>
                <a:gd name="connsiteX162" fmla="*/ 576287 w 1033465"/>
                <a:gd name="connsiteY162" fmla="*/ 291199 h 838042"/>
                <a:gd name="connsiteX163" fmla="*/ 564857 w 1033465"/>
                <a:gd name="connsiteY163" fmla="*/ 287389 h 838042"/>
                <a:gd name="connsiteX164" fmla="*/ 553427 w 1033465"/>
                <a:gd name="connsiteY164" fmla="*/ 283579 h 838042"/>
                <a:gd name="connsiteX165" fmla="*/ 541997 w 1033465"/>
                <a:gd name="connsiteY165" fmla="*/ 279769 h 838042"/>
                <a:gd name="connsiteX166" fmla="*/ 536282 w 1033465"/>
                <a:gd name="connsiteY166" fmla="*/ 277864 h 838042"/>
                <a:gd name="connsiteX167" fmla="*/ 530567 w 1033465"/>
                <a:gd name="connsiteY167" fmla="*/ 274054 h 838042"/>
                <a:gd name="connsiteX168" fmla="*/ 519137 w 1033465"/>
                <a:gd name="connsiteY168" fmla="*/ 268339 h 838042"/>
                <a:gd name="connsiteX169" fmla="*/ 511517 w 1033465"/>
                <a:gd name="connsiteY169" fmla="*/ 256909 h 838042"/>
                <a:gd name="connsiteX170" fmla="*/ 507707 w 1033465"/>
                <a:gd name="connsiteY170" fmla="*/ 235954 h 838042"/>
                <a:gd name="connsiteX171" fmla="*/ 509612 w 1033465"/>
                <a:gd name="connsiteY171" fmla="*/ 171184 h 838042"/>
                <a:gd name="connsiteX172" fmla="*/ 508314 w 1033465"/>
                <a:gd name="connsiteY172" fmla="*/ 73485 h 838042"/>
                <a:gd name="connsiteX173" fmla="*/ 454116 w 1033465"/>
                <a:gd name="connsiteY173" fmla="*/ 11248 h 838042"/>
                <a:gd name="connsiteX174" fmla="*/ 435401 w 1033465"/>
                <a:gd name="connsiteY174" fmla="*/ 68523 h 838042"/>
                <a:gd name="connsiteX175" fmla="*/ 427697 w 1033465"/>
                <a:gd name="connsiteY175" fmla="*/ 137103 h 838042"/>
                <a:gd name="connsiteX176" fmla="*/ 420077 w 1033465"/>
                <a:gd name="connsiteY176" fmla="*/ 169279 h 838042"/>
                <a:gd name="connsiteX177" fmla="*/ 416267 w 1033465"/>
                <a:gd name="connsiteY177" fmla="*/ 186424 h 838042"/>
                <a:gd name="connsiteX178" fmla="*/ 420077 w 1033465"/>
                <a:gd name="connsiteY178" fmla="*/ 207379 h 838042"/>
                <a:gd name="connsiteX179" fmla="*/ 423887 w 1033465"/>
                <a:gd name="connsiteY179" fmla="*/ 213094 h 838042"/>
                <a:gd name="connsiteX180" fmla="*/ 427697 w 1033465"/>
                <a:gd name="connsiteY180" fmla="*/ 224524 h 838042"/>
                <a:gd name="connsiteX181" fmla="*/ 425792 w 1033465"/>
                <a:gd name="connsiteY181" fmla="*/ 251194 h 838042"/>
                <a:gd name="connsiteX182" fmla="*/ 420077 w 1033465"/>
                <a:gd name="connsiteY182" fmla="*/ 253099 h 838042"/>
                <a:gd name="connsiteX183" fmla="*/ 414362 w 1033465"/>
                <a:gd name="connsiteY183" fmla="*/ 256909 h 838042"/>
                <a:gd name="connsiteX184" fmla="*/ 423887 w 1033465"/>
                <a:gd name="connsiteY18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63917 w 1033465"/>
                <a:gd name="connsiteY132" fmla="*/ 323584 h 838042"/>
                <a:gd name="connsiteX133" fmla="*/ 675347 w 1033465"/>
                <a:gd name="connsiteY133" fmla="*/ 315964 h 838042"/>
                <a:gd name="connsiteX134" fmla="*/ 677252 w 1033465"/>
                <a:gd name="connsiteY134" fmla="*/ 310249 h 838042"/>
                <a:gd name="connsiteX135" fmla="*/ 682967 w 1033465"/>
                <a:gd name="connsiteY135" fmla="*/ 308344 h 838042"/>
                <a:gd name="connsiteX136" fmla="*/ 688682 w 1033465"/>
                <a:gd name="connsiteY136" fmla="*/ 304534 h 838042"/>
                <a:gd name="connsiteX137" fmla="*/ 698207 w 1033465"/>
                <a:gd name="connsiteY137" fmla="*/ 295009 h 838042"/>
                <a:gd name="connsiteX138" fmla="*/ 707732 w 1033465"/>
                <a:gd name="connsiteY138" fmla="*/ 283579 h 838042"/>
                <a:gd name="connsiteX139" fmla="*/ 719162 w 1033465"/>
                <a:gd name="connsiteY139" fmla="*/ 275959 h 838042"/>
                <a:gd name="connsiteX140" fmla="*/ 734402 w 1033465"/>
                <a:gd name="connsiteY140" fmla="*/ 262624 h 838042"/>
                <a:gd name="connsiteX141" fmla="*/ 743927 w 1033465"/>
                <a:gd name="connsiteY141" fmla="*/ 251194 h 838042"/>
                <a:gd name="connsiteX142" fmla="*/ 755357 w 1033465"/>
                <a:gd name="connsiteY142" fmla="*/ 241669 h 838042"/>
                <a:gd name="connsiteX143" fmla="*/ 761072 w 1033465"/>
                <a:gd name="connsiteY143" fmla="*/ 230239 h 838042"/>
                <a:gd name="connsiteX144" fmla="*/ 762977 w 1033465"/>
                <a:gd name="connsiteY144" fmla="*/ 224524 h 838042"/>
                <a:gd name="connsiteX145" fmla="*/ 768692 w 1033465"/>
                <a:gd name="connsiteY145" fmla="*/ 213094 h 838042"/>
                <a:gd name="connsiteX146" fmla="*/ 766787 w 1033465"/>
                <a:gd name="connsiteY146" fmla="*/ 197854 h 838042"/>
                <a:gd name="connsiteX147" fmla="*/ 761072 w 1033465"/>
                <a:gd name="connsiteY147" fmla="*/ 195949 h 838042"/>
                <a:gd name="connsiteX148" fmla="*/ 740117 w 1033465"/>
                <a:gd name="connsiteY148" fmla="*/ 197854 h 838042"/>
                <a:gd name="connsiteX149" fmla="*/ 734402 w 1033465"/>
                <a:gd name="connsiteY149" fmla="*/ 201664 h 838042"/>
                <a:gd name="connsiteX150" fmla="*/ 722972 w 1033465"/>
                <a:gd name="connsiteY150" fmla="*/ 205474 h 838042"/>
                <a:gd name="connsiteX151" fmla="*/ 719162 w 1033465"/>
                <a:gd name="connsiteY151" fmla="*/ 211189 h 838042"/>
                <a:gd name="connsiteX152" fmla="*/ 713447 w 1033465"/>
                <a:gd name="connsiteY152" fmla="*/ 213094 h 838042"/>
                <a:gd name="connsiteX153" fmla="*/ 707732 w 1033465"/>
                <a:gd name="connsiteY153" fmla="*/ 216904 h 838042"/>
                <a:gd name="connsiteX154" fmla="*/ 702017 w 1033465"/>
                <a:gd name="connsiteY154" fmla="*/ 222619 h 838042"/>
                <a:gd name="connsiteX155" fmla="*/ 694397 w 1033465"/>
                <a:gd name="connsiteY155" fmla="*/ 226429 h 838042"/>
                <a:gd name="connsiteX156" fmla="*/ 652487 w 1033465"/>
                <a:gd name="connsiteY156" fmla="*/ 255004 h 838042"/>
                <a:gd name="connsiteX157" fmla="*/ 639152 w 1033465"/>
                <a:gd name="connsiteY157" fmla="*/ 266434 h 838042"/>
                <a:gd name="connsiteX158" fmla="*/ 629627 w 1033465"/>
                <a:gd name="connsiteY158" fmla="*/ 283579 h 838042"/>
                <a:gd name="connsiteX159" fmla="*/ 604862 w 1033465"/>
                <a:gd name="connsiteY159" fmla="*/ 289294 h 838042"/>
                <a:gd name="connsiteX160" fmla="*/ 591527 w 1033465"/>
                <a:gd name="connsiteY160" fmla="*/ 293104 h 838042"/>
                <a:gd name="connsiteX161" fmla="*/ 576287 w 1033465"/>
                <a:gd name="connsiteY161" fmla="*/ 291199 h 838042"/>
                <a:gd name="connsiteX162" fmla="*/ 564857 w 1033465"/>
                <a:gd name="connsiteY162" fmla="*/ 287389 h 838042"/>
                <a:gd name="connsiteX163" fmla="*/ 553427 w 1033465"/>
                <a:gd name="connsiteY163" fmla="*/ 283579 h 838042"/>
                <a:gd name="connsiteX164" fmla="*/ 541997 w 1033465"/>
                <a:gd name="connsiteY164" fmla="*/ 279769 h 838042"/>
                <a:gd name="connsiteX165" fmla="*/ 536282 w 1033465"/>
                <a:gd name="connsiteY165" fmla="*/ 277864 h 838042"/>
                <a:gd name="connsiteX166" fmla="*/ 530567 w 1033465"/>
                <a:gd name="connsiteY166" fmla="*/ 274054 h 838042"/>
                <a:gd name="connsiteX167" fmla="*/ 519137 w 1033465"/>
                <a:gd name="connsiteY167" fmla="*/ 268339 h 838042"/>
                <a:gd name="connsiteX168" fmla="*/ 511517 w 1033465"/>
                <a:gd name="connsiteY168" fmla="*/ 256909 h 838042"/>
                <a:gd name="connsiteX169" fmla="*/ 507707 w 1033465"/>
                <a:gd name="connsiteY169" fmla="*/ 235954 h 838042"/>
                <a:gd name="connsiteX170" fmla="*/ 509612 w 1033465"/>
                <a:gd name="connsiteY170" fmla="*/ 171184 h 838042"/>
                <a:gd name="connsiteX171" fmla="*/ 508314 w 1033465"/>
                <a:gd name="connsiteY171" fmla="*/ 73485 h 838042"/>
                <a:gd name="connsiteX172" fmla="*/ 454116 w 1033465"/>
                <a:gd name="connsiteY172" fmla="*/ 11248 h 838042"/>
                <a:gd name="connsiteX173" fmla="*/ 435401 w 1033465"/>
                <a:gd name="connsiteY173" fmla="*/ 68523 h 838042"/>
                <a:gd name="connsiteX174" fmla="*/ 427697 w 1033465"/>
                <a:gd name="connsiteY174" fmla="*/ 137103 h 838042"/>
                <a:gd name="connsiteX175" fmla="*/ 420077 w 1033465"/>
                <a:gd name="connsiteY175" fmla="*/ 169279 h 838042"/>
                <a:gd name="connsiteX176" fmla="*/ 416267 w 1033465"/>
                <a:gd name="connsiteY176" fmla="*/ 186424 h 838042"/>
                <a:gd name="connsiteX177" fmla="*/ 420077 w 1033465"/>
                <a:gd name="connsiteY177" fmla="*/ 207379 h 838042"/>
                <a:gd name="connsiteX178" fmla="*/ 423887 w 1033465"/>
                <a:gd name="connsiteY178" fmla="*/ 213094 h 838042"/>
                <a:gd name="connsiteX179" fmla="*/ 427697 w 1033465"/>
                <a:gd name="connsiteY179" fmla="*/ 224524 h 838042"/>
                <a:gd name="connsiteX180" fmla="*/ 425792 w 1033465"/>
                <a:gd name="connsiteY180" fmla="*/ 251194 h 838042"/>
                <a:gd name="connsiteX181" fmla="*/ 420077 w 1033465"/>
                <a:gd name="connsiteY181" fmla="*/ 253099 h 838042"/>
                <a:gd name="connsiteX182" fmla="*/ 414362 w 1033465"/>
                <a:gd name="connsiteY182" fmla="*/ 256909 h 838042"/>
                <a:gd name="connsiteX183" fmla="*/ 423887 w 1033465"/>
                <a:gd name="connsiteY18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688682 w 1033465"/>
                <a:gd name="connsiteY135" fmla="*/ 304534 h 838042"/>
                <a:gd name="connsiteX136" fmla="*/ 698207 w 1033465"/>
                <a:gd name="connsiteY136" fmla="*/ 295009 h 838042"/>
                <a:gd name="connsiteX137" fmla="*/ 707732 w 1033465"/>
                <a:gd name="connsiteY137" fmla="*/ 283579 h 838042"/>
                <a:gd name="connsiteX138" fmla="*/ 719162 w 1033465"/>
                <a:gd name="connsiteY138" fmla="*/ 275959 h 838042"/>
                <a:gd name="connsiteX139" fmla="*/ 734402 w 1033465"/>
                <a:gd name="connsiteY139" fmla="*/ 262624 h 838042"/>
                <a:gd name="connsiteX140" fmla="*/ 743927 w 1033465"/>
                <a:gd name="connsiteY140" fmla="*/ 251194 h 838042"/>
                <a:gd name="connsiteX141" fmla="*/ 755357 w 1033465"/>
                <a:gd name="connsiteY141" fmla="*/ 241669 h 838042"/>
                <a:gd name="connsiteX142" fmla="*/ 761072 w 1033465"/>
                <a:gd name="connsiteY142" fmla="*/ 230239 h 838042"/>
                <a:gd name="connsiteX143" fmla="*/ 762977 w 1033465"/>
                <a:gd name="connsiteY143" fmla="*/ 224524 h 838042"/>
                <a:gd name="connsiteX144" fmla="*/ 768692 w 1033465"/>
                <a:gd name="connsiteY144" fmla="*/ 213094 h 838042"/>
                <a:gd name="connsiteX145" fmla="*/ 766787 w 1033465"/>
                <a:gd name="connsiteY145" fmla="*/ 197854 h 838042"/>
                <a:gd name="connsiteX146" fmla="*/ 761072 w 1033465"/>
                <a:gd name="connsiteY146" fmla="*/ 195949 h 838042"/>
                <a:gd name="connsiteX147" fmla="*/ 740117 w 1033465"/>
                <a:gd name="connsiteY147" fmla="*/ 197854 h 838042"/>
                <a:gd name="connsiteX148" fmla="*/ 734402 w 1033465"/>
                <a:gd name="connsiteY148" fmla="*/ 201664 h 838042"/>
                <a:gd name="connsiteX149" fmla="*/ 722972 w 1033465"/>
                <a:gd name="connsiteY149" fmla="*/ 205474 h 838042"/>
                <a:gd name="connsiteX150" fmla="*/ 719162 w 1033465"/>
                <a:gd name="connsiteY150" fmla="*/ 211189 h 838042"/>
                <a:gd name="connsiteX151" fmla="*/ 713447 w 1033465"/>
                <a:gd name="connsiteY151" fmla="*/ 213094 h 838042"/>
                <a:gd name="connsiteX152" fmla="*/ 707732 w 1033465"/>
                <a:gd name="connsiteY152" fmla="*/ 216904 h 838042"/>
                <a:gd name="connsiteX153" fmla="*/ 702017 w 1033465"/>
                <a:gd name="connsiteY153" fmla="*/ 222619 h 838042"/>
                <a:gd name="connsiteX154" fmla="*/ 694397 w 1033465"/>
                <a:gd name="connsiteY154" fmla="*/ 226429 h 838042"/>
                <a:gd name="connsiteX155" fmla="*/ 652487 w 1033465"/>
                <a:gd name="connsiteY155" fmla="*/ 255004 h 838042"/>
                <a:gd name="connsiteX156" fmla="*/ 639152 w 1033465"/>
                <a:gd name="connsiteY156" fmla="*/ 266434 h 838042"/>
                <a:gd name="connsiteX157" fmla="*/ 629627 w 1033465"/>
                <a:gd name="connsiteY157" fmla="*/ 283579 h 838042"/>
                <a:gd name="connsiteX158" fmla="*/ 604862 w 1033465"/>
                <a:gd name="connsiteY158" fmla="*/ 289294 h 838042"/>
                <a:gd name="connsiteX159" fmla="*/ 591527 w 1033465"/>
                <a:gd name="connsiteY159" fmla="*/ 293104 h 838042"/>
                <a:gd name="connsiteX160" fmla="*/ 576287 w 1033465"/>
                <a:gd name="connsiteY160" fmla="*/ 291199 h 838042"/>
                <a:gd name="connsiteX161" fmla="*/ 564857 w 1033465"/>
                <a:gd name="connsiteY161" fmla="*/ 287389 h 838042"/>
                <a:gd name="connsiteX162" fmla="*/ 553427 w 1033465"/>
                <a:gd name="connsiteY162" fmla="*/ 283579 h 838042"/>
                <a:gd name="connsiteX163" fmla="*/ 541997 w 1033465"/>
                <a:gd name="connsiteY163" fmla="*/ 279769 h 838042"/>
                <a:gd name="connsiteX164" fmla="*/ 536282 w 1033465"/>
                <a:gd name="connsiteY164" fmla="*/ 277864 h 838042"/>
                <a:gd name="connsiteX165" fmla="*/ 530567 w 1033465"/>
                <a:gd name="connsiteY165" fmla="*/ 274054 h 838042"/>
                <a:gd name="connsiteX166" fmla="*/ 519137 w 1033465"/>
                <a:gd name="connsiteY166" fmla="*/ 268339 h 838042"/>
                <a:gd name="connsiteX167" fmla="*/ 511517 w 1033465"/>
                <a:gd name="connsiteY167" fmla="*/ 256909 h 838042"/>
                <a:gd name="connsiteX168" fmla="*/ 507707 w 1033465"/>
                <a:gd name="connsiteY168" fmla="*/ 235954 h 838042"/>
                <a:gd name="connsiteX169" fmla="*/ 509612 w 1033465"/>
                <a:gd name="connsiteY169" fmla="*/ 171184 h 838042"/>
                <a:gd name="connsiteX170" fmla="*/ 508314 w 1033465"/>
                <a:gd name="connsiteY170" fmla="*/ 73485 h 838042"/>
                <a:gd name="connsiteX171" fmla="*/ 454116 w 1033465"/>
                <a:gd name="connsiteY171" fmla="*/ 11248 h 838042"/>
                <a:gd name="connsiteX172" fmla="*/ 435401 w 1033465"/>
                <a:gd name="connsiteY172" fmla="*/ 68523 h 838042"/>
                <a:gd name="connsiteX173" fmla="*/ 427697 w 1033465"/>
                <a:gd name="connsiteY173" fmla="*/ 137103 h 838042"/>
                <a:gd name="connsiteX174" fmla="*/ 420077 w 1033465"/>
                <a:gd name="connsiteY174" fmla="*/ 169279 h 838042"/>
                <a:gd name="connsiteX175" fmla="*/ 416267 w 1033465"/>
                <a:gd name="connsiteY175" fmla="*/ 186424 h 838042"/>
                <a:gd name="connsiteX176" fmla="*/ 420077 w 1033465"/>
                <a:gd name="connsiteY176" fmla="*/ 207379 h 838042"/>
                <a:gd name="connsiteX177" fmla="*/ 423887 w 1033465"/>
                <a:gd name="connsiteY177" fmla="*/ 213094 h 838042"/>
                <a:gd name="connsiteX178" fmla="*/ 427697 w 1033465"/>
                <a:gd name="connsiteY178" fmla="*/ 224524 h 838042"/>
                <a:gd name="connsiteX179" fmla="*/ 425792 w 1033465"/>
                <a:gd name="connsiteY179" fmla="*/ 251194 h 838042"/>
                <a:gd name="connsiteX180" fmla="*/ 420077 w 1033465"/>
                <a:gd name="connsiteY180" fmla="*/ 253099 h 838042"/>
                <a:gd name="connsiteX181" fmla="*/ 414362 w 1033465"/>
                <a:gd name="connsiteY181" fmla="*/ 256909 h 838042"/>
                <a:gd name="connsiteX182" fmla="*/ 423887 w 1033465"/>
                <a:gd name="connsiteY18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688682 w 1033465"/>
                <a:gd name="connsiteY135" fmla="*/ 304534 h 838042"/>
                <a:gd name="connsiteX136" fmla="*/ 707732 w 1033465"/>
                <a:gd name="connsiteY136" fmla="*/ 283579 h 838042"/>
                <a:gd name="connsiteX137" fmla="*/ 719162 w 1033465"/>
                <a:gd name="connsiteY137" fmla="*/ 275959 h 838042"/>
                <a:gd name="connsiteX138" fmla="*/ 734402 w 1033465"/>
                <a:gd name="connsiteY138" fmla="*/ 262624 h 838042"/>
                <a:gd name="connsiteX139" fmla="*/ 743927 w 1033465"/>
                <a:gd name="connsiteY139" fmla="*/ 251194 h 838042"/>
                <a:gd name="connsiteX140" fmla="*/ 755357 w 1033465"/>
                <a:gd name="connsiteY140" fmla="*/ 241669 h 838042"/>
                <a:gd name="connsiteX141" fmla="*/ 761072 w 1033465"/>
                <a:gd name="connsiteY141" fmla="*/ 230239 h 838042"/>
                <a:gd name="connsiteX142" fmla="*/ 762977 w 1033465"/>
                <a:gd name="connsiteY142" fmla="*/ 224524 h 838042"/>
                <a:gd name="connsiteX143" fmla="*/ 768692 w 1033465"/>
                <a:gd name="connsiteY143" fmla="*/ 213094 h 838042"/>
                <a:gd name="connsiteX144" fmla="*/ 766787 w 1033465"/>
                <a:gd name="connsiteY144" fmla="*/ 197854 h 838042"/>
                <a:gd name="connsiteX145" fmla="*/ 761072 w 1033465"/>
                <a:gd name="connsiteY145" fmla="*/ 195949 h 838042"/>
                <a:gd name="connsiteX146" fmla="*/ 740117 w 1033465"/>
                <a:gd name="connsiteY146" fmla="*/ 197854 h 838042"/>
                <a:gd name="connsiteX147" fmla="*/ 734402 w 1033465"/>
                <a:gd name="connsiteY147" fmla="*/ 201664 h 838042"/>
                <a:gd name="connsiteX148" fmla="*/ 722972 w 1033465"/>
                <a:gd name="connsiteY148" fmla="*/ 205474 h 838042"/>
                <a:gd name="connsiteX149" fmla="*/ 719162 w 1033465"/>
                <a:gd name="connsiteY149" fmla="*/ 211189 h 838042"/>
                <a:gd name="connsiteX150" fmla="*/ 713447 w 1033465"/>
                <a:gd name="connsiteY150" fmla="*/ 213094 h 838042"/>
                <a:gd name="connsiteX151" fmla="*/ 707732 w 1033465"/>
                <a:gd name="connsiteY151" fmla="*/ 216904 h 838042"/>
                <a:gd name="connsiteX152" fmla="*/ 702017 w 1033465"/>
                <a:gd name="connsiteY152" fmla="*/ 222619 h 838042"/>
                <a:gd name="connsiteX153" fmla="*/ 694397 w 1033465"/>
                <a:gd name="connsiteY153" fmla="*/ 226429 h 838042"/>
                <a:gd name="connsiteX154" fmla="*/ 652487 w 1033465"/>
                <a:gd name="connsiteY154" fmla="*/ 255004 h 838042"/>
                <a:gd name="connsiteX155" fmla="*/ 639152 w 1033465"/>
                <a:gd name="connsiteY155" fmla="*/ 266434 h 838042"/>
                <a:gd name="connsiteX156" fmla="*/ 629627 w 1033465"/>
                <a:gd name="connsiteY156" fmla="*/ 283579 h 838042"/>
                <a:gd name="connsiteX157" fmla="*/ 604862 w 1033465"/>
                <a:gd name="connsiteY157" fmla="*/ 289294 h 838042"/>
                <a:gd name="connsiteX158" fmla="*/ 591527 w 1033465"/>
                <a:gd name="connsiteY158" fmla="*/ 293104 h 838042"/>
                <a:gd name="connsiteX159" fmla="*/ 576287 w 1033465"/>
                <a:gd name="connsiteY159" fmla="*/ 291199 h 838042"/>
                <a:gd name="connsiteX160" fmla="*/ 564857 w 1033465"/>
                <a:gd name="connsiteY160" fmla="*/ 287389 h 838042"/>
                <a:gd name="connsiteX161" fmla="*/ 553427 w 1033465"/>
                <a:gd name="connsiteY161" fmla="*/ 283579 h 838042"/>
                <a:gd name="connsiteX162" fmla="*/ 541997 w 1033465"/>
                <a:gd name="connsiteY162" fmla="*/ 279769 h 838042"/>
                <a:gd name="connsiteX163" fmla="*/ 536282 w 1033465"/>
                <a:gd name="connsiteY163" fmla="*/ 277864 h 838042"/>
                <a:gd name="connsiteX164" fmla="*/ 530567 w 1033465"/>
                <a:gd name="connsiteY164" fmla="*/ 274054 h 838042"/>
                <a:gd name="connsiteX165" fmla="*/ 519137 w 1033465"/>
                <a:gd name="connsiteY165" fmla="*/ 268339 h 838042"/>
                <a:gd name="connsiteX166" fmla="*/ 511517 w 1033465"/>
                <a:gd name="connsiteY166" fmla="*/ 256909 h 838042"/>
                <a:gd name="connsiteX167" fmla="*/ 507707 w 1033465"/>
                <a:gd name="connsiteY167" fmla="*/ 235954 h 838042"/>
                <a:gd name="connsiteX168" fmla="*/ 509612 w 1033465"/>
                <a:gd name="connsiteY168" fmla="*/ 171184 h 838042"/>
                <a:gd name="connsiteX169" fmla="*/ 508314 w 1033465"/>
                <a:gd name="connsiteY169" fmla="*/ 73485 h 838042"/>
                <a:gd name="connsiteX170" fmla="*/ 454116 w 1033465"/>
                <a:gd name="connsiteY170" fmla="*/ 11248 h 838042"/>
                <a:gd name="connsiteX171" fmla="*/ 435401 w 1033465"/>
                <a:gd name="connsiteY171" fmla="*/ 68523 h 838042"/>
                <a:gd name="connsiteX172" fmla="*/ 427697 w 1033465"/>
                <a:gd name="connsiteY172" fmla="*/ 137103 h 838042"/>
                <a:gd name="connsiteX173" fmla="*/ 420077 w 1033465"/>
                <a:gd name="connsiteY173" fmla="*/ 169279 h 838042"/>
                <a:gd name="connsiteX174" fmla="*/ 416267 w 1033465"/>
                <a:gd name="connsiteY174" fmla="*/ 186424 h 838042"/>
                <a:gd name="connsiteX175" fmla="*/ 420077 w 1033465"/>
                <a:gd name="connsiteY175" fmla="*/ 207379 h 838042"/>
                <a:gd name="connsiteX176" fmla="*/ 423887 w 1033465"/>
                <a:gd name="connsiteY176" fmla="*/ 213094 h 838042"/>
                <a:gd name="connsiteX177" fmla="*/ 427697 w 1033465"/>
                <a:gd name="connsiteY177" fmla="*/ 224524 h 838042"/>
                <a:gd name="connsiteX178" fmla="*/ 425792 w 1033465"/>
                <a:gd name="connsiteY178" fmla="*/ 251194 h 838042"/>
                <a:gd name="connsiteX179" fmla="*/ 420077 w 1033465"/>
                <a:gd name="connsiteY179" fmla="*/ 253099 h 838042"/>
                <a:gd name="connsiteX180" fmla="*/ 414362 w 1033465"/>
                <a:gd name="connsiteY180" fmla="*/ 256909 h 838042"/>
                <a:gd name="connsiteX181" fmla="*/ 423887 w 1033465"/>
                <a:gd name="connsiteY18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688682 w 1033465"/>
                <a:gd name="connsiteY135" fmla="*/ 304534 h 838042"/>
                <a:gd name="connsiteX136" fmla="*/ 707732 w 1033465"/>
                <a:gd name="connsiteY136" fmla="*/ 283579 h 838042"/>
                <a:gd name="connsiteX137" fmla="*/ 719162 w 1033465"/>
                <a:gd name="connsiteY137" fmla="*/ 275959 h 838042"/>
                <a:gd name="connsiteX138" fmla="*/ 743927 w 1033465"/>
                <a:gd name="connsiteY138" fmla="*/ 251194 h 838042"/>
                <a:gd name="connsiteX139" fmla="*/ 755357 w 1033465"/>
                <a:gd name="connsiteY139" fmla="*/ 241669 h 838042"/>
                <a:gd name="connsiteX140" fmla="*/ 761072 w 1033465"/>
                <a:gd name="connsiteY140" fmla="*/ 230239 h 838042"/>
                <a:gd name="connsiteX141" fmla="*/ 762977 w 1033465"/>
                <a:gd name="connsiteY141" fmla="*/ 224524 h 838042"/>
                <a:gd name="connsiteX142" fmla="*/ 768692 w 1033465"/>
                <a:gd name="connsiteY142" fmla="*/ 213094 h 838042"/>
                <a:gd name="connsiteX143" fmla="*/ 766787 w 1033465"/>
                <a:gd name="connsiteY143" fmla="*/ 197854 h 838042"/>
                <a:gd name="connsiteX144" fmla="*/ 761072 w 1033465"/>
                <a:gd name="connsiteY144" fmla="*/ 195949 h 838042"/>
                <a:gd name="connsiteX145" fmla="*/ 740117 w 1033465"/>
                <a:gd name="connsiteY145" fmla="*/ 197854 h 838042"/>
                <a:gd name="connsiteX146" fmla="*/ 734402 w 1033465"/>
                <a:gd name="connsiteY146" fmla="*/ 201664 h 838042"/>
                <a:gd name="connsiteX147" fmla="*/ 722972 w 1033465"/>
                <a:gd name="connsiteY147" fmla="*/ 205474 h 838042"/>
                <a:gd name="connsiteX148" fmla="*/ 719162 w 1033465"/>
                <a:gd name="connsiteY148" fmla="*/ 211189 h 838042"/>
                <a:gd name="connsiteX149" fmla="*/ 713447 w 1033465"/>
                <a:gd name="connsiteY149" fmla="*/ 213094 h 838042"/>
                <a:gd name="connsiteX150" fmla="*/ 707732 w 1033465"/>
                <a:gd name="connsiteY150" fmla="*/ 216904 h 838042"/>
                <a:gd name="connsiteX151" fmla="*/ 702017 w 1033465"/>
                <a:gd name="connsiteY151" fmla="*/ 222619 h 838042"/>
                <a:gd name="connsiteX152" fmla="*/ 694397 w 1033465"/>
                <a:gd name="connsiteY152" fmla="*/ 226429 h 838042"/>
                <a:gd name="connsiteX153" fmla="*/ 652487 w 1033465"/>
                <a:gd name="connsiteY153" fmla="*/ 255004 h 838042"/>
                <a:gd name="connsiteX154" fmla="*/ 639152 w 1033465"/>
                <a:gd name="connsiteY154" fmla="*/ 266434 h 838042"/>
                <a:gd name="connsiteX155" fmla="*/ 629627 w 1033465"/>
                <a:gd name="connsiteY155" fmla="*/ 283579 h 838042"/>
                <a:gd name="connsiteX156" fmla="*/ 604862 w 1033465"/>
                <a:gd name="connsiteY156" fmla="*/ 289294 h 838042"/>
                <a:gd name="connsiteX157" fmla="*/ 591527 w 1033465"/>
                <a:gd name="connsiteY157" fmla="*/ 293104 h 838042"/>
                <a:gd name="connsiteX158" fmla="*/ 576287 w 1033465"/>
                <a:gd name="connsiteY158" fmla="*/ 291199 h 838042"/>
                <a:gd name="connsiteX159" fmla="*/ 564857 w 1033465"/>
                <a:gd name="connsiteY159" fmla="*/ 287389 h 838042"/>
                <a:gd name="connsiteX160" fmla="*/ 553427 w 1033465"/>
                <a:gd name="connsiteY160" fmla="*/ 283579 h 838042"/>
                <a:gd name="connsiteX161" fmla="*/ 541997 w 1033465"/>
                <a:gd name="connsiteY161" fmla="*/ 279769 h 838042"/>
                <a:gd name="connsiteX162" fmla="*/ 536282 w 1033465"/>
                <a:gd name="connsiteY162" fmla="*/ 277864 h 838042"/>
                <a:gd name="connsiteX163" fmla="*/ 530567 w 1033465"/>
                <a:gd name="connsiteY163" fmla="*/ 274054 h 838042"/>
                <a:gd name="connsiteX164" fmla="*/ 519137 w 1033465"/>
                <a:gd name="connsiteY164" fmla="*/ 268339 h 838042"/>
                <a:gd name="connsiteX165" fmla="*/ 511517 w 1033465"/>
                <a:gd name="connsiteY165" fmla="*/ 256909 h 838042"/>
                <a:gd name="connsiteX166" fmla="*/ 507707 w 1033465"/>
                <a:gd name="connsiteY166" fmla="*/ 235954 h 838042"/>
                <a:gd name="connsiteX167" fmla="*/ 509612 w 1033465"/>
                <a:gd name="connsiteY167" fmla="*/ 171184 h 838042"/>
                <a:gd name="connsiteX168" fmla="*/ 508314 w 1033465"/>
                <a:gd name="connsiteY168" fmla="*/ 73485 h 838042"/>
                <a:gd name="connsiteX169" fmla="*/ 454116 w 1033465"/>
                <a:gd name="connsiteY169" fmla="*/ 11248 h 838042"/>
                <a:gd name="connsiteX170" fmla="*/ 435401 w 1033465"/>
                <a:gd name="connsiteY170" fmla="*/ 68523 h 838042"/>
                <a:gd name="connsiteX171" fmla="*/ 427697 w 1033465"/>
                <a:gd name="connsiteY171" fmla="*/ 137103 h 838042"/>
                <a:gd name="connsiteX172" fmla="*/ 420077 w 1033465"/>
                <a:gd name="connsiteY172" fmla="*/ 169279 h 838042"/>
                <a:gd name="connsiteX173" fmla="*/ 416267 w 1033465"/>
                <a:gd name="connsiteY173" fmla="*/ 186424 h 838042"/>
                <a:gd name="connsiteX174" fmla="*/ 420077 w 1033465"/>
                <a:gd name="connsiteY174" fmla="*/ 207379 h 838042"/>
                <a:gd name="connsiteX175" fmla="*/ 423887 w 1033465"/>
                <a:gd name="connsiteY175" fmla="*/ 213094 h 838042"/>
                <a:gd name="connsiteX176" fmla="*/ 427697 w 1033465"/>
                <a:gd name="connsiteY176" fmla="*/ 224524 h 838042"/>
                <a:gd name="connsiteX177" fmla="*/ 425792 w 1033465"/>
                <a:gd name="connsiteY177" fmla="*/ 251194 h 838042"/>
                <a:gd name="connsiteX178" fmla="*/ 420077 w 1033465"/>
                <a:gd name="connsiteY178" fmla="*/ 253099 h 838042"/>
                <a:gd name="connsiteX179" fmla="*/ 414362 w 1033465"/>
                <a:gd name="connsiteY179" fmla="*/ 256909 h 838042"/>
                <a:gd name="connsiteX180" fmla="*/ 423887 w 1033465"/>
                <a:gd name="connsiteY18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688682 w 1033465"/>
                <a:gd name="connsiteY135" fmla="*/ 304534 h 838042"/>
                <a:gd name="connsiteX136" fmla="*/ 707732 w 1033465"/>
                <a:gd name="connsiteY136" fmla="*/ 283579 h 838042"/>
                <a:gd name="connsiteX137" fmla="*/ 719162 w 1033465"/>
                <a:gd name="connsiteY137" fmla="*/ 275959 h 838042"/>
                <a:gd name="connsiteX138" fmla="*/ 743927 w 1033465"/>
                <a:gd name="connsiteY138" fmla="*/ 251194 h 838042"/>
                <a:gd name="connsiteX139" fmla="*/ 755357 w 1033465"/>
                <a:gd name="connsiteY139" fmla="*/ 241669 h 838042"/>
                <a:gd name="connsiteX140" fmla="*/ 762977 w 1033465"/>
                <a:gd name="connsiteY140" fmla="*/ 224524 h 838042"/>
                <a:gd name="connsiteX141" fmla="*/ 768692 w 1033465"/>
                <a:gd name="connsiteY141" fmla="*/ 213094 h 838042"/>
                <a:gd name="connsiteX142" fmla="*/ 766787 w 1033465"/>
                <a:gd name="connsiteY142" fmla="*/ 197854 h 838042"/>
                <a:gd name="connsiteX143" fmla="*/ 761072 w 1033465"/>
                <a:gd name="connsiteY143" fmla="*/ 195949 h 838042"/>
                <a:gd name="connsiteX144" fmla="*/ 740117 w 1033465"/>
                <a:gd name="connsiteY144" fmla="*/ 197854 h 838042"/>
                <a:gd name="connsiteX145" fmla="*/ 734402 w 1033465"/>
                <a:gd name="connsiteY145" fmla="*/ 201664 h 838042"/>
                <a:gd name="connsiteX146" fmla="*/ 722972 w 1033465"/>
                <a:gd name="connsiteY146" fmla="*/ 205474 h 838042"/>
                <a:gd name="connsiteX147" fmla="*/ 719162 w 1033465"/>
                <a:gd name="connsiteY147" fmla="*/ 211189 h 838042"/>
                <a:gd name="connsiteX148" fmla="*/ 713447 w 1033465"/>
                <a:gd name="connsiteY148" fmla="*/ 213094 h 838042"/>
                <a:gd name="connsiteX149" fmla="*/ 707732 w 1033465"/>
                <a:gd name="connsiteY149" fmla="*/ 216904 h 838042"/>
                <a:gd name="connsiteX150" fmla="*/ 702017 w 1033465"/>
                <a:gd name="connsiteY150" fmla="*/ 222619 h 838042"/>
                <a:gd name="connsiteX151" fmla="*/ 694397 w 1033465"/>
                <a:gd name="connsiteY151" fmla="*/ 226429 h 838042"/>
                <a:gd name="connsiteX152" fmla="*/ 652487 w 1033465"/>
                <a:gd name="connsiteY152" fmla="*/ 255004 h 838042"/>
                <a:gd name="connsiteX153" fmla="*/ 639152 w 1033465"/>
                <a:gd name="connsiteY153" fmla="*/ 266434 h 838042"/>
                <a:gd name="connsiteX154" fmla="*/ 629627 w 1033465"/>
                <a:gd name="connsiteY154" fmla="*/ 283579 h 838042"/>
                <a:gd name="connsiteX155" fmla="*/ 604862 w 1033465"/>
                <a:gd name="connsiteY155" fmla="*/ 289294 h 838042"/>
                <a:gd name="connsiteX156" fmla="*/ 591527 w 1033465"/>
                <a:gd name="connsiteY156" fmla="*/ 293104 h 838042"/>
                <a:gd name="connsiteX157" fmla="*/ 576287 w 1033465"/>
                <a:gd name="connsiteY157" fmla="*/ 291199 h 838042"/>
                <a:gd name="connsiteX158" fmla="*/ 564857 w 1033465"/>
                <a:gd name="connsiteY158" fmla="*/ 287389 h 838042"/>
                <a:gd name="connsiteX159" fmla="*/ 553427 w 1033465"/>
                <a:gd name="connsiteY159" fmla="*/ 283579 h 838042"/>
                <a:gd name="connsiteX160" fmla="*/ 541997 w 1033465"/>
                <a:gd name="connsiteY160" fmla="*/ 279769 h 838042"/>
                <a:gd name="connsiteX161" fmla="*/ 536282 w 1033465"/>
                <a:gd name="connsiteY161" fmla="*/ 277864 h 838042"/>
                <a:gd name="connsiteX162" fmla="*/ 530567 w 1033465"/>
                <a:gd name="connsiteY162" fmla="*/ 274054 h 838042"/>
                <a:gd name="connsiteX163" fmla="*/ 519137 w 1033465"/>
                <a:gd name="connsiteY163" fmla="*/ 268339 h 838042"/>
                <a:gd name="connsiteX164" fmla="*/ 511517 w 1033465"/>
                <a:gd name="connsiteY164" fmla="*/ 256909 h 838042"/>
                <a:gd name="connsiteX165" fmla="*/ 507707 w 1033465"/>
                <a:gd name="connsiteY165" fmla="*/ 235954 h 838042"/>
                <a:gd name="connsiteX166" fmla="*/ 509612 w 1033465"/>
                <a:gd name="connsiteY166" fmla="*/ 171184 h 838042"/>
                <a:gd name="connsiteX167" fmla="*/ 508314 w 1033465"/>
                <a:gd name="connsiteY167" fmla="*/ 73485 h 838042"/>
                <a:gd name="connsiteX168" fmla="*/ 454116 w 1033465"/>
                <a:gd name="connsiteY168" fmla="*/ 11248 h 838042"/>
                <a:gd name="connsiteX169" fmla="*/ 435401 w 1033465"/>
                <a:gd name="connsiteY169" fmla="*/ 68523 h 838042"/>
                <a:gd name="connsiteX170" fmla="*/ 427697 w 1033465"/>
                <a:gd name="connsiteY170" fmla="*/ 137103 h 838042"/>
                <a:gd name="connsiteX171" fmla="*/ 420077 w 1033465"/>
                <a:gd name="connsiteY171" fmla="*/ 169279 h 838042"/>
                <a:gd name="connsiteX172" fmla="*/ 416267 w 1033465"/>
                <a:gd name="connsiteY172" fmla="*/ 186424 h 838042"/>
                <a:gd name="connsiteX173" fmla="*/ 420077 w 1033465"/>
                <a:gd name="connsiteY173" fmla="*/ 207379 h 838042"/>
                <a:gd name="connsiteX174" fmla="*/ 423887 w 1033465"/>
                <a:gd name="connsiteY174" fmla="*/ 213094 h 838042"/>
                <a:gd name="connsiteX175" fmla="*/ 427697 w 1033465"/>
                <a:gd name="connsiteY175" fmla="*/ 224524 h 838042"/>
                <a:gd name="connsiteX176" fmla="*/ 425792 w 1033465"/>
                <a:gd name="connsiteY176" fmla="*/ 251194 h 838042"/>
                <a:gd name="connsiteX177" fmla="*/ 420077 w 1033465"/>
                <a:gd name="connsiteY177" fmla="*/ 253099 h 838042"/>
                <a:gd name="connsiteX178" fmla="*/ 414362 w 1033465"/>
                <a:gd name="connsiteY178" fmla="*/ 256909 h 838042"/>
                <a:gd name="connsiteX179" fmla="*/ 423887 w 1033465"/>
                <a:gd name="connsiteY179"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688682 w 1033465"/>
                <a:gd name="connsiteY135" fmla="*/ 304534 h 838042"/>
                <a:gd name="connsiteX136" fmla="*/ 707732 w 1033465"/>
                <a:gd name="connsiteY136" fmla="*/ 283579 h 838042"/>
                <a:gd name="connsiteX137" fmla="*/ 743927 w 1033465"/>
                <a:gd name="connsiteY137" fmla="*/ 251194 h 838042"/>
                <a:gd name="connsiteX138" fmla="*/ 755357 w 1033465"/>
                <a:gd name="connsiteY138" fmla="*/ 241669 h 838042"/>
                <a:gd name="connsiteX139" fmla="*/ 762977 w 1033465"/>
                <a:gd name="connsiteY139" fmla="*/ 224524 h 838042"/>
                <a:gd name="connsiteX140" fmla="*/ 768692 w 1033465"/>
                <a:gd name="connsiteY140" fmla="*/ 213094 h 838042"/>
                <a:gd name="connsiteX141" fmla="*/ 766787 w 1033465"/>
                <a:gd name="connsiteY141" fmla="*/ 197854 h 838042"/>
                <a:gd name="connsiteX142" fmla="*/ 761072 w 1033465"/>
                <a:gd name="connsiteY142" fmla="*/ 195949 h 838042"/>
                <a:gd name="connsiteX143" fmla="*/ 740117 w 1033465"/>
                <a:gd name="connsiteY143" fmla="*/ 197854 h 838042"/>
                <a:gd name="connsiteX144" fmla="*/ 734402 w 1033465"/>
                <a:gd name="connsiteY144" fmla="*/ 201664 h 838042"/>
                <a:gd name="connsiteX145" fmla="*/ 722972 w 1033465"/>
                <a:gd name="connsiteY145" fmla="*/ 205474 h 838042"/>
                <a:gd name="connsiteX146" fmla="*/ 719162 w 1033465"/>
                <a:gd name="connsiteY146" fmla="*/ 211189 h 838042"/>
                <a:gd name="connsiteX147" fmla="*/ 713447 w 1033465"/>
                <a:gd name="connsiteY147" fmla="*/ 213094 h 838042"/>
                <a:gd name="connsiteX148" fmla="*/ 707732 w 1033465"/>
                <a:gd name="connsiteY148" fmla="*/ 216904 h 838042"/>
                <a:gd name="connsiteX149" fmla="*/ 702017 w 1033465"/>
                <a:gd name="connsiteY149" fmla="*/ 222619 h 838042"/>
                <a:gd name="connsiteX150" fmla="*/ 694397 w 1033465"/>
                <a:gd name="connsiteY150" fmla="*/ 226429 h 838042"/>
                <a:gd name="connsiteX151" fmla="*/ 652487 w 1033465"/>
                <a:gd name="connsiteY151" fmla="*/ 255004 h 838042"/>
                <a:gd name="connsiteX152" fmla="*/ 639152 w 1033465"/>
                <a:gd name="connsiteY152" fmla="*/ 266434 h 838042"/>
                <a:gd name="connsiteX153" fmla="*/ 629627 w 1033465"/>
                <a:gd name="connsiteY153" fmla="*/ 283579 h 838042"/>
                <a:gd name="connsiteX154" fmla="*/ 604862 w 1033465"/>
                <a:gd name="connsiteY154" fmla="*/ 289294 h 838042"/>
                <a:gd name="connsiteX155" fmla="*/ 591527 w 1033465"/>
                <a:gd name="connsiteY155" fmla="*/ 293104 h 838042"/>
                <a:gd name="connsiteX156" fmla="*/ 576287 w 1033465"/>
                <a:gd name="connsiteY156" fmla="*/ 291199 h 838042"/>
                <a:gd name="connsiteX157" fmla="*/ 564857 w 1033465"/>
                <a:gd name="connsiteY157" fmla="*/ 287389 h 838042"/>
                <a:gd name="connsiteX158" fmla="*/ 553427 w 1033465"/>
                <a:gd name="connsiteY158" fmla="*/ 283579 h 838042"/>
                <a:gd name="connsiteX159" fmla="*/ 541997 w 1033465"/>
                <a:gd name="connsiteY159" fmla="*/ 279769 h 838042"/>
                <a:gd name="connsiteX160" fmla="*/ 536282 w 1033465"/>
                <a:gd name="connsiteY160" fmla="*/ 277864 h 838042"/>
                <a:gd name="connsiteX161" fmla="*/ 530567 w 1033465"/>
                <a:gd name="connsiteY161" fmla="*/ 274054 h 838042"/>
                <a:gd name="connsiteX162" fmla="*/ 519137 w 1033465"/>
                <a:gd name="connsiteY162" fmla="*/ 268339 h 838042"/>
                <a:gd name="connsiteX163" fmla="*/ 511517 w 1033465"/>
                <a:gd name="connsiteY163" fmla="*/ 256909 h 838042"/>
                <a:gd name="connsiteX164" fmla="*/ 507707 w 1033465"/>
                <a:gd name="connsiteY164" fmla="*/ 235954 h 838042"/>
                <a:gd name="connsiteX165" fmla="*/ 509612 w 1033465"/>
                <a:gd name="connsiteY165" fmla="*/ 171184 h 838042"/>
                <a:gd name="connsiteX166" fmla="*/ 508314 w 1033465"/>
                <a:gd name="connsiteY166" fmla="*/ 73485 h 838042"/>
                <a:gd name="connsiteX167" fmla="*/ 454116 w 1033465"/>
                <a:gd name="connsiteY167" fmla="*/ 11248 h 838042"/>
                <a:gd name="connsiteX168" fmla="*/ 435401 w 1033465"/>
                <a:gd name="connsiteY168" fmla="*/ 68523 h 838042"/>
                <a:gd name="connsiteX169" fmla="*/ 427697 w 1033465"/>
                <a:gd name="connsiteY169" fmla="*/ 137103 h 838042"/>
                <a:gd name="connsiteX170" fmla="*/ 420077 w 1033465"/>
                <a:gd name="connsiteY170" fmla="*/ 169279 h 838042"/>
                <a:gd name="connsiteX171" fmla="*/ 416267 w 1033465"/>
                <a:gd name="connsiteY171" fmla="*/ 186424 h 838042"/>
                <a:gd name="connsiteX172" fmla="*/ 420077 w 1033465"/>
                <a:gd name="connsiteY172" fmla="*/ 207379 h 838042"/>
                <a:gd name="connsiteX173" fmla="*/ 423887 w 1033465"/>
                <a:gd name="connsiteY173" fmla="*/ 213094 h 838042"/>
                <a:gd name="connsiteX174" fmla="*/ 427697 w 1033465"/>
                <a:gd name="connsiteY174" fmla="*/ 224524 h 838042"/>
                <a:gd name="connsiteX175" fmla="*/ 425792 w 1033465"/>
                <a:gd name="connsiteY175" fmla="*/ 251194 h 838042"/>
                <a:gd name="connsiteX176" fmla="*/ 420077 w 1033465"/>
                <a:gd name="connsiteY176" fmla="*/ 253099 h 838042"/>
                <a:gd name="connsiteX177" fmla="*/ 414362 w 1033465"/>
                <a:gd name="connsiteY177" fmla="*/ 256909 h 838042"/>
                <a:gd name="connsiteX178" fmla="*/ 423887 w 1033465"/>
                <a:gd name="connsiteY178"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682967 w 1033465"/>
                <a:gd name="connsiteY134" fmla="*/ 308344 h 838042"/>
                <a:gd name="connsiteX135" fmla="*/ 707732 w 1033465"/>
                <a:gd name="connsiteY135" fmla="*/ 283579 h 838042"/>
                <a:gd name="connsiteX136" fmla="*/ 743927 w 1033465"/>
                <a:gd name="connsiteY136" fmla="*/ 251194 h 838042"/>
                <a:gd name="connsiteX137" fmla="*/ 755357 w 1033465"/>
                <a:gd name="connsiteY137" fmla="*/ 241669 h 838042"/>
                <a:gd name="connsiteX138" fmla="*/ 762977 w 1033465"/>
                <a:gd name="connsiteY138" fmla="*/ 224524 h 838042"/>
                <a:gd name="connsiteX139" fmla="*/ 768692 w 1033465"/>
                <a:gd name="connsiteY139" fmla="*/ 213094 h 838042"/>
                <a:gd name="connsiteX140" fmla="*/ 766787 w 1033465"/>
                <a:gd name="connsiteY140" fmla="*/ 197854 h 838042"/>
                <a:gd name="connsiteX141" fmla="*/ 761072 w 1033465"/>
                <a:gd name="connsiteY141" fmla="*/ 195949 h 838042"/>
                <a:gd name="connsiteX142" fmla="*/ 740117 w 1033465"/>
                <a:gd name="connsiteY142" fmla="*/ 197854 h 838042"/>
                <a:gd name="connsiteX143" fmla="*/ 734402 w 1033465"/>
                <a:gd name="connsiteY143" fmla="*/ 201664 h 838042"/>
                <a:gd name="connsiteX144" fmla="*/ 722972 w 1033465"/>
                <a:gd name="connsiteY144" fmla="*/ 205474 h 838042"/>
                <a:gd name="connsiteX145" fmla="*/ 719162 w 1033465"/>
                <a:gd name="connsiteY145" fmla="*/ 211189 h 838042"/>
                <a:gd name="connsiteX146" fmla="*/ 713447 w 1033465"/>
                <a:gd name="connsiteY146" fmla="*/ 213094 h 838042"/>
                <a:gd name="connsiteX147" fmla="*/ 707732 w 1033465"/>
                <a:gd name="connsiteY147" fmla="*/ 216904 h 838042"/>
                <a:gd name="connsiteX148" fmla="*/ 702017 w 1033465"/>
                <a:gd name="connsiteY148" fmla="*/ 222619 h 838042"/>
                <a:gd name="connsiteX149" fmla="*/ 694397 w 1033465"/>
                <a:gd name="connsiteY149" fmla="*/ 226429 h 838042"/>
                <a:gd name="connsiteX150" fmla="*/ 652487 w 1033465"/>
                <a:gd name="connsiteY150" fmla="*/ 255004 h 838042"/>
                <a:gd name="connsiteX151" fmla="*/ 639152 w 1033465"/>
                <a:gd name="connsiteY151" fmla="*/ 266434 h 838042"/>
                <a:gd name="connsiteX152" fmla="*/ 629627 w 1033465"/>
                <a:gd name="connsiteY152" fmla="*/ 283579 h 838042"/>
                <a:gd name="connsiteX153" fmla="*/ 604862 w 1033465"/>
                <a:gd name="connsiteY153" fmla="*/ 289294 h 838042"/>
                <a:gd name="connsiteX154" fmla="*/ 591527 w 1033465"/>
                <a:gd name="connsiteY154" fmla="*/ 293104 h 838042"/>
                <a:gd name="connsiteX155" fmla="*/ 576287 w 1033465"/>
                <a:gd name="connsiteY155" fmla="*/ 291199 h 838042"/>
                <a:gd name="connsiteX156" fmla="*/ 564857 w 1033465"/>
                <a:gd name="connsiteY156" fmla="*/ 287389 h 838042"/>
                <a:gd name="connsiteX157" fmla="*/ 553427 w 1033465"/>
                <a:gd name="connsiteY157" fmla="*/ 283579 h 838042"/>
                <a:gd name="connsiteX158" fmla="*/ 541997 w 1033465"/>
                <a:gd name="connsiteY158" fmla="*/ 279769 h 838042"/>
                <a:gd name="connsiteX159" fmla="*/ 536282 w 1033465"/>
                <a:gd name="connsiteY159" fmla="*/ 277864 h 838042"/>
                <a:gd name="connsiteX160" fmla="*/ 530567 w 1033465"/>
                <a:gd name="connsiteY160" fmla="*/ 274054 h 838042"/>
                <a:gd name="connsiteX161" fmla="*/ 519137 w 1033465"/>
                <a:gd name="connsiteY161" fmla="*/ 268339 h 838042"/>
                <a:gd name="connsiteX162" fmla="*/ 511517 w 1033465"/>
                <a:gd name="connsiteY162" fmla="*/ 256909 h 838042"/>
                <a:gd name="connsiteX163" fmla="*/ 507707 w 1033465"/>
                <a:gd name="connsiteY163" fmla="*/ 235954 h 838042"/>
                <a:gd name="connsiteX164" fmla="*/ 509612 w 1033465"/>
                <a:gd name="connsiteY164" fmla="*/ 171184 h 838042"/>
                <a:gd name="connsiteX165" fmla="*/ 508314 w 1033465"/>
                <a:gd name="connsiteY165" fmla="*/ 73485 h 838042"/>
                <a:gd name="connsiteX166" fmla="*/ 454116 w 1033465"/>
                <a:gd name="connsiteY166" fmla="*/ 11248 h 838042"/>
                <a:gd name="connsiteX167" fmla="*/ 435401 w 1033465"/>
                <a:gd name="connsiteY167" fmla="*/ 68523 h 838042"/>
                <a:gd name="connsiteX168" fmla="*/ 427697 w 1033465"/>
                <a:gd name="connsiteY168" fmla="*/ 137103 h 838042"/>
                <a:gd name="connsiteX169" fmla="*/ 420077 w 1033465"/>
                <a:gd name="connsiteY169" fmla="*/ 169279 h 838042"/>
                <a:gd name="connsiteX170" fmla="*/ 416267 w 1033465"/>
                <a:gd name="connsiteY170" fmla="*/ 186424 h 838042"/>
                <a:gd name="connsiteX171" fmla="*/ 420077 w 1033465"/>
                <a:gd name="connsiteY171" fmla="*/ 207379 h 838042"/>
                <a:gd name="connsiteX172" fmla="*/ 423887 w 1033465"/>
                <a:gd name="connsiteY172" fmla="*/ 213094 h 838042"/>
                <a:gd name="connsiteX173" fmla="*/ 427697 w 1033465"/>
                <a:gd name="connsiteY173" fmla="*/ 224524 h 838042"/>
                <a:gd name="connsiteX174" fmla="*/ 425792 w 1033465"/>
                <a:gd name="connsiteY174" fmla="*/ 251194 h 838042"/>
                <a:gd name="connsiteX175" fmla="*/ 420077 w 1033465"/>
                <a:gd name="connsiteY175" fmla="*/ 253099 h 838042"/>
                <a:gd name="connsiteX176" fmla="*/ 414362 w 1033465"/>
                <a:gd name="connsiteY176" fmla="*/ 256909 h 838042"/>
                <a:gd name="connsiteX177" fmla="*/ 423887 w 1033465"/>
                <a:gd name="connsiteY177"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677252 w 1033465"/>
                <a:gd name="connsiteY133" fmla="*/ 310249 h 838042"/>
                <a:gd name="connsiteX134" fmla="*/ 707732 w 1033465"/>
                <a:gd name="connsiteY134" fmla="*/ 283579 h 838042"/>
                <a:gd name="connsiteX135" fmla="*/ 743927 w 1033465"/>
                <a:gd name="connsiteY135" fmla="*/ 251194 h 838042"/>
                <a:gd name="connsiteX136" fmla="*/ 755357 w 1033465"/>
                <a:gd name="connsiteY136" fmla="*/ 241669 h 838042"/>
                <a:gd name="connsiteX137" fmla="*/ 762977 w 1033465"/>
                <a:gd name="connsiteY137" fmla="*/ 224524 h 838042"/>
                <a:gd name="connsiteX138" fmla="*/ 768692 w 1033465"/>
                <a:gd name="connsiteY138" fmla="*/ 213094 h 838042"/>
                <a:gd name="connsiteX139" fmla="*/ 766787 w 1033465"/>
                <a:gd name="connsiteY139" fmla="*/ 197854 h 838042"/>
                <a:gd name="connsiteX140" fmla="*/ 761072 w 1033465"/>
                <a:gd name="connsiteY140" fmla="*/ 195949 h 838042"/>
                <a:gd name="connsiteX141" fmla="*/ 740117 w 1033465"/>
                <a:gd name="connsiteY141" fmla="*/ 197854 h 838042"/>
                <a:gd name="connsiteX142" fmla="*/ 734402 w 1033465"/>
                <a:gd name="connsiteY142" fmla="*/ 201664 h 838042"/>
                <a:gd name="connsiteX143" fmla="*/ 722972 w 1033465"/>
                <a:gd name="connsiteY143" fmla="*/ 205474 h 838042"/>
                <a:gd name="connsiteX144" fmla="*/ 719162 w 1033465"/>
                <a:gd name="connsiteY144" fmla="*/ 211189 h 838042"/>
                <a:gd name="connsiteX145" fmla="*/ 713447 w 1033465"/>
                <a:gd name="connsiteY145" fmla="*/ 213094 h 838042"/>
                <a:gd name="connsiteX146" fmla="*/ 707732 w 1033465"/>
                <a:gd name="connsiteY146" fmla="*/ 216904 h 838042"/>
                <a:gd name="connsiteX147" fmla="*/ 702017 w 1033465"/>
                <a:gd name="connsiteY147" fmla="*/ 222619 h 838042"/>
                <a:gd name="connsiteX148" fmla="*/ 694397 w 1033465"/>
                <a:gd name="connsiteY148" fmla="*/ 226429 h 838042"/>
                <a:gd name="connsiteX149" fmla="*/ 652487 w 1033465"/>
                <a:gd name="connsiteY149" fmla="*/ 255004 h 838042"/>
                <a:gd name="connsiteX150" fmla="*/ 639152 w 1033465"/>
                <a:gd name="connsiteY150" fmla="*/ 266434 h 838042"/>
                <a:gd name="connsiteX151" fmla="*/ 629627 w 1033465"/>
                <a:gd name="connsiteY151" fmla="*/ 283579 h 838042"/>
                <a:gd name="connsiteX152" fmla="*/ 604862 w 1033465"/>
                <a:gd name="connsiteY152" fmla="*/ 289294 h 838042"/>
                <a:gd name="connsiteX153" fmla="*/ 591527 w 1033465"/>
                <a:gd name="connsiteY153" fmla="*/ 293104 h 838042"/>
                <a:gd name="connsiteX154" fmla="*/ 576287 w 1033465"/>
                <a:gd name="connsiteY154" fmla="*/ 291199 h 838042"/>
                <a:gd name="connsiteX155" fmla="*/ 564857 w 1033465"/>
                <a:gd name="connsiteY155" fmla="*/ 287389 h 838042"/>
                <a:gd name="connsiteX156" fmla="*/ 553427 w 1033465"/>
                <a:gd name="connsiteY156" fmla="*/ 283579 h 838042"/>
                <a:gd name="connsiteX157" fmla="*/ 541997 w 1033465"/>
                <a:gd name="connsiteY157" fmla="*/ 279769 h 838042"/>
                <a:gd name="connsiteX158" fmla="*/ 536282 w 1033465"/>
                <a:gd name="connsiteY158" fmla="*/ 277864 h 838042"/>
                <a:gd name="connsiteX159" fmla="*/ 530567 w 1033465"/>
                <a:gd name="connsiteY159" fmla="*/ 274054 h 838042"/>
                <a:gd name="connsiteX160" fmla="*/ 519137 w 1033465"/>
                <a:gd name="connsiteY160" fmla="*/ 268339 h 838042"/>
                <a:gd name="connsiteX161" fmla="*/ 511517 w 1033465"/>
                <a:gd name="connsiteY161" fmla="*/ 256909 h 838042"/>
                <a:gd name="connsiteX162" fmla="*/ 507707 w 1033465"/>
                <a:gd name="connsiteY162" fmla="*/ 235954 h 838042"/>
                <a:gd name="connsiteX163" fmla="*/ 509612 w 1033465"/>
                <a:gd name="connsiteY163" fmla="*/ 171184 h 838042"/>
                <a:gd name="connsiteX164" fmla="*/ 508314 w 1033465"/>
                <a:gd name="connsiteY164" fmla="*/ 73485 h 838042"/>
                <a:gd name="connsiteX165" fmla="*/ 454116 w 1033465"/>
                <a:gd name="connsiteY165" fmla="*/ 11248 h 838042"/>
                <a:gd name="connsiteX166" fmla="*/ 435401 w 1033465"/>
                <a:gd name="connsiteY166" fmla="*/ 68523 h 838042"/>
                <a:gd name="connsiteX167" fmla="*/ 427697 w 1033465"/>
                <a:gd name="connsiteY167" fmla="*/ 137103 h 838042"/>
                <a:gd name="connsiteX168" fmla="*/ 420077 w 1033465"/>
                <a:gd name="connsiteY168" fmla="*/ 169279 h 838042"/>
                <a:gd name="connsiteX169" fmla="*/ 416267 w 1033465"/>
                <a:gd name="connsiteY169" fmla="*/ 186424 h 838042"/>
                <a:gd name="connsiteX170" fmla="*/ 420077 w 1033465"/>
                <a:gd name="connsiteY170" fmla="*/ 207379 h 838042"/>
                <a:gd name="connsiteX171" fmla="*/ 423887 w 1033465"/>
                <a:gd name="connsiteY171" fmla="*/ 213094 h 838042"/>
                <a:gd name="connsiteX172" fmla="*/ 427697 w 1033465"/>
                <a:gd name="connsiteY172" fmla="*/ 224524 h 838042"/>
                <a:gd name="connsiteX173" fmla="*/ 425792 w 1033465"/>
                <a:gd name="connsiteY173" fmla="*/ 251194 h 838042"/>
                <a:gd name="connsiteX174" fmla="*/ 420077 w 1033465"/>
                <a:gd name="connsiteY174" fmla="*/ 253099 h 838042"/>
                <a:gd name="connsiteX175" fmla="*/ 414362 w 1033465"/>
                <a:gd name="connsiteY175" fmla="*/ 256909 h 838042"/>
                <a:gd name="connsiteX176" fmla="*/ 423887 w 1033465"/>
                <a:gd name="connsiteY176"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5347 w 1033465"/>
                <a:gd name="connsiteY132" fmla="*/ 315964 h 838042"/>
                <a:gd name="connsiteX133" fmla="*/ 707732 w 1033465"/>
                <a:gd name="connsiteY133" fmla="*/ 283579 h 838042"/>
                <a:gd name="connsiteX134" fmla="*/ 743927 w 1033465"/>
                <a:gd name="connsiteY134" fmla="*/ 251194 h 838042"/>
                <a:gd name="connsiteX135" fmla="*/ 755357 w 1033465"/>
                <a:gd name="connsiteY135" fmla="*/ 241669 h 838042"/>
                <a:gd name="connsiteX136" fmla="*/ 762977 w 1033465"/>
                <a:gd name="connsiteY136" fmla="*/ 224524 h 838042"/>
                <a:gd name="connsiteX137" fmla="*/ 768692 w 1033465"/>
                <a:gd name="connsiteY137" fmla="*/ 213094 h 838042"/>
                <a:gd name="connsiteX138" fmla="*/ 766787 w 1033465"/>
                <a:gd name="connsiteY138" fmla="*/ 197854 h 838042"/>
                <a:gd name="connsiteX139" fmla="*/ 761072 w 1033465"/>
                <a:gd name="connsiteY139" fmla="*/ 195949 h 838042"/>
                <a:gd name="connsiteX140" fmla="*/ 740117 w 1033465"/>
                <a:gd name="connsiteY140" fmla="*/ 197854 h 838042"/>
                <a:gd name="connsiteX141" fmla="*/ 734402 w 1033465"/>
                <a:gd name="connsiteY141" fmla="*/ 201664 h 838042"/>
                <a:gd name="connsiteX142" fmla="*/ 722972 w 1033465"/>
                <a:gd name="connsiteY142" fmla="*/ 205474 h 838042"/>
                <a:gd name="connsiteX143" fmla="*/ 719162 w 1033465"/>
                <a:gd name="connsiteY143" fmla="*/ 211189 h 838042"/>
                <a:gd name="connsiteX144" fmla="*/ 713447 w 1033465"/>
                <a:gd name="connsiteY144" fmla="*/ 213094 h 838042"/>
                <a:gd name="connsiteX145" fmla="*/ 707732 w 1033465"/>
                <a:gd name="connsiteY145" fmla="*/ 216904 h 838042"/>
                <a:gd name="connsiteX146" fmla="*/ 702017 w 1033465"/>
                <a:gd name="connsiteY146" fmla="*/ 222619 h 838042"/>
                <a:gd name="connsiteX147" fmla="*/ 694397 w 1033465"/>
                <a:gd name="connsiteY147" fmla="*/ 226429 h 838042"/>
                <a:gd name="connsiteX148" fmla="*/ 652487 w 1033465"/>
                <a:gd name="connsiteY148" fmla="*/ 255004 h 838042"/>
                <a:gd name="connsiteX149" fmla="*/ 639152 w 1033465"/>
                <a:gd name="connsiteY149" fmla="*/ 266434 h 838042"/>
                <a:gd name="connsiteX150" fmla="*/ 629627 w 1033465"/>
                <a:gd name="connsiteY150" fmla="*/ 283579 h 838042"/>
                <a:gd name="connsiteX151" fmla="*/ 604862 w 1033465"/>
                <a:gd name="connsiteY151" fmla="*/ 289294 h 838042"/>
                <a:gd name="connsiteX152" fmla="*/ 591527 w 1033465"/>
                <a:gd name="connsiteY152" fmla="*/ 293104 h 838042"/>
                <a:gd name="connsiteX153" fmla="*/ 576287 w 1033465"/>
                <a:gd name="connsiteY153" fmla="*/ 291199 h 838042"/>
                <a:gd name="connsiteX154" fmla="*/ 564857 w 1033465"/>
                <a:gd name="connsiteY154" fmla="*/ 287389 h 838042"/>
                <a:gd name="connsiteX155" fmla="*/ 553427 w 1033465"/>
                <a:gd name="connsiteY155" fmla="*/ 283579 h 838042"/>
                <a:gd name="connsiteX156" fmla="*/ 541997 w 1033465"/>
                <a:gd name="connsiteY156" fmla="*/ 279769 h 838042"/>
                <a:gd name="connsiteX157" fmla="*/ 536282 w 1033465"/>
                <a:gd name="connsiteY157" fmla="*/ 277864 h 838042"/>
                <a:gd name="connsiteX158" fmla="*/ 530567 w 1033465"/>
                <a:gd name="connsiteY158" fmla="*/ 274054 h 838042"/>
                <a:gd name="connsiteX159" fmla="*/ 519137 w 1033465"/>
                <a:gd name="connsiteY159" fmla="*/ 268339 h 838042"/>
                <a:gd name="connsiteX160" fmla="*/ 511517 w 1033465"/>
                <a:gd name="connsiteY160" fmla="*/ 256909 h 838042"/>
                <a:gd name="connsiteX161" fmla="*/ 507707 w 1033465"/>
                <a:gd name="connsiteY161" fmla="*/ 235954 h 838042"/>
                <a:gd name="connsiteX162" fmla="*/ 509612 w 1033465"/>
                <a:gd name="connsiteY162" fmla="*/ 171184 h 838042"/>
                <a:gd name="connsiteX163" fmla="*/ 508314 w 1033465"/>
                <a:gd name="connsiteY163" fmla="*/ 73485 h 838042"/>
                <a:gd name="connsiteX164" fmla="*/ 454116 w 1033465"/>
                <a:gd name="connsiteY164" fmla="*/ 11248 h 838042"/>
                <a:gd name="connsiteX165" fmla="*/ 435401 w 1033465"/>
                <a:gd name="connsiteY165" fmla="*/ 68523 h 838042"/>
                <a:gd name="connsiteX166" fmla="*/ 427697 w 1033465"/>
                <a:gd name="connsiteY166" fmla="*/ 137103 h 838042"/>
                <a:gd name="connsiteX167" fmla="*/ 420077 w 1033465"/>
                <a:gd name="connsiteY167" fmla="*/ 169279 h 838042"/>
                <a:gd name="connsiteX168" fmla="*/ 416267 w 1033465"/>
                <a:gd name="connsiteY168" fmla="*/ 186424 h 838042"/>
                <a:gd name="connsiteX169" fmla="*/ 420077 w 1033465"/>
                <a:gd name="connsiteY169" fmla="*/ 207379 h 838042"/>
                <a:gd name="connsiteX170" fmla="*/ 423887 w 1033465"/>
                <a:gd name="connsiteY170" fmla="*/ 213094 h 838042"/>
                <a:gd name="connsiteX171" fmla="*/ 427697 w 1033465"/>
                <a:gd name="connsiteY171" fmla="*/ 224524 h 838042"/>
                <a:gd name="connsiteX172" fmla="*/ 425792 w 1033465"/>
                <a:gd name="connsiteY172" fmla="*/ 251194 h 838042"/>
                <a:gd name="connsiteX173" fmla="*/ 420077 w 1033465"/>
                <a:gd name="connsiteY173" fmla="*/ 253099 h 838042"/>
                <a:gd name="connsiteX174" fmla="*/ 414362 w 1033465"/>
                <a:gd name="connsiteY174" fmla="*/ 256909 h 838042"/>
                <a:gd name="connsiteX175" fmla="*/ 423887 w 1033465"/>
                <a:gd name="connsiteY17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46772 w 1033465"/>
                <a:gd name="connsiteY131" fmla="*/ 333109 h 838042"/>
                <a:gd name="connsiteX132" fmla="*/ 676403 w 1033465"/>
                <a:gd name="connsiteY132" fmla="*/ 304962 h 838042"/>
                <a:gd name="connsiteX133" fmla="*/ 707732 w 1033465"/>
                <a:gd name="connsiteY133" fmla="*/ 283579 h 838042"/>
                <a:gd name="connsiteX134" fmla="*/ 743927 w 1033465"/>
                <a:gd name="connsiteY134" fmla="*/ 251194 h 838042"/>
                <a:gd name="connsiteX135" fmla="*/ 755357 w 1033465"/>
                <a:gd name="connsiteY135" fmla="*/ 241669 h 838042"/>
                <a:gd name="connsiteX136" fmla="*/ 762977 w 1033465"/>
                <a:gd name="connsiteY136" fmla="*/ 224524 h 838042"/>
                <a:gd name="connsiteX137" fmla="*/ 768692 w 1033465"/>
                <a:gd name="connsiteY137" fmla="*/ 213094 h 838042"/>
                <a:gd name="connsiteX138" fmla="*/ 766787 w 1033465"/>
                <a:gd name="connsiteY138" fmla="*/ 197854 h 838042"/>
                <a:gd name="connsiteX139" fmla="*/ 761072 w 1033465"/>
                <a:gd name="connsiteY139" fmla="*/ 195949 h 838042"/>
                <a:gd name="connsiteX140" fmla="*/ 740117 w 1033465"/>
                <a:gd name="connsiteY140" fmla="*/ 197854 h 838042"/>
                <a:gd name="connsiteX141" fmla="*/ 734402 w 1033465"/>
                <a:gd name="connsiteY141" fmla="*/ 201664 h 838042"/>
                <a:gd name="connsiteX142" fmla="*/ 722972 w 1033465"/>
                <a:gd name="connsiteY142" fmla="*/ 205474 h 838042"/>
                <a:gd name="connsiteX143" fmla="*/ 719162 w 1033465"/>
                <a:gd name="connsiteY143" fmla="*/ 211189 h 838042"/>
                <a:gd name="connsiteX144" fmla="*/ 713447 w 1033465"/>
                <a:gd name="connsiteY144" fmla="*/ 213094 h 838042"/>
                <a:gd name="connsiteX145" fmla="*/ 707732 w 1033465"/>
                <a:gd name="connsiteY145" fmla="*/ 216904 h 838042"/>
                <a:gd name="connsiteX146" fmla="*/ 702017 w 1033465"/>
                <a:gd name="connsiteY146" fmla="*/ 222619 h 838042"/>
                <a:gd name="connsiteX147" fmla="*/ 694397 w 1033465"/>
                <a:gd name="connsiteY147" fmla="*/ 226429 h 838042"/>
                <a:gd name="connsiteX148" fmla="*/ 652487 w 1033465"/>
                <a:gd name="connsiteY148" fmla="*/ 255004 h 838042"/>
                <a:gd name="connsiteX149" fmla="*/ 639152 w 1033465"/>
                <a:gd name="connsiteY149" fmla="*/ 266434 h 838042"/>
                <a:gd name="connsiteX150" fmla="*/ 629627 w 1033465"/>
                <a:gd name="connsiteY150" fmla="*/ 283579 h 838042"/>
                <a:gd name="connsiteX151" fmla="*/ 604862 w 1033465"/>
                <a:gd name="connsiteY151" fmla="*/ 289294 h 838042"/>
                <a:gd name="connsiteX152" fmla="*/ 591527 w 1033465"/>
                <a:gd name="connsiteY152" fmla="*/ 293104 h 838042"/>
                <a:gd name="connsiteX153" fmla="*/ 576287 w 1033465"/>
                <a:gd name="connsiteY153" fmla="*/ 291199 h 838042"/>
                <a:gd name="connsiteX154" fmla="*/ 564857 w 1033465"/>
                <a:gd name="connsiteY154" fmla="*/ 287389 h 838042"/>
                <a:gd name="connsiteX155" fmla="*/ 553427 w 1033465"/>
                <a:gd name="connsiteY155" fmla="*/ 283579 h 838042"/>
                <a:gd name="connsiteX156" fmla="*/ 541997 w 1033465"/>
                <a:gd name="connsiteY156" fmla="*/ 279769 h 838042"/>
                <a:gd name="connsiteX157" fmla="*/ 536282 w 1033465"/>
                <a:gd name="connsiteY157" fmla="*/ 277864 h 838042"/>
                <a:gd name="connsiteX158" fmla="*/ 530567 w 1033465"/>
                <a:gd name="connsiteY158" fmla="*/ 274054 h 838042"/>
                <a:gd name="connsiteX159" fmla="*/ 519137 w 1033465"/>
                <a:gd name="connsiteY159" fmla="*/ 268339 h 838042"/>
                <a:gd name="connsiteX160" fmla="*/ 511517 w 1033465"/>
                <a:gd name="connsiteY160" fmla="*/ 256909 h 838042"/>
                <a:gd name="connsiteX161" fmla="*/ 507707 w 1033465"/>
                <a:gd name="connsiteY161" fmla="*/ 235954 h 838042"/>
                <a:gd name="connsiteX162" fmla="*/ 509612 w 1033465"/>
                <a:gd name="connsiteY162" fmla="*/ 171184 h 838042"/>
                <a:gd name="connsiteX163" fmla="*/ 508314 w 1033465"/>
                <a:gd name="connsiteY163" fmla="*/ 73485 h 838042"/>
                <a:gd name="connsiteX164" fmla="*/ 454116 w 1033465"/>
                <a:gd name="connsiteY164" fmla="*/ 11248 h 838042"/>
                <a:gd name="connsiteX165" fmla="*/ 435401 w 1033465"/>
                <a:gd name="connsiteY165" fmla="*/ 68523 h 838042"/>
                <a:gd name="connsiteX166" fmla="*/ 427697 w 1033465"/>
                <a:gd name="connsiteY166" fmla="*/ 137103 h 838042"/>
                <a:gd name="connsiteX167" fmla="*/ 420077 w 1033465"/>
                <a:gd name="connsiteY167" fmla="*/ 169279 h 838042"/>
                <a:gd name="connsiteX168" fmla="*/ 416267 w 1033465"/>
                <a:gd name="connsiteY168" fmla="*/ 186424 h 838042"/>
                <a:gd name="connsiteX169" fmla="*/ 420077 w 1033465"/>
                <a:gd name="connsiteY169" fmla="*/ 207379 h 838042"/>
                <a:gd name="connsiteX170" fmla="*/ 423887 w 1033465"/>
                <a:gd name="connsiteY170" fmla="*/ 213094 h 838042"/>
                <a:gd name="connsiteX171" fmla="*/ 427697 w 1033465"/>
                <a:gd name="connsiteY171" fmla="*/ 224524 h 838042"/>
                <a:gd name="connsiteX172" fmla="*/ 425792 w 1033465"/>
                <a:gd name="connsiteY172" fmla="*/ 251194 h 838042"/>
                <a:gd name="connsiteX173" fmla="*/ 420077 w 1033465"/>
                <a:gd name="connsiteY173" fmla="*/ 253099 h 838042"/>
                <a:gd name="connsiteX174" fmla="*/ 414362 w 1033465"/>
                <a:gd name="connsiteY174" fmla="*/ 256909 h 838042"/>
                <a:gd name="connsiteX175" fmla="*/ 423887 w 1033465"/>
                <a:gd name="connsiteY17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8692 w 1033465"/>
                <a:gd name="connsiteY136" fmla="*/ 213094 h 838042"/>
                <a:gd name="connsiteX137" fmla="*/ 766787 w 1033465"/>
                <a:gd name="connsiteY137" fmla="*/ 197854 h 838042"/>
                <a:gd name="connsiteX138" fmla="*/ 761072 w 1033465"/>
                <a:gd name="connsiteY138" fmla="*/ 195949 h 838042"/>
                <a:gd name="connsiteX139" fmla="*/ 740117 w 1033465"/>
                <a:gd name="connsiteY139" fmla="*/ 197854 h 838042"/>
                <a:gd name="connsiteX140" fmla="*/ 734402 w 1033465"/>
                <a:gd name="connsiteY140" fmla="*/ 201664 h 838042"/>
                <a:gd name="connsiteX141" fmla="*/ 722972 w 1033465"/>
                <a:gd name="connsiteY141" fmla="*/ 205474 h 838042"/>
                <a:gd name="connsiteX142" fmla="*/ 719162 w 1033465"/>
                <a:gd name="connsiteY142" fmla="*/ 211189 h 838042"/>
                <a:gd name="connsiteX143" fmla="*/ 713447 w 1033465"/>
                <a:gd name="connsiteY143" fmla="*/ 213094 h 838042"/>
                <a:gd name="connsiteX144" fmla="*/ 707732 w 1033465"/>
                <a:gd name="connsiteY144" fmla="*/ 216904 h 838042"/>
                <a:gd name="connsiteX145" fmla="*/ 702017 w 1033465"/>
                <a:gd name="connsiteY145" fmla="*/ 222619 h 838042"/>
                <a:gd name="connsiteX146" fmla="*/ 694397 w 1033465"/>
                <a:gd name="connsiteY146" fmla="*/ 226429 h 838042"/>
                <a:gd name="connsiteX147" fmla="*/ 652487 w 1033465"/>
                <a:gd name="connsiteY147" fmla="*/ 255004 h 838042"/>
                <a:gd name="connsiteX148" fmla="*/ 639152 w 1033465"/>
                <a:gd name="connsiteY148" fmla="*/ 266434 h 838042"/>
                <a:gd name="connsiteX149" fmla="*/ 629627 w 1033465"/>
                <a:gd name="connsiteY149" fmla="*/ 283579 h 838042"/>
                <a:gd name="connsiteX150" fmla="*/ 604862 w 1033465"/>
                <a:gd name="connsiteY150" fmla="*/ 289294 h 838042"/>
                <a:gd name="connsiteX151" fmla="*/ 591527 w 1033465"/>
                <a:gd name="connsiteY151" fmla="*/ 293104 h 838042"/>
                <a:gd name="connsiteX152" fmla="*/ 576287 w 1033465"/>
                <a:gd name="connsiteY152" fmla="*/ 291199 h 838042"/>
                <a:gd name="connsiteX153" fmla="*/ 564857 w 1033465"/>
                <a:gd name="connsiteY153" fmla="*/ 287389 h 838042"/>
                <a:gd name="connsiteX154" fmla="*/ 553427 w 1033465"/>
                <a:gd name="connsiteY154" fmla="*/ 283579 h 838042"/>
                <a:gd name="connsiteX155" fmla="*/ 541997 w 1033465"/>
                <a:gd name="connsiteY155" fmla="*/ 279769 h 838042"/>
                <a:gd name="connsiteX156" fmla="*/ 536282 w 1033465"/>
                <a:gd name="connsiteY156" fmla="*/ 277864 h 838042"/>
                <a:gd name="connsiteX157" fmla="*/ 530567 w 1033465"/>
                <a:gd name="connsiteY157" fmla="*/ 274054 h 838042"/>
                <a:gd name="connsiteX158" fmla="*/ 519137 w 1033465"/>
                <a:gd name="connsiteY158" fmla="*/ 268339 h 838042"/>
                <a:gd name="connsiteX159" fmla="*/ 511517 w 1033465"/>
                <a:gd name="connsiteY159" fmla="*/ 256909 h 838042"/>
                <a:gd name="connsiteX160" fmla="*/ 507707 w 1033465"/>
                <a:gd name="connsiteY160" fmla="*/ 235954 h 838042"/>
                <a:gd name="connsiteX161" fmla="*/ 509612 w 1033465"/>
                <a:gd name="connsiteY161" fmla="*/ 171184 h 838042"/>
                <a:gd name="connsiteX162" fmla="*/ 508314 w 1033465"/>
                <a:gd name="connsiteY162" fmla="*/ 73485 h 838042"/>
                <a:gd name="connsiteX163" fmla="*/ 454116 w 1033465"/>
                <a:gd name="connsiteY163" fmla="*/ 11248 h 838042"/>
                <a:gd name="connsiteX164" fmla="*/ 435401 w 1033465"/>
                <a:gd name="connsiteY164" fmla="*/ 68523 h 838042"/>
                <a:gd name="connsiteX165" fmla="*/ 427697 w 1033465"/>
                <a:gd name="connsiteY165" fmla="*/ 137103 h 838042"/>
                <a:gd name="connsiteX166" fmla="*/ 420077 w 1033465"/>
                <a:gd name="connsiteY166" fmla="*/ 169279 h 838042"/>
                <a:gd name="connsiteX167" fmla="*/ 416267 w 1033465"/>
                <a:gd name="connsiteY167" fmla="*/ 186424 h 838042"/>
                <a:gd name="connsiteX168" fmla="*/ 420077 w 1033465"/>
                <a:gd name="connsiteY168" fmla="*/ 207379 h 838042"/>
                <a:gd name="connsiteX169" fmla="*/ 423887 w 1033465"/>
                <a:gd name="connsiteY169" fmla="*/ 213094 h 838042"/>
                <a:gd name="connsiteX170" fmla="*/ 427697 w 1033465"/>
                <a:gd name="connsiteY170" fmla="*/ 224524 h 838042"/>
                <a:gd name="connsiteX171" fmla="*/ 425792 w 1033465"/>
                <a:gd name="connsiteY171" fmla="*/ 251194 h 838042"/>
                <a:gd name="connsiteX172" fmla="*/ 420077 w 1033465"/>
                <a:gd name="connsiteY172" fmla="*/ 253099 h 838042"/>
                <a:gd name="connsiteX173" fmla="*/ 414362 w 1033465"/>
                <a:gd name="connsiteY173" fmla="*/ 256909 h 838042"/>
                <a:gd name="connsiteX174" fmla="*/ 423887 w 1033465"/>
                <a:gd name="connsiteY17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8692 w 1033465"/>
                <a:gd name="connsiteY136" fmla="*/ 213094 h 838042"/>
                <a:gd name="connsiteX137" fmla="*/ 766787 w 1033465"/>
                <a:gd name="connsiteY137" fmla="*/ 197854 h 838042"/>
                <a:gd name="connsiteX138" fmla="*/ 761072 w 1033465"/>
                <a:gd name="connsiteY138" fmla="*/ 195949 h 838042"/>
                <a:gd name="connsiteX139" fmla="*/ 740117 w 1033465"/>
                <a:gd name="connsiteY139" fmla="*/ 197854 h 838042"/>
                <a:gd name="connsiteX140" fmla="*/ 734402 w 1033465"/>
                <a:gd name="connsiteY140" fmla="*/ 201664 h 838042"/>
                <a:gd name="connsiteX141" fmla="*/ 722972 w 1033465"/>
                <a:gd name="connsiteY141" fmla="*/ 205474 h 838042"/>
                <a:gd name="connsiteX142" fmla="*/ 719162 w 1033465"/>
                <a:gd name="connsiteY142" fmla="*/ 211189 h 838042"/>
                <a:gd name="connsiteX143" fmla="*/ 713447 w 1033465"/>
                <a:gd name="connsiteY143" fmla="*/ 213094 h 838042"/>
                <a:gd name="connsiteX144" fmla="*/ 707732 w 1033465"/>
                <a:gd name="connsiteY144" fmla="*/ 216904 h 838042"/>
                <a:gd name="connsiteX145" fmla="*/ 702017 w 1033465"/>
                <a:gd name="connsiteY145" fmla="*/ 222619 h 838042"/>
                <a:gd name="connsiteX146" fmla="*/ 694397 w 1033465"/>
                <a:gd name="connsiteY146" fmla="*/ 226429 h 838042"/>
                <a:gd name="connsiteX147" fmla="*/ 652487 w 1033465"/>
                <a:gd name="connsiteY147" fmla="*/ 255004 h 838042"/>
                <a:gd name="connsiteX148" fmla="*/ 639152 w 1033465"/>
                <a:gd name="connsiteY148" fmla="*/ 266434 h 838042"/>
                <a:gd name="connsiteX149" fmla="*/ 629627 w 1033465"/>
                <a:gd name="connsiteY149" fmla="*/ 283579 h 838042"/>
                <a:gd name="connsiteX150" fmla="*/ 604862 w 1033465"/>
                <a:gd name="connsiteY150" fmla="*/ 289294 h 838042"/>
                <a:gd name="connsiteX151" fmla="*/ 591527 w 1033465"/>
                <a:gd name="connsiteY151" fmla="*/ 293104 h 838042"/>
                <a:gd name="connsiteX152" fmla="*/ 576287 w 1033465"/>
                <a:gd name="connsiteY152" fmla="*/ 291199 h 838042"/>
                <a:gd name="connsiteX153" fmla="*/ 564857 w 1033465"/>
                <a:gd name="connsiteY153" fmla="*/ 287389 h 838042"/>
                <a:gd name="connsiteX154" fmla="*/ 553427 w 1033465"/>
                <a:gd name="connsiteY154" fmla="*/ 283579 h 838042"/>
                <a:gd name="connsiteX155" fmla="*/ 541997 w 1033465"/>
                <a:gd name="connsiteY155" fmla="*/ 279769 h 838042"/>
                <a:gd name="connsiteX156" fmla="*/ 536282 w 1033465"/>
                <a:gd name="connsiteY156" fmla="*/ 277864 h 838042"/>
                <a:gd name="connsiteX157" fmla="*/ 530567 w 1033465"/>
                <a:gd name="connsiteY157" fmla="*/ 274054 h 838042"/>
                <a:gd name="connsiteX158" fmla="*/ 519137 w 1033465"/>
                <a:gd name="connsiteY158" fmla="*/ 268339 h 838042"/>
                <a:gd name="connsiteX159" fmla="*/ 511517 w 1033465"/>
                <a:gd name="connsiteY159" fmla="*/ 256909 h 838042"/>
                <a:gd name="connsiteX160" fmla="*/ 507707 w 1033465"/>
                <a:gd name="connsiteY160" fmla="*/ 235954 h 838042"/>
                <a:gd name="connsiteX161" fmla="*/ 509612 w 1033465"/>
                <a:gd name="connsiteY161" fmla="*/ 171184 h 838042"/>
                <a:gd name="connsiteX162" fmla="*/ 508314 w 1033465"/>
                <a:gd name="connsiteY162" fmla="*/ 73485 h 838042"/>
                <a:gd name="connsiteX163" fmla="*/ 454116 w 1033465"/>
                <a:gd name="connsiteY163" fmla="*/ 11248 h 838042"/>
                <a:gd name="connsiteX164" fmla="*/ 435401 w 1033465"/>
                <a:gd name="connsiteY164" fmla="*/ 68523 h 838042"/>
                <a:gd name="connsiteX165" fmla="*/ 427697 w 1033465"/>
                <a:gd name="connsiteY165" fmla="*/ 137103 h 838042"/>
                <a:gd name="connsiteX166" fmla="*/ 420077 w 1033465"/>
                <a:gd name="connsiteY166" fmla="*/ 169279 h 838042"/>
                <a:gd name="connsiteX167" fmla="*/ 416267 w 1033465"/>
                <a:gd name="connsiteY167" fmla="*/ 186424 h 838042"/>
                <a:gd name="connsiteX168" fmla="*/ 420077 w 1033465"/>
                <a:gd name="connsiteY168" fmla="*/ 207379 h 838042"/>
                <a:gd name="connsiteX169" fmla="*/ 423887 w 1033465"/>
                <a:gd name="connsiteY169" fmla="*/ 213094 h 838042"/>
                <a:gd name="connsiteX170" fmla="*/ 427697 w 1033465"/>
                <a:gd name="connsiteY170" fmla="*/ 224524 h 838042"/>
                <a:gd name="connsiteX171" fmla="*/ 425792 w 1033465"/>
                <a:gd name="connsiteY171" fmla="*/ 251194 h 838042"/>
                <a:gd name="connsiteX172" fmla="*/ 420077 w 1033465"/>
                <a:gd name="connsiteY172" fmla="*/ 253099 h 838042"/>
                <a:gd name="connsiteX173" fmla="*/ 414362 w 1033465"/>
                <a:gd name="connsiteY173" fmla="*/ 256909 h 838042"/>
                <a:gd name="connsiteX174" fmla="*/ 423887 w 1033465"/>
                <a:gd name="connsiteY17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8692 w 1033465"/>
                <a:gd name="connsiteY136" fmla="*/ 213094 h 838042"/>
                <a:gd name="connsiteX137" fmla="*/ 766787 w 1033465"/>
                <a:gd name="connsiteY137" fmla="*/ 197854 h 838042"/>
                <a:gd name="connsiteX138" fmla="*/ 761072 w 1033465"/>
                <a:gd name="connsiteY138" fmla="*/ 195949 h 838042"/>
                <a:gd name="connsiteX139" fmla="*/ 740117 w 1033465"/>
                <a:gd name="connsiteY139" fmla="*/ 197854 h 838042"/>
                <a:gd name="connsiteX140" fmla="*/ 734402 w 1033465"/>
                <a:gd name="connsiteY140" fmla="*/ 201664 h 838042"/>
                <a:gd name="connsiteX141" fmla="*/ 722972 w 1033465"/>
                <a:gd name="connsiteY141" fmla="*/ 205474 h 838042"/>
                <a:gd name="connsiteX142" fmla="*/ 719162 w 1033465"/>
                <a:gd name="connsiteY142" fmla="*/ 211189 h 838042"/>
                <a:gd name="connsiteX143" fmla="*/ 713447 w 1033465"/>
                <a:gd name="connsiteY143" fmla="*/ 213094 h 838042"/>
                <a:gd name="connsiteX144" fmla="*/ 707732 w 1033465"/>
                <a:gd name="connsiteY144" fmla="*/ 216904 h 838042"/>
                <a:gd name="connsiteX145" fmla="*/ 702017 w 1033465"/>
                <a:gd name="connsiteY145" fmla="*/ 222619 h 838042"/>
                <a:gd name="connsiteX146" fmla="*/ 694397 w 1033465"/>
                <a:gd name="connsiteY146" fmla="*/ 226429 h 838042"/>
                <a:gd name="connsiteX147" fmla="*/ 652487 w 1033465"/>
                <a:gd name="connsiteY147" fmla="*/ 255004 h 838042"/>
                <a:gd name="connsiteX148" fmla="*/ 639152 w 1033465"/>
                <a:gd name="connsiteY148" fmla="*/ 266434 h 838042"/>
                <a:gd name="connsiteX149" fmla="*/ 629627 w 1033465"/>
                <a:gd name="connsiteY149" fmla="*/ 283579 h 838042"/>
                <a:gd name="connsiteX150" fmla="*/ 604862 w 1033465"/>
                <a:gd name="connsiteY150" fmla="*/ 289294 h 838042"/>
                <a:gd name="connsiteX151" fmla="*/ 591527 w 1033465"/>
                <a:gd name="connsiteY151" fmla="*/ 293104 h 838042"/>
                <a:gd name="connsiteX152" fmla="*/ 576287 w 1033465"/>
                <a:gd name="connsiteY152" fmla="*/ 291199 h 838042"/>
                <a:gd name="connsiteX153" fmla="*/ 564857 w 1033465"/>
                <a:gd name="connsiteY153" fmla="*/ 287389 h 838042"/>
                <a:gd name="connsiteX154" fmla="*/ 553427 w 1033465"/>
                <a:gd name="connsiteY154" fmla="*/ 283579 h 838042"/>
                <a:gd name="connsiteX155" fmla="*/ 541997 w 1033465"/>
                <a:gd name="connsiteY155" fmla="*/ 279769 h 838042"/>
                <a:gd name="connsiteX156" fmla="*/ 536282 w 1033465"/>
                <a:gd name="connsiteY156" fmla="*/ 277864 h 838042"/>
                <a:gd name="connsiteX157" fmla="*/ 530567 w 1033465"/>
                <a:gd name="connsiteY157" fmla="*/ 274054 h 838042"/>
                <a:gd name="connsiteX158" fmla="*/ 519137 w 1033465"/>
                <a:gd name="connsiteY158" fmla="*/ 268339 h 838042"/>
                <a:gd name="connsiteX159" fmla="*/ 511517 w 1033465"/>
                <a:gd name="connsiteY159" fmla="*/ 256909 h 838042"/>
                <a:gd name="connsiteX160" fmla="*/ 507707 w 1033465"/>
                <a:gd name="connsiteY160" fmla="*/ 235954 h 838042"/>
                <a:gd name="connsiteX161" fmla="*/ 509612 w 1033465"/>
                <a:gd name="connsiteY161" fmla="*/ 171184 h 838042"/>
                <a:gd name="connsiteX162" fmla="*/ 508314 w 1033465"/>
                <a:gd name="connsiteY162" fmla="*/ 73485 h 838042"/>
                <a:gd name="connsiteX163" fmla="*/ 454116 w 1033465"/>
                <a:gd name="connsiteY163" fmla="*/ 11248 h 838042"/>
                <a:gd name="connsiteX164" fmla="*/ 435401 w 1033465"/>
                <a:gd name="connsiteY164" fmla="*/ 68523 h 838042"/>
                <a:gd name="connsiteX165" fmla="*/ 427697 w 1033465"/>
                <a:gd name="connsiteY165" fmla="*/ 137103 h 838042"/>
                <a:gd name="connsiteX166" fmla="*/ 420077 w 1033465"/>
                <a:gd name="connsiteY166" fmla="*/ 169279 h 838042"/>
                <a:gd name="connsiteX167" fmla="*/ 416267 w 1033465"/>
                <a:gd name="connsiteY167" fmla="*/ 186424 h 838042"/>
                <a:gd name="connsiteX168" fmla="*/ 420077 w 1033465"/>
                <a:gd name="connsiteY168" fmla="*/ 207379 h 838042"/>
                <a:gd name="connsiteX169" fmla="*/ 423887 w 1033465"/>
                <a:gd name="connsiteY169" fmla="*/ 213094 h 838042"/>
                <a:gd name="connsiteX170" fmla="*/ 427697 w 1033465"/>
                <a:gd name="connsiteY170" fmla="*/ 224524 h 838042"/>
                <a:gd name="connsiteX171" fmla="*/ 425792 w 1033465"/>
                <a:gd name="connsiteY171" fmla="*/ 251194 h 838042"/>
                <a:gd name="connsiteX172" fmla="*/ 420077 w 1033465"/>
                <a:gd name="connsiteY172" fmla="*/ 253099 h 838042"/>
                <a:gd name="connsiteX173" fmla="*/ 414362 w 1033465"/>
                <a:gd name="connsiteY173" fmla="*/ 256909 h 838042"/>
                <a:gd name="connsiteX174" fmla="*/ 423887 w 1033465"/>
                <a:gd name="connsiteY17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46376 w 1033465"/>
                <a:gd name="connsiteY128" fmla="*/ 367459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8692 w 1033465"/>
                <a:gd name="connsiteY136" fmla="*/ 213094 h 838042"/>
                <a:gd name="connsiteX137" fmla="*/ 766787 w 1033465"/>
                <a:gd name="connsiteY137" fmla="*/ 197854 h 838042"/>
                <a:gd name="connsiteX138" fmla="*/ 761072 w 1033465"/>
                <a:gd name="connsiteY138" fmla="*/ 195949 h 838042"/>
                <a:gd name="connsiteX139" fmla="*/ 740117 w 1033465"/>
                <a:gd name="connsiteY139" fmla="*/ 197854 h 838042"/>
                <a:gd name="connsiteX140" fmla="*/ 734402 w 1033465"/>
                <a:gd name="connsiteY140" fmla="*/ 201664 h 838042"/>
                <a:gd name="connsiteX141" fmla="*/ 722972 w 1033465"/>
                <a:gd name="connsiteY141" fmla="*/ 205474 h 838042"/>
                <a:gd name="connsiteX142" fmla="*/ 719162 w 1033465"/>
                <a:gd name="connsiteY142" fmla="*/ 211189 h 838042"/>
                <a:gd name="connsiteX143" fmla="*/ 713447 w 1033465"/>
                <a:gd name="connsiteY143" fmla="*/ 213094 h 838042"/>
                <a:gd name="connsiteX144" fmla="*/ 707732 w 1033465"/>
                <a:gd name="connsiteY144" fmla="*/ 216904 h 838042"/>
                <a:gd name="connsiteX145" fmla="*/ 702017 w 1033465"/>
                <a:gd name="connsiteY145" fmla="*/ 222619 h 838042"/>
                <a:gd name="connsiteX146" fmla="*/ 694397 w 1033465"/>
                <a:gd name="connsiteY146" fmla="*/ 226429 h 838042"/>
                <a:gd name="connsiteX147" fmla="*/ 652487 w 1033465"/>
                <a:gd name="connsiteY147" fmla="*/ 255004 h 838042"/>
                <a:gd name="connsiteX148" fmla="*/ 639152 w 1033465"/>
                <a:gd name="connsiteY148" fmla="*/ 266434 h 838042"/>
                <a:gd name="connsiteX149" fmla="*/ 629627 w 1033465"/>
                <a:gd name="connsiteY149" fmla="*/ 283579 h 838042"/>
                <a:gd name="connsiteX150" fmla="*/ 604862 w 1033465"/>
                <a:gd name="connsiteY150" fmla="*/ 289294 h 838042"/>
                <a:gd name="connsiteX151" fmla="*/ 591527 w 1033465"/>
                <a:gd name="connsiteY151" fmla="*/ 293104 h 838042"/>
                <a:gd name="connsiteX152" fmla="*/ 576287 w 1033465"/>
                <a:gd name="connsiteY152" fmla="*/ 291199 h 838042"/>
                <a:gd name="connsiteX153" fmla="*/ 564857 w 1033465"/>
                <a:gd name="connsiteY153" fmla="*/ 287389 h 838042"/>
                <a:gd name="connsiteX154" fmla="*/ 553427 w 1033465"/>
                <a:gd name="connsiteY154" fmla="*/ 283579 h 838042"/>
                <a:gd name="connsiteX155" fmla="*/ 541997 w 1033465"/>
                <a:gd name="connsiteY155" fmla="*/ 279769 h 838042"/>
                <a:gd name="connsiteX156" fmla="*/ 536282 w 1033465"/>
                <a:gd name="connsiteY156" fmla="*/ 277864 h 838042"/>
                <a:gd name="connsiteX157" fmla="*/ 530567 w 1033465"/>
                <a:gd name="connsiteY157" fmla="*/ 274054 h 838042"/>
                <a:gd name="connsiteX158" fmla="*/ 519137 w 1033465"/>
                <a:gd name="connsiteY158" fmla="*/ 268339 h 838042"/>
                <a:gd name="connsiteX159" fmla="*/ 511517 w 1033465"/>
                <a:gd name="connsiteY159" fmla="*/ 256909 h 838042"/>
                <a:gd name="connsiteX160" fmla="*/ 507707 w 1033465"/>
                <a:gd name="connsiteY160" fmla="*/ 235954 h 838042"/>
                <a:gd name="connsiteX161" fmla="*/ 509612 w 1033465"/>
                <a:gd name="connsiteY161" fmla="*/ 171184 h 838042"/>
                <a:gd name="connsiteX162" fmla="*/ 508314 w 1033465"/>
                <a:gd name="connsiteY162" fmla="*/ 73485 h 838042"/>
                <a:gd name="connsiteX163" fmla="*/ 454116 w 1033465"/>
                <a:gd name="connsiteY163" fmla="*/ 11248 h 838042"/>
                <a:gd name="connsiteX164" fmla="*/ 435401 w 1033465"/>
                <a:gd name="connsiteY164" fmla="*/ 68523 h 838042"/>
                <a:gd name="connsiteX165" fmla="*/ 427697 w 1033465"/>
                <a:gd name="connsiteY165" fmla="*/ 137103 h 838042"/>
                <a:gd name="connsiteX166" fmla="*/ 420077 w 1033465"/>
                <a:gd name="connsiteY166" fmla="*/ 169279 h 838042"/>
                <a:gd name="connsiteX167" fmla="*/ 416267 w 1033465"/>
                <a:gd name="connsiteY167" fmla="*/ 186424 h 838042"/>
                <a:gd name="connsiteX168" fmla="*/ 420077 w 1033465"/>
                <a:gd name="connsiteY168" fmla="*/ 207379 h 838042"/>
                <a:gd name="connsiteX169" fmla="*/ 423887 w 1033465"/>
                <a:gd name="connsiteY169" fmla="*/ 213094 h 838042"/>
                <a:gd name="connsiteX170" fmla="*/ 427697 w 1033465"/>
                <a:gd name="connsiteY170" fmla="*/ 224524 h 838042"/>
                <a:gd name="connsiteX171" fmla="*/ 425792 w 1033465"/>
                <a:gd name="connsiteY171" fmla="*/ 251194 h 838042"/>
                <a:gd name="connsiteX172" fmla="*/ 420077 w 1033465"/>
                <a:gd name="connsiteY172" fmla="*/ 253099 h 838042"/>
                <a:gd name="connsiteX173" fmla="*/ 414362 w 1033465"/>
                <a:gd name="connsiteY173" fmla="*/ 256909 h 838042"/>
                <a:gd name="connsiteX174" fmla="*/ 423887 w 1033465"/>
                <a:gd name="connsiteY17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55811 w 1033465"/>
                <a:gd name="connsiteY128" fmla="*/ 361702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8692 w 1033465"/>
                <a:gd name="connsiteY136" fmla="*/ 213094 h 838042"/>
                <a:gd name="connsiteX137" fmla="*/ 766787 w 1033465"/>
                <a:gd name="connsiteY137" fmla="*/ 197854 h 838042"/>
                <a:gd name="connsiteX138" fmla="*/ 761072 w 1033465"/>
                <a:gd name="connsiteY138" fmla="*/ 195949 h 838042"/>
                <a:gd name="connsiteX139" fmla="*/ 740117 w 1033465"/>
                <a:gd name="connsiteY139" fmla="*/ 197854 h 838042"/>
                <a:gd name="connsiteX140" fmla="*/ 734402 w 1033465"/>
                <a:gd name="connsiteY140" fmla="*/ 201664 h 838042"/>
                <a:gd name="connsiteX141" fmla="*/ 722972 w 1033465"/>
                <a:gd name="connsiteY141" fmla="*/ 205474 h 838042"/>
                <a:gd name="connsiteX142" fmla="*/ 719162 w 1033465"/>
                <a:gd name="connsiteY142" fmla="*/ 211189 h 838042"/>
                <a:gd name="connsiteX143" fmla="*/ 713447 w 1033465"/>
                <a:gd name="connsiteY143" fmla="*/ 213094 h 838042"/>
                <a:gd name="connsiteX144" fmla="*/ 707732 w 1033465"/>
                <a:gd name="connsiteY144" fmla="*/ 216904 h 838042"/>
                <a:gd name="connsiteX145" fmla="*/ 702017 w 1033465"/>
                <a:gd name="connsiteY145" fmla="*/ 222619 h 838042"/>
                <a:gd name="connsiteX146" fmla="*/ 694397 w 1033465"/>
                <a:gd name="connsiteY146" fmla="*/ 226429 h 838042"/>
                <a:gd name="connsiteX147" fmla="*/ 652487 w 1033465"/>
                <a:gd name="connsiteY147" fmla="*/ 255004 h 838042"/>
                <a:gd name="connsiteX148" fmla="*/ 639152 w 1033465"/>
                <a:gd name="connsiteY148" fmla="*/ 266434 h 838042"/>
                <a:gd name="connsiteX149" fmla="*/ 629627 w 1033465"/>
                <a:gd name="connsiteY149" fmla="*/ 283579 h 838042"/>
                <a:gd name="connsiteX150" fmla="*/ 604862 w 1033465"/>
                <a:gd name="connsiteY150" fmla="*/ 289294 h 838042"/>
                <a:gd name="connsiteX151" fmla="*/ 591527 w 1033465"/>
                <a:gd name="connsiteY151" fmla="*/ 293104 h 838042"/>
                <a:gd name="connsiteX152" fmla="*/ 576287 w 1033465"/>
                <a:gd name="connsiteY152" fmla="*/ 291199 h 838042"/>
                <a:gd name="connsiteX153" fmla="*/ 564857 w 1033465"/>
                <a:gd name="connsiteY153" fmla="*/ 287389 h 838042"/>
                <a:gd name="connsiteX154" fmla="*/ 553427 w 1033465"/>
                <a:gd name="connsiteY154" fmla="*/ 283579 h 838042"/>
                <a:gd name="connsiteX155" fmla="*/ 541997 w 1033465"/>
                <a:gd name="connsiteY155" fmla="*/ 279769 h 838042"/>
                <a:gd name="connsiteX156" fmla="*/ 536282 w 1033465"/>
                <a:gd name="connsiteY156" fmla="*/ 277864 h 838042"/>
                <a:gd name="connsiteX157" fmla="*/ 530567 w 1033465"/>
                <a:gd name="connsiteY157" fmla="*/ 274054 h 838042"/>
                <a:gd name="connsiteX158" fmla="*/ 519137 w 1033465"/>
                <a:gd name="connsiteY158" fmla="*/ 268339 h 838042"/>
                <a:gd name="connsiteX159" fmla="*/ 511517 w 1033465"/>
                <a:gd name="connsiteY159" fmla="*/ 256909 h 838042"/>
                <a:gd name="connsiteX160" fmla="*/ 507707 w 1033465"/>
                <a:gd name="connsiteY160" fmla="*/ 235954 h 838042"/>
                <a:gd name="connsiteX161" fmla="*/ 509612 w 1033465"/>
                <a:gd name="connsiteY161" fmla="*/ 171184 h 838042"/>
                <a:gd name="connsiteX162" fmla="*/ 508314 w 1033465"/>
                <a:gd name="connsiteY162" fmla="*/ 73485 h 838042"/>
                <a:gd name="connsiteX163" fmla="*/ 454116 w 1033465"/>
                <a:gd name="connsiteY163" fmla="*/ 11248 h 838042"/>
                <a:gd name="connsiteX164" fmla="*/ 435401 w 1033465"/>
                <a:gd name="connsiteY164" fmla="*/ 68523 h 838042"/>
                <a:gd name="connsiteX165" fmla="*/ 427697 w 1033465"/>
                <a:gd name="connsiteY165" fmla="*/ 137103 h 838042"/>
                <a:gd name="connsiteX166" fmla="*/ 420077 w 1033465"/>
                <a:gd name="connsiteY166" fmla="*/ 169279 h 838042"/>
                <a:gd name="connsiteX167" fmla="*/ 416267 w 1033465"/>
                <a:gd name="connsiteY167" fmla="*/ 186424 h 838042"/>
                <a:gd name="connsiteX168" fmla="*/ 420077 w 1033465"/>
                <a:gd name="connsiteY168" fmla="*/ 207379 h 838042"/>
                <a:gd name="connsiteX169" fmla="*/ 423887 w 1033465"/>
                <a:gd name="connsiteY169" fmla="*/ 213094 h 838042"/>
                <a:gd name="connsiteX170" fmla="*/ 427697 w 1033465"/>
                <a:gd name="connsiteY170" fmla="*/ 224524 h 838042"/>
                <a:gd name="connsiteX171" fmla="*/ 425792 w 1033465"/>
                <a:gd name="connsiteY171" fmla="*/ 251194 h 838042"/>
                <a:gd name="connsiteX172" fmla="*/ 420077 w 1033465"/>
                <a:gd name="connsiteY172" fmla="*/ 253099 h 838042"/>
                <a:gd name="connsiteX173" fmla="*/ 414362 w 1033465"/>
                <a:gd name="connsiteY173" fmla="*/ 256909 h 838042"/>
                <a:gd name="connsiteX174" fmla="*/ 423887 w 1033465"/>
                <a:gd name="connsiteY17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55811 w 1033465"/>
                <a:gd name="connsiteY128" fmla="*/ 361702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6787 w 1033465"/>
                <a:gd name="connsiteY136" fmla="*/ 197854 h 838042"/>
                <a:gd name="connsiteX137" fmla="*/ 761072 w 1033465"/>
                <a:gd name="connsiteY137" fmla="*/ 195949 h 838042"/>
                <a:gd name="connsiteX138" fmla="*/ 740117 w 1033465"/>
                <a:gd name="connsiteY138" fmla="*/ 197854 h 838042"/>
                <a:gd name="connsiteX139" fmla="*/ 734402 w 1033465"/>
                <a:gd name="connsiteY139" fmla="*/ 201664 h 838042"/>
                <a:gd name="connsiteX140" fmla="*/ 722972 w 1033465"/>
                <a:gd name="connsiteY140" fmla="*/ 205474 h 838042"/>
                <a:gd name="connsiteX141" fmla="*/ 719162 w 1033465"/>
                <a:gd name="connsiteY141" fmla="*/ 211189 h 838042"/>
                <a:gd name="connsiteX142" fmla="*/ 713447 w 1033465"/>
                <a:gd name="connsiteY142" fmla="*/ 213094 h 838042"/>
                <a:gd name="connsiteX143" fmla="*/ 707732 w 1033465"/>
                <a:gd name="connsiteY143" fmla="*/ 216904 h 838042"/>
                <a:gd name="connsiteX144" fmla="*/ 702017 w 1033465"/>
                <a:gd name="connsiteY144" fmla="*/ 222619 h 838042"/>
                <a:gd name="connsiteX145" fmla="*/ 694397 w 1033465"/>
                <a:gd name="connsiteY145" fmla="*/ 226429 h 838042"/>
                <a:gd name="connsiteX146" fmla="*/ 652487 w 1033465"/>
                <a:gd name="connsiteY146" fmla="*/ 255004 h 838042"/>
                <a:gd name="connsiteX147" fmla="*/ 639152 w 1033465"/>
                <a:gd name="connsiteY147" fmla="*/ 266434 h 838042"/>
                <a:gd name="connsiteX148" fmla="*/ 629627 w 1033465"/>
                <a:gd name="connsiteY148" fmla="*/ 283579 h 838042"/>
                <a:gd name="connsiteX149" fmla="*/ 604862 w 1033465"/>
                <a:gd name="connsiteY149" fmla="*/ 289294 h 838042"/>
                <a:gd name="connsiteX150" fmla="*/ 591527 w 1033465"/>
                <a:gd name="connsiteY150" fmla="*/ 293104 h 838042"/>
                <a:gd name="connsiteX151" fmla="*/ 576287 w 1033465"/>
                <a:gd name="connsiteY151" fmla="*/ 291199 h 838042"/>
                <a:gd name="connsiteX152" fmla="*/ 564857 w 1033465"/>
                <a:gd name="connsiteY152" fmla="*/ 287389 h 838042"/>
                <a:gd name="connsiteX153" fmla="*/ 553427 w 1033465"/>
                <a:gd name="connsiteY153" fmla="*/ 283579 h 838042"/>
                <a:gd name="connsiteX154" fmla="*/ 541997 w 1033465"/>
                <a:gd name="connsiteY154" fmla="*/ 279769 h 838042"/>
                <a:gd name="connsiteX155" fmla="*/ 536282 w 1033465"/>
                <a:gd name="connsiteY155" fmla="*/ 277864 h 838042"/>
                <a:gd name="connsiteX156" fmla="*/ 530567 w 1033465"/>
                <a:gd name="connsiteY156" fmla="*/ 274054 h 838042"/>
                <a:gd name="connsiteX157" fmla="*/ 519137 w 1033465"/>
                <a:gd name="connsiteY157" fmla="*/ 268339 h 838042"/>
                <a:gd name="connsiteX158" fmla="*/ 511517 w 1033465"/>
                <a:gd name="connsiteY158" fmla="*/ 256909 h 838042"/>
                <a:gd name="connsiteX159" fmla="*/ 507707 w 1033465"/>
                <a:gd name="connsiteY159" fmla="*/ 235954 h 838042"/>
                <a:gd name="connsiteX160" fmla="*/ 509612 w 1033465"/>
                <a:gd name="connsiteY160" fmla="*/ 171184 h 838042"/>
                <a:gd name="connsiteX161" fmla="*/ 508314 w 1033465"/>
                <a:gd name="connsiteY161" fmla="*/ 73485 h 838042"/>
                <a:gd name="connsiteX162" fmla="*/ 454116 w 1033465"/>
                <a:gd name="connsiteY162" fmla="*/ 11248 h 838042"/>
                <a:gd name="connsiteX163" fmla="*/ 435401 w 1033465"/>
                <a:gd name="connsiteY163" fmla="*/ 68523 h 838042"/>
                <a:gd name="connsiteX164" fmla="*/ 427697 w 1033465"/>
                <a:gd name="connsiteY164" fmla="*/ 137103 h 838042"/>
                <a:gd name="connsiteX165" fmla="*/ 420077 w 1033465"/>
                <a:gd name="connsiteY165" fmla="*/ 169279 h 838042"/>
                <a:gd name="connsiteX166" fmla="*/ 416267 w 1033465"/>
                <a:gd name="connsiteY166" fmla="*/ 186424 h 838042"/>
                <a:gd name="connsiteX167" fmla="*/ 420077 w 1033465"/>
                <a:gd name="connsiteY167" fmla="*/ 207379 h 838042"/>
                <a:gd name="connsiteX168" fmla="*/ 423887 w 1033465"/>
                <a:gd name="connsiteY168" fmla="*/ 213094 h 838042"/>
                <a:gd name="connsiteX169" fmla="*/ 427697 w 1033465"/>
                <a:gd name="connsiteY169" fmla="*/ 224524 h 838042"/>
                <a:gd name="connsiteX170" fmla="*/ 425792 w 1033465"/>
                <a:gd name="connsiteY170" fmla="*/ 251194 h 838042"/>
                <a:gd name="connsiteX171" fmla="*/ 420077 w 1033465"/>
                <a:gd name="connsiteY171" fmla="*/ 253099 h 838042"/>
                <a:gd name="connsiteX172" fmla="*/ 414362 w 1033465"/>
                <a:gd name="connsiteY172" fmla="*/ 256909 h 838042"/>
                <a:gd name="connsiteX173" fmla="*/ 423887 w 1033465"/>
                <a:gd name="connsiteY17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55811 w 1033465"/>
                <a:gd name="connsiteY128" fmla="*/ 361702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6787 w 1033465"/>
                <a:gd name="connsiteY136" fmla="*/ 197854 h 838042"/>
                <a:gd name="connsiteX137" fmla="*/ 761072 w 1033465"/>
                <a:gd name="connsiteY137" fmla="*/ 195949 h 838042"/>
                <a:gd name="connsiteX138" fmla="*/ 740117 w 1033465"/>
                <a:gd name="connsiteY138" fmla="*/ 197854 h 838042"/>
                <a:gd name="connsiteX139" fmla="*/ 734402 w 1033465"/>
                <a:gd name="connsiteY139" fmla="*/ 201664 h 838042"/>
                <a:gd name="connsiteX140" fmla="*/ 722972 w 1033465"/>
                <a:gd name="connsiteY140" fmla="*/ 205474 h 838042"/>
                <a:gd name="connsiteX141" fmla="*/ 719162 w 1033465"/>
                <a:gd name="connsiteY141" fmla="*/ 211189 h 838042"/>
                <a:gd name="connsiteX142" fmla="*/ 713447 w 1033465"/>
                <a:gd name="connsiteY142" fmla="*/ 213094 h 838042"/>
                <a:gd name="connsiteX143" fmla="*/ 707732 w 1033465"/>
                <a:gd name="connsiteY143" fmla="*/ 216904 h 838042"/>
                <a:gd name="connsiteX144" fmla="*/ 702017 w 1033465"/>
                <a:gd name="connsiteY144" fmla="*/ 222619 h 838042"/>
                <a:gd name="connsiteX145" fmla="*/ 694397 w 1033465"/>
                <a:gd name="connsiteY145" fmla="*/ 226429 h 838042"/>
                <a:gd name="connsiteX146" fmla="*/ 652487 w 1033465"/>
                <a:gd name="connsiteY146" fmla="*/ 255004 h 838042"/>
                <a:gd name="connsiteX147" fmla="*/ 639152 w 1033465"/>
                <a:gd name="connsiteY147" fmla="*/ 266434 h 838042"/>
                <a:gd name="connsiteX148" fmla="*/ 629627 w 1033465"/>
                <a:gd name="connsiteY148" fmla="*/ 283579 h 838042"/>
                <a:gd name="connsiteX149" fmla="*/ 604862 w 1033465"/>
                <a:gd name="connsiteY149" fmla="*/ 289294 h 838042"/>
                <a:gd name="connsiteX150" fmla="*/ 591527 w 1033465"/>
                <a:gd name="connsiteY150" fmla="*/ 293104 h 838042"/>
                <a:gd name="connsiteX151" fmla="*/ 576287 w 1033465"/>
                <a:gd name="connsiteY151" fmla="*/ 291199 h 838042"/>
                <a:gd name="connsiteX152" fmla="*/ 564857 w 1033465"/>
                <a:gd name="connsiteY152" fmla="*/ 287389 h 838042"/>
                <a:gd name="connsiteX153" fmla="*/ 553427 w 1033465"/>
                <a:gd name="connsiteY153" fmla="*/ 283579 h 838042"/>
                <a:gd name="connsiteX154" fmla="*/ 541997 w 1033465"/>
                <a:gd name="connsiteY154" fmla="*/ 279769 h 838042"/>
                <a:gd name="connsiteX155" fmla="*/ 536282 w 1033465"/>
                <a:gd name="connsiteY155" fmla="*/ 277864 h 838042"/>
                <a:gd name="connsiteX156" fmla="*/ 530567 w 1033465"/>
                <a:gd name="connsiteY156" fmla="*/ 274054 h 838042"/>
                <a:gd name="connsiteX157" fmla="*/ 519137 w 1033465"/>
                <a:gd name="connsiteY157" fmla="*/ 268339 h 838042"/>
                <a:gd name="connsiteX158" fmla="*/ 511517 w 1033465"/>
                <a:gd name="connsiteY158" fmla="*/ 256909 h 838042"/>
                <a:gd name="connsiteX159" fmla="*/ 507707 w 1033465"/>
                <a:gd name="connsiteY159" fmla="*/ 235954 h 838042"/>
                <a:gd name="connsiteX160" fmla="*/ 509612 w 1033465"/>
                <a:gd name="connsiteY160" fmla="*/ 171184 h 838042"/>
                <a:gd name="connsiteX161" fmla="*/ 508314 w 1033465"/>
                <a:gd name="connsiteY161" fmla="*/ 73485 h 838042"/>
                <a:gd name="connsiteX162" fmla="*/ 454116 w 1033465"/>
                <a:gd name="connsiteY162" fmla="*/ 11248 h 838042"/>
                <a:gd name="connsiteX163" fmla="*/ 435401 w 1033465"/>
                <a:gd name="connsiteY163" fmla="*/ 68523 h 838042"/>
                <a:gd name="connsiteX164" fmla="*/ 427697 w 1033465"/>
                <a:gd name="connsiteY164" fmla="*/ 137103 h 838042"/>
                <a:gd name="connsiteX165" fmla="*/ 420077 w 1033465"/>
                <a:gd name="connsiteY165" fmla="*/ 169279 h 838042"/>
                <a:gd name="connsiteX166" fmla="*/ 416267 w 1033465"/>
                <a:gd name="connsiteY166" fmla="*/ 186424 h 838042"/>
                <a:gd name="connsiteX167" fmla="*/ 420077 w 1033465"/>
                <a:gd name="connsiteY167" fmla="*/ 207379 h 838042"/>
                <a:gd name="connsiteX168" fmla="*/ 423887 w 1033465"/>
                <a:gd name="connsiteY168" fmla="*/ 213094 h 838042"/>
                <a:gd name="connsiteX169" fmla="*/ 427697 w 1033465"/>
                <a:gd name="connsiteY169" fmla="*/ 224524 h 838042"/>
                <a:gd name="connsiteX170" fmla="*/ 425792 w 1033465"/>
                <a:gd name="connsiteY170" fmla="*/ 251194 h 838042"/>
                <a:gd name="connsiteX171" fmla="*/ 420077 w 1033465"/>
                <a:gd name="connsiteY171" fmla="*/ 253099 h 838042"/>
                <a:gd name="connsiteX172" fmla="*/ 414362 w 1033465"/>
                <a:gd name="connsiteY172" fmla="*/ 256909 h 838042"/>
                <a:gd name="connsiteX173" fmla="*/ 423887 w 1033465"/>
                <a:gd name="connsiteY17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55811 w 1033465"/>
                <a:gd name="connsiteY128" fmla="*/ 361702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6787 w 1033465"/>
                <a:gd name="connsiteY136" fmla="*/ 197854 h 838042"/>
                <a:gd name="connsiteX137" fmla="*/ 761072 w 1033465"/>
                <a:gd name="connsiteY137" fmla="*/ 195949 h 838042"/>
                <a:gd name="connsiteX138" fmla="*/ 740117 w 1033465"/>
                <a:gd name="connsiteY138" fmla="*/ 197854 h 838042"/>
                <a:gd name="connsiteX139" fmla="*/ 734402 w 1033465"/>
                <a:gd name="connsiteY139" fmla="*/ 201664 h 838042"/>
                <a:gd name="connsiteX140" fmla="*/ 722972 w 1033465"/>
                <a:gd name="connsiteY140" fmla="*/ 205474 h 838042"/>
                <a:gd name="connsiteX141" fmla="*/ 719162 w 1033465"/>
                <a:gd name="connsiteY141" fmla="*/ 211189 h 838042"/>
                <a:gd name="connsiteX142" fmla="*/ 713447 w 1033465"/>
                <a:gd name="connsiteY142" fmla="*/ 213094 h 838042"/>
                <a:gd name="connsiteX143" fmla="*/ 707732 w 1033465"/>
                <a:gd name="connsiteY143" fmla="*/ 216904 h 838042"/>
                <a:gd name="connsiteX144" fmla="*/ 702017 w 1033465"/>
                <a:gd name="connsiteY144" fmla="*/ 222619 h 838042"/>
                <a:gd name="connsiteX145" fmla="*/ 694397 w 1033465"/>
                <a:gd name="connsiteY145" fmla="*/ 226429 h 838042"/>
                <a:gd name="connsiteX146" fmla="*/ 652487 w 1033465"/>
                <a:gd name="connsiteY146" fmla="*/ 255004 h 838042"/>
                <a:gd name="connsiteX147" fmla="*/ 639152 w 1033465"/>
                <a:gd name="connsiteY147" fmla="*/ 266434 h 838042"/>
                <a:gd name="connsiteX148" fmla="*/ 629627 w 1033465"/>
                <a:gd name="connsiteY148" fmla="*/ 283579 h 838042"/>
                <a:gd name="connsiteX149" fmla="*/ 604862 w 1033465"/>
                <a:gd name="connsiteY149" fmla="*/ 289294 h 838042"/>
                <a:gd name="connsiteX150" fmla="*/ 591527 w 1033465"/>
                <a:gd name="connsiteY150" fmla="*/ 293104 h 838042"/>
                <a:gd name="connsiteX151" fmla="*/ 576287 w 1033465"/>
                <a:gd name="connsiteY151" fmla="*/ 291199 h 838042"/>
                <a:gd name="connsiteX152" fmla="*/ 564857 w 1033465"/>
                <a:gd name="connsiteY152" fmla="*/ 287389 h 838042"/>
                <a:gd name="connsiteX153" fmla="*/ 553427 w 1033465"/>
                <a:gd name="connsiteY153" fmla="*/ 283579 h 838042"/>
                <a:gd name="connsiteX154" fmla="*/ 541997 w 1033465"/>
                <a:gd name="connsiteY154" fmla="*/ 279769 h 838042"/>
                <a:gd name="connsiteX155" fmla="*/ 536282 w 1033465"/>
                <a:gd name="connsiteY155" fmla="*/ 277864 h 838042"/>
                <a:gd name="connsiteX156" fmla="*/ 530567 w 1033465"/>
                <a:gd name="connsiteY156" fmla="*/ 274054 h 838042"/>
                <a:gd name="connsiteX157" fmla="*/ 519137 w 1033465"/>
                <a:gd name="connsiteY157" fmla="*/ 268339 h 838042"/>
                <a:gd name="connsiteX158" fmla="*/ 511517 w 1033465"/>
                <a:gd name="connsiteY158" fmla="*/ 256909 h 838042"/>
                <a:gd name="connsiteX159" fmla="*/ 507707 w 1033465"/>
                <a:gd name="connsiteY159" fmla="*/ 235954 h 838042"/>
                <a:gd name="connsiteX160" fmla="*/ 509612 w 1033465"/>
                <a:gd name="connsiteY160" fmla="*/ 171184 h 838042"/>
                <a:gd name="connsiteX161" fmla="*/ 508314 w 1033465"/>
                <a:gd name="connsiteY161" fmla="*/ 73485 h 838042"/>
                <a:gd name="connsiteX162" fmla="*/ 454116 w 1033465"/>
                <a:gd name="connsiteY162" fmla="*/ 11248 h 838042"/>
                <a:gd name="connsiteX163" fmla="*/ 435401 w 1033465"/>
                <a:gd name="connsiteY163" fmla="*/ 68523 h 838042"/>
                <a:gd name="connsiteX164" fmla="*/ 427697 w 1033465"/>
                <a:gd name="connsiteY164" fmla="*/ 137103 h 838042"/>
                <a:gd name="connsiteX165" fmla="*/ 420077 w 1033465"/>
                <a:gd name="connsiteY165" fmla="*/ 169279 h 838042"/>
                <a:gd name="connsiteX166" fmla="*/ 416267 w 1033465"/>
                <a:gd name="connsiteY166" fmla="*/ 186424 h 838042"/>
                <a:gd name="connsiteX167" fmla="*/ 420077 w 1033465"/>
                <a:gd name="connsiteY167" fmla="*/ 207379 h 838042"/>
                <a:gd name="connsiteX168" fmla="*/ 423887 w 1033465"/>
                <a:gd name="connsiteY168" fmla="*/ 213094 h 838042"/>
                <a:gd name="connsiteX169" fmla="*/ 427697 w 1033465"/>
                <a:gd name="connsiteY169" fmla="*/ 224524 h 838042"/>
                <a:gd name="connsiteX170" fmla="*/ 425792 w 1033465"/>
                <a:gd name="connsiteY170" fmla="*/ 251194 h 838042"/>
                <a:gd name="connsiteX171" fmla="*/ 420077 w 1033465"/>
                <a:gd name="connsiteY171" fmla="*/ 253099 h 838042"/>
                <a:gd name="connsiteX172" fmla="*/ 414362 w 1033465"/>
                <a:gd name="connsiteY172" fmla="*/ 256909 h 838042"/>
                <a:gd name="connsiteX173" fmla="*/ 423887 w 1033465"/>
                <a:gd name="connsiteY17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7605 w 1033465"/>
                <a:gd name="connsiteY118" fmla="*/ 402412 h 838042"/>
                <a:gd name="connsiteX119" fmla="*/ 867182 w 1033465"/>
                <a:gd name="connsiteY119" fmla="*/ 405374 h 838042"/>
                <a:gd name="connsiteX120" fmla="*/ 902042 w 1033465"/>
                <a:gd name="connsiteY120" fmla="*/ 415024 h 838042"/>
                <a:gd name="connsiteX121" fmla="*/ 953477 w 1033465"/>
                <a:gd name="connsiteY121" fmla="*/ 424549 h 838042"/>
                <a:gd name="connsiteX122" fmla="*/ 1002290 w 1033465"/>
                <a:gd name="connsiteY122" fmla="*/ 426835 h 838042"/>
                <a:gd name="connsiteX123" fmla="*/ 1032449 w 1033465"/>
                <a:gd name="connsiteY123" fmla="*/ 402711 h 838042"/>
                <a:gd name="connsiteX124" fmla="*/ 1020514 w 1033465"/>
                <a:gd name="connsiteY124" fmla="*/ 377797 h 838042"/>
                <a:gd name="connsiteX125" fmla="*/ 964889 w 1033465"/>
                <a:gd name="connsiteY125" fmla="*/ 358029 h 838042"/>
                <a:gd name="connsiteX126" fmla="*/ 898420 w 1033465"/>
                <a:gd name="connsiteY126" fmla="*/ 356272 h 838042"/>
                <a:gd name="connsiteX127" fmla="*/ 827747 w 1033465"/>
                <a:gd name="connsiteY127" fmla="*/ 357874 h 838042"/>
                <a:gd name="connsiteX128" fmla="*/ 755811 w 1033465"/>
                <a:gd name="connsiteY128" fmla="*/ 361702 h 838042"/>
                <a:gd name="connsiteX129" fmla="*/ 671537 w 1033465"/>
                <a:gd name="connsiteY129" fmla="*/ 369304 h 838042"/>
                <a:gd name="connsiteX130" fmla="*/ 644867 w 1033465"/>
                <a:gd name="connsiteY130" fmla="*/ 338824 h 838042"/>
                <a:gd name="connsiteX131" fmla="*/ 676403 w 1033465"/>
                <a:gd name="connsiteY131" fmla="*/ 304962 h 838042"/>
                <a:gd name="connsiteX132" fmla="*/ 707732 w 1033465"/>
                <a:gd name="connsiteY132" fmla="*/ 283579 h 838042"/>
                <a:gd name="connsiteX133" fmla="*/ 743927 w 1033465"/>
                <a:gd name="connsiteY133" fmla="*/ 251194 h 838042"/>
                <a:gd name="connsiteX134" fmla="*/ 755357 w 1033465"/>
                <a:gd name="connsiteY134" fmla="*/ 241669 h 838042"/>
                <a:gd name="connsiteX135" fmla="*/ 762977 w 1033465"/>
                <a:gd name="connsiteY135" fmla="*/ 224524 h 838042"/>
                <a:gd name="connsiteX136" fmla="*/ 766787 w 1033465"/>
                <a:gd name="connsiteY136" fmla="*/ 197854 h 838042"/>
                <a:gd name="connsiteX137" fmla="*/ 761072 w 1033465"/>
                <a:gd name="connsiteY137" fmla="*/ 195949 h 838042"/>
                <a:gd name="connsiteX138" fmla="*/ 740117 w 1033465"/>
                <a:gd name="connsiteY138" fmla="*/ 197854 h 838042"/>
                <a:gd name="connsiteX139" fmla="*/ 734402 w 1033465"/>
                <a:gd name="connsiteY139" fmla="*/ 201664 h 838042"/>
                <a:gd name="connsiteX140" fmla="*/ 722972 w 1033465"/>
                <a:gd name="connsiteY140" fmla="*/ 205474 h 838042"/>
                <a:gd name="connsiteX141" fmla="*/ 719162 w 1033465"/>
                <a:gd name="connsiteY141" fmla="*/ 211189 h 838042"/>
                <a:gd name="connsiteX142" fmla="*/ 713447 w 1033465"/>
                <a:gd name="connsiteY142" fmla="*/ 213094 h 838042"/>
                <a:gd name="connsiteX143" fmla="*/ 707732 w 1033465"/>
                <a:gd name="connsiteY143" fmla="*/ 216904 h 838042"/>
                <a:gd name="connsiteX144" fmla="*/ 702017 w 1033465"/>
                <a:gd name="connsiteY144" fmla="*/ 222619 h 838042"/>
                <a:gd name="connsiteX145" fmla="*/ 694397 w 1033465"/>
                <a:gd name="connsiteY145" fmla="*/ 226429 h 838042"/>
                <a:gd name="connsiteX146" fmla="*/ 652487 w 1033465"/>
                <a:gd name="connsiteY146" fmla="*/ 255004 h 838042"/>
                <a:gd name="connsiteX147" fmla="*/ 639152 w 1033465"/>
                <a:gd name="connsiteY147" fmla="*/ 266434 h 838042"/>
                <a:gd name="connsiteX148" fmla="*/ 629627 w 1033465"/>
                <a:gd name="connsiteY148" fmla="*/ 283579 h 838042"/>
                <a:gd name="connsiteX149" fmla="*/ 604862 w 1033465"/>
                <a:gd name="connsiteY149" fmla="*/ 289294 h 838042"/>
                <a:gd name="connsiteX150" fmla="*/ 591527 w 1033465"/>
                <a:gd name="connsiteY150" fmla="*/ 293104 h 838042"/>
                <a:gd name="connsiteX151" fmla="*/ 576287 w 1033465"/>
                <a:gd name="connsiteY151" fmla="*/ 291199 h 838042"/>
                <a:gd name="connsiteX152" fmla="*/ 564857 w 1033465"/>
                <a:gd name="connsiteY152" fmla="*/ 287389 h 838042"/>
                <a:gd name="connsiteX153" fmla="*/ 553427 w 1033465"/>
                <a:gd name="connsiteY153" fmla="*/ 283579 h 838042"/>
                <a:gd name="connsiteX154" fmla="*/ 541997 w 1033465"/>
                <a:gd name="connsiteY154" fmla="*/ 279769 h 838042"/>
                <a:gd name="connsiteX155" fmla="*/ 536282 w 1033465"/>
                <a:gd name="connsiteY155" fmla="*/ 277864 h 838042"/>
                <a:gd name="connsiteX156" fmla="*/ 530567 w 1033465"/>
                <a:gd name="connsiteY156" fmla="*/ 274054 h 838042"/>
                <a:gd name="connsiteX157" fmla="*/ 519137 w 1033465"/>
                <a:gd name="connsiteY157" fmla="*/ 268339 h 838042"/>
                <a:gd name="connsiteX158" fmla="*/ 511517 w 1033465"/>
                <a:gd name="connsiteY158" fmla="*/ 256909 h 838042"/>
                <a:gd name="connsiteX159" fmla="*/ 507707 w 1033465"/>
                <a:gd name="connsiteY159" fmla="*/ 235954 h 838042"/>
                <a:gd name="connsiteX160" fmla="*/ 509612 w 1033465"/>
                <a:gd name="connsiteY160" fmla="*/ 171184 h 838042"/>
                <a:gd name="connsiteX161" fmla="*/ 508314 w 1033465"/>
                <a:gd name="connsiteY161" fmla="*/ 73485 h 838042"/>
                <a:gd name="connsiteX162" fmla="*/ 454116 w 1033465"/>
                <a:gd name="connsiteY162" fmla="*/ 11248 h 838042"/>
                <a:gd name="connsiteX163" fmla="*/ 435401 w 1033465"/>
                <a:gd name="connsiteY163" fmla="*/ 68523 h 838042"/>
                <a:gd name="connsiteX164" fmla="*/ 427697 w 1033465"/>
                <a:gd name="connsiteY164" fmla="*/ 137103 h 838042"/>
                <a:gd name="connsiteX165" fmla="*/ 420077 w 1033465"/>
                <a:gd name="connsiteY165" fmla="*/ 169279 h 838042"/>
                <a:gd name="connsiteX166" fmla="*/ 416267 w 1033465"/>
                <a:gd name="connsiteY166" fmla="*/ 186424 h 838042"/>
                <a:gd name="connsiteX167" fmla="*/ 420077 w 1033465"/>
                <a:gd name="connsiteY167" fmla="*/ 207379 h 838042"/>
                <a:gd name="connsiteX168" fmla="*/ 423887 w 1033465"/>
                <a:gd name="connsiteY168" fmla="*/ 213094 h 838042"/>
                <a:gd name="connsiteX169" fmla="*/ 427697 w 1033465"/>
                <a:gd name="connsiteY169" fmla="*/ 224524 h 838042"/>
                <a:gd name="connsiteX170" fmla="*/ 425792 w 1033465"/>
                <a:gd name="connsiteY170" fmla="*/ 251194 h 838042"/>
                <a:gd name="connsiteX171" fmla="*/ 420077 w 1033465"/>
                <a:gd name="connsiteY171" fmla="*/ 253099 h 838042"/>
                <a:gd name="connsiteX172" fmla="*/ 414362 w 1033465"/>
                <a:gd name="connsiteY172" fmla="*/ 256909 h 838042"/>
                <a:gd name="connsiteX173" fmla="*/ 423887 w 1033465"/>
                <a:gd name="connsiteY17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67182 w 1033465"/>
                <a:gd name="connsiteY118" fmla="*/ 405374 h 838042"/>
                <a:gd name="connsiteX119" fmla="*/ 902042 w 1033465"/>
                <a:gd name="connsiteY119" fmla="*/ 415024 h 838042"/>
                <a:gd name="connsiteX120" fmla="*/ 953477 w 1033465"/>
                <a:gd name="connsiteY120" fmla="*/ 424549 h 838042"/>
                <a:gd name="connsiteX121" fmla="*/ 1002290 w 1033465"/>
                <a:gd name="connsiteY121" fmla="*/ 426835 h 838042"/>
                <a:gd name="connsiteX122" fmla="*/ 1032449 w 1033465"/>
                <a:gd name="connsiteY122" fmla="*/ 402711 h 838042"/>
                <a:gd name="connsiteX123" fmla="*/ 1020514 w 1033465"/>
                <a:gd name="connsiteY123" fmla="*/ 377797 h 838042"/>
                <a:gd name="connsiteX124" fmla="*/ 964889 w 1033465"/>
                <a:gd name="connsiteY124" fmla="*/ 358029 h 838042"/>
                <a:gd name="connsiteX125" fmla="*/ 898420 w 1033465"/>
                <a:gd name="connsiteY125" fmla="*/ 356272 h 838042"/>
                <a:gd name="connsiteX126" fmla="*/ 827747 w 1033465"/>
                <a:gd name="connsiteY126" fmla="*/ 357874 h 838042"/>
                <a:gd name="connsiteX127" fmla="*/ 755811 w 1033465"/>
                <a:gd name="connsiteY127" fmla="*/ 361702 h 838042"/>
                <a:gd name="connsiteX128" fmla="*/ 671537 w 1033465"/>
                <a:gd name="connsiteY128" fmla="*/ 369304 h 838042"/>
                <a:gd name="connsiteX129" fmla="*/ 644867 w 1033465"/>
                <a:gd name="connsiteY129" fmla="*/ 338824 h 838042"/>
                <a:gd name="connsiteX130" fmla="*/ 676403 w 1033465"/>
                <a:gd name="connsiteY130" fmla="*/ 304962 h 838042"/>
                <a:gd name="connsiteX131" fmla="*/ 707732 w 1033465"/>
                <a:gd name="connsiteY131" fmla="*/ 283579 h 838042"/>
                <a:gd name="connsiteX132" fmla="*/ 743927 w 1033465"/>
                <a:gd name="connsiteY132" fmla="*/ 251194 h 838042"/>
                <a:gd name="connsiteX133" fmla="*/ 755357 w 1033465"/>
                <a:gd name="connsiteY133" fmla="*/ 241669 h 838042"/>
                <a:gd name="connsiteX134" fmla="*/ 762977 w 1033465"/>
                <a:gd name="connsiteY134" fmla="*/ 224524 h 838042"/>
                <a:gd name="connsiteX135" fmla="*/ 766787 w 1033465"/>
                <a:gd name="connsiteY135" fmla="*/ 197854 h 838042"/>
                <a:gd name="connsiteX136" fmla="*/ 761072 w 1033465"/>
                <a:gd name="connsiteY136" fmla="*/ 195949 h 838042"/>
                <a:gd name="connsiteX137" fmla="*/ 740117 w 1033465"/>
                <a:gd name="connsiteY137" fmla="*/ 197854 h 838042"/>
                <a:gd name="connsiteX138" fmla="*/ 734402 w 1033465"/>
                <a:gd name="connsiteY138" fmla="*/ 201664 h 838042"/>
                <a:gd name="connsiteX139" fmla="*/ 722972 w 1033465"/>
                <a:gd name="connsiteY139" fmla="*/ 205474 h 838042"/>
                <a:gd name="connsiteX140" fmla="*/ 719162 w 1033465"/>
                <a:gd name="connsiteY140" fmla="*/ 211189 h 838042"/>
                <a:gd name="connsiteX141" fmla="*/ 713447 w 1033465"/>
                <a:gd name="connsiteY141" fmla="*/ 213094 h 838042"/>
                <a:gd name="connsiteX142" fmla="*/ 707732 w 1033465"/>
                <a:gd name="connsiteY142" fmla="*/ 216904 h 838042"/>
                <a:gd name="connsiteX143" fmla="*/ 702017 w 1033465"/>
                <a:gd name="connsiteY143" fmla="*/ 222619 h 838042"/>
                <a:gd name="connsiteX144" fmla="*/ 694397 w 1033465"/>
                <a:gd name="connsiteY144" fmla="*/ 226429 h 838042"/>
                <a:gd name="connsiteX145" fmla="*/ 652487 w 1033465"/>
                <a:gd name="connsiteY145" fmla="*/ 255004 h 838042"/>
                <a:gd name="connsiteX146" fmla="*/ 639152 w 1033465"/>
                <a:gd name="connsiteY146" fmla="*/ 266434 h 838042"/>
                <a:gd name="connsiteX147" fmla="*/ 629627 w 1033465"/>
                <a:gd name="connsiteY147" fmla="*/ 283579 h 838042"/>
                <a:gd name="connsiteX148" fmla="*/ 604862 w 1033465"/>
                <a:gd name="connsiteY148" fmla="*/ 289294 h 838042"/>
                <a:gd name="connsiteX149" fmla="*/ 591527 w 1033465"/>
                <a:gd name="connsiteY149" fmla="*/ 293104 h 838042"/>
                <a:gd name="connsiteX150" fmla="*/ 576287 w 1033465"/>
                <a:gd name="connsiteY150" fmla="*/ 291199 h 838042"/>
                <a:gd name="connsiteX151" fmla="*/ 564857 w 1033465"/>
                <a:gd name="connsiteY151" fmla="*/ 287389 h 838042"/>
                <a:gd name="connsiteX152" fmla="*/ 553427 w 1033465"/>
                <a:gd name="connsiteY152" fmla="*/ 283579 h 838042"/>
                <a:gd name="connsiteX153" fmla="*/ 541997 w 1033465"/>
                <a:gd name="connsiteY153" fmla="*/ 279769 h 838042"/>
                <a:gd name="connsiteX154" fmla="*/ 536282 w 1033465"/>
                <a:gd name="connsiteY154" fmla="*/ 277864 h 838042"/>
                <a:gd name="connsiteX155" fmla="*/ 530567 w 1033465"/>
                <a:gd name="connsiteY155" fmla="*/ 274054 h 838042"/>
                <a:gd name="connsiteX156" fmla="*/ 519137 w 1033465"/>
                <a:gd name="connsiteY156" fmla="*/ 268339 h 838042"/>
                <a:gd name="connsiteX157" fmla="*/ 511517 w 1033465"/>
                <a:gd name="connsiteY157" fmla="*/ 256909 h 838042"/>
                <a:gd name="connsiteX158" fmla="*/ 507707 w 1033465"/>
                <a:gd name="connsiteY158" fmla="*/ 235954 h 838042"/>
                <a:gd name="connsiteX159" fmla="*/ 509612 w 1033465"/>
                <a:gd name="connsiteY159" fmla="*/ 171184 h 838042"/>
                <a:gd name="connsiteX160" fmla="*/ 508314 w 1033465"/>
                <a:gd name="connsiteY160" fmla="*/ 73485 h 838042"/>
                <a:gd name="connsiteX161" fmla="*/ 454116 w 1033465"/>
                <a:gd name="connsiteY161" fmla="*/ 11248 h 838042"/>
                <a:gd name="connsiteX162" fmla="*/ 435401 w 1033465"/>
                <a:gd name="connsiteY162" fmla="*/ 68523 h 838042"/>
                <a:gd name="connsiteX163" fmla="*/ 427697 w 1033465"/>
                <a:gd name="connsiteY163" fmla="*/ 137103 h 838042"/>
                <a:gd name="connsiteX164" fmla="*/ 420077 w 1033465"/>
                <a:gd name="connsiteY164" fmla="*/ 169279 h 838042"/>
                <a:gd name="connsiteX165" fmla="*/ 416267 w 1033465"/>
                <a:gd name="connsiteY165" fmla="*/ 186424 h 838042"/>
                <a:gd name="connsiteX166" fmla="*/ 420077 w 1033465"/>
                <a:gd name="connsiteY166" fmla="*/ 207379 h 838042"/>
                <a:gd name="connsiteX167" fmla="*/ 423887 w 1033465"/>
                <a:gd name="connsiteY167" fmla="*/ 213094 h 838042"/>
                <a:gd name="connsiteX168" fmla="*/ 427697 w 1033465"/>
                <a:gd name="connsiteY168" fmla="*/ 224524 h 838042"/>
                <a:gd name="connsiteX169" fmla="*/ 425792 w 1033465"/>
                <a:gd name="connsiteY169" fmla="*/ 251194 h 838042"/>
                <a:gd name="connsiteX170" fmla="*/ 420077 w 1033465"/>
                <a:gd name="connsiteY170" fmla="*/ 253099 h 838042"/>
                <a:gd name="connsiteX171" fmla="*/ 414362 w 1033465"/>
                <a:gd name="connsiteY171" fmla="*/ 256909 h 838042"/>
                <a:gd name="connsiteX172" fmla="*/ 423887 w 1033465"/>
                <a:gd name="connsiteY17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607 w 1033465"/>
                <a:gd name="connsiteY118" fmla="*/ 394338 h 838042"/>
                <a:gd name="connsiteX119" fmla="*/ 902042 w 1033465"/>
                <a:gd name="connsiteY119" fmla="*/ 415024 h 838042"/>
                <a:gd name="connsiteX120" fmla="*/ 953477 w 1033465"/>
                <a:gd name="connsiteY120" fmla="*/ 424549 h 838042"/>
                <a:gd name="connsiteX121" fmla="*/ 1002290 w 1033465"/>
                <a:gd name="connsiteY121" fmla="*/ 426835 h 838042"/>
                <a:gd name="connsiteX122" fmla="*/ 1032449 w 1033465"/>
                <a:gd name="connsiteY122" fmla="*/ 402711 h 838042"/>
                <a:gd name="connsiteX123" fmla="*/ 1020514 w 1033465"/>
                <a:gd name="connsiteY123" fmla="*/ 377797 h 838042"/>
                <a:gd name="connsiteX124" fmla="*/ 964889 w 1033465"/>
                <a:gd name="connsiteY124" fmla="*/ 358029 h 838042"/>
                <a:gd name="connsiteX125" fmla="*/ 898420 w 1033465"/>
                <a:gd name="connsiteY125" fmla="*/ 356272 h 838042"/>
                <a:gd name="connsiteX126" fmla="*/ 827747 w 1033465"/>
                <a:gd name="connsiteY126" fmla="*/ 357874 h 838042"/>
                <a:gd name="connsiteX127" fmla="*/ 755811 w 1033465"/>
                <a:gd name="connsiteY127" fmla="*/ 361702 h 838042"/>
                <a:gd name="connsiteX128" fmla="*/ 671537 w 1033465"/>
                <a:gd name="connsiteY128" fmla="*/ 369304 h 838042"/>
                <a:gd name="connsiteX129" fmla="*/ 644867 w 1033465"/>
                <a:gd name="connsiteY129" fmla="*/ 338824 h 838042"/>
                <a:gd name="connsiteX130" fmla="*/ 676403 w 1033465"/>
                <a:gd name="connsiteY130" fmla="*/ 304962 h 838042"/>
                <a:gd name="connsiteX131" fmla="*/ 707732 w 1033465"/>
                <a:gd name="connsiteY131" fmla="*/ 283579 h 838042"/>
                <a:gd name="connsiteX132" fmla="*/ 743927 w 1033465"/>
                <a:gd name="connsiteY132" fmla="*/ 251194 h 838042"/>
                <a:gd name="connsiteX133" fmla="*/ 755357 w 1033465"/>
                <a:gd name="connsiteY133" fmla="*/ 241669 h 838042"/>
                <a:gd name="connsiteX134" fmla="*/ 762977 w 1033465"/>
                <a:gd name="connsiteY134" fmla="*/ 224524 h 838042"/>
                <a:gd name="connsiteX135" fmla="*/ 766787 w 1033465"/>
                <a:gd name="connsiteY135" fmla="*/ 197854 h 838042"/>
                <a:gd name="connsiteX136" fmla="*/ 761072 w 1033465"/>
                <a:gd name="connsiteY136" fmla="*/ 195949 h 838042"/>
                <a:gd name="connsiteX137" fmla="*/ 740117 w 1033465"/>
                <a:gd name="connsiteY137" fmla="*/ 197854 h 838042"/>
                <a:gd name="connsiteX138" fmla="*/ 734402 w 1033465"/>
                <a:gd name="connsiteY138" fmla="*/ 201664 h 838042"/>
                <a:gd name="connsiteX139" fmla="*/ 722972 w 1033465"/>
                <a:gd name="connsiteY139" fmla="*/ 205474 h 838042"/>
                <a:gd name="connsiteX140" fmla="*/ 719162 w 1033465"/>
                <a:gd name="connsiteY140" fmla="*/ 211189 h 838042"/>
                <a:gd name="connsiteX141" fmla="*/ 713447 w 1033465"/>
                <a:gd name="connsiteY141" fmla="*/ 213094 h 838042"/>
                <a:gd name="connsiteX142" fmla="*/ 707732 w 1033465"/>
                <a:gd name="connsiteY142" fmla="*/ 216904 h 838042"/>
                <a:gd name="connsiteX143" fmla="*/ 702017 w 1033465"/>
                <a:gd name="connsiteY143" fmla="*/ 222619 h 838042"/>
                <a:gd name="connsiteX144" fmla="*/ 694397 w 1033465"/>
                <a:gd name="connsiteY144" fmla="*/ 226429 h 838042"/>
                <a:gd name="connsiteX145" fmla="*/ 652487 w 1033465"/>
                <a:gd name="connsiteY145" fmla="*/ 255004 h 838042"/>
                <a:gd name="connsiteX146" fmla="*/ 639152 w 1033465"/>
                <a:gd name="connsiteY146" fmla="*/ 266434 h 838042"/>
                <a:gd name="connsiteX147" fmla="*/ 629627 w 1033465"/>
                <a:gd name="connsiteY147" fmla="*/ 283579 h 838042"/>
                <a:gd name="connsiteX148" fmla="*/ 604862 w 1033465"/>
                <a:gd name="connsiteY148" fmla="*/ 289294 h 838042"/>
                <a:gd name="connsiteX149" fmla="*/ 591527 w 1033465"/>
                <a:gd name="connsiteY149" fmla="*/ 293104 h 838042"/>
                <a:gd name="connsiteX150" fmla="*/ 576287 w 1033465"/>
                <a:gd name="connsiteY150" fmla="*/ 291199 h 838042"/>
                <a:gd name="connsiteX151" fmla="*/ 564857 w 1033465"/>
                <a:gd name="connsiteY151" fmla="*/ 287389 h 838042"/>
                <a:gd name="connsiteX152" fmla="*/ 553427 w 1033465"/>
                <a:gd name="connsiteY152" fmla="*/ 283579 h 838042"/>
                <a:gd name="connsiteX153" fmla="*/ 541997 w 1033465"/>
                <a:gd name="connsiteY153" fmla="*/ 279769 h 838042"/>
                <a:gd name="connsiteX154" fmla="*/ 536282 w 1033465"/>
                <a:gd name="connsiteY154" fmla="*/ 277864 h 838042"/>
                <a:gd name="connsiteX155" fmla="*/ 530567 w 1033465"/>
                <a:gd name="connsiteY155" fmla="*/ 274054 h 838042"/>
                <a:gd name="connsiteX156" fmla="*/ 519137 w 1033465"/>
                <a:gd name="connsiteY156" fmla="*/ 268339 h 838042"/>
                <a:gd name="connsiteX157" fmla="*/ 511517 w 1033465"/>
                <a:gd name="connsiteY157" fmla="*/ 256909 h 838042"/>
                <a:gd name="connsiteX158" fmla="*/ 507707 w 1033465"/>
                <a:gd name="connsiteY158" fmla="*/ 235954 h 838042"/>
                <a:gd name="connsiteX159" fmla="*/ 509612 w 1033465"/>
                <a:gd name="connsiteY159" fmla="*/ 171184 h 838042"/>
                <a:gd name="connsiteX160" fmla="*/ 508314 w 1033465"/>
                <a:gd name="connsiteY160" fmla="*/ 73485 h 838042"/>
                <a:gd name="connsiteX161" fmla="*/ 454116 w 1033465"/>
                <a:gd name="connsiteY161" fmla="*/ 11248 h 838042"/>
                <a:gd name="connsiteX162" fmla="*/ 435401 w 1033465"/>
                <a:gd name="connsiteY162" fmla="*/ 68523 h 838042"/>
                <a:gd name="connsiteX163" fmla="*/ 427697 w 1033465"/>
                <a:gd name="connsiteY163" fmla="*/ 137103 h 838042"/>
                <a:gd name="connsiteX164" fmla="*/ 420077 w 1033465"/>
                <a:gd name="connsiteY164" fmla="*/ 169279 h 838042"/>
                <a:gd name="connsiteX165" fmla="*/ 416267 w 1033465"/>
                <a:gd name="connsiteY165" fmla="*/ 186424 h 838042"/>
                <a:gd name="connsiteX166" fmla="*/ 420077 w 1033465"/>
                <a:gd name="connsiteY166" fmla="*/ 207379 h 838042"/>
                <a:gd name="connsiteX167" fmla="*/ 423887 w 1033465"/>
                <a:gd name="connsiteY167" fmla="*/ 213094 h 838042"/>
                <a:gd name="connsiteX168" fmla="*/ 427697 w 1033465"/>
                <a:gd name="connsiteY168" fmla="*/ 224524 h 838042"/>
                <a:gd name="connsiteX169" fmla="*/ 425792 w 1033465"/>
                <a:gd name="connsiteY169" fmla="*/ 251194 h 838042"/>
                <a:gd name="connsiteX170" fmla="*/ 420077 w 1033465"/>
                <a:gd name="connsiteY170" fmla="*/ 253099 h 838042"/>
                <a:gd name="connsiteX171" fmla="*/ 414362 w 1033465"/>
                <a:gd name="connsiteY171" fmla="*/ 256909 h 838042"/>
                <a:gd name="connsiteX172" fmla="*/ 423887 w 1033465"/>
                <a:gd name="connsiteY17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607 w 1033465"/>
                <a:gd name="connsiteY118" fmla="*/ 394338 h 838042"/>
                <a:gd name="connsiteX119" fmla="*/ 891567 w 1033465"/>
                <a:gd name="connsiteY119" fmla="*/ 408467 h 838042"/>
                <a:gd name="connsiteX120" fmla="*/ 953477 w 1033465"/>
                <a:gd name="connsiteY120" fmla="*/ 424549 h 838042"/>
                <a:gd name="connsiteX121" fmla="*/ 1002290 w 1033465"/>
                <a:gd name="connsiteY121" fmla="*/ 426835 h 838042"/>
                <a:gd name="connsiteX122" fmla="*/ 1032449 w 1033465"/>
                <a:gd name="connsiteY122" fmla="*/ 402711 h 838042"/>
                <a:gd name="connsiteX123" fmla="*/ 1020514 w 1033465"/>
                <a:gd name="connsiteY123" fmla="*/ 377797 h 838042"/>
                <a:gd name="connsiteX124" fmla="*/ 964889 w 1033465"/>
                <a:gd name="connsiteY124" fmla="*/ 358029 h 838042"/>
                <a:gd name="connsiteX125" fmla="*/ 898420 w 1033465"/>
                <a:gd name="connsiteY125" fmla="*/ 356272 h 838042"/>
                <a:gd name="connsiteX126" fmla="*/ 827747 w 1033465"/>
                <a:gd name="connsiteY126" fmla="*/ 357874 h 838042"/>
                <a:gd name="connsiteX127" fmla="*/ 755811 w 1033465"/>
                <a:gd name="connsiteY127" fmla="*/ 361702 h 838042"/>
                <a:gd name="connsiteX128" fmla="*/ 671537 w 1033465"/>
                <a:gd name="connsiteY128" fmla="*/ 369304 h 838042"/>
                <a:gd name="connsiteX129" fmla="*/ 644867 w 1033465"/>
                <a:gd name="connsiteY129" fmla="*/ 338824 h 838042"/>
                <a:gd name="connsiteX130" fmla="*/ 676403 w 1033465"/>
                <a:gd name="connsiteY130" fmla="*/ 304962 h 838042"/>
                <a:gd name="connsiteX131" fmla="*/ 707732 w 1033465"/>
                <a:gd name="connsiteY131" fmla="*/ 283579 h 838042"/>
                <a:gd name="connsiteX132" fmla="*/ 743927 w 1033465"/>
                <a:gd name="connsiteY132" fmla="*/ 251194 h 838042"/>
                <a:gd name="connsiteX133" fmla="*/ 755357 w 1033465"/>
                <a:gd name="connsiteY133" fmla="*/ 241669 h 838042"/>
                <a:gd name="connsiteX134" fmla="*/ 762977 w 1033465"/>
                <a:gd name="connsiteY134" fmla="*/ 224524 h 838042"/>
                <a:gd name="connsiteX135" fmla="*/ 766787 w 1033465"/>
                <a:gd name="connsiteY135" fmla="*/ 197854 h 838042"/>
                <a:gd name="connsiteX136" fmla="*/ 761072 w 1033465"/>
                <a:gd name="connsiteY136" fmla="*/ 195949 h 838042"/>
                <a:gd name="connsiteX137" fmla="*/ 740117 w 1033465"/>
                <a:gd name="connsiteY137" fmla="*/ 197854 h 838042"/>
                <a:gd name="connsiteX138" fmla="*/ 734402 w 1033465"/>
                <a:gd name="connsiteY138" fmla="*/ 201664 h 838042"/>
                <a:gd name="connsiteX139" fmla="*/ 722972 w 1033465"/>
                <a:gd name="connsiteY139" fmla="*/ 205474 h 838042"/>
                <a:gd name="connsiteX140" fmla="*/ 719162 w 1033465"/>
                <a:gd name="connsiteY140" fmla="*/ 211189 h 838042"/>
                <a:gd name="connsiteX141" fmla="*/ 713447 w 1033465"/>
                <a:gd name="connsiteY141" fmla="*/ 213094 h 838042"/>
                <a:gd name="connsiteX142" fmla="*/ 707732 w 1033465"/>
                <a:gd name="connsiteY142" fmla="*/ 216904 h 838042"/>
                <a:gd name="connsiteX143" fmla="*/ 702017 w 1033465"/>
                <a:gd name="connsiteY143" fmla="*/ 222619 h 838042"/>
                <a:gd name="connsiteX144" fmla="*/ 694397 w 1033465"/>
                <a:gd name="connsiteY144" fmla="*/ 226429 h 838042"/>
                <a:gd name="connsiteX145" fmla="*/ 652487 w 1033465"/>
                <a:gd name="connsiteY145" fmla="*/ 255004 h 838042"/>
                <a:gd name="connsiteX146" fmla="*/ 639152 w 1033465"/>
                <a:gd name="connsiteY146" fmla="*/ 266434 h 838042"/>
                <a:gd name="connsiteX147" fmla="*/ 629627 w 1033465"/>
                <a:gd name="connsiteY147" fmla="*/ 283579 h 838042"/>
                <a:gd name="connsiteX148" fmla="*/ 604862 w 1033465"/>
                <a:gd name="connsiteY148" fmla="*/ 289294 h 838042"/>
                <a:gd name="connsiteX149" fmla="*/ 591527 w 1033465"/>
                <a:gd name="connsiteY149" fmla="*/ 293104 h 838042"/>
                <a:gd name="connsiteX150" fmla="*/ 576287 w 1033465"/>
                <a:gd name="connsiteY150" fmla="*/ 291199 h 838042"/>
                <a:gd name="connsiteX151" fmla="*/ 564857 w 1033465"/>
                <a:gd name="connsiteY151" fmla="*/ 287389 h 838042"/>
                <a:gd name="connsiteX152" fmla="*/ 553427 w 1033465"/>
                <a:gd name="connsiteY152" fmla="*/ 283579 h 838042"/>
                <a:gd name="connsiteX153" fmla="*/ 541997 w 1033465"/>
                <a:gd name="connsiteY153" fmla="*/ 279769 h 838042"/>
                <a:gd name="connsiteX154" fmla="*/ 536282 w 1033465"/>
                <a:gd name="connsiteY154" fmla="*/ 277864 h 838042"/>
                <a:gd name="connsiteX155" fmla="*/ 530567 w 1033465"/>
                <a:gd name="connsiteY155" fmla="*/ 274054 h 838042"/>
                <a:gd name="connsiteX156" fmla="*/ 519137 w 1033465"/>
                <a:gd name="connsiteY156" fmla="*/ 268339 h 838042"/>
                <a:gd name="connsiteX157" fmla="*/ 511517 w 1033465"/>
                <a:gd name="connsiteY157" fmla="*/ 256909 h 838042"/>
                <a:gd name="connsiteX158" fmla="*/ 507707 w 1033465"/>
                <a:gd name="connsiteY158" fmla="*/ 235954 h 838042"/>
                <a:gd name="connsiteX159" fmla="*/ 509612 w 1033465"/>
                <a:gd name="connsiteY159" fmla="*/ 171184 h 838042"/>
                <a:gd name="connsiteX160" fmla="*/ 508314 w 1033465"/>
                <a:gd name="connsiteY160" fmla="*/ 73485 h 838042"/>
                <a:gd name="connsiteX161" fmla="*/ 454116 w 1033465"/>
                <a:gd name="connsiteY161" fmla="*/ 11248 h 838042"/>
                <a:gd name="connsiteX162" fmla="*/ 435401 w 1033465"/>
                <a:gd name="connsiteY162" fmla="*/ 68523 h 838042"/>
                <a:gd name="connsiteX163" fmla="*/ 427697 w 1033465"/>
                <a:gd name="connsiteY163" fmla="*/ 137103 h 838042"/>
                <a:gd name="connsiteX164" fmla="*/ 420077 w 1033465"/>
                <a:gd name="connsiteY164" fmla="*/ 169279 h 838042"/>
                <a:gd name="connsiteX165" fmla="*/ 416267 w 1033465"/>
                <a:gd name="connsiteY165" fmla="*/ 186424 h 838042"/>
                <a:gd name="connsiteX166" fmla="*/ 420077 w 1033465"/>
                <a:gd name="connsiteY166" fmla="*/ 207379 h 838042"/>
                <a:gd name="connsiteX167" fmla="*/ 423887 w 1033465"/>
                <a:gd name="connsiteY167" fmla="*/ 213094 h 838042"/>
                <a:gd name="connsiteX168" fmla="*/ 427697 w 1033465"/>
                <a:gd name="connsiteY168" fmla="*/ 224524 h 838042"/>
                <a:gd name="connsiteX169" fmla="*/ 425792 w 1033465"/>
                <a:gd name="connsiteY169" fmla="*/ 251194 h 838042"/>
                <a:gd name="connsiteX170" fmla="*/ 420077 w 1033465"/>
                <a:gd name="connsiteY170" fmla="*/ 253099 h 838042"/>
                <a:gd name="connsiteX171" fmla="*/ 414362 w 1033465"/>
                <a:gd name="connsiteY171" fmla="*/ 256909 h 838042"/>
                <a:gd name="connsiteX172" fmla="*/ 423887 w 1033465"/>
                <a:gd name="connsiteY17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607 w 1033465"/>
                <a:gd name="connsiteY118" fmla="*/ 394338 h 838042"/>
                <a:gd name="connsiteX119" fmla="*/ 891567 w 1033465"/>
                <a:gd name="connsiteY119" fmla="*/ 408467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98420 w 1033465"/>
                <a:gd name="connsiteY124" fmla="*/ 356272 h 838042"/>
                <a:gd name="connsiteX125" fmla="*/ 827747 w 1033465"/>
                <a:gd name="connsiteY125" fmla="*/ 357874 h 838042"/>
                <a:gd name="connsiteX126" fmla="*/ 755811 w 1033465"/>
                <a:gd name="connsiteY126" fmla="*/ 361702 h 838042"/>
                <a:gd name="connsiteX127" fmla="*/ 671537 w 1033465"/>
                <a:gd name="connsiteY127" fmla="*/ 369304 h 838042"/>
                <a:gd name="connsiteX128" fmla="*/ 644867 w 1033465"/>
                <a:gd name="connsiteY128" fmla="*/ 338824 h 838042"/>
                <a:gd name="connsiteX129" fmla="*/ 676403 w 1033465"/>
                <a:gd name="connsiteY129" fmla="*/ 304962 h 838042"/>
                <a:gd name="connsiteX130" fmla="*/ 707732 w 1033465"/>
                <a:gd name="connsiteY130" fmla="*/ 283579 h 838042"/>
                <a:gd name="connsiteX131" fmla="*/ 743927 w 1033465"/>
                <a:gd name="connsiteY131" fmla="*/ 251194 h 838042"/>
                <a:gd name="connsiteX132" fmla="*/ 755357 w 1033465"/>
                <a:gd name="connsiteY132" fmla="*/ 241669 h 838042"/>
                <a:gd name="connsiteX133" fmla="*/ 762977 w 1033465"/>
                <a:gd name="connsiteY133" fmla="*/ 224524 h 838042"/>
                <a:gd name="connsiteX134" fmla="*/ 766787 w 1033465"/>
                <a:gd name="connsiteY134" fmla="*/ 197854 h 838042"/>
                <a:gd name="connsiteX135" fmla="*/ 761072 w 1033465"/>
                <a:gd name="connsiteY135" fmla="*/ 195949 h 838042"/>
                <a:gd name="connsiteX136" fmla="*/ 740117 w 1033465"/>
                <a:gd name="connsiteY136" fmla="*/ 197854 h 838042"/>
                <a:gd name="connsiteX137" fmla="*/ 734402 w 1033465"/>
                <a:gd name="connsiteY137" fmla="*/ 201664 h 838042"/>
                <a:gd name="connsiteX138" fmla="*/ 722972 w 1033465"/>
                <a:gd name="connsiteY138" fmla="*/ 205474 h 838042"/>
                <a:gd name="connsiteX139" fmla="*/ 719162 w 1033465"/>
                <a:gd name="connsiteY139" fmla="*/ 211189 h 838042"/>
                <a:gd name="connsiteX140" fmla="*/ 713447 w 1033465"/>
                <a:gd name="connsiteY140" fmla="*/ 213094 h 838042"/>
                <a:gd name="connsiteX141" fmla="*/ 707732 w 1033465"/>
                <a:gd name="connsiteY141" fmla="*/ 216904 h 838042"/>
                <a:gd name="connsiteX142" fmla="*/ 702017 w 1033465"/>
                <a:gd name="connsiteY142" fmla="*/ 222619 h 838042"/>
                <a:gd name="connsiteX143" fmla="*/ 694397 w 1033465"/>
                <a:gd name="connsiteY143" fmla="*/ 226429 h 838042"/>
                <a:gd name="connsiteX144" fmla="*/ 652487 w 1033465"/>
                <a:gd name="connsiteY144" fmla="*/ 255004 h 838042"/>
                <a:gd name="connsiteX145" fmla="*/ 639152 w 1033465"/>
                <a:gd name="connsiteY145" fmla="*/ 266434 h 838042"/>
                <a:gd name="connsiteX146" fmla="*/ 629627 w 1033465"/>
                <a:gd name="connsiteY146" fmla="*/ 283579 h 838042"/>
                <a:gd name="connsiteX147" fmla="*/ 604862 w 1033465"/>
                <a:gd name="connsiteY147" fmla="*/ 289294 h 838042"/>
                <a:gd name="connsiteX148" fmla="*/ 591527 w 1033465"/>
                <a:gd name="connsiteY148" fmla="*/ 293104 h 838042"/>
                <a:gd name="connsiteX149" fmla="*/ 576287 w 1033465"/>
                <a:gd name="connsiteY149" fmla="*/ 291199 h 838042"/>
                <a:gd name="connsiteX150" fmla="*/ 564857 w 1033465"/>
                <a:gd name="connsiteY150" fmla="*/ 287389 h 838042"/>
                <a:gd name="connsiteX151" fmla="*/ 553427 w 1033465"/>
                <a:gd name="connsiteY151" fmla="*/ 283579 h 838042"/>
                <a:gd name="connsiteX152" fmla="*/ 541997 w 1033465"/>
                <a:gd name="connsiteY152" fmla="*/ 279769 h 838042"/>
                <a:gd name="connsiteX153" fmla="*/ 536282 w 1033465"/>
                <a:gd name="connsiteY153" fmla="*/ 277864 h 838042"/>
                <a:gd name="connsiteX154" fmla="*/ 530567 w 1033465"/>
                <a:gd name="connsiteY154" fmla="*/ 274054 h 838042"/>
                <a:gd name="connsiteX155" fmla="*/ 519137 w 1033465"/>
                <a:gd name="connsiteY155" fmla="*/ 268339 h 838042"/>
                <a:gd name="connsiteX156" fmla="*/ 511517 w 1033465"/>
                <a:gd name="connsiteY156" fmla="*/ 256909 h 838042"/>
                <a:gd name="connsiteX157" fmla="*/ 507707 w 1033465"/>
                <a:gd name="connsiteY157" fmla="*/ 235954 h 838042"/>
                <a:gd name="connsiteX158" fmla="*/ 509612 w 1033465"/>
                <a:gd name="connsiteY158" fmla="*/ 171184 h 838042"/>
                <a:gd name="connsiteX159" fmla="*/ 508314 w 1033465"/>
                <a:gd name="connsiteY159" fmla="*/ 73485 h 838042"/>
                <a:gd name="connsiteX160" fmla="*/ 454116 w 1033465"/>
                <a:gd name="connsiteY160" fmla="*/ 11248 h 838042"/>
                <a:gd name="connsiteX161" fmla="*/ 435401 w 1033465"/>
                <a:gd name="connsiteY161" fmla="*/ 68523 h 838042"/>
                <a:gd name="connsiteX162" fmla="*/ 427697 w 1033465"/>
                <a:gd name="connsiteY162" fmla="*/ 137103 h 838042"/>
                <a:gd name="connsiteX163" fmla="*/ 420077 w 1033465"/>
                <a:gd name="connsiteY163" fmla="*/ 169279 h 838042"/>
                <a:gd name="connsiteX164" fmla="*/ 416267 w 1033465"/>
                <a:gd name="connsiteY164" fmla="*/ 186424 h 838042"/>
                <a:gd name="connsiteX165" fmla="*/ 420077 w 1033465"/>
                <a:gd name="connsiteY165" fmla="*/ 207379 h 838042"/>
                <a:gd name="connsiteX166" fmla="*/ 423887 w 1033465"/>
                <a:gd name="connsiteY166" fmla="*/ 213094 h 838042"/>
                <a:gd name="connsiteX167" fmla="*/ 427697 w 1033465"/>
                <a:gd name="connsiteY167" fmla="*/ 224524 h 838042"/>
                <a:gd name="connsiteX168" fmla="*/ 425792 w 1033465"/>
                <a:gd name="connsiteY168" fmla="*/ 251194 h 838042"/>
                <a:gd name="connsiteX169" fmla="*/ 420077 w 1033465"/>
                <a:gd name="connsiteY169" fmla="*/ 253099 h 838042"/>
                <a:gd name="connsiteX170" fmla="*/ 414362 w 1033465"/>
                <a:gd name="connsiteY170" fmla="*/ 256909 h 838042"/>
                <a:gd name="connsiteX171" fmla="*/ 423887 w 1033465"/>
                <a:gd name="connsiteY17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607 w 1033465"/>
                <a:gd name="connsiteY118" fmla="*/ 394338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98420 w 1033465"/>
                <a:gd name="connsiteY124" fmla="*/ 356272 h 838042"/>
                <a:gd name="connsiteX125" fmla="*/ 827747 w 1033465"/>
                <a:gd name="connsiteY125" fmla="*/ 357874 h 838042"/>
                <a:gd name="connsiteX126" fmla="*/ 755811 w 1033465"/>
                <a:gd name="connsiteY126" fmla="*/ 361702 h 838042"/>
                <a:gd name="connsiteX127" fmla="*/ 671537 w 1033465"/>
                <a:gd name="connsiteY127" fmla="*/ 369304 h 838042"/>
                <a:gd name="connsiteX128" fmla="*/ 644867 w 1033465"/>
                <a:gd name="connsiteY128" fmla="*/ 338824 h 838042"/>
                <a:gd name="connsiteX129" fmla="*/ 676403 w 1033465"/>
                <a:gd name="connsiteY129" fmla="*/ 304962 h 838042"/>
                <a:gd name="connsiteX130" fmla="*/ 707732 w 1033465"/>
                <a:gd name="connsiteY130" fmla="*/ 283579 h 838042"/>
                <a:gd name="connsiteX131" fmla="*/ 743927 w 1033465"/>
                <a:gd name="connsiteY131" fmla="*/ 251194 h 838042"/>
                <a:gd name="connsiteX132" fmla="*/ 755357 w 1033465"/>
                <a:gd name="connsiteY132" fmla="*/ 241669 h 838042"/>
                <a:gd name="connsiteX133" fmla="*/ 762977 w 1033465"/>
                <a:gd name="connsiteY133" fmla="*/ 224524 h 838042"/>
                <a:gd name="connsiteX134" fmla="*/ 766787 w 1033465"/>
                <a:gd name="connsiteY134" fmla="*/ 197854 h 838042"/>
                <a:gd name="connsiteX135" fmla="*/ 761072 w 1033465"/>
                <a:gd name="connsiteY135" fmla="*/ 195949 h 838042"/>
                <a:gd name="connsiteX136" fmla="*/ 740117 w 1033465"/>
                <a:gd name="connsiteY136" fmla="*/ 197854 h 838042"/>
                <a:gd name="connsiteX137" fmla="*/ 734402 w 1033465"/>
                <a:gd name="connsiteY137" fmla="*/ 201664 h 838042"/>
                <a:gd name="connsiteX138" fmla="*/ 722972 w 1033465"/>
                <a:gd name="connsiteY138" fmla="*/ 205474 h 838042"/>
                <a:gd name="connsiteX139" fmla="*/ 719162 w 1033465"/>
                <a:gd name="connsiteY139" fmla="*/ 211189 h 838042"/>
                <a:gd name="connsiteX140" fmla="*/ 713447 w 1033465"/>
                <a:gd name="connsiteY140" fmla="*/ 213094 h 838042"/>
                <a:gd name="connsiteX141" fmla="*/ 707732 w 1033465"/>
                <a:gd name="connsiteY141" fmla="*/ 216904 h 838042"/>
                <a:gd name="connsiteX142" fmla="*/ 702017 w 1033465"/>
                <a:gd name="connsiteY142" fmla="*/ 222619 h 838042"/>
                <a:gd name="connsiteX143" fmla="*/ 694397 w 1033465"/>
                <a:gd name="connsiteY143" fmla="*/ 226429 h 838042"/>
                <a:gd name="connsiteX144" fmla="*/ 652487 w 1033465"/>
                <a:gd name="connsiteY144" fmla="*/ 255004 h 838042"/>
                <a:gd name="connsiteX145" fmla="*/ 639152 w 1033465"/>
                <a:gd name="connsiteY145" fmla="*/ 266434 h 838042"/>
                <a:gd name="connsiteX146" fmla="*/ 629627 w 1033465"/>
                <a:gd name="connsiteY146" fmla="*/ 283579 h 838042"/>
                <a:gd name="connsiteX147" fmla="*/ 604862 w 1033465"/>
                <a:gd name="connsiteY147" fmla="*/ 289294 h 838042"/>
                <a:gd name="connsiteX148" fmla="*/ 591527 w 1033465"/>
                <a:gd name="connsiteY148" fmla="*/ 293104 h 838042"/>
                <a:gd name="connsiteX149" fmla="*/ 576287 w 1033465"/>
                <a:gd name="connsiteY149" fmla="*/ 291199 h 838042"/>
                <a:gd name="connsiteX150" fmla="*/ 564857 w 1033465"/>
                <a:gd name="connsiteY150" fmla="*/ 287389 h 838042"/>
                <a:gd name="connsiteX151" fmla="*/ 553427 w 1033465"/>
                <a:gd name="connsiteY151" fmla="*/ 283579 h 838042"/>
                <a:gd name="connsiteX152" fmla="*/ 541997 w 1033465"/>
                <a:gd name="connsiteY152" fmla="*/ 279769 h 838042"/>
                <a:gd name="connsiteX153" fmla="*/ 536282 w 1033465"/>
                <a:gd name="connsiteY153" fmla="*/ 277864 h 838042"/>
                <a:gd name="connsiteX154" fmla="*/ 530567 w 1033465"/>
                <a:gd name="connsiteY154" fmla="*/ 274054 h 838042"/>
                <a:gd name="connsiteX155" fmla="*/ 519137 w 1033465"/>
                <a:gd name="connsiteY155" fmla="*/ 268339 h 838042"/>
                <a:gd name="connsiteX156" fmla="*/ 511517 w 1033465"/>
                <a:gd name="connsiteY156" fmla="*/ 256909 h 838042"/>
                <a:gd name="connsiteX157" fmla="*/ 507707 w 1033465"/>
                <a:gd name="connsiteY157" fmla="*/ 235954 h 838042"/>
                <a:gd name="connsiteX158" fmla="*/ 509612 w 1033465"/>
                <a:gd name="connsiteY158" fmla="*/ 171184 h 838042"/>
                <a:gd name="connsiteX159" fmla="*/ 508314 w 1033465"/>
                <a:gd name="connsiteY159" fmla="*/ 73485 h 838042"/>
                <a:gd name="connsiteX160" fmla="*/ 454116 w 1033465"/>
                <a:gd name="connsiteY160" fmla="*/ 11248 h 838042"/>
                <a:gd name="connsiteX161" fmla="*/ 435401 w 1033465"/>
                <a:gd name="connsiteY161" fmla="*/ 68523 h 838042"/>
                <a:gd name="connsiteX162" fmla="*/ 427697 w 1033465"/>
                <a:gd name="connsiteY162" fmla="*/ 137103 h 838042"/>
                <a:gd name="connsiteX163" fmla="*/ 420077 w 1033465"/>
                <a:gd name="connsiteY163" fmla="*/ 169279 h 838042"/>
                <a:gd name="connsiteX164" fmla="*/ 416267 w 1033465"/>
                <a:gd name="connsiteY164" fmla="*/ 186424 h 838042"/>
                <a:gd name="connsiteX165" fmla="*/ 420077 w 1033465"/>
                <a:gd name="connsiteY165" fmla="*/ 207379 h 838042"/>
                <a:gd name="connsiteX166" fmla="*/ 423887 w 1033465"/>
                <a:gd name="connsiteY166" fmla="*/ 213094 h 838042"/>
                <a:gd name="connsiteX167" fmla="*/ 427697 w 1033465"/>
                <a:gd name="connsiteY167" fmla="*/ 224524 h 838042"/>
                <a:gd name="connsiteX168" fmla="*/ 425792 w 1033465"/>
                <a:gd name="connsiteY168" fmla="*/ 251194 h 838042"/>
                <a:gd name="connsiteX169" fmla="*/ 420077 w 1033465"/>
                <a:gd name="connsiteY169" fmla="*/ 253099 h 838042"/>
                <a:gd name="connsiteX170" fmla="*/ 414362 w 1033465"/>
                <a:gd name="connsiteY170" fmla="*/ 256909 h 838042"/>
                <a:gd name="connsiteX171" fmla="*/ 423887 w 1033465"/>
                <a:gd name="connsiteY17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862 w 1033465"/>
                <a:gd name="connsiteY118" fmla="*/ 403245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98420 w 1033465"/>
                <a:gd name="connsiteY124" fmla="*/ 356272 h 838042"/>
                <a:gd name="connsiteX125" fmla="*/ 827747 w 1033465"/>
                <a:gd name="connsiteY125" fmla="*/ 357874 h 838042"/>
                <a:gd name="connsiteX126" fmla="*/ 755811 w 1033465"/>
                <a:gd name="connsiteY126" fmla="*/ 361702 h 838042"/>
                <a:gd name="connsiteX127" fmla="*/ 671537 w 1033465"/>
                <a:gd name="connsiteY127" fmla="*/ 369304 h 838042"/>
                <a:gd name="connsiteX128" fmla="*/ 644867 w 1033465"/>
                <a:gd name="connsiteY128" fmla="*/ 338824 h 838042"/>
                <a:gd name="connsiteX129" fmla="*/ 676403 w 1033465"/>
                <a:gd name="connsiteY129" fmla="*/ 304962 h 838042"/>
                <a:gd name="connsiteX130" fmla="*/ 707732 w 1033465"/>
                <a:gd name="connsiteY130" fmla="*/ 283579 h 838042"/>
                <a:gd name="connsiteX131" fmla="*/ 743927 w 1033465"/>
                <a:gd name="connsiteY131" fmla="*/ 251194 h 838042"/>
                <a:gd name="connsiteX132" fmla="*/ 755357 w 1033465"/>
                <a:gd name="connsiteY132" fmla="*/ 241669 h 838042"/>
                <a:gd name="connsiteX133" fmla="*/ 762977 w 1033465"/>
                <a:gd name="connsiteY133" fmla="*/ 224524 h 838042"/>
                <a:gd name="connsiteX134" fmla="*/ 766787 w 1033465"/>
                <a:gd name="connsiteY134" fmla="*/ 197854 h 838042"/>
                <a:gd name="connsiteX135" fmla="*/ 761072 w 1033465"/>
                <a:gd name="connsiteY135" fmla="*/ 195949 h 838042"/>
                <a:gd name="connsiteX136" fmla="*/ 740117 w 1033465"/>
                <a:gd name="connsiteY136" fmla="*/ 197854 h 838042"/>
                <a:gd name="connsiteX137" fmla="*/ 734402 w 1033465"/>
                <a:gd name="connsiteY137" fmla="*/ 201664 h 838042"/>
                <a:gd name="connsiteX138" fmla="*/ 722972 w 1033465"/>
                <a:gd name="connsiteY138" fmla="*/ 205474 h 838042"/>
                <a:gd name="connsiteX139" fmla="*/ 719162 w 1033465"/>
                <a:gd name="connsiteY139" fmla="*/ 211189 h 838042"/>
                <a:gd name="connsiteX140" fmla="*/ 713447 w 1033465"/>
                <a:gd name="connsiteY140" fmla="*/ 213094 h 838042"/>
                <a:gd name="connsiteX141" fmla="*/ 707732 w 1033465"/>
                <a:gd name="connsiteY141" fmla="*/ 216904 h 838042"/>
                <a:gd name="connsiteX142" fmla="*/ 702017 w 1033465"/>
                <a:gd name="connsiteY142" fmla="*/ 222619 h 838042"/>
                <a:gd name="connsiteX143" fmla="*/ 694397 w 1033465"/>
                <a:gd name="connsiteY143" fmla="*/ 226429 h 838042"/>
                <a:gd name="connsiteX144" fmla="*/ 652487 w 1033465"/>
                <a:gd name="connsiteY144" fmla="*/ 255004 h 838042"/>
                <a:gd name="connsiteX145" fmla="*/ 639152 w 1033465"/>
                <a:gd name="connsiteY145" fmla="*/ 266434 h 838042"/>
                <a:gd name="connsiteX146" fmla="*/ 629627 w 1033465"/>
                <a:gd name="connsiteY146" fmla="*/ 283579 h 838042"/>
                <a:gd name="connsiteX147" fmla="*/ 604862 w 1033465"/>
                <a:gd name="connsiteY147" fmla="*/ 289294 h 838042"/>
                <a:gd name="connsiteX148" fmla="*/ 591527 w 1033465"/>
                <a:gd name="connsiteY148" fmla="*/ 293104 h 838042"/>
                <a:gd name="connsiteX149" fmla="*/ 576287 w 1033465"/>
                <a:gd name="connsiteY149" fmla="*/ 291199 h 838042"/>
                <a:gd name="connsiteX150" fmla="*/ 564857 w 1033465"/>
                <a:gd name="connsiteY150" fmla="*/ 287389 h 838042"/>
                <a:gd name="connsiteX151" fmla="*/ 553427 w 1033465"/>
                <a:gd name="connsiteY151" fmla="*/ 283579 h 838042"/>
                <a:gd name="connsiteX152" fmla="*/ 541997 w 1033465"/>
                <a:gd name="connsiteY152" fmla="*/ 279769 h 838042"/>
                <a:gd name="connsiteX153" fmla="*/ 536282 w 1033465"/>
                <a:gd name="connsiteY153" fmla="*/ 277864 h 838042"/>
                <a:gd name="connsiteX154" fmla="*/ 530567 w 1033465"/>
                <a:gd name="connsiteY154" fmla="*/ 274054 h 838042"/>
                <a:gd name="connsiteX155" fmla="*/ 519137 w 1033465"/>
                <a:gd name="connsiteY155" fmla="*/ 268339 h 838042"/>
                <a:gd name="connsiteX156" fmla="*/ 511517 w 1033465"/>
                <a:gd name="connsiteY156" fmla="*/ 256909 h 838042"/>
                <a:gd name="connsiteX157" fmla="*/ 507707 w 1033465"/>
                <a:gd name="connsiteY157" fmla="*/ 235954 h 838042"/>
                <a:gd name="connsiteX158" fmla="*/ 509612 w 1033465"/>
                <a:gd name="connsiteY158" fmla="*/ 171184 h 838042"/>
                <a:gd name="connsiteX159" fmla="*/ 508314 w 1033465"/>
                <a:gd name="connsiteY159" fmla="*/ 73485 h 838042"/>
                <a:gd name="connsiteX160" fmla="*/ 454116 w 1033465"/>
                <a:gd name="connsiteY160" fmla="*/ 11248 h 838042"/>
                <a:gd name="connsiteX161" fmla="*/ 435401 w 1033465"/>
                <a:gd name="connsiteY161" fmla="*/ 68523 h 838042"/>
                <a:gd name="connsiteX162" fmla="*/ 427697 w 1033465"/>
                <a:gd name="connsiteY162" fmla="*/ 137103 h 838042"/>
                <a:gd name="connsiteX163" fmla="*/ 420077 w 1033465"/>
                <a:gd name="connsiteY163" fmla="*/ 169279 h 838042"/>
                <a:gd name="connsiteX164" fmla="*/ 416267 w 1033465"/>
                <a:gd name="connsiteY164" fmla="*/ 186424 h 838042"/>
                <a:gd name="connsiteX165" fmla="*/ 420077 w 1033465"/>
                <a:gd name="connsiteY165" fmla="*/ 207379 h 838042"/>
                <a:gd name="connsiteX166" fmla="*/ 423887 w 1033465"/>
                <a:gd name="connsiteY166" fmla="*/ 213094 h 838042"/>
                <a:gd name="connsiteX167" fmla="*/ 427697 w 1033465"/>
                <a:gd name="connsiteY167" fmla="*/ 224524 h 838042"/>
                <a:gd name="connsiteX168" fmla="*/ 425792 w 1033465"/>
                <a:gd name="connsiteY168" fmla="*/ 251194 h 838042"/>
                <a:gd name="connsiteX169" fmla="*/ 420077 w 1033465"/>
                <a:gd name="connsiteY169" fmla="*/ 253099 h 838042"/>
                <a:gd name="connsiteX170" fmla="*/ 414362 w 1033465"/>
                <a:gd name="connsiteY170" fmla="*/ 256909 h 838042"/>
                <a:gd name="connsiteX171" fmla="*/ 423887 w 1033465"/>
                <a:gd name="connsiteY17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862 w 1033465"/>
                <a:gd name="connsiteY118" fmla="*/ 403245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98420 w 1033465"/>
                <a:gd name="connsiteY124" fmla="*/ 356272 h 838042"/>
                <a:gd name="connsiteX125" fmla="*/ 827747 w 1033465"/>
                <a:gd name="connsiteY125" fmla="*/ 357874 h 838042"/>
                <a:gd name="connsiteX126" fmla="*/ 755811 w 1033465"/>
                <a:gd name="connsiteY126" fmla="*/ 361702 h 838042"/>
                <a:gd name="connsiteX127" fmla="*/ 671537 w 1033465"/>
                <a:gd name="connsiteY127" fmla="*/ 369304 h 838042"/>
                <a:gd name="connsiteX128" fmla="*/ 644867 w 1033465"/>
                <a:gd name="connsiteY128" fmla="*/ 338824 h 838042"/>
                <a:gd name="connsiteX129" fmla="*/ 676403 w 1033465"/>
                <a:gd name="connsiteY129" fmla="*/ 304962 h 838042"/>
                <a:gd name="connsiteX130" fmla="*/ 707732 w 1033465"/>
                <a:gd name="connsiteY130" fmla="*/ 283579 h 838042"/>
                <a:gd name="connsiteX131" fmla="*/ 743927 w 1033465"/>
                <a:gd name="connsiteY131" fmla="*/ 251194 h 838042"/>
                <a:gd name="connsiteX132" fmla="*/ 755357 w 1033465"/>
                <a:gd name="connsiteY132" fmla="*/ 241669 h 838042"/>
                <a:gd name="connsiteX133" fmla="*/ 762977 w 1033465"/>
                <a:gd name="connsiteY133" fmla="*/ 224524 h 838042"/>
                <a:gd name="connsiteX134" fmla="*/ 766787 w 1033465"/>
                <a:gd name="connsiteY134" fmla="*/ 197854 h 838042"/>
                <a:gd name="connsiteX135" fmla="*/ 761072 w 1033465"/>
                <a:gd name="connsiteY135" fmla="*/ 195949 h 838042"/>
                <a:gd name="connsiteX136" fmla="*/ 740117 w 1033465"/>
                <a:gd name="connsiteY136" fmla="*/ 197854 h 838042"/>
                <a:gd name="connsiteX137" fmla="*/ 734402 w 1033465"/>
                <a:gd name="connsiteY137" fmla="*/ 201664 h 838042"/>
                <a:gd name="connsiteX138" fmla="*/ 722972 w 1033465"/>
                <a:gd name="connsiteY138" fmla="*/ 205474 h 838042"/>
                <a:gd name="connsiteX139" fmla="*/ 719162 w 1033465"/>
                <a:gd name="connsiteY139" fmla="*/ 211189 h 838042"/>
                <a:gd name="connsiteX140" fmla="*/ 713447 w 1033465"/>
                <a:gd name="connsiteY140" fmla="*/ 213094 h 838042"/>
                <a:gd name="connsiteX141" fmla="*/ 707732 w 1033465"/>
                <a:gd name="connsiteY141" fmla="*/ 216904 h 838042"/>
                <a:gd name="connsiteX142" fmla="*/ 702017 w 1033465"/>
                <a:gd name="connsiteY142" fmla="*/ 222619 h 838042"/>
                <a:gd name="connsiteX143" fmla="*/ 694397 w 1033465"/>
                <a:gd name="connsiteY143" fmla="*/ 226429 h 838042"/>
                <a:gd name="connsiteX144" fmla="*/ 652487 w 1033465"/>
                <a:gd name="connsiteY144" fmla="*/ 255004 h 838042"/>
                <a:gd name="connsiteX145" fmla="*/ 639152 w 1033465"/>
                <a:gd name="connsiteY145" fmla="*/ 266434 h 838042"/>
                <a:gd name="connsiteX146" fmla="*/ 629627 w 1033465"/>
                <a:gd name="connsiteY146" fmla="*/ 283579 h 838042"/>
                <a:gd name="connsiteX147" fmla="*/ 604862 w 1033465"/>
                <a:gd name="connsiteY147" fmla="*/ 289294 h 838042"/>
                <a:gd name="connsiteX148" fmla="*/ 591527 w 1033465"/>
                <a:gd name="connsiteY148" fmla="*/ 293104 h 838042"/>
                <a:gd name="connsiteX149" fmla="*/ 576287 w 1033465"/>
                <a:gd name="connsiteY149" fmla="*/ 291199 h 838042"/>
                <a:gd name="connsiteX150" fmla="*/ 564857 w 1033465"/>
                <a:gd name="connsiteY150" fmla="*/ 287389 h 838042"/>
                <a:gd name="connsiteX151" fmla="*/ 553427 w 1033465"/>
                <a:gd name="connsiteY151" fmla="*/ 283579 h 838042"/>
                <a:gd name="connsiteX152" fmla="*/ 541997 w 1033465"/>
                <a:gd name="connsiteY152" fmla="*/ 279769 h 838042"/>
                <a:gd name="connsiteX153" fmla="*/ 536282 w 1033465"/>
                <a:gd name="connsiteY153" fmla="*/ 277864 h 838042"/>
                <a:gd name="connsiteX154" fmla="*/ 530567 w 1033465"/>
                <a:gd name="connsiteY154" fmla="*/ 274054 h 838042"/>
                <a:gd name="connsiteX155" fmla="*/ 519137 w 1033465"/>
                <a:gd name="connsiteY155" fmla="*/ 268339 h 838042"/>
                <a:gd name="connsiteX156" fmla="*/ 511517 w 1033465"/>
                <a:gd name="connsiteY156" fmla="*/ 256909 h 838042"/>
                <a:gd name="connsiteX157" fmla="*/ 507707 w 1033465"/>
                <a:gd name="connsiteY157" fmla="*/ 235954 h 838042"/>
                <a:gd name="connsiteX158" fmla="*/ 509612 w 1033465"/>
                <a:gd name="connsiteY158" fmla="*/ 171184 h 838042"/>
                <a:gd name="connsiteX159" fmla="*/ 508314 w 1033465"/>
                <a:gd name="connsiteY159" fmla="*/ 73485 h 838042"/>
                <a:gd name="connsiteX160" fmla="*/ 454116 w 1033465"/>
                <a:gd name="connsiteY160" fmla="*/ 11248 h 838042"/>
                <a:gd name="connsiteX161" fmla="*/ 435401 w 1033465"/>
                <a:gd name="connsiteY161" fmla="*/ 68523 h 838042"/>
                <a:gd name="connsiteX162" fmla="*/ 427697 w 1033465"/>
                <a:gd name="connsiteY162" fmla="*/ 137103 h 838042"/>
                <a:gd name="connsiteX163" fmla="*/ 420077 w 1033465"/>
                <a:gd name="connsiteY163" fmla="*/ 169279 h 838042"/>
                <a:gd name="connsiteX164" fmla="*/ 416267 w 1033465"/>
                <a:gd name="connsiteY164" fmla="*/ 186424 h 838042"/>
                <a:gd name="connsiteX165" fmla="*/ 420077 w 1033465"/>
                <a:gd name="connsiteY165" fmla="*/ 207379 h 838042"/>
                <a:gd name="connsiteX166" fmla="*/ 423887 w 1033465"/>
                <a:gd name="connsiteY166" fmla="*/ 213094 h 838042"/>
                <a:gd name="connsiteX167" fmla="*/ 427697 w 1033465"/>
                <a:gd name="connsiteY167" fmla="*/ 224524 h 838042"/>
                <a:gd name="connsiteX168" fmla="*/ 425792 w 1033465"/>
                <a:gd name="connsiteY168" fmla="*/ 251194 h 838042"/>
                <a:gd name="connsiteX169" fmla="*/ 420077 w 1033465"/>
                <a:gd name="connsiteY169" fmla="*/ 253099 h 838042"/>
                <a:gd name="connsiteX170" fmla="*/ 414362 w 1033465"/>
                <a:gd name="connsiteY170" fmla="*/ 256909 h 838042"/>
                <a:gd name="connsiteX171" fmla="*/ 423887 w 1033465"/>
                <a:gd name="connsiteY17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862 w 1033465"/>
                <a:gd name="connsiteY118" fmla="*/ 403245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98420 w 1033465"/>
                <a:gd name="connsiteY124" fmla="*/ 356272 h 838042"/>
                <a:gd name="connsiteX125" fmla="*/ 827747 w 1033465"/>
                <a:gd name="connsiteY125" fmla="*/ 357874 h 838042"/>
                <a:gd name="connsiteX126" fmla="*/ 755811 w 1033465"/>
                <a:gd name="connsiteY126" fmla="*/ 361702 h 838042"/>
                <a:gd name="connsiteX127" fmla="*/ 671537 w 1033465"/>
                <a:gd name="connsiteY127" fmla="*/ 369304 h 838042"/>
                <a:gd name="connsiteX128" fmla="*/ 644867 w 1033465"/>
                <a:gd name="connsiteY128" fmla="*/ 338824 h 838042"/>
                <a:gd name="connsiteX129" fmla="*/ 676403 w 1033465"/>
                <a:gd name="connsiteY129" fmla="*/ 304962 h 838042"/>
                <a:gd name="connsiteX130" fmla="*/ 707732 w 1033465"/>
                <a:gd name="connsiteY130" fmla="*/ 283579 h 838042"/>
                <a:gd name="connsiteX131" fmla="*/ 743927 w 1033465"/>
                <a:gd name="connsiteY131" fmla="*/ 251194 h 838042"/>
                <a:gd name="connsiteX132" fmla="*/ 755357 w 1033465"/>
                <a:gd name="connsiteY132" fmla="*/ 241669 h 838042"/>
                <a:gd name="connsiteX133" fmla="*/ 762977 w 1033465"/>
                <a:gd name="connsiteY133" fmla="*/ 224524 h 838042"/>
                <a:gd name="connsiteX134" fmla="*/ 766787 w 1033465"/>
                <a:gd name="connsiteY134" fmla="*/ 197854 h 838042"/>
                <a:gd name="connsiteX135" fmla="*/ 761072 w 1033465"/>
                <a:gd name="connsiteY135" fmla="*/ 195949 h 838042"/>
                <a:gd name="connsiteX136" fmla="*/ 740117 w 1033465"/>
                <a:gd name="connsiteY136" fmla="*/ 197854 h 838042"/>
                <a:gd name="connsiteX137" fmla="*/ 734402 w 1033465"/>
                <a:gd name="connsiteY137" fmla="*/ 201664 h 838042"/>
                <a:gd name="connsiteX138" fmla="*/ 722972 w 1033465"/>
                <a:gd name="connsiteY138" fmla="*/ 205474 h 838042"/>
                <a:gd name="connsiteX139" fmla="*/ 719162 w 1033465"/>
                <a:gd name="connsiteY139" fmla="*/ 211189 h 838042"/>
                <a:gd name="connsiteX140" fmla="*/ 713447 w 1033465"/>
                <a:gd name="connsiteY140" fmla="*/ 213094 h 838042"/>
                <a:gd name="connsiteX141" fmla="*/ 707732 w 1033465"/>
                <a:gd name="connsiteY141" fmla="*/ 216904 h 838042"/>
                <a:gd name="connsiteX142" fmla="*/ 702017 w 1033465"/>
                <a:gd name="connsiteY142" fmla="*/ 222619 h 838042"/>
                <a:gd name="connsiteX143" fmla="*/ 694397 w 1033465"/>
                <a:gd name="connsiteY143" fmla="*/ 226429 h 838042"/>
                <a:gd name="connsiteX144" fmla="*/ 652487 w 1033465"/>
                <a:gd name="connsiteY144" fmla="*/ 255004 h 838042"/>
                <a:gd name="connsiteX145" fmla="*/ 639152 w 1033465"/>
                <a:gd name="connsiteY145" fmla="*/ 266434 h 838042"/>
                <a:gd name="connsiteX146" fmla="*/ 629627 w 1033465"/>
                <a:gd name="connsiteY146" fmla="*/ 283579 h 838042"/>
                <a:gd name="connsiteX147" fmla="*/ 604862 w 1033465"/>
                <a:gd name="connsiteY147" fmla="*/ 289294 h 838042"/>
                <a:gd name="connsiteX148" fmla="*/ 591527 w 1033465"/>
                <a:gd name="connsiteY148" fmla="*/ 293104 h 838042"/>
                <a:gd name="connsiteX149" fmla="*/ 576287 w 1033465"/>
                <a:gd name="connsiteY149" fmla="*/ 291199 h 838042"/>
                <a:gd name="connsiteX150" fmla="*/ 564857 w 1033465"/>
                <a:gd name="connsiteY150" fmla="*/ 287389 h 838042"/>
                <a:gd name="connsiteX151" fmla="*/ 553427 w 1033465"/>
                <a:gd name="connsiteY151" fmla="*/ 283579 h 838042"/>
                <a:gd name="connsiteX152" fmla="*/ 541997 w 1033465"/>
                <a:gd name="connsiteY152" fmla="*/ 279769 h 838042"/>
                <a:gd name="connsiteX153" fmla="*/ 536282 w 1033465"/>
                <a:gd name="connsiteY153" fmla="*/ 277864 h 838042"/>
                <a:gd name="connsiteX154" fmla="*/ 530567 w 1033465"/>
                <a:gd name="connsiteY154" fmla="*/ 274054 h 838042"/>
                <a:gd name="connsiteX155" fmla="*/ 519137 w 1033465"/>
                <a:gd name="connsiteY155" fmla="*/ 268339 h 838042"/>
                <a:gd name="connsiteX156" fmla="*/ 511517 w 1033465"/>
                <a:gd name="connsiteY156" fmla="*/ 256909 h 838042"/>
                <a:gd name="connsiteX157" fmla="*/ 507707 w 1033465"/>
                <a:gd name="connsiteY157" fmla="*/ 235954 h 838042"/>
                <a:gd name="connsiteX158" fmla="*/ 509612 w 1033465"/>
                <a:gd name="connsiteY158" fmla="*/ 171184 h 838042"/>
                <a:gd name="connsiteX159" fmla="*/ 508314 w 1033465"/>
                <a:gd name="connsiteY159" fmla="*/ 73485 h 838042"/>
                <a:gd name="connsiteX160" fmla="*/ 454116 w 1033465"/>
                <a:gd name="connsiteY160" fmla="*/ 11248 h 838042"/>
                <a:gd name="connsiteX161" fmla="*/ 435401 w 1033465"/>
                <a:gd name="connsiteY161" fmla="*/ 68523 h 838042"/>
                <a:gd name="connsiteX162" fmla="*/ 427697 w 1033465"/>
                <a:gd name="connsiteY162" fmla="*/ 137103 h 838042"/>
                <a:gd name="connsiteX163" fmla="*/ 420077 w 1033465"/>
                <a:gd name="connsiteY163" fmla="*/ 169279 h 838042"/>
                <a:gd name="connsiteX164" fmla="*/ 416267 w 1033465"/>
                <a:gd name="connsiteY164" fmla="*/ 186424 h 838042"/>
                <a:gd name="connsiteX165" fmla="*/ 420077 w 1033465"/>
                <a:gd name="connsiteY165" fmla="*/ 207379 h 838042"/>
                <a:gd name="connsiteX166" fmla="*/ 423887 w 1033465"/>
                <a:gd name="connsiteY166" fmla="*/ 213094 h 838042"/>
                <a:gd name="connsiteX167" fmla="*/ 427697 w 1033465"/>
                <a:gd name="connsiteY167" fmla="*/ 224524 h 838042"/>
                <a:gd name="connsiteX168" fmla="*/ 425792 w 1033465"/>
                <a:gd name="connsiteY168" fmla="*/ 251194 h 838042"/>
                <a:gd name="connsiteX169" fmla="*/ 420077 w 1033465"/>
                <a:gd name="connsiteY169" fmla="*/ 253099 h 838042"/>
                <a:gd name="connsiteX170" fmla="*/ 414362 w 1033465"/>
                <a:gd name="connsiteY170" fmla="*/ 256909 h 838042"/>
                <a:gd name="connsiteX171" fmla="*/ 423887 w 1033465"/>
                <a:gd name="connsiteY17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862 w 1033465"/>
                <a:gd name="connsiteY118" fmla="*/ 403245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55357 w 1033465"/>
                <a:gd name="connsiteY131" fmla="*/ 241669 h 838042"/>
                <a:gd name="connsiteX132" fmla="*/ 762977 w 1033465"/>
                <a:gd name="connsiteY132" fmla="*/ 224524 h 838042"/>
                <a:gd name="connsiteX133" fmla="*/ 766787 w 1033465"/>
                <a:gd name="connsiteY133" fmla="*/ 197854 h 838042"/>
                <a:gd name="connsiteX134" fmla="*/ 761072 w 1033465"/>
                <a:gd name="connsiteY134" fmla="*/ 195949 h 838042"/>
                <a:gd name="connsiteX135" fmla="*/ 740117 w 1033465"/>
                <a:gd name="connsiteY135" fmla="*/ 197854 h 838042"/>
                <a:gd name="connsiteX136" fmla="*/ 734402 w 1033465"/>
                <a:gd name="connsiteY136" fmla="*/ 201664 h 838042"/>
                <a:gd name="connsiteX137" fmla="*/ 722972 w 1033465"/>
                <a:gd name="connsiteY137" fmla="*/ 205474 h 838042"/>
                <a:gd name="connsiteX138" fmla="*/ 719162 w 1033465"/>
                <a:gd name="connsiteY138" fmla="*/ 211189 h 838042"/>
                <a:gd name="connsiteX139" fmla="*/ 713447 w 1033465"/>
                <a:gd name="connsiteY139" fmla="*/ 213094 h 838042"/>
                <a:gd name="connsiteX140" fmla="*/ 707732 w 1033465"/>
                <a:gd name="connsiteY140" fmla="*/ 216904 h 838042"/>
                <a:gd name="connsiteX141" fmla="*/ 702017 w 1033465"/>
                <a:gd name="connsiteY141" fmla="*/ 222619 h 838042"/>
                <a:gd name="connsiteX142" fmla="*/ 694397 w 1033465"/>
                <a:gd name="connsiteY142" fmla="*/ 226429 h 838042"/>
                <a:gd name="connsiteX143" fmla="*/ 652487 w 1033465"/>
                <a:gd name="connsiteY143" fmla="*/ 255004 h 838042"/>
                <a:gd name="connsiteX144" fmla="*/ 639152 w 1033465"/>
                <a:gd name="connsiteY144" fmla="*/ 266434 h 838042"/>
                <a:gd name="connsiteX145" fmla="*/ 629627 w 1033465"/>
                <a:gd name="connsiteY145" fmla="*/ 283579 h 838042"/>
                <a:gd name="connsiteX146" fmla="*/ 604862 w 1033465"/>
                <a:gd name="connsiteY146" fmla="*/ 289294 h 838042"/>
                <a:gd name="connsiteX147" fmla="*/ 591527 w 1033465"/>
                <a:gd name="connsiteY147" fmla="*/ 293104 h 838042"/>
                <a:gd name="connsiteX148" fmla="*/ 576287 w 1033465"/>
                <a:gd name="connsiteY148" fmla="*/ 291199 h 838042"/>
                <a:gd name="connsiteX149" fmla="*/ 564857 w 1033465"/>
                <a:gd name="connsiteY149" fmla="*/ 287389 h 838042"/>
                <a:gd name="connsiteX150" fmla="*/ 553427 w 1033465"/>
                <a:gd name="connsiteY150" fmla="*/ 283579 h 838042"/>
                <a:gd name="connsiteX151" fmla="*/ 541997 w 1033465"/>
                <a:gd name="connsiteY151" fmla="*/ 279769 h 838042"/>
                <a:gd name="connsiteX152" fmla="*/ 536282 w 1033465"/>
                <a:gd name="connsiteY152" fmla="*/ 277864 h 838042"/>
                <a:gd name="connsiteX153" fmla="*/ 530567 w 1033465"/>
                <a:gd name="connsiteY153" fmla="*/ 274054 h 838042"/>
                <a:gd name="connsiteX154" fmla="*/ 519137 w 1033465"/>
                <a:gd name="connsiteY154" fmla="*/ 268339 h 838042"/>
                <a:gd name="connsiteX155" fmla="*/ 511517 w 1033465"/>
                <a:gd name="connsiteY155" fmla="*/ 256909 h 838042"/>
                <a:gd name="connsiteX156" fmla="*/ 507707 w 1033465"/>
                <a:gd name="connsiteY156" fmla="*/ 235954 h 838042"/>
                <a:gd name="connsiteX157" fmla="*/ 509612 w 1033465"/>
                <a:gd name="connsiteY157" fmla="*/ 171184 h 838042"/>
                <a:gd name="connsiteX158" fmla="*/ 508314 w 1033465"/>
                <a:gd name="connsiteY158" fmla="*/ 73485 h 838042"/>
                <a:gd name="connsiteX159" fmla="*/ 454116 w 1033465"/>
                <a:gd name="connsiteY159" fmla="*/ 11248 h 838042"/>
                <a:gd name="connsiteX160" fmla="*/ 435401 w 1033465"/>
                <a:gd name="connsiteY160" fmla="*/ 68523 h 838042"/>
                <a:gd name="connsiteX161" fmla="*/ 427697 w 1033465"/>
                <a:gd name="connsiteY161" fmla="*/ 137103 h 838042"/>
                <a:gd name="connsiteX162" fmla="*/ 420077 w 1033465"/>
                <a:gd name="connsiteY162" fmla="*/ 169279 h 838042"/>
                <a:gd name="connsiteX163" fmla="*/ 416267 w 1033465"/>
                <a:gd name="connsiteY163" fmla="*/ 186424 h 838042"/>
                <a:gd name="connsiteX164" fmla="*/ 420077 w 1033465"/>
                <a:gd name="connsiteY164" fmla="*/ 207379 h 838042"/>
                <a:gd name="connsiteX165" fmla="*/ 423887 w 1033465"/>
                <a:gd name="connsiteY165" fmla="*/ 213094 h 838042"/>
                <a:gd name="connsiteX166" fmla="*/ 427697 w 1033465"/>
                <a:gd name="connsiteY166" fmla="*/ 224524 h 838042"/>
                <a:gd name="connsiteX167" fmla="*/ 425792 w 1033465"/>
                <a:gd name="connsiteY167" fmla="*/ 251194 h 838042"/>
                <a:gd name="connsiteX168" fmla="*/ 420077 w 1033465"/>
                <a:gd name="connsiteY168" fmla="*/ 253099 h 838042"/>
                <a:gd name="connsiteX169" fmla="*/ 414362 w 1033465"/>
                <a:gd name="connsiteY169" fmla="*/ 256909 h 838042"/>
                <a:gd name="connsiteX170" fmla="*/ 423887 w 1033465"/>
                <a:gd name="connsiteY17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21862 w 1033465"/>
                <a:gd name="connsiteY118" fmla="*/ 403245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55357 w 1033465"/>
                <a:gd name="connsiteY131" fmla="*/ 241669 h 838042"/>
                <a:gd name="connsiteX132" fmla="*/ 762977 w 1033465"/>
                <a:gd name="connsiteY132" fmla="*/ 224524 h 838042"/>
                <a:gd name="connsiteX133" fmla="*/ 766787 w 1033465"/>
                <a:gd name="connsiteY133" fmla="*/ 197854 h 838042"/>
                <a:gd name="connsiteX134" fmla="*/ 761072 w 1033465"/>
                <a:gd name="connsiteY134" fmla="*/ 195949 h 838042"/>
                <a:gd name="connsiteX135" fmla="*/ 740117 w 1033465"/>
                <a:gd name="connsiteY135" fmla="*/ 197854 h 838042"/>
                <a:gd name="connsiteX136" fmla="*/ 734402 w 1033465"/>
                <a:gd name="connsiteY136" fmla="*/ 201664 h 838042"/>
                <a:gd name="connsiteX137" fmla="*/ 722972 w 1033465"/>
                <a:gd name="connsiteY137" fmla="*/ 205474 h 838042"/>
                <a:gd name="connsiteX138" fmla="*/ 719162 w 1033465"/>
                <a:gd name="connsiteY138" fmla="*/ 211189 h 838042"/>
                <a:gd name="connsiteX139" fmla="*/ 713447 w 1033465"/>
                <a:gd name="connsiteY139" fmla="*/ 213094 h 838042"/>
                <a:gd name="connsiteX140" fmla="*/ 707732 w 1033465"/>
                <a:gd name="connsiteY140" fmla="*/ 216904 h 838042"/>
                <a:gd name="connsiteX141" fmla="*/ 702017 w 1033465"/>
                <a:gd name="connsiteY141" fmla="*/ 222619 h 838042"/>
                <a:gd name="connsiteX142" fmla="*/ 694397 w 1033465"/>
                <a:gd name="connsiteY142" fmla="*/ 226429 h 838042"/>
                <a:gd name="connsiteX143" fmla="*/ 652487 w 1033465"/>
                <a:gd name="connsiteY143" fmla="*/ 255004 h 838042"/>
                <a:gd name="connsiteX144" fmla="*/ 639152 w 1033465"/>
                <a:gd name="connsiteY144" fmla="*/ 266434 h 838042"/>
                <a:gd name="connsiteX145" fmla="*/ 629627 w 1033465"/>
                <a:gd name="connsiteY145" fmla="*/ 283579 h 838042"/>
                <a:gd name="connsiteX146" fmla="*/ 604862 w 1033465"/>
                <a:gd name="connsiteY146" fmla="*/ 289294 h 838042"/>
                <a:gd name="connsiteX147" fmla="*/ 591527 w 1033465"/>
                <a:gd name="connsiteY147" fmla="*/ 293104 h 838042"/>
                <a:gd name="connsiteX148" fmla="*/ 576287 w 1033465"/>
                <a:gd name="connsiteY148" fmla="*/ 291199 h 838042"/>
                <a:gd name="connsiteX149" fmla="*/ 564857 w 1033465"/>
                <a:gd name="connsiteY149" fmla="*/ 287389 h 838042"/>
                <a:gd name="connsiteX150" fmla="*/ 553427 w 1033465"/>
                <a:gd name="connsiteY150" fmla="*/ 283579 h 838042"/>
                <a:gd name="connsiteX151" fmla="*/ 541997 w 1033465"/>
                <a:gd name="connsiteY151" fmla="*/ 279769 h 838042"/>
                <a:gd name="connsiteX152" fmla="*/ 536282 w 1033465"/>
                <a:gd name="connsiteY152" fmla="*/ 277864 h 838042"/>
                <a:gd name="connsiteX153" fmla="*/ 530567 w 1033465"/>
                <a:gd name="connsiteY153" fmla="*/ 274054 h 838042"/>
                <a:gd name="connsiteX154" fmla="*/ 519137 w 1033465"/>
                <a:gd name="connsiteY154" fmla="*/ 268339 h 838042"/>
                <a:gd name="connsiteX155" fmla="*/ 511517 w 1033465"/>
                <a:gd name="connsiteY155" fmla="*/ 256909 h 838042"/>
                <a:gd name="connsiteX156" fmla="*/ 507707 w 1033465"/>
                <a:gd name="connsiteY156" fmla="*/ 235954 h 838042"/>
                <a:gd name="connsiteX157" fmla="*/ 509612 w 1033465"/>
                <a:gd name="connsiteY157" fmla="*/ 171184 h 838042"/>
                <a:gd name="connsiteX158" fmla="*/ 508314 w 1033465"/>
                <a:gd name="connsiteY158" fmla="*/ 73485 h 838042"/>
                <a:gd name="connsiteX159" fmla="*/ 454116 w 1033465"/>
                <a:gd name="connsiteY159" fmla="*/ 11248 h 838042"/>
                <a:gd name="connsiteX160" fmla="*/ 435401 w 1033465"/>
                <a:gd name="connsiteY160" fmla="*/ 68523 h 838042"/>
                <a:gd name="connsiteX161" fmla="*/ 427697 w 1033465"/>
                <a:gd name="connsiteY161" fmla="*/ 137103 h 838042"/>
                <a:gd name="connsiteX162" fmla="*/ 420077 w 1033465"/>
                <a:gd name="connsiteY162" fmla="*/ 169279 h 838042"/>
                <a:gd name="connsiteX163" fmla="*/ 416267 w 1033465"/>
                <a:gd name="connsiteY163" fmla="*/ 186424 h 838042"/>
                <a:gd name="connsiteX164" fmla="*/ 420077 w 1033465"/>
                <a:gd name="connsiteY164" fmla="*/ 207379 h 838042"/>
                <a:gd name="connsiteX165" fmla="*/ 423887 w 1033465"/>
                <a:gd name="connsiteY165" fmla="*/ 213094 h 838042"/>
                <a:gd name="connsiteX166" fmla="*/ 427697 w 1033465"/>
                <a:gd name="connsiteY166" fmla="*/ 224524 h 838042"/>
                <a:gd name="connsiteX167" fmla="*/ 425792 w 1033465"/>
                <a:gd name="connsiteY167" fmla="*/ 251194 h 838042"/>
                <a:gd name="connsiteX168" fmla="*/ 420077 w 1033465"/>
                <a:gd name="connsiteY168" fmla="*/ 253099 h 838042"/>
                <a:gd name="connsiteX169" fmla="*/ 414362 w 1033465"/>
                <a:gd name="connsiteY169" fmla="*/ 256909 h 838042"/>
                <a:gd name="connsiteX170" fmla="*/ 423887 w 1033465"/>
                <a:gd name="connsiteY17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55357 w 1033465"/>
                <a:gd name="connsiteY131" fmla="*/ 241669 h 838042"/>
                <a:gd name="connsiteX132" fmla="*/ 762977 w 1033465"/>
                <a:gd name="connsiteY132" fmla="*/ 224524 h 838042"/>
                <a:gd name="connsiteX133" fmla="*/ 766787 w 1033465"/>
                <a:gd name="connsiteY133" fmla="*/ 197854 h 838042"/>
                <a:gd name="connsiteX134" fmla="*/ 761072 w 1033465"/>
                <a:gd name="connsiteY134" fmla="*/ 195949 h 838042"/>
                <a:gd name="connsiteX135" fmla="*/ 740117 w 1033465"/>
                <a:gd name="connsiteY135" fmla="*/ 197854 h 838042"/>
                <a:gd name="connsiteX136" fmla="*/ 734402 w 1033465"/>
                <a:gd name="connsiteY136" fmla="*/ 201664 h 838042"/>
                <a:gd name="connsiteX137" fmla="*/ 722972 w 1033465"/>
                <a:gd name="connsiteY137" fmla="*/ 205474 h 838042"/>
                <a:gd name="connsiteX138" fmla="*/ 719162 w 1033465"/>
                <a:gd name="connsiteY138" fmla="*/ 211189 h 838042"/>
                <a:gd name="connsiteX139" fmla="*/ 713447 w 1033465"/>
                <a:gd name="connsiteY139" fmla="*/ 213094 h 838042"/>
                <a:gd name="connsiteX140" fmla="*/ 707732 w 1033465"/>
                <a:gd name="connsiteY140" fmla="*/ 216904 h 838042"/>
                <a:gd name="connsiteX141" fmla="*/ 702017 w 1033465"/>
                <a:gd name="connsiteY141" fmla="*/ 222619 h 838042"/>
                <a:gd name="connsiteX142" fmla="*/ 694397 w 1033465"/>
                <a:gd name="connsiteY142" fmla="*/ 226429 h 838042"/>
                <a:gd name="connsiteX143" fmla="*/ 652487 w 1033465"/>
                <a:gd name="connsiteY143" fmla="*/ 255004 h 838042"/>
                <a:gd name="connsiteX144" fmla="*/ 639152 w 1033465"/>
                <a:gd name="connsiteY144" fmla="*/ 266434 h 838042"/>
                <a:gd name="connsiteX145" fmla="*/ 629627 w 1033465"/>
                <a:gd name="connsiteY145" fmla="*/ 283579 h 838042"/>
                <a:gd name="connsiteX146" fmla="*/ 604862 w 1033465"/>
                <a:gd name="connsiteY146" fmla="*/ 289294 h 838042"/>
                <a:gd name="connsiteX147" fmla="*/ 591527 w 1033465"/>
                <a:gd name="connsiteY147" fmla="*/ 293104 h 838042"/>
                <a:gd name="connsiteX148" fmla="*/ 576287 w 1033465"/>
                <a:gd name="connsiteY148" fmla="*/ 291199 h 838042"/>
                <a:gd name="connsiteX149" fmla="*/ 564857 w 1033465"/>
                <a:gd name="connsiteY149" fmla="*/ 287389 h 838042"/>
                <a:gd name="connsiteX150" fmla="*/ 553427 w 1033465"/>
                <a:gd name="connsiteY150" fmla="*/ 283579 h 838042"/>
                <a:gd name="connsiteX151" fmla="*/ 541997 w 1033465"/>
                <a:gd name="connsiteY151" fmla="*/ 279769 h 838042"/>
                <a:gd name="connsiteX152" fmla="*/ 536282 w 1033465"/>
                <a:gd name="connsiteY152" fmla="*/ 277864 h 838042"/>
                <a:gd name="connsiteX153" fmla="*/ 530567 w 1033465"/>
                <a:gd name="connsiteY153" fmla="*/ 274054 h 838042"/>
                <a:gd name="connsiteX154" fmla="*/ 519137 w 1033465"/>
                <a:gd name="connsiteY154" fmla="*/ 268339 h 838042"/>
                <a:gd name="connsiteX155" fmla="*/ 511517 w 1033465"/>
                <a:gd name="connsiteY155" fmla="*/ 256909 h 838042"/>
                <a:gd name="connsiteX156" fmla="*/ 507707 w 1033465"/>
                <a:gd name="connsiteY156" fmla="*/ 235954 h 838042"/>
                <a:gd name="connsiteX157" fmla="*/ 509612 w 1033465"/>
                <a:gd name="connsiteY157" fmla="*/ 171184 h 838042"/>
                <a:gd name="connsiteX158" fmla="*/ 508314 w 1033465"/>
                <a:gd name="connsiteY158" fmla="*/ 73485 h 838042"/>
                <a:gd name="connsiteX159" fmla="*/ 454116 w 1033465"/>
                <a:gd name="connsiteY159" fmla="*/ 11248 h 838042"/>
                <a:gd name="connsiteX160" fmla="*/ 435401 w 1033465"/>
                <a:gd name="connsiteY160" fmla="*/ 68523 h 838042"/>
                <a:gd name="connsiteX161" fmla="*/ 427697 w 1033465"/>
                <a:gd name="connsiteY161" fmla="*/ 137103 h 838042"/>
                <a:gd name="connsiteX162" fmla="*/ 420077 w 1033465"/>
                <a:gd name="connsiteY162" fmla="*/ 169279 h 838042"/>
                <a:gd name="connsiteX163" fmla="*/ 416267 w 1033465"/>
                <a:gd name="connsiteY163" fmla="*/ 186424 h 838042"/>
                <a:gd name="connsiteX164" fmla="*/ 420077 w 1033465"/>
                <a:gd name="connsiteY164" fmla="*/ 207379 h 838042"/>
                <a:gd name="connsiteX165" fmla="*/ 423887 w 1033465"/>
                <a:gd name="connsiteY165" fmla="*/ 213094 h 838042"/>
                <a:gd name="connsiteX166" fmla="*/ 427697 w 1033465"/>
                <a:gd name="connsiteY166" fmla="*/ 224524 h 838042"/>
                <a:gd name="connsiteX167" fmla="*/ 425792 w 1033465"/>
                <a:gd name="connsiteY167" fmla="*/ 251194 h 838042"/>
                <a:gd name="connsiteX168" fmla="*/ 420077 w 1033465"/>
                <a:gd name="connsiteY168" fmla="*/ 253099 h 838042"/>
                <a:gd name="connsiteX169" fmla="*/ 414362 w 1033465"/>
                <a:gd name="connsiteY169" fmla="*/ 256909 h 838042"/>
                <a:gd name="connsiteX170" fmla="*/ 423887 w 1033465"/>
                <a:gd name="connsiteY17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55357 w 1033465"/>
                <a:gd name="connsiteY131" fmla="*/ 241669 h 838042"/>
                <a:gd name="connsiteX132" fmla="*/ 766787 w 1033465"/>
                <a:gd name="connsiteY132" fmla="*/ 197854 h 838042"/>
                <a:gd name="connsiteX133" fmla="*/ 761072 w 1033465"/>
                <a:gd name="connsiteY133" fmla="*/ 195949 h 838042"/>
                <a:gd name="connsiteX134" fmla="*/ 740117 w 1033465"/>
                <a:gd name="connsiteY134" fmla="*/ 197854 h 838042"/>
                <a:gd name="connsiteX135" fmla="*/ 734402 w 1033465"/>
                <a:gd name="connsiteY135" fmla="*/ 201664 h 838042"/>
                <a:gd name="connsiteX136" fmla="*/ 722972 w 1033465"/>
                <a:gd name="connsiteY136" fmla="*/ 205474 h 838042"/>
                <a:gd name="connsiteX137" fmla="*/ 719162 w 1033465"/>
                <a:gd name="connsiteY137" fmla="*/ 211189 h 838042"/>
                <a:gd name="connsiteX138" fmla="*/ 713447 w 1033465"/>
                <a:gd name="connsiteY138" fmla="*/ 213094 h 838042"/>
                <a:gd name="connsiteX139" fmla="*/ 707732 w 1033465"/>
                <a:gd name="connsiteY139" fmla="*/ 216904 h 838042"/>
                <a:gd name="connsiteX140" fmla="*/ 702017 w 1033465"/>
                <a:gd name="connsiteY140" fmla="*/ 222619 h 838042"/>
                <a:gd name="connsiteX141" fmla="*/ 694397 w 1033465"/>
                <a:gd name="connsiteY141" fmla="*/ 226429 h 838042"/>
                <a:gd name="connsiteX142" fmla="*/ 652487 w 1033465"/>
                <a:gd name="connsiteY142" fmla="*/ 255004 h 838042"/>
                <a:gd name="connsiteX143" fmla="*/ 639152 w 1033465"/>
                <a:gd name="connsiteY143" fmla="*/ 266434 h 838042"/>
                <a:gd name="connsiteX144" fmla="*/ 629627 w 1033465"/>
                <a:gd name="connsiteY144" fmla="*/ 283579 h 838042"/>
                <a:gd name="connsiteX145" fmla="*/ 604862 w 1033465"/>
                <a:gd name="connsiteY145" fmla="*/ 289294 h 838042"/>
                <a:gd name="connsiteX146" fmla="*/ 591527 w 1033465"/>
                <a:gd name="connsiteY146" fmla="*/ 293104 h 838042"/>
                <a:gd name="connsiteX147" fmla="*/ 576287 w 1033465"/>
                <a:gd name="connsiteY147" fmla="*/ 291199 h 838042"/>
                <a:gd name="connsiteX148" fmla="*/ 564857 w 1033465"/>
                <a:gd name="connsiteY148" fmla="*/ 287389 h 838042"/>
                <a:gd name="connsiteX149" fmla="*/ 553427 w 1033465"/>
                <a:gd name="connsiteY149" fmla="*/ 283579 h 838042"/>
                <a:gd name="connsiteX150" fmla="*/ 541997 w 1033465"/>
                <a:gd name="connsiteY150" fmla="*/ 279769 h 838042"/>
                <a:gd name="connsiteX151" fmla="*/ 536282 w 1033465"/>
                <a:gd name="connsiteY151" fmla="*/ 277864 h 838042"/>
                <a:gd name="connsiteX152" fmla="*/ 530567 w 1033465"/>
                <a:gd name="connsiteY152" fmla="*/ 274054 h 838042"/>
                <a:gd name="connsiteX153" fmla="*/ 519137 w 1033465"/>
                <a:gd name="connsiteY153" fmla="*/ 268339 h 838042"/>
                <a:gd name="connsiteX154" fmla="*/ 511517 w 1033465"/>
                <a:gd name="connsiteY154" fmla="*/ 256909 h 838042"/>
                <a:gd name="connsiteX155" fmla="*/ 507707 w 1033465"/>
                <a:gd name="connsiteY155" fmla="*/ 235954 h 838042"/>
                <a:gd name="connsiteX156" fmla="*/ 509612 w 1033465"/>
                <a:gd name="connsiteY156" fmla="*/ 171184 h 838042"/>
                <a:gd name="connsiteX157" fmla="*/ 508314 w 1033465"/>
                <a:gd name="connsiteY157" fmla="*/ 73485 h 838042"/>
                <a:gd name="connsiteX158" fmla="*/ 454116 w 1033465"/>
                <a:gd name="connsiteY158" fmla="*/ 11248 h 838042"/>
                <a:gd name="connsiteX159" fmla="*/ 435401 w 1033465"/>
                <a:gd name="connsiteY159" fmla="*/ 68523 h 838042"/>
                <a:gd name="connsiteX160" fmla="*/ 427697 w 1033465"/>
                <a:gd name="connsiteY160" fmla="*/ 137103 h 838042"/>
                <a:gd name="connsiteX161" fmla="*/ 420077 w 1033465"/>
                <a:gd name="connsiteY161" fmla="*/ 169279 h 838042"/>
                <a:gd name="connsiteX162" fmla="*/ 416267 w 1033465"/>
                <a:gd name="connsiteY162" fmla="*/ 186424 h 838042"/>
                <a:gd name="connsiteX163" fmla="*/ 420077 w 1033465"/>
                <a:gd name="connsiteY163" fmla="*/ 207379 h 838042"/>
                <a:gd name="connsiteX164" fmla="*/ 423887 w 1033465"/>
                <a:gd name="connsiteY164" fmla="*/ 213094 h 838042"/>
                <a:gd name="connsiteX165" fmla="*/ 427697 w 1033465"/>
                <a:gd name="connsiteY165" fmla="*/ 224524 h 838042"/>
                <a:gd name="connsiteX166" fmla="*/ 425792 w 1033465"/>
                <a:gd name="connsiteY166" fmla="*/ 251194 h 838042"/>
                <a:gd name="connsiteX167" fmla="*/ 420077 w 1033465"/>
                <a:gd name="connsiteY167" fmla="*/ 253099 h 838042"/>
                <a:gd name="connsiteX168" fmla="*/ 414362 w 1033465"/>
                <a:gd name="connsiteY168" fmla="*/ 256909 h 838042"/>
                <a:gd name="connsiteX169" fmla="*/ 423887 w 1033465"/>
                <a:gd name="connsiteY169"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34402 w 1033465"/>
                <a:gd name="connsiteY134" fmla="*/ 201664 h 838042"/>
                <a:gd name="connsiteX135" fmla="*/ 722972 w 1033465"/>
                <a:gd name="connsiteY135" fmla="*/ 205474 h 838042"/>
                <a:gd name="connsiteX136" fmla="*/ 719162 w 1033465"/>
                <a:gd name="connsiteY136" fmla="*/ 211189 h 838042"/>
                <a:gd name="connsiteX137" fmla="*/ 713447 w 1033465"/>
                <a:gd name="connsiteY137" fmla="*/ 213094 h 838042"/>
                <a:gd name="connsiteX138" fmla="*/ 707732 w 1033465"/>
                <a:gd name="connsiteY138" fmla="*/ 216904 h 838042"/>
                <a:gd name="connsiteX139" fmla="*/ 702017 w 1033465"/>
                <a:gd name="connsiteY139" fmla="*/ 222619 h 838042"/>
                <a:gd name="connsiteX140" fmla="*/ 694397 w 1033465"/>
                <a:gd name="connsiteY140" fmla="*/ 226429 h 838042"/>
                <a:gd name="connsiteX141" fmla="*/ 652487 w 1033465"/>
                <a:gd name="connsiteY141" fmla="*/ 255004 h 838042"/>
                <a:gd name="connsiteX142" fmla="*/ 639152 w 1033465"/>
                <a:gd name="connsiteY142" fmla="*/ 266434 h 838042"/>
                <a:gd name="connsiteX143" fmla="*/ 629627 w 1033465"/>
                <a:gd name="connsiteY143" fmla="*/ 283579 h 838042"/>
                <a:gd name="connsiteX144" fmla="*/ 604862 w 1033465"/>
                <a:gd name="connsiteY144" fmla="*/ 289294 h 838042"/>
                <a:gd name="connsiteX145" fmla="*/ 591527 w 1033465"/>
                <a:gd name="connsiteY145" fmla="*/ 293104 h 838042"/>
                <a:gd name="connsiteX146" fmla="*/ 576287 w 1033465"/>
                <a:gd name="connsiteY146" fmla="*/ 291199 h 838042"/>
                <a:gd name="connsiteX147" fmla="*/ 564857 w 1033465"/>
                <a:gd name="connsiteY147" fmla="*/ 287389 h 838042"/>
                <a:gd name="connsiteX148" fmla="*/ 553427 w 1033465"/>
                <a:gd name="connsiteY148" fmla="*/ 283579 h 838042"/>
                <a:gd name="connsiteX149" fmla="*/ 541997 w 1033465"/>
                <a:gd name="connsiteY149" fmla="*/ 279769 h 838042"/>
                <a:gd name="connsiteX150" fmla="*/ 536282 w 1033465"/>
                <a:gd name="connsiteY150" fmla="*/ 277864 h 838042"/>
                <a:gd name="connsiteX151" fmla="*/ 530567 w 1033465"/>
                <a:gd name="connsiteY151" fmla="*/ 274054 h 838042"/>
                <a:gd name="connsiteX152" fmla="*/ 519137 w 1033465"/>
                <a:gd name="connsiteY152" fmla="*/ 268339 h 838042"/>
                <a:gd name="connsiteX153" fmla="*/ 511517 w 1033465"/>
                <a:gd name="connsiteY153" fmla="*/ 256909 h 838042"/>
                <a:gd name="connsiteX154" fmla="*/ 507707 w 1033465"/>
                <a:gd name="connsiteY154" fmla="*/ 235954 h 838042"/>
                <a:gd name="connsiteX155" fmla="*/ 509612 w 1033465"/>
                <a:gd name="connsiteY155" fmla="*/ 171184 h 838042"/>
                <a:gd name="connsiteX156" fmla="*/ 508314 w 1033465"/>
                <a:gd name="connsiteY156" fmla="*/ 73485 h 838042"/>
                <a:gd name="connsiteX157" fmla="*/ 454116 w 1033465"/>
                <a:gd name="connsiteY157" fmla="*/ 11248 h 838042"/>
                <a:gd name="connsiteX158" fmla="*/ 435401 w 1033465"/>
                <a:gd name="connsiteY158" fmla="*/ 68523 h 838042"/>
                <a:gd name="connsiteX159" fmla="*/ 427697 w 1033465"/>
                <a:gd name="connsiteY159" fmla="*/ 137103 h 838042"/>
                <a:gd name="connsiteX160" fmla="*/ 420077 w 1033465"/>
                <a:gd name="connsiteY160" fmla="*/ 169279 h 838042"/>
                <a:gd name="connsiteX161" fmla="*/ 416267 w 1033465"/>
                <a:gd name="connsiteY161" fmla="*/ 186424 h 838042"/>
                <a:gd name="connsiteX162" fmla="*/ 420077 w 1033465"/>
                <a:gd name="connsiteY162" fmla="*/ 207379 h 838042"/>
                <a:gd name="connsiteX163" fmla="*/ 423887 w 1033465"/>
                <a:gd name="connsiteY163" fmla="*/ 213094 h 838042"/>
                <a:gd name="connsiteX164" fmla="*/ 427697 w 1033465"/>
                <a:gd name="connsiteY164" fmla="*/ 224524 h 838042"/>
                <a:gd name="connsiteX165" fmla="*/ 425792 w 1033465"/>
                <a:gd name="connsiteY165" fmla="*/ 251194 h 838042"/>
                <a:gd name="connsiteX166" fmla="*/ 420077 w 1033465"/>
                <a:gd name="connsiteY166" fmla="*/ 253099 h 838042"/>
                <a:gd name="connsiteX167" fmla="*/ 414362 w 1033465"/>
                <a:gd name="connsiteY167" fmla="*/ 256909 h 838042"/>
                <a:gd name="connsiteX168" fmla="*/ 423887 w 1033465"/>
                <a:gd name="connsiteY168"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22972 w 1033465"/>
                <a:gd name="connsiteY134" fmla="*/ 205474 h 838042"/>
                <a:gd name="connsiteX135" fmla="*/ 719162 w 1033465"/>
                <a:gd name="connsiteY135" fmla="*/ 211189 h 838042"/>
                <a:gd name="connsiteX136" fmla="*/ 713447 w 1033465"/>
                <a:gd name="connsiteY136" fmla="*/ 213094 h 838042"/>
                <a:gd name="connsiteX137" fmla="*/ 707732 w 1033465"/>
                <a:gd name="connsiteY137" fmla="*/ 216904 h 838042"/>
                <a:gd name="connsiteX138" fmla="*/ 702017 w 1033465"/>
                <a:gd name="connsiteY138" fmla="*/ 222619 h 838042"/>
                <a:gd name="connsiteX139" fmla="*/ 694397 w 1033465"/>
                <a:gd name="connsiteY139" fmla="*/ 226429 h 838042"/>
                <a:gd name="connsiteX140" fmla="*/ 652487 w 1033465"/>
                <a:gd name="connsiteY140" fmla="*/ 255004 h 838042"/>
                <a:gd name="connsiteX141" fmla="*/ 639152 w 1033465"/>
                <a:gd name="connsiteY141" fmla="*/ 266434 h 838042"/>
                <a:gd name="connsiteX142" fmla="*/ 629627 w 1033465"/>
                <a:gd name="connsiteY142" fmla="*/ 283579 h 838042"/>
                <a:gd name="connsiteX143" fmla="*/ 604862 w 1033465"/>
                <a:gd name="connsiteY143" fmla="*/ 289294 h 838042"/>
                <a:gd name="connsiteX144" fmla="*/ 591527 w 1033465"/>
                <a:gd name="connsiteY144" fmla="*/ 293104 h 838042"/>
                <a:gd name="connsiteX145" fmla="*/ 576287 w 1033465"/>
                <a:gd name="connsiteY145" fmla="*/ 291199 h 838042"/>
                <a:gd name="connsiteX146" fmla="*/ 564857 w 1033465"/>
                <a:gd name="connsiteY146" fmla="*/ 287389 h 838042"/>
                <a:gd name="connsiteX147" fmla="*/ 553427 w 1033465"/>
                <a:gd name="connsiteY147" fmla="*/ 283579 h 838042"/>
                <a:gd name="connsiteX148" fmla="*/ 541997 w 1033465"/>
                <a:gd name="connsiteY148" fmla="*/ 279769 h 838042"/>
                <a:gd name="connsiteX149" fmla="*/ 536282 w 1033465"/>
                <a:gd name="connsiteY149" fmla="*/ 277864 h 838042"/>
                <a:gd name="connsiteX150" fmla="*/ 530567 w 1033465"/>
                <a:gd name="connsiteY150" fmla="*/ 274054 h 838042"/>
                <a:gd name="connsiteX151" fmla="*/ 519137 w 1033465"/>
                <a:gd name="connsiteY151" fmla="*/ 268339 h 838042"/>
                <a:gd name="connsiteX152" fmla="*/ 511517 w 1033465"/>
                <a:gd name="connsiteY152" fmla="*/ 256909 h 838042"/>
                <a:gd name="connsiteX153" fmla="*/ 507707 w 1033465"/>
                <a:gd name="connsiteY153" fmla="*/ 235954 h 838042"/>
                <a:gd name="connsiteX154" fmla="*/ 509612 w 1033465"/>
                <a:gd name="connsiteY154" fmla="*/ 171184 h 838042"/>
                <a:gd name="connsiteX155" fmla="*/ 508314 w 1033465"/>
                <a:gd name="connsiteY155" fmla="*/ 73485 h 838042"/>
                <a:gd name="connsiteX156" fmla="*/ 454116 w 1033465"/>
                <a:gd name="connsiteY156" fmla="*/ 11248 h 838042"/>
                <a:gd name="connsiteX157" fmla="*/ 435401 w 1033465"/>
                <a:gd name="connsiteY157" fmla="*/ 68523 h 838042"/>
                <a:gd name="connsiteX158" fmla="*/ 427697 w 1033465"/>
                <a:gd name="connsiteY158" fmla="*/ 137103 h 838042"/>
                <a:gd name="connsiteX159" fmla="*/ 420077 w 1033465"/>
                <a:gd name="connsiteY159" fmla="*/ 169279 h 838042"/>
                <a:gd name="connsiteX160" fmla="*/ 416267 w 1033465"/>
                <a:gd name="connsiteY160" fmla="*/ 186424 h 838042"/>
                <a:gd name="connsiteX161" fmla="*/ 420077 w 1033465"/>
                <a:gd name="connsiteY161" fmla="*/ 207379 h 838042"/>
                <a:gd name="connsiteX162" fmla="*/ 423887 w 1033465"/>
                <a:gd name="connsiteY162" fmla="*/ 213094 h 838042"/>
                <a:gd name="connsiteX163" fmla="*/ 427697 w 1033465"/>
                <a:gd name="connsiteY163" fmla="*/ 224524 h 838042"/>
                <a:gd name="connsiteX164" fmla="*/ 425792 w 1033465"/>
                <a:gd name="connsiteY164" fmla="*/ 251194 h 838042"/>
                <a:gd name="connsiteX165" fmla="*/ 420077 w 1033465"/>
                <a:gd name="connsiteY165" fmla="*/ 253099 h 838042"/>
                <a:gd name="connsiteX166" fmla="*/ 414362 w 1033465"/>
                <a:gd name="connsiteY166" fmla="*/ 256909 h 838042"/>
                <a:gd name="connsiteX167" fmla="*/ 423887 w 1033465"/>
                <a:gd name="connsiteY167"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22972 w 1033465"/>
                <a:gd name="connsiteY134" fmla="*/ 205474 h 838042"/>
                <a:gd name="connsiteX135" fmla="*/ 719162 w 1033465"/>
                <a:gd name="connsiteY135" fmla="*/ 211189 h 838042"/>
                <a:gd name="connsiteX136" fmla="*/ 713447 w 1033465"/>
                <a:gd name="connsiteY136" fmla="*/ 213094 h 838042"/>
                <a:gd name="connsiteX137" fmla="*/ 702017 w 1033465"/>
                <a:gd name="connsiteY137" fmla="*/ 222619 h 838042"/>
                <a:gd name="connsiteX138" fmla="*/ 694397 w 1033465"/>
                <a:gd name="connsiteY138" fmla="*/ 226429 h 838042"/>
                <a:gd name="connsiteX139" fmla="*/ 652487 w 1033465"/>
                <a:gd name="connsiteY139" fmla="*/ 255004 h 838042"/>
                <a:gd name="connsiteX140" fmla="*/ 639152 w 1033465"/>
                <a:gd name="connsiteY140" fmla="*/ 266434 h 838042"/>
                <a:gd name="connsiteX141" fmla="*/ 629627 w 1033465"/>
                <a:gd name="connsiteY141" fmla="*/ 283579 h 838042"/>
                <a:gd name="connsiteX142" fmla="*/ 604862 w 1033465"/>
                <a:gd name="connsiteY142" fmla="*/ 289294 h 838042"/>
                <a:gd name="connsiteX143" fmla="*/ 591527 w 1033465"/>
                <a:gd name="connsiteY143" fmla="*/ 293104 h 838042"/>
                <a:gd name="connsiteX144" fmla="*/ 576287 w 1033465"/>
                <a:gd name="connsiteY144" fmla="*/ 291199 h 838042"/>
                <a:gd name="connsiteX145" fmla="*/ 564857 w 1033465"/>
                <a:gd name="connsiteY145" fmla="*/ 287389 h 838042"/>
                <a:gd name="connsiteX146" fmla="*/ 553427 w 1033465"/>
                <a:gd name="connsiteY146" fmla="*/ 283579 h 838042"/>
                <a:gd name="connsiteX147" fmla="*/ 541997 w 1033465"/>
                <a:gd name="connsiteY147" fmla="*/ 279769 h 838042"/>
                <a:gd name="connsiteX148" fmla="*/ 536282 w 1033465"/>
                <a:gd name="connsiteY148" fmla="*/ 277864 h 838042"/>
                <a:gd name="connsiteX149" fmla="*/ 530567 w 1033465"/>
                <a:gd name="connsiteY149" fmla="*/ 274054 h 838042"/>
                <a:gd name="connsiteX150" fmla="*/ 519137 w 1033465"/>
                <a:gd name="connsiteY150" fmla="*/ 268339 h 838042"/>
                <a:gd name="connsiteX151" fmla="*/ 511517 w 1033465"/>
                <a:gd name="connsiteY151" fmla="*/ 256909 h 838042"/>
                <a:gd name="connsiteX152" fmla="*/ 507707 w 1033465"/>
                <a:gd name="connsiteY152" fmla="*/ 235954 h 838042"/>
                <a:gd name="connsiteX153" fmla="*/ 509612 w 1033465"/>
                <a:gd name="connsiteY153" fmla="*/ 171184 h 838042"/>
                <a:gd name="connsiteX154" fmla="*/ 508314 w 1033465"/>
                <a:gd name="connsiteY154" fmla="*/ 73485 h 838042"/>
                <a:gd name="connsiteX155" fmla="*/ 454116 w 1033465"/>
                <a:gd name="connsiteY155" fmla="*/ 11248 h 838042"/>
                <a:gd name="connsiteX156" fmla="*/ 435401 w 1033465"/>
                <a:gd name="connsiteY156" fmla="*/ 68523 h 838042"/>
                <a:gd name="connsiteX157" fmla="*/ 427697 w 1033465"/>
                <a:gd name="connsiteY157" fmla="*/ 137103 h 838042"/>
                <a:gd name="connsiteX158" fmla="*/ 420077 w 1033465"/>
                <a:gd name="connsiteY158" fmla="*/ 169279 h 838042"/>
                <a:gd name="connsiteX159" fmla="*/ 416267 w 1033465"/>
                <a:gd name="connsiteY159" fmla="*/ 186424 h 838042"/>
                <a:gd name="connsiteX160" fmla="*/ 420077 w 1033465"/>
                <a:gd name="connsiteY160" fmla="*/ 207379 h 838042"/>
                <a:gd name="connsiteX161" fmla="*/ 423887 w 1033465"/>
                <a:gd name="connsiteY161" fmla="*/ 213094 h 838042"/>
                <a:gd name="connsiteX162" fmla="*/ 427697 w 1033465"/>
                <a:gd name="connsiteY162" fmla="*/ 224524 h 838042"/>
                <a:gd name="connsiteX163" fmla="*/ 425792 w 1033465"/>
                <a:gd name="connsiteY163" fmla="*/ 251194 h 838042"/>
                <a:gd name="connsiteX164" fmla="*/ 420077 w 1033465"/>
                <a:gd name="connsiteY164" fmla="*/ 253099 h 838042"/>
                <a:gd name="connsiteX165" fmla="*/ 414362 w 1033465"/>
                <a:gd name="connsiteY165" fmla="*/ 256909 h 838042"/>
                <a:gd name="connsiteX166" fmla="*/ 423887 w 1033465"/>
                <a:gd name="connsiteY166"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22972 w 1033465"/>
                <a:gd name="connsiteY134" fmla="*/ 205474 h 838042"/>
                <a:gd name="connsiteX135" fmla="*/ 719162 w 1033465"/>
                <a:gd name="connsiteY135" fmla="*/ 211189 h 838042"/>
                <a:gd name="connsiteX136" fmla="*/ 713447 w 1033465"/>
                <a:gd name="connsiteY136" fmla="*/ 213094 h 838042"/>
                <a:gd name="connsiteX137" fmla="*/ 694397 w 1033465"/>
                <a:gd name="connsiteY137" fmla="*/ 226429 h 838042"/>
                <a:gd name="connsiteX138" fmla="*/ 652487 w 1033465"/>
                <a:gd name="connsiteY138" fmla="*/ 255004 h 838042"/>
                <a:gd name="connsiteX139" fmla="*/ 639152 w 1033465"/>
                <a:gd name="connsiteY139" fmla="*/ 266434 h 838042"/>
                <a:gd name="connsiteX140" fmla="*/ 629627 w 1033465"/>
                <a:gd name="connsiteY140" fmla="*/ 283579 h 838042"/>
                <a:gd name="connsiteX141" fmla="*/ 604862 w 1033465"/>
                <a:gd name="connsiteY141" fmla="*/ 289294 h 838042"/>
                <a:gd name="connsiteX142" fmla="*/ 591527 w 1033465"/>
                <a:gd name="connsiteY142" fmla="*/ 293104 h 838042"/>
                <a:gd name="connsiteX143" fmla="*/ 576287 w 1033465"/>
                <a:gd name="connsiteY143" fmla="*/ 291199 h 838042"/>
                <a:gd name="connsiteX144" fmla="*/ 564857 w 1033465"/>
                <a:gd name="connsiteY144" fmla="*/ 287389 h 838042"/>
                <a:gd name="connsiteX145" fmla="*/ 553427 w 1033465"/>
                <a:gd name="connsiteY145" fmla="*/ 283579 h 838042"/>
                <a:gd name="connsiteX146" fmla="*/ 541997 w 1033465"/>
                <a:gd name="connsiteY146" fmla="*/ 279769 h 838042"/>
                <a:gd name="connsiteX147" fmla="*/ 536282 w 1033465"/>
                <a:gd name="connsiteY147" fmla="*/ 277864 h 838042"/>
                <a:gd name="connsiteX148" fmla="*/ 530567 w 1033465"/>
                <a:gd name="connsiteY148" fmla="*/ 274054 h 838042"/>
                <a:gd name="connsiteX149" fmla="*/ 519137 w 1033465"/>
                <a:gd name="connsiteY149" fmla="*/ 268339 h 838042"/>
                <a:gd name="connsiteX150" fmla="*/ 511517 w 1033465"/>
                <a:gd name="connsiteY150" fmla="*/ 256909 h 838042"/>
                <a:gd name="connsiteX151" fmla="*/ 507707 w 1033465"/>
                <a:gd name="connsiteY151" fmla="*/ 235954 h 838042"/>
                <a:gd name="connsiteX152" fmla="*/ 509612 w 1033465"/>
                <a:gd name="connsiteY152" fmla="*/ 171184 h 838042"/>
                <a:gd name="connsiteX153" fmla="*/ 508314 w 1033465"/>
                <a:gd name="connsiteY153" fmla="*/ 73485 h 838042"/>
                <a:gd name="connsiteX154" fmla="*/ 454116 w 1033465"/>
                <a:gd name="connsiteY154" fmla="*/ 11248 h 838042"/>
                <a:gd name="connsiteX155" fmla="*/ 435401 w 1033465"/>
                <a:gd name="connsiteY155" fmla="*/ 68523 h 838042"/>
                <a:gd name="connsiteX156" fmla="*/ 427697 w 1033465"/>
                <a:gd name="connsiteY156" fmla="*/ 137103 h 838042"/>
                <a:gd name="connsiteX157" fmla="*/ 420077 w 1033465"/>
                <a:gd name="connsiteY157" fmla="*/ 169279 h 838042"/>
                <a:gd name="connsiteX158" fmla="*/ 416267 w 1033465"/>
                <a:gd name="connsiteY158" fmla="*/ 186424 h 838042"/>
                <a:gd name="connsiteX159" fmla="*/ 420077 w 1033465"/>
                <a:gd name="connsiteY159" fmla="*/ 207379 h 838042"/>
                <a:gd name="connsiteX160" fmla="*/ 423887 w 1033465"/>
                <a:gd name="connsiteY160" fmla="*/ 213094 h 838042"/>
                <a:gd name="connsiteX161" fmla="*/ 427697 w 1033465"/>
                <a:gd name="connsiteY161" fmla="*/ 224524 h 838042"/>
                <a:gd name="connsiteX162" fmla="*/ 425792 w 1033465"/>
                <a:gd name="connsiteY162" fmla="*/ 251194 h 838042"/>
                <a:gd name="connsiteX163" fmla="*/ 420077 w 1033465"/>
                <a:gd name="connsiteY163" fmla="*/ 253099 h 838042"/>
                <a:gd name="connsiteX164" fmla="*/ 414362 w 1033465"/>
                <a:gd name="connsiteY164" fmla="*/ 256909 h 838042"/>
                <a:gd name="connsiteX165" fmla="*/ 423887 w 1033465"/>
                <a:gd name="connsiteY16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22972 w 1033465"/>
                <a:gd name="connsiteY134" fmla="*/ 205474 h 838042"/>
                <a:gd name="connsiteX135" fmla="*/ 719162 w 1033465"/>
                <a:gd name="connsiteY135" fmla="*/ 211189 h 838042"/>
                <a:gd name="connsiteX136" fmla="*/ 694397 w 1033465"/>
                <a:gd name="connsiteY136" fmla="*/ 226429 h 838042"/>
                <a:gd name="connsiteX137" fmla="*/ 652487 w 1033465"/>
                <a:gd name="connsiteY137" fmla="*/ 255004 h 838042"/>
                <a:gd name="connsiteX138" fmla="*/ 639152 w 1033465"/>
                <a:gd name="connsiteY138" fmla="*/ 266434 h 838042"/>
                <a:gd name="connsiteX139" fmla="*/ 629627 w 1033465"/>
                <a:gd name="connsiteY139" fmla="*/ 283579 h 838042"/>
                <a:gd name="connsiteX140" fmla="*/ 604862 w 1033465"/>
                <a:gd name="connsiteY140" fmla="*/ 289294 h 838042"/>
                <a:gd name="connsiteX141" fmla="*/ 591527 w 1033465"/>
                <a:gd name="connsiteY141" fmla="*/ 293104 h 838042"/>
                <a:gd name="connsiteX142" fmla="*/ 576287 w 1033465"/>
                <a:gd name="connsiteY142" fmla="*/ 291199 h 838042"/>
                <a:gd name="connsiteX143" fmla="*/ 564857 w 1033465"/>
                <a:gd name="connsiteY143" fmla="*/ 287389 h 838042"/>
                <a:gd name="connsiteX144" fmla="*/ 553427 w 1033465"/>
                <a:gd name="connsiteY144" fmla="*/ 283579 h 838042"/>
                <a:gd name="connsiteX145" fmla="*/ 541997 w 1033465"/>
                <a:gd name="connsiteY145" fmla="*/ 279769 h 838042"/>
                <a:gd name="connsiteX146" fmla="*/ 536282 w 1033465"/>
                <a:gd name="connsiteY146" fmla="*/ 277864 h 838042"/>
                <a:gd name="connsiteX147" fmla="*/ 530567 w 1033465"/>
                <a:gd name="connsiteY147" fmla="*/ 274054 h 838042"/>
                <a:gd name="connsiteX148" fmla="*/ 519137 w 1033465"/>
                <a:gd name="connsiteY148" fmla="*/ 268339 h 838042"/>
                <a:gd name="connsiteX149" fmla="*/ 511517 w 1033465"/>
                <a:gd name="connsiteY149" fmla="*/ 256909 h 838042"/>
                <a:gd name="connsiteX150" fmla="*/ 507707 w 1033465"/>
                <a:gd name="connsiteY150" fmla="*/ 235954 h 838042"/>
                <a:gd name="connsiteX151" fmla="*/ 509612 w 1033465"/>
                <a:gd name="connsiteY151" fmla="*/ 171184 h 838042"/>
                <a:gd name="connsiteX152" fmla="*/ 508314 w 1033465"/>
                <a:gd name="connsiteY152" fmla="*/ 73485 h 838042"/>
                <a:gd name="connsiteX153" fmla="*/ 454116 w 1033465"/>
                <a:gd name="connsiteY153" fmla="*/ 11248 h 838042"/>
                <a:gd name="connsiteX154" fmla="*/ 435401 w 1033465"/>
                <a:gd name="connsiteY154" fmla="*/ 68523 h 838042"/>
                <a:gd name="connsiteX155" fmla="*/ 427697 w 1033465"/>
                <a:gd name="connsiteY155" fmla="*/ 137103 h 838042"/>
                <a:gd name="connsiteX156" fmla="*/ 420077 w 1033465"/>
                <a:gd name="connsiteY156" fmla="*/ 169279 h 838042"/>
                <a:gd name="connsiteX157" fmla="*/ 416267 w 1033465"/>
                <a:gd name="connsiteY157" fmla="*/ 186424 h 838042"/>
                <a:gd name="connsiteX158" fmla="*/ 420077 w 1033465"/>
                <a:gd name="connsiteY158" fmla="*/ 207379 h 838042"/>
                <a:gd name="connsiteX159" fmla="*/ 423887 w 1033465"/>
                <a:gd name="connsiteY159" fmla="*/ 213094 h 838042"/>
                <a:gd name="connsiteX160" fmla="*/ 427697 w 1033465"/>
                <a:gd name="connsiteY160" fmla="*/ 224524 h 838042"/>
                <a:gd name="connsiteX161" fmla="*/ 425792 w 1033465"/>
                <a:gd name="connsiteY161" fmla="*/ 251194 h 838042"/>
                <a:gd name="connsiteX162" fmla="*/ 420077 w 1033465"/>
                <a:gd name="connsiteY162" fmla="*/ 253099 h 838042"/>
                <a:gd name="connsiteX163" fmla="*/ 414362 w 1033465"/>
                <a:gd name="connsiteY163" fmla="*/ 256909 h 838042"/>
                <a:gd name="connsiteX164" fmla="*/ 423887 w 1033465"/>
                <a:gd name="connsiteY16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722972 w 1033465"/>
                <a:gd name="connsiteY134" fmla="*/ 205474 h 838042"/>
                <a:gd name="connsiteX135" fmla="*/ 694397 w 1033465"/>
                <a:gd name="connsiteY135" fmla="*/ 226429 h 838042"/>
                <a:gd name="connsiteX136" fmla="*/ 652487 w 1033465"/>
                <a:gd name="connsiteY136" fmla="*/ 255004 h 838042"/>
                <a:gd name="connsiteX137" fmla="*/ 639152 w 1033465"/>
                <a:gd name="connsiteY137" fmla="*/ 266434 h 838042"/>
                <a:gd name="connsiteX138" fmla="*/ 629627 w 1033465"/>
                <a:gd name="connsiteY138" fmla="*/ 283579 h 838042"/>
                <a:gd name="connsiteX139" fmla="*/ 604862 w 1033465"/>
                <a:gd name="connsiteY139" fmla="*/ 289294 h 838042"/>
                <a:gd name="connsiteX140" fmla="*/ 591527 w 1033465"/>
                <a:gd name="connsiteY140" fmla="*/ 293104 h 838042"/>
                <a:gd name="connsiteX141" fmla="*/ 576287 w 1033465"/>
                <a:gd name="connsiteY141" fmla="*/ 291199 h 838042"/>
                <a:gd name="connsiteX142" fmla="*/ 564857 w 1033465"/>
                <a:gd name="connsiteY142" fmla="*/ 287389 h 838042"/>
                <a:gd name="connsiteX143" fmla="*/ 553427 w 1033465"/>
                <a:gd name="connsiteY143" fmla="*/ 283579 h 838042"/>
                <a:gd name="connsiteX144" fmla="*/ 541997 w 1033465"/>
                <a:gd name="connsiteY144" fmla="*/ 279769 h 838042"/>
                <a:gd name="connsiteX145" fmla="*/ 536282 w 1033465"/>
                <a:gd name="connsiteY145" fmla="*/ 277864 h 838042"/>
                <a:gd name="connsiteX146" fmla="*/ 530567 w 1033465"/>
                <a:gd name="connsiteY146" fmla="*/ 274054 h 838042"/>
                <a:gd name="connsiteX147" fmla="*/ 519137 w 1033465"/>
                <a:gd name="connsiteY147" fmla="*/ 268339 h 838042"/>
                <a:gd name="connsiteX148" fmla="*/ 511517 w 1033465"/>
                <a:gd name="connsiteY148" fmla="*/ 256909 h 838042"/>
                <a:gd name="connsiteX149" fmla="*/ 507707 w 1033465"/>
                <a:gd name="connsiteY149" fmla="*/ 235954 h 838042"/>
                <a:gd name="connsiteX150" fmla="*/ 509612 w 1033465"/>
                <a:gd name="connsiteY150" fmla="*/ 171184 h 838042"/>
                <a:gd name="connsiteX151" fmla="*/ 508314 w 1033465"/>
                <a:gd name="connsiteY151" fmla="*/ 73485 h 838042"/>
                <a:gd name="connsiteX152" fmla="*/ 454116 w 1033465"/>
                <a:gd name="connsiteY152" fmla="*/ 11248 h 838042"/>
                <a:gd name="connsiteX153" fmla="*/ 435401 w 1033465"/>
                <a:gd name="connsiteY153" fmla="*/ 68523 h 838042"/>
                <a:gd name="connsiteX154" fmla="*/ 427697 w 1033465"/>
                <a:gd name="connsiteY154" fmla="*/ 137103 h 838042"/>
                <a:gd name="connsiteX155" fmla="*/ 420077 w 1033465"/>
                <a:gd name="connsiteY155" fmla="*/ 169279 h 838042"/>
                <a:gd name="connsiteX156" fmla="*/ 416267 w 1033465"/>
                <a:gd name="connsiteY156" fmla="*/ 186424 h 838042"/>
                <a:gd name="connsiteX157" fmla="*/ 420077 w 1033465"/>
                <a:gd name="connsiteY157" fmla="*/ 207379 h 838042"/>
                <a:gd name="connsiteX158" fmla="*/ 423887 w 1033465"/>
                <a:gd name="connsiteY158" fmla="*/ 213094 h 838042"/>
                <a:gd name="connsiteX159" fmla="*/ 427697 w 1033465"/>
                <a:gd name="connsiteY159" fmla="*/ 224524 h 838042"/>
                <a:gd name="connsiteX160" fmla="*/ 425792 w 1033465"/>
                <a:gd name="connsiteY160" fmla="*/ 251194 h 838042"/>
                <a:gd name="connsiteX161" fmla="*/ 420077 w 1033465"/>
                <a:gd name="connsiteY161" fmla="*/ 253099 h 838042"/>
                <a:gd name="connsiteX162" fmla="*/ 414362 w 1033465"/>
                <a:gd name="connsiteY162" fmla="*/ 256909 h 838042"/>
                <a:gd name="connsiteX163" fmla="*/ 423887 w 1033465"/>
                <a:gd name="connsiteY16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1072 w 1033465"/>
                <a:gd name="connsiteY132" fmla="*/ 195949 h 838042"/>
                <a:gd name="connsiteX133" fmla="*/ 740117 w 1033465"/>
                <a:gd name="connsiteY133" fmla="*/ 197854 h 838042"/>
                <a:gd name="connsiteX134" fmla="*/ 694397 w 1033465"/>
                <a:gd name="connsiteY134" fmla="*/ 226429 h 838042"/>
                <a:gd name="connsiteX135" fmla="*/ 652487 w 1033465"/>
                <a:gd name="connsiteY135" fmla="*/ 255004 h 838042"/>
                <a:gd name="connsiteX136" fmla="*/ 639152 w 1033465"/>
                <a:gd name="connsiteY136" fmla="*/ 266434 h 838042"/>
                <a:gd name="connsiteX137" fmla="*/ 629627 w 1033465"/>
                <a:gd name="connsiteY137" fmla="*/ 283579 h 838042"/>
                <a:gd name="connsiteX138" fmla="*/ 604862 w 1033465"/>
                <a:gd name="connsiteY138" fmla="*/ 289294 h 838042"/>
                <a:gd name="connsiteX139" fmla="*/ 591527 w 1033465"/>
                <a:gd name="connsiteY139" fmla="*/ 293104 h 838042"/>
                <a:gd name="connsiteX140" fmla="*/ 576287 w 1033465"/>
                <a:gd name="connsiteY140" fmla="*/ 291199 h 838042"/>
                <a:gd name="connsiteX141" fmla="*/ 564857 w 1033465"/>
                <a:gd name="connsiteY141" fmla="*/ 287389 h 838042"/>
                <a:gd name="connsiteX142" fmla="*/ 553427 w 1033465"/>
                <a:gd name="connsiteY142" fmla="*/ 283579 h 838042"/>
                <a:gd name="connsiteX143" fmla="*/ 541997 w 1033465"/>
                <a:gd name="connsiteY143" fmla="*/ 279769 h 838042"/>
                <a:gd name="connsiteX144" fmla="*/ 536282 w 1033465"/>
                <a:gd name="connsiteY144" fmla="*/ 277864 h 838042"/>
                <a:gd name="connsiteX145" fmla="*/ 530567 w 1033465"/>
                <a:gd name="connsiteY145" fmla="*/ 274054 h 838042"/>
                <a:gd name="connsiteX146" fmla="*/ 519137 w 1033465"/>
                <a:gd name="connsiteY146" fmla="*/ 268339 h 838042"/>
                <a:gd name="connsiteX147" fmla="*/ 511517 w 1033465"/>
                <a:gd name="connsiteY147" fmla="*/ 256909 h 838042"/>
                <a:gd name="connsiteX148" fmla="*/ 507707 w 1033465"/>
                <a:gd name="connsiteY148" fmla="*/ 235954 h 838042"/>
                <a:gd name="connsiteX149" fmla="*/ 509612 w 1033465"/>
                <a:gd name="connsiteY149" fmla="*/ 171184 h 838042"/>
                <a:gd name="connsiteX150" fmla="*/ 508314 w 1033465"/>
                <a:gd name="connsiteY150" fmla="*/ 73485 h 838042"/>
                <a:gd name="connsiteX151" fmla="*/ 454116 w 1033465"/>
                <a:gd name="connsiteY151" fmla="*/ 11248 h 838042"/>
                <a:gd name="connsiteX152" fmla="*/ 435401 w 1033465"/>
                <a:gd name="connsiteY152" fmla="*/ 68523 h 838042"/>
                <a:gd name="connsiteX153" fmla="*/ 427697 w 1033465"/>
                <a:gd name="connsiteY153" fmla="*/ 137103 h 838042"/>
                <a:gd name="connsiteX154" fmla="*/ 420077 w 1033465"/>
                <a:gd name="connsiteY154" fmla="*/ 169279 h 838042"/>
                <a:gd name="connsiteX155" fmla="*/ 416267 w 1033465"/>
                <a:gd name="connsiteY155" fmla="*/ 186424 h 838042"/>
                <a:gd name="connsiteX156" fmla="*/ 420077 w 1033465"/>
                <a:gd name="connsiteY156" fmla="*/ 207379 h 838042"/>
                <a:gd name="connsiteX157" fmla="*/ 423887 w 1033465"/>
                <a:gd name="connsiteY157" fmla="*/ 213094 h 838042"/>
                <a:gd name="connsiteX158" fmla="*/ 427697 w 1033465"/>
                <a:gd name="connsiteY158" fmla="*/ 224524 h 838042"/>
                <a:gd name="connsiteX159" fmla="*/ 425792 w 1033465"/>
                <a:gd name="connsiteY159" fmla="*/ 251194 h 838042"/>
                <a:gd name="connsiteX160" fmla="*/ 420077 w 1033465"/>
                <a:gd name="connsiteY160" fmla="*/ 253099 h 838042"/>
                <a:gd name="connsiteX161" fmla="*/ 414362 w 1033465"/>
                <a:gd name="connsiteY161" fmla="*/ 256909 h 838042"/>
                <a:gd name="connsiteX162" fmla="*/ 423887 w 1033465"/>
                <a:gd name="connsiteY16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60800 w 1033465"/>
                <a:gd name="connsiteY132" fmla="*/ 210358 h 838042"/>
                <a:gd name="connsiteX133" fmla="*/ 740117 w 1033465"/>
                <a:gd name="connsiteY133" fmla="*/ 197854 h 838042"/>
                <a:gd name="connsiteX134" fmla="*/ 694397 w 1033465"/>
                <a:gd name="connsiteY134" fmla="*/ 226429 h 838042"/>
                <a:gd name="connsiteX135" fmla="*/ 652487 w 1033465"/>
                <a:gd name="connsiteY135" fmla="*/ 255004 h 838042"/>
                <a:gd name="connsiteX136" fmla="*/ 639152 w 1033465"/>
                <a:gd name="connsiteY136" fmla="*/ 266434 h 838042"/>
                <a:gd name="connsiteX137" fmla="*/ 629627 w 1033465"/>
                <a:gd name="connsiteY137" fmla="*/ 283579 h 838042"/>
                <a:gd name="connsiteX138" fmla="*/ 604862 w 1033465"/>
                <a:gd name="connsiteY138" fmla="*/ 289294 h 838042"/>
                <a:gd name="connsiteX139" fmla="*/ 591527 w 1033465"/>
                <a:gd name="connsiteY139" fmla="*/ 293104 h 838042"/>
                <a:gd name="connsiteX140" fmla="*/ 576287 w 1033465"/>
                <a:gd name="connsiteY140" fmla="*/ 291199 h 838042"/>
                <a:gd name="connsiteX141" fmla="*/ 564857 w 1033465"/>
                <a:gd name="connsiteY141" fmla="*/ 287389 h 838042"/>
                <a:gd name="connsiteX142" fmla="*/ 553427 w 1033465"/>
                <a:gd name="connsiteY142" fmla="*/ 283579 h 838042"/>
                <a:gd name="connsiteX143" fmla="*/ 541997 w 1033465"/>
                <a:gd name="connsiteY143" fmla="*/ 279769 h 838042"/>
                <a:gd name="connsiteX144" fmla="*/ 536282 w 1033465"/>
                <a:gd name="connsiteY144" fmla="*/ 277864 h 838042"/>
                <a:gd name="connsiteX145" fmla="*/ 530567 w 1033465"/>
                <a:gd name="connsiteY145" fmla="*/ 274054 h 838042"/>
                <a:gd name="connsiteX146" fmla="*/ 519137 w 1033465"/>
                <a:gd name="connsiteY146" fmla="*/ 268339 h 838042"/>
                <a:gd name="connsiteX147" fmla="*/ 511517 w 1033465"/>
                <a:gd name="connsiteY147" fmla="*/ 256909 h 838042"/>
                <a:gd name="connsiteX148" fmla="*/ 507707 w 1033465"/>
                <a:gd name="connsiteY148" fmla="*/ 235954 h 838042"/>
                <a:gd name="connsiteX149" fmla="*/ 509612 w 1033465"/>
                <a:gd name="connsiteY149" fmla="*/ 171184 h 838042"/>
                <a:gd name="connsiteX150" fmla="*/ 508314 w 1033465"/>
                <a:gd name="connsiteY150" fmla="*/ 73485 h 838042"/>
                <a:gd name="connsiteX151" fmla="*/ 454116 w 1033465"/>
                <a:gd name="connsiteY151" fmla="*/ 11248 h 838042"/>
                <a:gd name="connsiteX152" fmla="*/ 435401 w 1033465"/>
                <a:gd name="connsiteY152" fmla="*/ 68523 h 838042"/>
                <a:gd name="connsiteX153" fmla="*/ 427697 w 1033465"/>
                <a:gd name="connsiteY153" fmla="*/ 137103 h 838042"/>
                <a:gd name="connsiteX154" fmla="*/ 420077 w 1033465"/>
                <a:gd name="connsiteY154" fmla="*/ 169279 h 838042"/>
                <a:gd name="connsiteX155" fmla="*/ 416267 w 1033465"/>
                <a:gd name="connsiteY155" fmla="*/ 186424 h 838042"/>
                <a:gd name="connsiteX156" fmla="*/ 420077 w 1033465"/>
                <a:gd name="connsiteY156" fmla="*/ 207379 h 838042"/>
                <a:gd name="connsiteX157" fmla="*/ 423887 w 1033465"/>
                <a:gd name="connsiteY157" fmla="*/ 213094 h 838042"/>
                <a:gd name="connsiteX158" fmla="*/ 427697 w 1033465"/>
                <a:gd name="connsiteY158" fmla="*/ 224524 h 838042"/>
                <a:gd name="connsiteX159" fmla="*/ 425792 w 1033465"/>
                <a:gd name="connsiteY159" fmla="*/ 251194 h 838042"/>
                <a:gd name="connsiteX160" fmla="*/ 420077 w 1033465"/>
                <a:gd name="connsiteY160" fmla="*/ 253099 h 838042"/>
                <a:gd name="connsiteX161" fmla="*/ 414362 w 1033465"/>
                <a:gd name="connsiteY161" fmla="*/ 256909 h 838042"/>
                <a:gd name="connsiteX162" fmla="*/ 423887 w 1033465"/>
                <a:gd name="connsiteY16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66787 w 1033465"/>
                <a:gd name="connsiteY131" fmla="*/ 197854 h 838042"/>
                <a:gd name="connsiteX132" fmla="*/ 740117 w 1033465"/>
                <a:gd name="connsiteY132" fmla="*/ 197854 h 838042"/>
                <a:gd name="connsiteX133" fmla="*/ 694397 w 1033465"/>
                <a:gd name="connsiteY133" fmla="*/ 226429 h 838042"/>
                <a:gd name="connsiteX134" fmla="*/ 652487 w 1033465"/>
                <a:gd name="connsiteY134" fmla="*/ 255004 h 838042"/>
                <a:gd name="connsiteX135" fmla="*/ 639152 w 1033465"/>
                <a:gd name="connsiteY135" fmla="*/ 266434 h 838042"/>
                <a:gd name="connsiteX136" fmla="*/ 629627 w 1033465"/>
                <a:gd name="connsiteY136" fmla="*/ 283579 h 838042"/>
                <a:gd name="connsiteX137" fmla="*/ 604862 w 1033465"/>
                <a:gd name="connsiteY137" fmla="*/ 289294 h 838042"/>
                <a:gd name="connsiteX138" fmla="*/ 591527 w 1033465"/>
                <a:gd name="connsiteY138" fmla="*/ 293104 h 838042"/>
                <a:gd name="connsiteX139" fmla="*/ 576287 w 1033465"/>
                <a:gd name="connsiteY139" fmla="*/ 291199 h 838042"/>
                <a:gd name="connsiteX140" fmla="*/ 564857 w 1033465"/>
                <a:gd name="connsiteY140" fmla="*/ 287389 h 838042"/>
                <a:gd name="connsiteX141" fmla="*/ 553427 w 1033465"/>
                <a:gd name="connsiteY141" fmla="*/ 283579 h 838042"/>
                <a:gd name="connsiteX142" fmla="*/ 541997 w 1033465"/>
                <a:gd name="connsiteY142" fmla="*/ 279769 h 838042"/>
                <a:gd name="connsiteX143" fmla="*/ 536282 w 1033465"/>
                <a:gd name="connsiteY143" fmla="*/ 277864 h 838042"/>
                <a:gd name="connsiteX144" fmla="*/ 530567 w 1033465"/>
                <a:gd name="connsiteY144" fmla="*/ 274054 h 838042"/>
                <a:gd name="connsiteX145" fmla="*/ 519137 w 1033465"/>
                <a:gd name="connsiteY145" fmla="*/ 268339 h 838042"/>
                <a:gd name="connsiteX146" fmla="*/ 511517 w 1033465"/>
                <a:gd name="connsiteY146" fmla="*/ 256909 h 838042"/>
                <a:gd name="connsiteX147" fmla="*/ 507707 w 1033465"/>
                <a:gd name="connsiteY147" fmla="*/ 235954 h 838042"/>
                <a:gd name="connsiteX148" fmla="*/ 509612 w 1033465"/>
                <a:gd name="connsiteY148" fmla="*/ 171184 h 838042"/>
                <a:gd name="connsiteX149" fmla="*/ 508314 w 1033465"/>
                <a:gd name="connsiteY149" fmla="*/ 73485 h 838042"/>
                <a:gd name="connsiteX150" fmla="*/ 454116 w 1033465"/>
                <a:gd name="connsiteY150" fmla="*/ 11248 h 838042"/>
                <a:gd name="connsiteX151" fmla="*/ 435401 w 1033465"/>
                <a:gd name="connsiteY151" fmla="*/ 68523 h 838042"/>
                <a:gd name="connsiteX152" fmla="*/ 427697 w 1033465"/>
                <a:gd name="connsiteY152" fmla="*/ 137103 h 838042"/>
                <a:gd name="connsiteX153" fmla="*/ 420077 w 1033465"/>
                <a:gd name="connsiteY153" fmla="*/ 169279 h 838042"/>
                <a:gd name="connsiteX154" fmla="*/ 416267 w 1033465"/>
                <a:gd name="connsiteY154" fmla="*/ 186424 h 838042"/>
                <a:gd name="connsiteX155" fmla="*/ 420077 w 1033465"/>
                <a:gd name="connsiteY155" fmla="*/ 207379 h 838042"/>
                <a:gd name="connsiteX156" fmla="*/ 423887 w 1033465"/>
                <a:gd name="connsiteY156" fmla="*/ 213094 h 838042"/>
                <a:gd name="connsiteX157" fmla="*/ 427697 w 1033465"/>
                <a:gd name="connsiteY157" fmla="*/ 224524 h 838042"/>
                <a:gd name="connsiteX158" fmla="*/ 425792 w 1033465"/>
                <a:gd name="connsiteY158" fmla="*/ 251194 h 838042"/>
                <a:gd name="connsiteX159" fmla="*/ 420077 w 1033465"/>
                <a:gd name="connsiteY159" fmla="*/ 253099 h 838042"/>
                <a:gd name="connsiteX160" fmla="*/ 414362 w 1033465"/>
                <a:gd name="connsiteY160" fmla="*/ 256909 h 838042"/>
                <a:gd name="connsiteX161" fmla="*/ 423887 w 1033465"/>
                <a:gd name="connsiteY16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0117 w 1033465"/>
                <a:gd name="connsiteY132" fmla="*/ 197854 h 838042"/>
                <a:gd name="connsiteX133" fmla="*/ 694397 w 1033465"/>
                <a:gd name="connsiteY133" fmla="*/ 226429 h 838042"/>
                <a:gd name="connsiteX134" fmla="*/ 652487 w 1033465"/>
                <a:gd name="connsiteY134" fmla="*/ 255004 h 838042"/>
                <a:gd name="connsiteX135" fmla="*/ 639152 w 1033465"/>
                <a:gd name="connsiteY135" fmla="*/ 266434 h 838042"/>
                <a:gd name="connsiteX136" fmla="*/ 629627 w 1033465"/>
                <a:gd name="connsiteY136" fmla="*/ 283579 h 838042"/>
                <a:gd name="connsiteX137" fmla="*/ 604862 w 1033465"/>
                <a:gd name="connsiteY137" fmla="*/ 289294 h 838042"/>
                <a:gd name="connsiteX138" fmla="*/ 591527 w 1033465"/>
                <a:gd name="connsiteY138" fmla="*/ 293104 h 838042"/>
                <a:gd name="connsiteX139" fmla="*/ 576287 w 1033465"/>
                <a:gd name="connsiteY139" fmla="*/ 291199 h 838042"/>
                <a:gd name="connsiteX140" fmla="*/ 564857 w 1033465"/>
                <a:gd name="connsiteY140" fmla="*/ 287389 h 838042"/>
                <a:gd name="connsiteX141" fmla="*/ 553427 w 1033465"/>
                <a:gd name="connsiteY141" fmla="*/ 283579 h 838042"/>
                <a:gd name="connsiteX142" fmla="*/ 541997 w 1033465"/>
                <a:gd name="connsiteY142" fmla="*/ 279769 h 838042"/>
                <a:gd name="connsiteX143" fmla="*/ 536282 w 1033465"/>
                <a:gd name="connsiteY143" fmla="*/ 277864 h 838042"/>
                <a:gd name="connsiteX144" fmla="*/ 530567 w 1033465"/>
                <a:gd name="connsiteY144" fmla="*/ 274054 h 838042"/>
                <a:gd name="connsiteX145" fmla="*/ 519137 w 1033465"/>
                <a:gd name="connsiteY145" fmla="*/ 268339 h 838042"/>
                <a:gd name="connsiteX146" fmla="*/ 511517 w 1033465"/>
                <a:gd name="connsiteY146" fmla="*/ 256909 h 838042"/>
                <a:gd name="connsiteX147" fmla="*/ 507707 w 1033465"/>
                <a:gd name="connsiteY147" fmla="*/ 235954 h 838042"/>
                <a:gd name="connsiteX148" fmla="*/ 509612 w 1033465"/>
                <a:gd name="connsiteY148" fmla="*/ 171184 h 838042"/>
                <a:gd name="connsiteX149" fmla="*/ 508314 w 1033465"/>
                <a:gd name="connsiteY149" fmla="*/ 73485 h 838042"/>
                <a:gd name="connsiteX150" fmla="*/ 454116 w 1033465"/>
                <a:gd name="connsiteY150" fmla="*/ 11248 h 838042"/>
                <a:gd name="connsiteX151" fmla="*/ 435401 w 1033465"/>
                <a:gd name="connsiteY151" fmla="*/ 68523 h 838042"/>
                <a:gd name="connsiteX152" fmla="*/ 427697 w 1033465"/>
                <a:gd name="connsiteY152" fmla="*/ 137103 h 838042"/>
                <a:gd name="connsiteX153" fmla="*/ 420077 w 1033465"/>
                <a:gd name="connsiteY153" fmla="*/ 169279 h 838042"/>
                <a:gd name="connsiteX154" fmla="*/ 416267 w 1033465"/>
                <a:gd name="connsiteY154" fmla="*/ 186424 h 838042"/>
                <a:gd name="connsiteX155" fmla="*/ 420077 w 1033465"/>
                <a:gd name="connsiteY155" fmla="*/ 207379 h 838042"/>
                <a:gd name="connsiteX156" fmla="*/ 423887 w 1033465"/>
                <a:gd name="connsiteY156" fmla="*/ 213094 h 838042"/>
                <a:gd name="connsiteX157" fmla="*/ 427697 w 1033465"/>
                <a:gd name="connsiteY157" fmla="*/ 224524 h 838042"/>
                <a:gd name="connsiteX158" fmla="*/ 425792 w 1033465"/>
                <a:gd name="connsiteY158" fmla="*/ 251194 h 838042"/>
                <a:gd name="connsiteX159" fmla="*/ 420077 w 1033465"/>
                <a:gd name="connsiteY159" fmla="*/ 253099 h 838042"/>
                <a:gd name="connsiteX160" fmla="*/ 414362 w 1033465"/>
                <a:gd name="connsiteY160" fmla="*/ 256909 h 838042"/>
                <a:gd name="connsiteX161" fmla="*/ 423887 w 1033465"/>
                <a:gd name="connsiteY16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2487 w 1033465"/>
                <a:gd name="connsiteY134" fmla="*/ 255004 h 838042"/>
                <a:gd name="connsiteX135" fmla="*/ 639152 w 1033465"/>
                <a:gd name="connsiteY135" fmla="*/ 266434 h 838042"/>
                <a:gd name="connsiteX136" fmla="*/ 629627 w 1033465"/>
                <a:gd name="connsiteY136" fmla="*/ 283579 h 838042"/>
                <a:gd name="connsiteX137" fmla="*/ 604862 w 1033465"/>
                <a:gd name="connsiteY137" fmla="*/ 289294 h 838042"/>
                <a:gd name="connsiteX138" fmla="*/ 591527 w 1033465"/>
                <a:gd name="connsiteY138" fmla="*/ 293104 h 838042"/>
                <a:gd name="connsiteX139" fmla="*/ 576287 w 1033465"/>
                <a:gd name="connsiteY139" fmla="*/ 291199 h 838042"/>
                <a:gd name="connsiteX140" fmla="*/ 564857 w 1033465"/>
                <a:gd name="connsiteY140" fmla="*/ 287389 h 838042"/>
                <a:gd name="connsiteX141" fmla="*/ 553427 w 1033465"/>
                <a:gd name="connsiteY141" fmla="*/ 283579 h 838042"/>
                <a:gd name="connsiteX142" fmla="*/ 541997 w 1033465"/>
                <a:gd name="connsiteY142" fmla="*/ 279769 h 838042"/>
                <a:gd name="connsiteX143" fmla="*/ 536282 w 1033465"/>
                <a:gd name="connsiteY143" fmla="*/ 277864 h 838042"/>
                <a:gd name="connsiteX144" fmla="*/ 530567 w 1033465"/>
                <a:gd name="connsiteY144" fmla="*/ 274054 h 838042"/>
                <a:gd name="connsiteX145" fmla="*/ 519137 w 1033465"/>
                <a:gd name="connsiteY145" fmla="*/ 268339 h 838042"/>
                <a:gd name="connsiteX146" fmla="*/ 511517 w 1033465"/>
                <a:gd name="connsiteY146" fmla="*/ 256909 h 838042"/>
                <a:gd name="connsiteX147" fmla="*/ 507707 w 1033465"/>
                <a:gd name="connsiteY147" fmla="*/ 235954 h 838042"/>
                <a:gd name="connsiteX148" fmla="*/ 509612 w 1033465"/>
                <a:gd name="connsiteY148" fmla="*/ 171184 h 838042"/>
                <a:gd name="connsiteX149" fmla="*/ 508314 w 1033465"/>
                <a:gd name="connsiteY149" fmla="*/ 73485 h 838042"/>
                <a:gd name="connsiteX150" fmla="*/ 454116 w 1033465"/>
                <a:gd name="connsiteY150" fmla="*/ 11248 h 838042"/>
                <a:gd name="connsiteX151" fmla="*/ 435401 w 1033465"/>
                <a:gd name="connsiteY151" fmla="*/ 68523 h 838042"/>
                <a:gd name="connsiteX152" fmla="*/ 427697 w 1033465"/>
                <a:gd name="connsiteY152" fmla="*/ 137103 h 838042"/>
                <a:gd name="connsiteX153" fmla="*/ 420077 w 1033465"/>
                <a:gd name="connsiteY153" fmla="*/ 169279 h 838042"/>
                <a:gd name="connsiteX154" fmla="*/ 416267 w 1033465"/>
                <a:gd name="connsiteY154" fmla="*/ 186424 h 838042"/>
                <a:gd name="connsiteX155" fmla="*/ 420077 w 1033465"/>
                <a:gd name="connsiteY155" fmla="*/ 207379 h 838042"/>
                <a:gd name="connsiteX156" fmla="*/ 423887 w 1033465"/>
                <a:gd name="connsiteY156" fmla="*/ 213094 h 838042"/>
                <a:gd name="connsiteX157" fmla="*/ 427697 w 1033465"/>
                <a:gd name="connsiteY157" fmla="*/ 224524 h 838042"/>
                <a:gd name="connsiteX158" fmla="*/ 425792 w 1033465"/>
                <a:gd name="connsiteY158" fmla="*/ 251194 h 838042"/>
                <a:gd name="connsiteX159" fmla="*/ 420077 w 1033465"/>
                <a:gd name="connsiteY159" fmla="*/ 253099 h 838042"/>
                <a:gd name="connsiteX160" fmla="*/ 414362 w 1033465"/>
                <a:gd name="connsiteY160" fmla="*/ 256909 h 838042"/>
                <a:gd name="connsiteX161" fmla="*/ 423887 w 1033465"/>
                <a:gd name="connsiteY16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2487 w 1033465"/>
                <a:gd name="connsiteY134" fmla="*/ 255004 h 838042"/>
                <a:gd name="connsiteX135" fmla="*/ 639152 w 1033465"/>
                <a:gd name="connsiteY135" fmla="*/ 266434 h 838042"/>
                <a:gd name="connsiteX136" fmla="*/ 629627 w 1033465"/>
                <a:gd name="connsiteY136" fmla="*/ 283579 h 838042"/>
                <a:gd name="connsiteX137" fmla="*/ 604862 w 1033465"/>
                <a:gd name="connsiteY137" fmla="*/ 289294 h 838042"/>
                <a:gd name="connsiteX138" fmla="*/ 591527 w 1033465"/>
                <a:gd name="connsiteY138" fmla="*/ 293104 h 838042"/>
                <a:gd name="connsiteX139" fmla="*/ 576287 w 1033465"/>
                <a:gd name="connsiteY139" fmla="*/ 291199 h 838042"/>
                <a:gd name="connsiteX140" fmla="*/ 564857 w 1033465"/>
                <a:gd name="connsiteY140" fmla="*/ 287389 h 838042"/>
                <a:gd name="connsiteX141" fmla="*/ 553427 w 1033465"/>
                <a:gd name="connsiteY141" fmla="*/ 283579 h 838042"/>
                <a:gd name="connsiteX142" fmla="*/ 541997 w 1033465"/>
                <a:gd name="connsiteY142" fmla="*/ 279769 h 838042"/>
                <a:gd name="connsiteX143" fmla="*/ 536282 w 1033465"/>
                <a:gd name="connsiteY143" fmla="*/ 277864 h 838042"/>
                <a:gd name="connsiteX144" fmla="*/ 530567 w 1033465"/>
                <a:gd name="connsiteY144" fmla="*/ 274054 h 838042"/>
                <a:gd name="connsiteX145" fmla="*/ 519137 w 1033465"/>
                <a:gd name="connsiteY145" fmla="*/ 268339 h 838042"/>
                <a:gd name="connsiteX146" fmla="*/ 511517 w 1033465"/>
                <a:gd name="connsiteY146" fmla="*/ 256909 h 838042"/>
                <a:gd name="connsiteX147" fmla="*/ 507707 w 1033465"/>
                <a:gd name="connsiteY147" fmla="*/ 235954 h 838042"/>
                <a:gd name="connsiteX148" fmla="*/ 509612 w 1033465"/>
                <a:gd name="connsiteY148" fmla="*/ 171184 h 838042"/>
                <a:gd name="connsiteX149" fmla="*/ 508314 w 1033465"/>
                <a:gd name="connsiteY149" fmla="*/ 73485 h 838042"/>
                <a:gd name="connsiteX150" fmla="*/ 454116 w 1033465"/>
                <a:gd name="connsiteY150" fmla="*/ 11248 h 838042"/>
                <a:gd name="connsiteX151" fmla="*/ 435401 w 1033465"/>
                <a:gd name="connsiteY151" fmla="*/ 68523 h 838042"/>
                <a:gd name="connsiteX152" fmla="*/ 427697 w 1033465"/>
                <a:gd name="connsiteY152" fmla="*/ 137103 h 838042"/>
                <a:gd name="connsiteX153" fmla="*/ 420077 w 1033465"/>
                <a:gd name="connsiteY153" fmla="*/ 169279 h 838042"/>
                <a:gd name="connsiteX154" fmla="*/ 416267 w 1033465"/>
                <a:gd name="connsiteY154" fmla="*/ 186424 h 838042"/>
                <a:gd name="connsiteX155" fmla="*/ 420077 w 1033465"/>
                <a:gd name="connsiteY155" fmla="*/ 207379 h 838042"/>
                <a:gd name="connsiteX156" fmla="*/ 423887 w 1033465"/>
                <a:gd name="connsiteY156" fmla="*/ 213094 h 838042"/>
                <a:gd name="connsiteX157" fmla="*/ 427697 w 1033465"/>
                <a:gd name="connsiteY157" fmla="*/ 224524 h 838042"/>
                <a:gd name="connsiteX158" fmla="*/ 425792 w 1033465"/>
                <a:gd name="connsiteY158" fmla="*/ 251194 h 838042"/>
                <a:gd name="connsiteX159" fmla="*/ 420077 w 1033465"/>
                <a:gd name="connsiteY159" fmla="*/ 253099 h 838042"/>
                <a:gd name="connsiteX160" fmla="*/ 414362 w 1033465"/>
                <a:gd name="connsiteY160" fmla="*/ 256909 h 838042"/>
                <a:gd name="connsiteX161" fmla="*/ 423887 w 1033465"/>
                <a:gd name="connsiteY16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2487 w 1033465"/>
                <a:gd name="connsiteY134" fmla="*/ 255004 h 838042"/>
                <a:gd name="connsiteX135" fmla="*/ 639152 w 1033465"/>
                <a:gd name="connsiteY135" fmla="*/ 266434 h 838042"/>
                <a:gd name="connsiteX136" fmla="*/ 629627 w 1033465"/>
                <a:gd name="connsiteY136" fmla="*/ 283579 h 838042"/>
                <a:gd name="connsiteX137" fmla="*/ 604862 w 1033465"/>
                <a:gd name="connsiteY137" fmla="*/ 289294 h 838042"/>
                <a:gd name="connsiteX138" fmla="*/ 591527 w 1033465"/>
                <a:gd name="connsiteY138" fmla="*/ 293104 h 838042"/>
                <a:gd name="connsiteX139" fmla="*/ 576287 w 1033465"/>
                <a:gd name="connsiteY139" fmla="*/ 291199 h 838042"/>
                <a:gd name="connsiteX140" fmla="*/ 564857 w 1033465"/>
                <a:gd name="connsiteY140" fmla="*/ 287389 h 838042"/>
                <a:gd name="connsiteX141" fmla="*/ 553427 w 1033465"/>
                <a:gd name="connsiteY141" fmla="*/ 283579 h 838042"/>
                <a:gd name="connsiteX142" fmla="*/ 541997 w 1033465"/>
                <a:gd name="connsiteY142" fmla="*/ 279769 h 838042"/>
                <a:gd name="connsiteX143" fmla="*/ 536282 w 1033465"/>
                <a:gd name="connsiteY143" fmla="*/ 277864 h 838042"/>
                <a:gd name="connsiteX144" fmla="*/ 530567 w 1033465"/>
                <a:gd name="connsiteY144" fmla="*/ 274054 h 838042"/>
                <a:gd name="connsiteX145" fmla="*/ 519137 w 1033465"/>
                <a:gd name="connsiteY145" fmla="*/ 268339 h 838042"/>
                <a:gd name="connsiteX146" fmla="*/ 511517 w 1033465"/>
                <a:gd name="connsiteY146" fmla="*/ 256909 h 838042"/>
                <a:gd name="connsiteX147" fmla="*/ 507707 w 1033465"/>
                <a:gd name="connsiteY147" fmla="*/ 235954 h 838042"/>
                <a:gd name="connsiteX148" fmla="*/ 509612 w 1033465"/>
                <a:gd name="connsiteY148" fmla="*/ 171184 h 838042"/>
                <a:gd name="connsiteX149" fmla="*/ 508314 w 1033465"/>
                <a:gd name="connsiteY149" fmla="*/ 73485 h 838042"/>
                <a:gd name="connsiteX150" fmla="*/ 454116 w 1033465"/>
                <a:gd name="connsiteY150" fmla="*/ 11248 h 838042"/>
                <a:gd name="connsiteX151" fmla="*/ 435401 w 1033465"/>
                <a:gd name="connsiteY151" fmla="*/ 68523 h 838042"/>
                <a:gd name="connsiteX152" fmla="*/ 427697 w 1033465"/>
                <a:gd name="connsiteY152" fmla="*/ 137103 h 838042"/>
                <a:gd name="connsiteX153" fmla="*/ 420077 w 1033465"/>
                <a:gd name="connsiteY153" fmla="*/ 169279 h 838042"/>
                <a:gd name="connsiteX154" fmla="*/ 416267 w 1033465"/>
                <a:gd name="connsiteY154" fmla="*/ 186424 h 838042"/>
                <a:gd name="connsiteX155" fmla="*/ 420077 w 1033465"/>
                <a:gd name="connsiteY155" fmla="*/ 207379 h 838042"/>
                <a:gd name="connsiteX156" fmla="*/ 423887 w 1033465"/>
                <a:gd name="connsiteY156" fmla="*/ 213094 h 838042"/>
                <a:gd name="connsiteX157" fmla="*/ 427697 w 1033465"/>
                <a:gd name="connsiteY157" fmla="*/ 224524 h 838042"/>
                <a:gd name="connsiteX158" fmla="*/ 425792 w 1033465"/>
                <a:gd name="connsiteY158" fmla="*/ 251194 h 838042"/>
                <a:gd name="connsiteX159" fmla="*/ 420077 w 1033465"/>
                <a:gd name="connsiteY159" fmla="*/ 253099 h 838042"/>
                <a:gd name="connsiteX160" fmla="*/ 414362 w 1033465"/>
                <a:gd name="connsiteY160" fmla="*/ 256909 h 838042"/>
                <a:gd name="connsiteX161" fmla="*/ 423887 w 1033465"/>
                <a:gd name="connsiteY16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2487 w 1033465"/>
                <a:gd name="connsiteY134" fmla="*/ 255004 h 838042"/>
                <a:gd name="connsiteX135" fmla="*/ 629627 w 1033465"/>
                <a:gd name="connsiteY135" fmla="*/ 283579 h 838042"/>
                <a:gd name="connsiteX136" fmla="*/ 604862 w 1033465"/>
                <a:gd name="connsiteY136" fmla="*/ 289294 h 838042"/>
                <a:gd name="connsiteX137" fmla="*/ 591527 w 1033465"/>
                <a:gd name="connsiteY137" fmla="*/ 293104 h 838042"/>
                <a:gd name="connsiteX138" fmla="*/ 576287 w 1033465"/>
                <a:gd name="connsiteY138" fmla="*/ 291199 h 838042"/>
                <a:gd name="connsiteX139" fmla="*/ 564857 w 1033465"/>
                <a:gd name="connsiteY139" fmla="*/ 287389 h 838042"/>
                <a:gd name="connsiteX140" fmla="*/ 553427 w 1033465"/>
                <a:gd name="connsiteY140" fmla="*/ 283579 h 838042"/>
                <a:gd name="connsiteX141" fmla="*/ 541997 w 1033465"/>
                <a:gd name="connsiteY141" fmla="*/ 279769 h 838042"/>
                <a:gd name="connsiteX142" fmla="*/ 536282 w 1033465"/>
                <a:gd name="connsiteY142" fmla="*/ 277864 h 838042"/>
                <a:gd name="connsiteX143" fmla="*/ 530567 w 1033465"/>
                <a:gd name="connsiteY143" fmla="*/ 274054 h 838042"/>
                <a:gd name="connsiteX144" fmla="*/ 519137 w 1033465"/>
                <a:gd name="connsiteY144" fmla="*/ 268339 h 838042"/>
                <a:gd name="connsiteX145" fmla="*/ 511517 w 1033465"/>
                <a:gd name="connsiteY145" fmla="*/ 256909 h 838042"/>
                <a:gd name="connsiteX146" fmla="*/ 507707 w 1033465"/>
                <a:gd name="connsiteY146" fmla="*/ 235954 h 838042"/>
                <a:gd name="connsiteX147" fmla="*/ 509612 w 1033465"/>
                <a:gd name="connsiteY147" fmla="*/ 171184 h 838042"/>
                <a:gd name="connsiteX148" fmla="*/ 508314 w 1033465"/>
                <a:gd name="connsiteY148" fmla="*/ 73485 h 838042"/>
                <a:gd name="connsiteX149" fmla="*/ 454116 w 1033465"/>
                <a:gd name="connsiteY149" fmla="*/ 11248 h 838042"/>
                <a:gd name="connsiteX150" fmla="*/ 435401 w 1033465"/>
                <a:gd name="connsiteY150" fmla="*/ 68523 h 838042"/>
                <a:gd name="connsiteX151" fmla="*/ 427697 w 1033465"/>
                <a:gd name="connsiteY151" fmla="*/ 137103 h 838042"/>
                <a:gd name="connsiteX152" fmla="*/ 420077 w 1033465"/>
                <a:gd name="connsiteY152" fmla="*/ 169279 h 838042"/>
                <a:gd name="connsiteX153" fmla="*/ 416267 w 1033465"/>
                <a:gd name="connsiteY153" fmla="*/ 186424 h 838042"/>
                <a:gd name="connsiteX154" fmla="*/ 420077 w 1033465"/>
                <a:gd name="connsiteY154" fmla="*/ 207379 h 838042"/>
                <a:gd name="connsiteX155" fmla="*/ 423887 w 1033465"/>
                <a:gd name="connsiteY155" fmla="*/ 213094 h 838042"/>
                <a:gd name="connsiteX156" fmla="*/ 427697 w 1033465"/>
                <a:gd name="connsiteY156" fmla="*/ 224524 h 838042"/>
                <a:gd name="connsiteX157" fmla="*/ 425792 w 1033465"/>
                <a:gd name="connsiteY157" fmla="*/ 251194 h 838042"/>
                <a:gd name="connsiteX158" fmla="*/ 420077 w 1033465"/>
                <a:gd name="connsiteY158" fmla="*/ 253099 h 838042"/>
                <a:gd name="connsiteX159" fmla="*/ 414362 w 1033465"/>
                <a:gd name="connsiteY159" fmla="*/ 256909 h 838042"/>
                <a:gd name="connsiteX160" fmla="*/ 423887 w 1033465"/>
                <a:gd name="connsiteY16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604862 w 1033465"/>
                <a:gd name="connsiteY136" fmla="*/ 289294 h 838042"/>
                <a:gd name="connsiteX137" fmla="*/ 591527 w 1033465"/>
                <a:gd name="connsiteY137" fmla="*/ 293104 h 838042"/>
                <a:gd name="connsiteX138" fmla="*/ 576287 w 1033465"/>
                <a:gd name="connsiteY138" fmla="*/ 291199 h 838042"/>
                <a:gd name="connsiteX139" fmla="*/ 564857 w 1033465"/>
                <a:gd name="connsiteY139" fmla="*/ 287389 h 838042"/>
                <a:gd name="connsiteX140" fmla="*/ 553427 w 1033465"/>
                <a:gd name="connsiteY140" fmla="*/ 283579 h 838042"/>
                <a:gd name="connsiteX141" fmla="*/ 541997 w 1033465"/>
                <a:gd name="connsiteY141" fmla="*/ 279769 h 838042"/>
                <a:gd name="connsiteX142" fmla="*/ 536282 w 1033465"/>
                <a:gd name="connsiteY142" fmla="*/ 277864 h 838042"/>
                <a:gd name="connsiteX143" fmla="*/ 530567 w 1033465"/>
                <a:gd name="connsiteY143" fmla="*/ 274054 h 838042"/>
                <a:gd name="connsiteX144" fmla="*/ 519137 w 1033465"/>
                <a:gd name="connsiteY144" fmla="*/ 268339 h 838042"/>
                <a:gd name="connsiteX145" fmla="*/ 511517 w 1033465"/>
                <a:gd name="connsiteY145" fmla="*/ 256909 h 838042"/>
                <a:gd name="connsiteX146" fmla="*/ 507707 w 1033465"/>
                <a:gd name="connsiteY146" fmla="*/ 235954 h 838042"/>
                <a:gd name="connsiteX147" fmla="*/ 509612 w 1033465"/>
                <a:gd name="connsiteY147" fmla="*/ 171184 h 838042"/>
                <a:gd name="connsiteX148" fmla="*/ 508314 w 1033465"/>
                <a:gd name="connsiteY148" fmla="*/ 73485 h 838042"/>
                <a:gd name="connsiteX149" fmla="*/ 454116 w 1033465"/>
                <a:gd name="connsiteY149" fmla="*/ 11248 h 838042"/>
                <a:gd name="connsiteX150" fmla="*/ 435401 w 1033465"/>
                <a:gd name="connsiteY150" fmla="*/ 68523 h 838042"/>
                <a:gd name="connsiteX151" fmla="*/ 427697 w 1033465"/>
                <a:gd name="connsiteY151" fmla="*/ 137103 h 838042"/>
                <a:gd name="connsiteX152" fmla="*/ 420077 w 1033465"/>
                <a:gd name="connsiteY152" fmla="*/ 169279 h 838042"/>
                <a:gd name="connsiteX153" fmla="*/ 416267 w 1033465"/>
                <a:gd name="connsiteY153" fmla="*/ 186424 h 838042"/>
                <a:gd name="connsiteX154" fmla="*/ 420077 w 1033465"/>
                <a:gd name="connsiteY154" fmla="*/ 207379 h 838042"/>
                <a:gd name="connsiteX155" fmla="*/ 423887 w 1033465"/>
                <a:gd name="connsiteY155" fmla="*/ 213094 h 838042"/>
                <a:gd name="connsiteX156" fmla="*/ 427697 w 1033465"/>
                <a:gd name="connsiteY156" fmla="*/ 224524 h 838042"/>
                <a:gd name="connsiteX157" fmla="*/ 425792 w 1033465"/>
                <a:gd name="connsiteY157" fmla="*/ 251194 h 838042"/>
                <a:gd name="connsiteX158" fmla="*/ 420077 w 1033465"/>
                <a:gd name="connsiteY158" fmla="*/ 253099 h 838042"/>
                <a:gd name="connsiteX159" fmla="*/ 414362 w 1033465"/>
                <a:gd name="connsiteY159" fmla="*/ 256909 h 838042"/>
                <a:gd name="connsiteX160" fmla="*/ 423887 w 1033465"/>
                <a:gd name="connsiteY16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604862 w 1033465"/>
                <a:gd name="connsiteY136" fmla="*/ 289294 h 838042"/>
                <a:gd name="connsiteX137" fmla="*/ 591527 w 1033465"/>
                <a:gd name="connsiteY137" fmla="*/ 293104 h 838042"/>
                <a:gd name="connsiteX138" fmla="*/ 576287 w 1033465"/>
                <a:gd name="connsiteY138" fmla="*/ 291199 h 838042"/>
                <a:gd name="connsiteX139" fmla="*/ 564857 w 1033465"/>
                <a:gd name="connsiteY139" fmla="*/ 287389 h 838042"/>
                <a:gd name="connsiteX140" fmla="*/ 553427 w 1033465"/>
                <a:gd name="connsiteY140" fmla="*/ 283579 h 838042"/>
                <a:gd name="connsiteX141" fmla="*/ 541997 w 1033465"/>
                <a:gd name="connsiteY141" fmla="*/ 279769 h 838042"/>
                <a:gd name="connsiteX142" fmla="*/ 536282 w 1033465"/>
                <a:gd name="connsiteY142" fmla="*/ 277864 h 838042"/>
                <a:gd name="connsiteX143" fmla="*/ 530567 w 1033465"/>
                <a:gd name="connsiteY143" fmla="*/ 274054 h 838042"/>
                <a:gd name="connsiteX144" fmla="*/ 519137 w 1033465"/>
                <a:gd name="connsiteY144" fmla="*/ 268339 h 838042"/>
                <a:gd name="connsiteX145" fmla="*/ 511517 w 1033465"/>
                <a:gd name="connsiteY145" fmla="*/ 256909 h 838042"/>
                <a:gd name="connsiteX146" fmla="*/ 507707 w 1033465"/>
                <a:gd name="connsiteY146" fmla="*/ 235954 h 838042"/>
                <a:gd name="connsiteX147" fmla="*/ 509612 w 1033465"/>
                <a:gd name="connsiteY147" fmla="*/ 171184 h 838042"/>
                <a:gd name="connsiteX148" fmla="*/ 508314 w 1033465"/>
                <a:gd name="connsiteY148" fmla="*/ 73485 h 838042"/>
                <a:gd name="connsiteX149" fmla="*/ 454116 w 1033465"/>
                <a:gd name="connsiteY149" fmla="*/ 11248 h 838042"/>
                <a:gd name="connsiteX150" fmla="*/ 435401 w 1033465"/>
                <a:gd name="connsiteY150" fmla="*/ 68523 h 838042"/>
                <a:gd name="connsiteX151" fmla="*/ 427697 w 1033465"/>
                <a:gd name="connsiteY151" fmla="*/ 137103 h 838042"/>
                <a:gd name="connsiteX152" fmla="*/ 420077 w 1033465"/>
                <a:gd name="connsiteY152" fmla="*/ 169279 h 838042"/>
                <a:gd name="connsiteX153" fmla="*/ 416267 w 1033465"/>
                <a:gd name="connsiteY153" fmla="*/ 186424 h 838042"/>
                <a:gd name="connsiteX154" fmla="*/ 420077 w 1033465"/>
                <a:gd name="connsiteY154" fmla="*/ 207379 h 838042"/>
                <a:gd name="connsiteX155" fmla="*/ 423887 w 1033465"/>
                <a:gd name="connsiteY155" fmla="*/ 213094 h 838042"/>
                <a:gd name="connsiteX156" fmla="*/ 427697 w 1033465"/>
                <a:gd name="connsiteY156" fmla="*/ 224524 h 838042"/>
                <a:gd name="connsiteX157" fmla="*/ 425792 w 1033465"/>
                <a:gd name="connsiteY157" fmla="*/ 251194 h 838042"/>
                <a:gd name="connsiteX158" fmla="*/ 420077 w 1033465"/>
                <a:gd name="connsiteY158" fmla="*/ 253099 h 838042"/>
                <a:gd name="connsiteX159" fmla="*/ 414362 w 1033465"/>
                <a:gd name="connsiteY159" fmla="*/ 256909 h 838042"/>
                <a:gd name="connsiteX160" fmla="*/ 423887 w 1033465"/>
                <a:gd name="connsiteY160"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604862 w 1033465"/>
                <a:gd name="connsiteY136" fmla="*/ 289294 h 838042"/>
                <a:gd name="connsiteX137" fmla="*/ 591527 w 1033465"/>
                <a:gd name="connsiteY137" fmla="*/ 293104 h 838042"/>
                <a:gd name="connsiteX138" fmla="*/ 564857 w 1033465"/>
                <a:gd name="connsiteY138" fmla="*/ 287389 h 838042"/>
                <a:gd name="connsiteX139" fmla="*/ 553427 w 1033465"/>
                <a:gd name="connsiteY139" fmla="*/ 283579 h 838042"/>
                <a:gd name="connsiteX140" fmla="*/ 541997 w 1033465"/>
                <a:gd name="connsiteY140" fmla="*/ 279769 h 838042"/>
                <a:gd name="connsiteX141" fmla="*/ 536282 w 1033465"/>
                <a:gd name="connsiteY141" fmla="*/ 277864 h 838042"/>
                <a:gd name="connsiteX142" fmla="*/ 530567 w 1033465"/>
                <a:gd name="connsiteY142" fmla="*/ 274054 h 838042"/>
                <a:gd name="connsiteX143" fmla="*/ 519137 w 1033465"/>
                <a:gd name="connsiteY143" fmla="*/ 268339 h 838042"/>
                <a:gd name="connsiteX144" fmla="*/ 511517 w 1033465"/>
                <a:gd name="connsiteY144" fmla="*/ 256909 h 838042"/>
                <a:gd name="connsiteX145" fmla="*/ 507707 w 1033465"/>
                <a:gd name="connsiteY145" fmla="*/ 235954 h 838042"/>
                <a:gd name="connsiteX146" fmla="*/ 509612 w 1033465"/>
                <a:gd name="connsiteY146" fmla="*/ 171184 h 838042"/>
                <a:gd name="connsiteX147" fmla="*/ 508314 w 1033465"/>
                <a:gd name="connsiteY147" fmla="*/ 73485 h 838042"/>
                <a:gd name="connsiteX148" fmla="*/ 454116 w 1033465"/>
                <a:gd name="connsiteY148" fmla="*/ 11248 h 838042"/>
                <a:gd name="connsiteX149" fmla="*/ 435401 w 1033465"/>
                <a:gd name="connsiteY149" fmla="*/ 68523 h 838042"/>
                <a:gd name="connsiteX150" fmla="*/ 427697 w 1033465"/>
                <a:gd name="connsiteY150" fmla="*/ 137103 h 838042"/>
                <a:gd name="connsiteX151" fmla="*/ 420077 w 1033465"/>
                <a:gd name="connsiteY151" fmla="*/ 169279 h 838042"/>
                <a:gd name="connsiteX152" fmla="*/ 416267 w 1033465"/>
                <a:gd name="connsiteY152" fmla="*/ 186424 h 838042"/>
                <a:gd name="connsiteX153" fmla="*/ 420077 w 1033465"/>
                <a:gd name="connsiteY153" fmla="*/ 207379 h 838042"/>
                <a:gd name="connsiteX154" fmla="*/ 423887 w 1033465"/>
                <a:gd name="connsiteY154" fmla="*/ 213094 h 838042"/>
                <a:gd name="connsiteX155" fmla="*/ 427697 w 1033465"/>
                <a:gd name="connsiteY155" fmla="*/ 224524 h 838042"/>
                <a:gd name="connsiteX156" fmla="*/ 425792 w 1033465"/>
                <a:gd name="connsiteY156" fmla="*/ 251194 h 838042"/>
                <a:gd name="connsiteX157" fmla="*/ 420077 w 1033465"/>
                <a:gd name="connsiteY157" fmla="*/ 253099 h 838042"/>
                <a:gd name="connsiteX158" fmla="*/ 414362 w 1033465"/>
                <a:gd name="connsiteY158" fmla="*/ 256909 h 838042"/>
                <a:gd name="connsiteX159" fmla="*/ 423887 w 1033465"/>
                <a:gd name="connsiteY159"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604862 w 1033465"/>
                <a:gd name="connsiteY136" fmla="*/ 289294 h 838042"/>
                <a:gd name="connsiteX137" fmla="*/ 591527 w 1033465"/>
                <a:gd name="connsiteY137" fmla="*/ 293104 h 838042"/>
                <a:gd name="connsiteX138" fmla="*/ 564857 w 1033465"/>
                <a:gd name="connsiteY138" fmla="*/ 287389 h 838042"/>
                <a:gd name="connsiteX139" fmla="*/ 541997 w 1033465"/>
                <a:gd name="connsiteY139" fmla="*/ 279769 h 838042"/>
                <a:gd name="connsiteX140" fmla="*/ 536282 w 1033465"/>
                <a:gd name="connsiteY140" fmla="*/ 277864 h 838042"/>
                <a:gd name="connsiteX141" fmla="*/ 530567 w 1033465"/>
                <a:gd name="connsiteY141" fmla="*/ 274054 h 838042"/>
                <a:gd name="connsiteX142" fmla="*/ 519137 w 1033465"/>
                <a:gd name="connsiteY142" fmla="*/ 268339 h 838042"/>
                <a:gd name="connsiteX143" fmla="*/ 511517 w 1033465"/>
                <a:gd name="connsiteY143" fmla="*/ 256909 h 838042"/>
                <a:gd name="connsiteX144" fmla="*/ 507707 w 1033465"/>
                <a:gd name="connsiteY144" fmla="*/ 235954 h 838042"/>
                <a:gd name="connsiteX145" fmla="*/ 509612 w 1033465"/>
                <a:gd name="connsiteY145" fmla="*/ 171184 h 838042"/>
                <a:gd name="connsiteX146" fmla="*/ 508314 w 1033465"/>
                <a:gd name="connsiteY146" fmla="*/ 73485 h 838042"/>
                <a:gd name="connsiteX147" fmla="*/ 454116 w 1033465"/>
                <a:gd name="connsiteY147" fmla="*/ 11248 h 838042"/>
                <a:gd name="connsiteX148" fmla="*/ 435401 w 1033465"/>
                <a:gd name="connsiteY148" fmla="*/ 68523 h 838042"/>
                <a:gd name="connsiteX149" fmla="*/ 427697 w 1033465"/>
                <a:gd name="connsiteY149" fmla="*/ 137103 h 838042"/>
                <a:gd name="connsiteX150" fmla="*/ 420077 w 1033465"/>
                <a:gd name="connsiteY150" fmla="*/ 169279 h 838042"/>
                <a:gd name="connsiteX151" fmla="*/ 416267 w 1033465"/>
                <a:gd name="connsiteY151" fmla="*/ 186424 h 838042"/>
                <a:gd name="connsiteX152" fmla="*/ 420077 w 1033465"/>
                <a:gd name="connsiteY152" fmla="*/ 207379 h 838042"/>
                <a:gd name="connsiteX153" fmla="*/ 423887 w 1033465"/>
                <a:gd name="connsiteY153" fmla="*/ 213094 h 838042"/>
                <a:gd name="connsiteX154" fmla="*/ 427697 w 1033465"/>
                <a:gd name="connsiteY154" fmla="*/ 224524 h 838042"/>
                <a:gd name="connsiteX155" fmla="*/ 425792 w 1033465"/>
                <a:gd name="connsiteY155" fmla="*/ 251194 h 838042"/>
                <a:gd name="connsiteX156" fmla="*/ 420077 w 1033465"/>
                <a:gd name="connsiteY156" fmla="*/ 253099 h 838042"/>
                <a:gd name="connsiteX157" fmla="*/ 414362 w 1033465"/>
                <a:gd name="connsiteY157" fmla="*/ 256909 h 838042"/>
                <a:gd name="connsiteX158" fmla="*/ 423887 w 1033465"/>
                <a:gd name="connsiteY158"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604862 w 1033465"/>
                <a:gd name="connsiteY136" fmla="*/ 289294 h 838042"/>
                <a:gd name="connsiteX137" fmla="*/ 564857 w 1033465"/>
                <a:gd name="connsiteY137" fmla="*/ 287389 h 838042"/>
                <a:gd name="connsiteX138" fmla="*/ 541997 w 1033465"/>
                <a:gd name="connsiteY138" fmla="*/ 279769 h 838042"/>
                <a:gd name="connsiteX139" fmla="*/ 536282 w 1033465"/>
                <a:gd name="connsiteY139" fmla="*/ 277864 h 838042"/>
                <a:gd name="connsiteX140" fmla="*/ 530567 w 1033465"/>
                <a:gd name="connsiteY140" fmla="*/ 274054 h 838042"/>
                <a:gd name="connsiteX141" fmla="*/ 519137 w 1033465"/>
                <a:gd name="connsiteY141" fmla="*/ 268339 h 838042"/>
                <a:gd name="connsiteX142" fmla="*/ 511517 w 1033465"/>
                <a:gd name="connsiteY142" fmla="*/ 256909 h 838042"/>
                <a:gd name="connsiteX143" fmla="*/ 507707 w 1033465"/>
                <a:gd name="connsiteY143" fmla="*/ 235954 h 838042"/>
                <a:gd name="connsiteX144" fmla="*/ 509612 w 1033465"/>
                <a:gd name="connsiteY144" fmla="*/ 171184 h 838042"/>
                <a:gd name="connsiteX145" fmla="*/ 508314 w 1033465"/>
                <a:gd name="connsiteY145" fmla="*/ 73485 h 838042"/>
                <a:gd name="connsiteX146" fmla="*/ 454116 w 1033465"/>
                <a:gd name="connsiteY146" fmla="*/ 11248 h 838042"/>
                <a:gd name="connsiteX147" fmla="*/ 435401 w 1033465"/>
                <a:gd name="connsiteY147" fmla="*/ 68523 h 838042"/>
                <a:gd name="connsiteX148" fmla="*/ 427697 w 1033465"/>
                <a:gd name="connsiteY148" fmla="*/ 137103 h 838042"/>
                <a:gd name="connsiteX149" fmla="*/ 420077 w 1033465"/>
                <a:gd name="connsiteY149" fmla="*/ 169279 h 838042"/>
                <a:gd name="connsiteX150" fmla="*/ 416267 w 1033465"/>
                <a:gd name="connsiteY150" fmla="*/ 186424 h 838042"/>
                <a:gd name="connsiteX151" fmla="*/ 420077 w 1033465"/>
                <a:gd name="connsiteY151" fmla="*/ 207379 h 838042"/>
                <a:gd name="connsiteX152" fmla="*/ 423887 w 1033465"/>
                <a:gd name="connsiteY152" fmla="*/ 213094 h 838042"/>
                <a:gd name="connsiteX153" fmla="*/ 427697 w 1033465"/>
                <a:gd name="connsiteY153" fmla="*/ 224524 h 838042"/>
                <a:gd name="connsiteX154" fmla="*/ 425792 w 1033465"/>
                <a:gd name="connsiteY154" fmla="*/ 251194 h 838042"/>
                <a:gd name="connsiteX155" fmla="*/ 420077 w 1033465"/>
                <a:gd name="connsiteY155" fmla="*/ 253099 h 838042"/>
                <a:gd name="connsiteX156" fmla="*/ 414362 w 1033465"/>
                <a:gd name="connsiteY156" fmla="*/ 256909 h 838042"/>
                <a:gd name="connsiteX157" fmla="*/ 423887 w 1033465"/>
                <a:gd name="connsiteY157"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564857 w 1033465"/>
                <a:gd name="connsiteY136" fmla="*/ 287389 h 838042"/>
                <a:gd name="connsiteX137" fmla="*/ 541997 w 1033465"/>
                <a:gd name="connsiteY137" fmla="*/ 279769 h 838042"/>
                <a:gd name="connsiteX138" fmla="*/ 536282 w 1033465"/>
                <a:gd name="connsiteY138" fmla="*/ 277864 h 838042"/>
                <a:gd name="connsiteX139" fmla="*/ 530567 w 1033465"/>
                <a:gd name="connsiteY139" fmla="*/ 274054 h 838042"/>
                <a:gd name="connsiteX140" fmla="*/ 519137 w 1033465"/>
                <a:gd name="connsiteY140" fmla="*/ 268339 h 838042"/>
                <a:gd name="connsiteX141" fmla="*/ 511517 w 1033465"/>
                <a:gd name="connsiteY141" fmla="*/ 256909 h 838042"/>
                <a:gd name="connsiteX142" fmla="*/ 507707 w 1033465"/>
                <a:gd name="connsiteY142" fmla="*/ 235954 h 838042"/>
                <a:gd name="connsiteX143" fmla="*/ 509612 w 1033465"/>
                <a:gd name="connsiteY143" fmla="*/ 171184 h 838042"/>
                <a:gd name="connsiteX144" fmla="*/ 508314 w 1033465"/>
                <a:gd name="connsiteY144" fmla="*/ 73485 h 838042"/>
                <a:gd name="connsiteX145" fmla="*/ 454116 w 1033465"/>
                <a:gd name="connsiteY145" fmla="*/ 11248 h 838042"/>
                <a:gd name="connsiteX146" fmla="*/ 435401 w 1033465"/>
                <a:gd name="connsiteY146" fmla="*/ 68523 h 838042"/>
                <a:gd name="connsiteX147" fmla="*/ 427697 w 1033465"/>
                <a:gd name="connsiteY147" fmla="*/ 137103 h 838042"/>
                <a:gd name="connsiteX148" fmla="*/ 420077 w 1033465"/>
                <a:gd name="connsiteY148" fmla="*/ 169279 h 838042"/>
                <a:gd name="connsiteX149" fmla="*/ 416267 w 1033465"/>
                <a:gd name="connsiteY149" fmla="*/ 186424 h 838042"/>
                <a:gd name="connsiteX150" fmla="*/ 420077 w 1033465"/>
                <a:gd name="connsiteY150" fmla="*/ 207379 h 838042"/>
                <a:gd name="connsiteX151" fmla="*/ 423887 w 1033465"/>
                <a:gd name="connsiteY151" fmla="*/ 213094 h 838042"/>
                <a:gd name="connsiteX152" fmla="*/ 427697 w 1033465"/>
                <a:gd name="connsiteY152" fmla="*/ 224524 h 838042"/>
                <a:gd name="connsiteX153" fmla="*/ 425792 w 1033465"/>
                <a:gd name="connsiteY153" fmla="*/ 251194 h 838042"/>
                <a:gd name="connsiteX154" fmla="*/ 420077 w 1033465"/>
                <a:gd name="connsiteY154" fmla="*/ 253099 h 838042"/>
                <a:gd name="connsiteX155" fmla="*/ 414362 w 1033465"/>
                <a:gd name="connsiteY155" fmla="*/ 256909 h 838042"/>
                <a:gd name="connsiteX156" fmla="*/ 423887 w 1033465"/>
                <a:gd name="connsiteY156"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564857 w 1033465"/>
                <a:gd name="connsiteY136" fmla="*/ 287389 h 838042"/>
                <a:gd name="connsiteX137" fmla="*/ 541997 w 1033465"/>
                <a:gd name="connsiteY137" fmla="*/ 279769 h 838042"/>
                <a:gd name="connsiteX138" fmla="*/ 530567 w 1033465"/>
                <a:gd name="connsiteY138" fmla="*/ 274054 h 838042"/>
                <a:gd name="connsiteX139" fmla="*/ 519137 w 1033465"/>
                <a:gd name="connsiteY139" fmla="*/ 268339 h 838042"/>
                <a:gd name="connsiteX140" fmla="*/ 511517 w 1033465"/>
                <a:gd name="connsiteY140" fmla="*/ 256909 h 838042"/>
                <a:gd name="connsiteX141" fmla="*/ 507707 w 1033465"/>
                <a:gd name="connsiteY141" fmla="*/ 235954 h 838042"/>
                <a:gd name="connsiteX142" fmla="*/ 509612 w 1033465"/>
                <a:gd name="connsiteY142" fmla="*/ 171184 h 838042"/>
                <a:gd name="connsiteX143" fmla="*/ 508314 w 1033465"/>
                <a:gd name="connsiteY143" fmla="*/ 73485 h 838042"/>
                <a:gd name="connsiteX144" fmla="*/ 454116 w 1033465"/>
                <a:gd name="connsiteY144" fmla="*/ 11248 h 838042"/>
                <a:gd name="connsiteX145" fmla="*/ 435401 w 1033465"/>
                <a:gd name="connsiteY145" fmla="*/ 68523 h 838042"/>
                <a:gd name="connsiteX146" fmla="*/ 427697 w 1033465"/>
                <a:gd name="connsiteY146" fmla="*/ 137103 h 838042"/>
                <a:gd name="connsiteX147" fmla="*/ 420077 w 1033465"/>
                <a:gd name="connsiteY147" fmla="*/ 169279 h 838042"/>
                <a:gd name="connsiteX148" fmla="*/ 416267 w 1033465"/>
                <a:gd name="connsiteY148" fmla="*/ 186424 h 838042"/>
                <a:gd name="connsiteX149" fmla="*/ 420077 w 1033465"/>
                <a:gd name="connsiteY149" fmla="*/ 207379 h 838042"/>
                <a:gd name="connsiteX150" fmla="*/ 423887 w 1033465"/>
                <a:gd name="connsiteY150" fmla="*/ 213094 h 838042"/>
                <a:gd name="connsiteX151" fmla="*/ 427697 w 1033465"/>
                <a:gd name="connsiteY151" fmla="*/ 224524 h 838042"/>
                <a:gd name="connsiteX152" fmla="*/ 425792 w 1033465"/>
                <a:gd name="connsiteY152" fmla="*/ 251194 h 838042"/>
                <a:gd name="connsiteX153" fmla="*/ 420077 w 1033465"/>
                <a:gd name="connsiteY153" fmla="*/ 253099 h 838042"/>
                <a:gd name="connsiteX154" fmla="*/ 414362 w 1033465"/>
                <a:gd name="connsiteY154" fmla="*/ 256909 h 838042"/>
                <a:gd name="connsiteX155" fmla="*/ 423887 w 1033465"/>
                <a:gd name="connsiteY155"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564857 w 1033465"/>
                <a:gd name="connsiteY136" fmla="*/ 287389 h 838042"/>
                <a:gd name="connsiteX137" fmla="*/ 541997 w 1033465"/>
                <a:gd name="connsiteY137" fmla="*/ 279769 h 838042"/>
                <a:gd name="connsiteX138" fmla="*/ 530567 w 1033465"/>
                <a:gd name="connsiteY138" fmla="*/ 274054 h 838042"/>
                <a:gd name="connsiteX139" fmla="*/ 519137 w 1033465"/>
                <a:gd name="connsiteY139" fmla="*/ 268339 h 838042"/>
                <a:gd name="connsiteX140" fmla="*/ 507707 w 1033465"/>
                <a:gd name="connsiteY140" fmla="*/ 235954 h 838042"/>
                <a:gd name="connsiteX141" fmla="*/ 509612 w 1033465"/>
                <a:gd name="connsiteY141" fmla="*/ 171184 h 838042"/>
                <a:gd name="connsiteX142" fmla="*/ 508314 w 1033465"/>
                <a:gd name="connsiteY142" fmla="*/ 73485 h 838042"/>
                <a:gd name="connsiteX143" fmla="*/ 454116 w 1033465"/>
                <a:gd name="connsiteY143" fmla="*/ 11248 h 838042"/>
                <a:gd name="connsiteX144" fmla="*/ 435401 w 1033465"/>
                <a:gd name="connsiteY144" fmla="*/ 68523 h 838042"/>
                <a:gd name="connsiteX145" fmla="*/ 427697 w 1033465"/>
                <a:gd name="connsiteY145" fmla="*/ 137103 h 838042"/>
                <a:gd name="connsiteX146" fmla="*/ 420077 w 1033465"/>
                <a:gd name="connsiteY146" fmla="*/ 169279 h 838042"/>
                <a:gd name="connsiteX147" fmla="*/ 416267 w 1033465"/>
                <a:gd name="connsiteY147" fmla="*/ 186424 h 838042"/>
                <a:gd name="connsiteX148" fmla="*/ 420077 w 1033465"/>
                <a:gd name="connsiteY148" fmla="*/ 207379 h 838042"/>
                <a:gd name="connsiteX149" fmla="*/ 423887 w 1033465"/>
                <a:gd name="connsiteY149" fmla="*/ 213094 h 838042"/>
                <a:gd name="connsiteX150" fmla="*/ 427697 w 1033465"/>
                <a:gd name="connsiteY150" fmla="*/ 224524 h 838042"/>
                <a:gd name="connsiteX151" fmla="*/ 425792 w 1033465"/>
                <a:gd name="connsiteY151" fmla="*/ 251194 h 838042"/>
                <a:gd name="connsiteX152" fmla="*/ 420077 w 1033465"/>
                <a:gd name="connsiteY152" fmla="*/ 253099 h 838042"/>
                <a:gd name="connsiteX153" fmla="*/ 414362 w 1033465"/>
                <a:gd name="connsiteY153" fmla="*/ 256909 h 838042"/>
                <a:gd name="connsiteX154" fmla="*/ 423887 w 1033465"/>
                <a:gd name="connsiteY154"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29627 w 1033465"/>
                <a:gd name="connsiteY135" fmla="*/ 283579 h 838042"/>
                <a:gd name="connsiteX136" fmla="*/ 564857 w 1033465"/>
                <a:gd name="connsiteY136" fmla="*/ 287389 h 838042"/>
                <a:gd name="connsiteX137" fmla="*/ 541997 w 1033465"/>
                <a:gd name="connsiteY137" fmla="*/ 279769 h 838042"/>
                <a:gd name="connsiteX138" fmla="*/ 530567 w 1033465"/>
                <a:gd name="connsiteY138" fmla="*/ 274054 h 838042"/>
                <a:gd name="connsiteX139" fmla="*/ 507707 w 1033465"/>
                <a:gd name="connsiteY139" fmla="*/ 235954 h 838042"/>
                <a:gd name="connsiteX140" fmla="*/ 509612 w 1033465"/>
                <a:gd name="connsiteY140" fmla="*/ 171184 h 838042"/>
                <a:gd name="connsiteX141" fmla="*/ 508314 w 1033465"/>
                <a:gd name="connsiteY141" fmla="*/ 73485 h 838042"/>
                <a:gd name="connsiteX142" fmla="*/ 454116 w 1033465"/>
                <a:gd name="connsiteY142" fmla="*/ 11248 h 838042"/>
                <a:gd name="connsiteX143" fmla="*/ 435401 w 1033465"/>
                <a:gd name="connsiteY143" fmla="*/ 68523 h 838042"/>
                <a:gd name="connsiteX144" fmla="*/ 427697 w 1033465"/>
                <a:gd name="connsiteY144" fmla="*/ 137103 h 838042"/>
                <a:gd name="connsiteX145" fmla="*/ 420077 w 1033465"/>
                <a:gd name="connsiteY145" fmla="*/ 169279 h 838042"/>
                <a:gd name="connsiteX146" fmla="*/ 416267 w 1033465"/>
                <a:gd name="connsiteY146" fmla="*/ 186424 h 838042"/>
                <a:gd name="connsiteX147" fmla="*/ 420077 w 1033465"/>
                <a:gd name="connsiteY147" fmla="*/ 207379 h 838042"/>
                <a:gd name="connsiteX148" fmla="*/ 423887 w 1033465"/>
                <a:gd name="connsiteY148" fmla="*/ 213094 h 838042"/>
                <a:gd name="connsiteX149" fmla="*/ 427697 w 1033465"/>
                <a:gd name="connsiteY149" fmla="*/ 224524 h 838042"/>
                <a:gd name="connsiteX150" fmla="*/ 425792 w 1033465"/>
                <a:gd name="connsiteY150" fmla="*/ 251194 h 838042"/>
                <a:gd name="connsiteX151" fmla="*/ 420077 w 1033465"/>
                <a:gd name="connsiteY151" fmla="*/ 253099 h 838042"/>
                <a:gd name="connsiteX152" fmla="*/ 414362 w 1033465"/>
                <a:gd name="connsiteY152" fmla="*/ 256909 h 838042"/>
                <a:gd name="connsiteX153" fmla="*/ 423887 w 1033465"/>
                <a:gd name="connsiteY15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41997 w 1033465"/>
                <a:gd name="connsiteY137" fmla="*/ 279769 h 838042"/>
                <a:gd name="connsiteX138" fmla="*/ 530567 w 1033465"/>
                <a:gd name="connsiteY138" fmla="*/ 274054 h 838042"/>
                <a:gd name="connsiteX139" fmla="*/ 507707 w 1033465"/>
                <a:gd name="connsiteY139" fmla="*/ 235954 h 838042"/>
                <a:gd name="connsiteX140" fmla="*/ 509612 w 1033465"/>
                <a:gd name="connsiteY140" fmla="*/ 171184 h 838042"/>
                <a:gd name="connsiteX141" fmla="*/ 508314 w 1033465"/>
                <a:gd name="connsiteY141" fmla="*/ 73485 h 838042"/>
                <a:gd name="connsiteX142" fmla="*/ 454116 w 1033465"/>
                <a:gd name="connsiteY142" fmla="*/ 11248 h 838042"/>
                <a:gd name="connsiteX143" fmla="*/ 435401 w 1033465"/>
                <a:gd name="connsiteY143" fmla="*/ 68523 h 838042"/>
                <a:gd name="connsiteX144" fmla="*/ 427697 w 1033465"/>
                <a:gd name="connsiteY144" fmla="*/ 137103 h 838042"/>
                <a:gd name="connsiteX145" fmla="*/ 420077 w 1033465"/>
                <a:gd name="connsiteY145" fmla="*/ 169279 h 838042"/>
                <a:gd name="connsiteX146" fmla="*/ 416267 w 1033465"/>
                <a:gd name="connsiteY146" fmla="*/ 186424 h 838042"/>
                <a:gd name="connsiteX147" fmla="*/ 420077 w 1033465"/>
                <a:gd name="connsiteY147" fmla="*/ 207379 h 838042"/>
                <a:gd name="connsiteX148" fmla="*/ 423887 w 1033465"/>
                <a:gd name="connsiteY148" fmla="*/ 213094 h 838042"/>
                <a:gd name="connsiteX149" fmla="*/ 427697 w 1033465"/>
                <a:gd name="connsiteY149" fmla="*/ 224524 h 838042"/>
                <a:gd name="connsiteX150" fmla="*/ 425792 w 1033465"/>
                <a:gd name="connsiteY150" fmla="*/ 251194 h 838042"/>
                <a:gd name="connsiteX151" fmla="*/ 420077 w 1033465"/>
                <a:gd name="connsiteY151" fmla="*/ 253099 h 838042"/>
                <a:gd name="connsiteX152" fmla="*/ 414362 w 1033465"/>
                <a:gd name="connsiteY152" fmla="*/ 256909 h 838042"/>
                <a:gd name="connsiteX153" fmla="*/ 423887 w 1033465"/>
                <a:gd name="connsiteY153"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16267 w 1033465"/>
                <a:gd name="connsiteY145" fmla="*/ 186424 h 838042"/>
                <a:gd name="connsiteX146" fmla="*/ 420077 w 1033465"/>
                <a:gd name="connsiteY146" fmla="*/ 207379 h 838042"/>
                <a:gd name="connsiteX147" fmla="*/ 423887 w 1033465"/>
                <a:gd name="connsiteY147" fmla="*/ 213094 h 838042"/>
                <a:gd name="connsiteX148" fmla="*/ 427697 w 1033465"/>
                <a:gd name="connsiteY148" fmla="*/ 224524 h 838042"/>
                <a:gd name="connsiteX149" fmla="*/ 425792 w 1033465"/>
                <a:gd name="connsiteY149" fmla="*/ 251194 h 838042"/>
                <a:gd name="connsiteX150" fmla="*/ 420077 w 1033465"/>
                <a:gd name="connsiteY150" fmla="*/ 253099 h 838042"/>
                <a:gd name="connsiteX151" fmla="*/ 414362 w 1033465"/>
                <a:gd name="connsiteY151" fmla="*/ 256909 h 838042"/>
                <a:gd name="connsiteX152" fmla="*/ 423887 w 1033465"/>
                <a:gd name="connsiteY152"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7697 w 1033465"/>
                <a:gd name="connsiteY147" fmla="*/ 224524 h 838042"/>
                <a:gd name="connsiteX148" fmla="*/ 425792 w 1033465"/>
                <a:gd name="connsiteY148" fmla="*/ 251194 h 838042"/>
                <a:gd name="connsiteX149" fmla="*/ 420077 w 1033465"/>
                <a:gd name="connsiteY149" fmla="*/ 253099 h 838042"/>
                <a:gd name="connsiteX150" fmla="*/ 414362 w 1033465"/>
                <a:gd name="connsiteY150" fmla="*/ 256909 h 838042"/>
                <a:gd name="connsiteX151" fmla="*/ 423887 w 1033465"/>
                <a:gd name="connsiteY15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7697 w 1033465"/>
                <a:gd name="connsiteY147" fmla="*/ 224524 h 838042"/>
                <a:gd name="connsiteX148" fmla="*/ 425792 w 1033465"/>
                <a:gd name="connsiteY148" fmla="*/ 251194 h 838042"/>
                <a:gd name="connsiteX149" fmla="*/ 420077 w 1033465"/>
                <a:gd name="connsiteY149" fmla="*/ 253099 h 838042"/>
                <a:gd name="connsiteX150" fmla="*/ 414362 w 1033465"/>
                <a:gd name="connsiteY150" fmla="*/ 256909 h 838042"/>
                <a:gd name="connsiteX151" fmla="*/ 423887 w 1033465"/>
                <a:gd name="connsiteY15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7697 w 1033465"/>
                <a:gd name="connsiteY147" fmla="*/ 224524 h 838042"/>
                <a:gd name="connsiteX148" fmla="*/ 425792 w 1033465"/>
                <a:gd name="connsiteY148" fmla="*/ 251194 h 838042"/>
                <a:gd name="connsiteX149" fmla="*/ 420077 w 1033465"/>
                <a:gd name="connsiteY149" fmla="*/ 253099 h 838042"/>
                <a:gd name="connsiteX150" fmla="*/ 414362 w 1033465"/>
                <a:gd name="connsiteY150" fmla="*/ 256909 h 838042"/>
                <a:gd name="connsiteX151" fmla="*/ 423887 w 1033465"/>
                <a:gd name="connsiteY151" fmla="*/ 253099 h 838042"/>
                <a:gd name="connsiteX0" fmla="*/ 42388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5792 w 1033465"/>
                <a:gd name="connsiteY147" fmla="*/ 251194 h 838042"/>
                <a:gd name="connsiteX148" fmla="*/ 420077 w 1033465"/>
                <a:gd name="connsiteY148" fmla="*/ 253099 h 838042"/>
                <a:gd name="connsiteX149" fmla="*/ 414362 w 1033465"/>
                <a:gd name="connsiteY149" fmla="*/ 256909 h 838042"/>
                <a:gd name="connsiteX150" fmla="*/ 423887 w 1033465"/>
                <a:gd name="connsiteY150" fmla="*/ 253099 h 838042"/>
                <a:gd name="connsiteX0" fmla="*/ 414362 w 1033465"/>
                <a:gd name="connsiteY0" fmla="*/ 25690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5792 w 1033465"/>
                <a:gd name="connsiteY147" fmla="*/ 251194 h 838042"/>
                <a:gd name="connsiteX148" fmla="*/ 420077 w 1033465"/>
                <a:gd name="connsiteY148" fmla="*/ 253099 h 838042"/>
                <a:gd name="connsiteX149" fmla="*/ 414362 w 1033465"/>
                <a:gd name="connsiteY149" fmla="*/ 256909 h 838042"/>
                <a:gd name="connsiteX0" fmla="*/ 420077 w 1033465"/>
                <a:gd name="connsiteY0" fmla="*/ 25309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5792 w 1033465"/>
                <a:gd name="connsiteY147" fmla="*/ 251194 h 838042"/>
                <a:gd name="connsiteX148" fmla="*/ 420077 w 1033465"/>
                <a:gd name="connsiteY148" fmla="*/ 253099 h 838042"/>
                <a:gd name="connsiteX0" fmla="*/ 425792 w 1033465"/>
                <a:gd name="connsiteY0" fmla="*/ 251194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147" fmla="*/ 425792 w 1033465"/>
                <a:gd name="connsiteY147" fmla="*/ 251194 h 838042"/>
                <a:gd name="connsiteX0" fmla="*/ 423887 w 1033465"/>
                <a:gd name="connsiteY0" fmla="*/ 213094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146" fmla="*/ 423887 w 1033465"/>
                <a:gd name="connsiteY146" fmla="*/ 213094 h 838042"/>
                <a:gd name="connsiteX0" fmla="*/ 420077 w 1033465"/>
                <a:gd name="connsiteY0" fmla="*/ 207379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20077 w 1033465"/>
                <a:gd name="connsiteY145" fmla="*/ 207379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36054 w 1033465"/>
                <a:gd name="connsiteY14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36054 w 1033465"/>
                <a:gd name="connsiteY14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20077 w 1033465"/>
                <a:gd name="connsiteY144" fmla="*/ 169279 h 838042"/>
                <a:gd name="connsiteX145" fmla="*/ 436054 w 1033465"/>
                <a:gd name="connsiteY14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27697 w 1033465"/>
                <a:gd name="connsiteY143" fmla="*/ 137103 h 838042"/>
                <a:gd name="connsiteX144" fmla="*/ 436054 w 1033465"/>
                <a:gd name="connsiteY14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35401 w 1033465"/>
                <a:gd name="connsiteY142" fmla="*/ 68523 h 838042"/>
                <a:gd name="connsiteX143" fmla="*/ 434509 w 1033465"/>
                <a:gd name="connsiteY143" fmla="*/ 135537 h 838042"/>
                <a:gd name="connsiteX144" fmla="*/ 436054 w 1033465"/>
                <a:gd name="connsiteY14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89597 w 1033465"/>
                <a:gd name="connsiteY3" fmla="*/ 264529 h 838042"/>
                <a:gd name="connsiteX4" fmla="*/ 359117 w 1033465"/>
                <a:gd name="connsiteY4" fmla="*/ 266434 h 838042"/>
                <a:gd name="connsiteX5" fmla="*/ 353402 w 1033465"/>
                <a:gd name="connsiteY5" fmla="*/ 270244 h 838042"/>
                <a:gd name="connsiteX6" fmla="*/ 341972 w 1033465"/>
                <a:gd name="connsiteY6" fmla="*/ 279769 h 838042"/>
                <a:gd name="connsiteX7" fmla="*/ 330542 w 1033465"/>
                <a:gd name="connsiteY7" fmla="*/ 283579 h 838042"/>
                <a:gd name="connsiteX8" fmla="*/ 315302 w 1033465"/>
                <a:gd name="connsiteY8" fmla="*/ 289294 h 838042"/>
                <a:gd name="connsiteX9" fmla="*/ 267677 w 1033465"/>
                <a:gd name="connsiteY9" fmla="*/ 285484 h 838042"/>
                <a:gd name="connsiteX10" fmla="*/ 256247 w 1033465"/>
                <a:gd name="connsiteY10" fmla="*/ 281674 h 838042"/>
                <a:gd name="connsiteX11" fmla="*/ 244817 w 1033465"/>
                <a:gd name="connsiteY11" fmla="*/ 277864 h 838042"/>
                <a:gd name="connsiteX12" fmla="*/ 239102 w 1033465"/>
                <a:gd name="connsiteY12" fmla="*/ 275959 h 838042"/>
                <a:gd name="connsiteX13" fmla="*/ 233387 w 1033465"/>
                <a:gd name="connsiteY13" fmla="*/ 274054 h 838042"/>
                <a:gd name="connsiteX14" fmla="*/ 221957 w 1033465"/>
                <a:gd name="connsiteY14" fmla="*/ 272149 h 838042"/>
                <a:gd name="connsiteX15" fmla="*/ 216242 w 1033465"/>
                <a:gd name="connsiteY15" fmla="*/ 270244 h 838042"/>
                <a:gd name="connsiteX16" fmla="*/ 208622 w 1033465"/>
                <a:gd name="connsiteY16" fmla="*/ 268339 h 838042"/>
                <a:gd name="connsiteX17" fmla="*/ 197192 w 1033465"/>
                <a:gd name="connsiteY17" fmla="*/ 264529 h 838042"/>
                <a:gd name="connsiteX18" fmla="*/ 191477 w 1033465"/>
                <a:gd name="connsiteY18" fmla="*/ 262624 h 838042"/>
                <a:gd name="connsiteX19" fmla="*/ 183857 w 1033465"/>
                <a:gd name="connsiteY19" fmla="*/ 260719 h 838042"/>
                <a:gd name="connsiteX20" fmla="*/ 172427 w 1033465"/>
                <a:gd name="connsiteY20" fmla="*/ 255004 h 838042"/>
                <a:gd name="connsiteX21" fmla="*/ 166712 w 1033465"/>
                <a:gd name="connsiteY21" fmla="*/ 251194 h 838042"/>
                <a:gd name="connsiteX22" fmla="*/ 159092 w 1033465"/>
                <a:gd name="connsiteY22" fmla="*/ 239764 h 838042"/>
                <a:gd name="connsiteX23" fmla="*/ 147662 w 1033465"/>
                <a:gd name="connsiteY23" fmla="*/ 235954 h 838042"/>
                <a:gd name="connsiteX24" fmla="*/ 141947 w 1033465"/>
                <a:gd name="connsiteY24" fmla="*/ 232144 h 838042"/>
                <a:gd name="connsiteX25" fmla="*/ 136232 w 1033465"/>
                <a:gd name="connsiteY25" fmla="*/ 230239 h 838042"/>
                <a:gd name="connsiteX26" fmla="*/ 119087 w 1033465"/>
                <a:gd name="connsiteY26" fmla="*/ 226429 h 838042"/>
                <a:gd name="connsiteX27" fmla="*/ 113372 w 1033465"/>
                <a:gd name="connsiteY27" fmla="*/ 220714 h 838042"/>
                <a:gd name="connsiteX28" fmla="*/ 103847 w 1033465"/>
                <a:gd name="connsiteY28" fmla="*/ 203569 h 838042"/>
                <a:gd name="connsiteX29" fmla="*/ 86702 w 1033465"/>
                <a:gd name="connsiteY29" fmla="*/ 195949 h 838042"/>
                <a:gd name="connsiteX30" fmla="*/ 80987 w 1033465"/>
                <a:gd name="connsiteY30" fmla="*/ 194044 h 838042"/>
                <a:gd name="connsiteX31" fmla="*/ 61937 w 1033465"/>
                <a:gd name="connsiteY31" fmla="*/ 197854 h 838042"/>
                <a:gd name="connsiteX32" fmla="*/ 56222 w 1033465"/>
                <a:gd name="connsiteY32" fmla="*/ 201664 h 838042"/>
                <a:gd name="connsiteX33" fmla="*/ 52412 w 1033465"/>
                <a:gd name="connsiteY33" fmla="*/ 207379 h 838042"/>
                <a:gd name="connsiteX34" fmla="*/ 48602 w 1033465"/>
                <a:gd name="connsiteY34" fmla="*/ 218809 h 838042"/>
                <a:gd name="connsiteX35" fmla="*/ 52412 w 1033465"/>
                <a:gd name="connsiteY35" fmla="*/ 256909 h 838042"/>
                <a:gd name="connsiteX36" fmla="*/ 56222 w 1033465"/>
                <a:gd name="connsiteY36" fmla="*/ 262624 h 838042"/>
                <a:gd name="connsiteX37" fmla="*/ 61937 w 1033465"/>
                <a:gd name="connsiteY37" fmla="*/ 266434 h 838042"/>
                <a:gd name="connsiteX38" fmla="*/ 65747 w 1033465"/>
                <a:gd name="connsiteY38" fmla="*/ 272149 h 838042"/>
                <a:gd name="connsiteX39" fmla="*/ 82892 w 1033465"/>
                <a:gd name="connsiteY39" fmla="*/ 281674 h 838042"/>
                <a:gd name="connsiteX40" fmla="*/ 105752 w 1033465"/>
                <a:gd name="connsiteY40" fmla="*/ 283579 h 838042"/>
                <a:gd name="connsiteX41" fmla="*/ 126707 w 1033465"/>
                <a:gd name="connsiteY41" fmla="*/ 289294 h 838042"/>
                <a:gd name="connsiteX42" fmla="*/ 132422 w 1033465"/>
                <a:gd name="connsiteY42" fmla="*/ 291199 h 838042"/>
                <a:gd name="connsiteX43" fmla="*/ 138137 w 1033465"/>
                <a:gd name="connsiteY43" fmla="*/ 296914 h 838042"/>
                <a:gd name="connsiteX44" fmla="*/ 145757 w 1033465"/>
                <a:gd name="connsiteY44" fmla="*/ 298819 h 838042"/>
                <a:gd name="connsiteX45" fmla="*/ 168617 w 1033465"/>
                <a:gd name="connsiteY45" fmla="*/ 302629 h 838042"/>
                <a:gd name="connsiteX46" fmla="*/ 193382 w 1033465"/>
                <a:gd name="connsiteY46" fmla="*/ 308344 h 838042"/>
                <a:gd name="connsiteX47" fmla="*/ 210527 w 1033465"/>
                <a:gd name="connsiteY47" fmla="*/ 314059 h 838042"/>
                <a:gd name="connsiteX48" fmla="*/ 216242 w 1033465"/>
                <a:gd name="connsiteY48" fmla="*/ 315964 h 838042"/>
                <a:gd name="connsiteX49" fmla="*/ 231482 w 1033465"/>
                <a:gd name="connsiteY49" fmla="*/ 319774 h 838042"/>
                <a:gd name="connsiteX50" fmla="*/ 250532 w 1033465"/>
                <a:gd name="connsiteY50" fmla="*/ 325489 h 838042"/>
                <a:gd name="connsiteX51" fmla="*/ 256247 w 1033465"/>
                <a:gd name="connsiteY51" fmla="*/ 329299 h 838042"/>
                <a:gd name="connsiteX52" fmla="*/ 269582 w 1033465"/>
                <a:gd name="connsiteY52" fmla="*/ 344539 h 838042"/>
                <a:gd name="connsiteX53" fmla="*/ 275297 w 1033465"/>
                <a:gd name="connsiteY53" fmla="*/ 363589 h 838042"/>
                <a:gd name="connsiteX54" fmla="*/ 277202 w 1033465"/>
                <a:gd name="connsiteY54" fmla="*/ 369304 h 838042"/>
                <a:gd name="connsiteX55" fmla="*/ 279107 w 1033465"/>
                <a:gd name="connsiteY55" fmla="*/ 375019 h 838042"/>
                <a:gd name="connsiteX56" fmla="*/ 281012 w 1033465"/>
                <a:gd name="connsiteY56" fmla="*/ 399784 h 838042"/>
                <a:gd name="connsiteX57" fmla="*/ 282917 w 1033465"/>
                <a:gd name="connsiteY57" fmla="*/ 405499 h 838042"/>
                <a:gd name="connsiteX58" fmla="*/ 281012 w 1033465"/>
                <a:gd name="connsiteY58" fmla="*/ 424549 h 838042"/>
                <a:gd name="connsiteX59" fmla="*/ 279107 w 1033465"/>
                <a:gd name="connsiteY59" fmla="*/ 434074 h 838042"/>
                <a:gd name="connsiteX60" fmla="*/ 265772 w 1033465"/>
                <a:gd name="connsiteY60" fmla="*/ 447409 h 838042"/>
                <a:gd name="connsiteX61" fmla="*/ 254342 w 1033465"/>
                <a:gd name="connsiteY61" fmla="*/ 455029 h 838042"/>
                <a:gd name="connsiteX62" fmla="*/ 242912 w 1033465"/>
                <a:gd name="connsiteY62" fmla="*/ 458839 h 838042"/>
                <a:gd name="connsiteX63" fmla="*/ 128612 w 1033465"/>
                <a:gd name="connsiteY63" fmla="*/ 458839 h 838042"/>
                <a:gd name="connsiteX64" fmla="*/ 122897 w 1033465"/>
                <a:gd name="connsiteY64" fmla="*/ 460744 h 838042"/>
                <a:gd name="connsiteX65" fmla="*/ 107657 w 1033465"/>
                <a:gd name="connsiteY65" fmla="*/ 462649 h 838042"/>
                <a:gd name="connsiteX66" fmla="*/ 90512 w 1033465"/>
                <a:gd name="connsiteY66" fmla="*/ 468364 h 838042"/>
                <a:gd name="connsiteX67" fmla="*/ 84797 w 1033465"/>
                <a:gd name="connsiteY67" fmla="*/ 470269 h 838042"/>
                <a:gd name="connsiteX68" fmla="*/ 79082 w 1033465"/>
                <a:gd name="connsiteY68" fmla="*/ 474079 h 838042"/>
                <a:gd name="connsiteX69" fmla="*/ 67652 w 1033465"/>
                <a:gd name="connsiteY69" fmla="*/ 475984 h 838042"/>
                <a:gd name="connsiteX70" fmla="*/ 29552 w 1033465"/>
                <a:gd name="connsiteY70" fmla="*/ 477889 h 838042"/>
                <a:gd name="connsiteX71" fmla="*/ 18122 w 1033465"/>
                <a:gd name="connsiteY71" fmla="*/ 483604 h 838042"/>
                <a:gd name="connsiteX72" fmla="*/ 8597 w 1033465"/>
                <a:gd name="connsiteY72" fmla="*/ 493129 h 838042"/>
                <a:gd name="connsiteX73" fmla="*/ 6692 w 1033465"/>
                <a:gd name="connsiteY73" fmla="*/ 498844 h 838042"/>
                <a:gd name="connsiteX74" fmla="*/ 2882 w 1033465"/>
                <a:gd name="connsiteY74" fmla="*/ 504559 h 838042"/>
                <a:gd name="connsiteX75" fmla="*/ 14312 w 1033465"/>
                <a:gd name="connsiteY75" fmla="*/ 540754 h 838042"/>
                <a:gd name="connsiteX76" fmla="*/ 147662 w 1033465"/>
                <a:gd name="connsiteY76" fmla="*/ 540754 h 838042"/>
                <a:gd name="connsiteX77" fmla="*/ 155282 w 1033465"/>
                <a:gd name="connsiteY77" fmla="*/ 538849 h 838042"/>
                <a:gd name="connsiteX78" fmla="*/ 305777 w 1033465"/>
                <a:gd name="connsiteY78" fmla="*/ 533134 h 838042"/>
                <a:gd name="connsiteX79" fmla="*/ 321017 w 1033465"/>
                <a:gd name="connsiteY79" fmla="*/ 540754 h 838042"/>
                <a:gd name="connsiteX80" fmla="*/ 332447 w 1033465"/>
                <a:gd name="connsiteY80" fmla="*/ 546469 h 838042"/>
                <a:gd name="connsiteX81" fmla="*/ 336257 w 1033465"/>
                <a:gd name="connsiteY81" fmla="*/ 552184 h 838042"/>
                <a:gd name="connsiteX82" fmla="*/ 341972 w 1033465"/>
                <a:gd name="connsiteY82" fmla="*/ 554089 h 838042"/>
                <a:gd name="connsiteX83" fmla="*/ 353402 w 1033465"/>
                <a:gd name="connsiteY83" fmla="*/ 561709 h 838042"/>
                <a:gd name="connsiteX84" fmla="*/ 359117 w 1033465"/>
                <a:gd name="connsiteY84" fmla="*/ 565519 h 838042"/>
                <a:gd name="connsiteX85" fmla="*/ 362927 w 1033465"/>
                <a:gd name="connsiteY85" fmla="*/ 571234 h 838042"/>
                <a:gd name="connsiteX86" fmla="*/ 368642 w 1033465"/>
                <a:gd name="connsiteY86" fmla="*/ 582664 h 838042"/>
                <a:gd name="connsiteX87" fmla="*/ 364832 w 1033465"/>
                <a:gd name="connsiteY87" fmla="*/ 609334 h 838042"/>
                <a:gd name="connsiteX88" fmla="*/ 361022 w 1033465"/>
                <a:gd name="connsiteY88" fmla="*/ 615049 h 838042"/>
                <a:gd name="connsiteX89" fmla="*/ 359117 w 1033465"/>
                <a:gd name="connsiteY89" fmla="*/ 620764 h 838042"/>
                <a:gd name="connsiteX90" fmla="*/ 355307 w 1033465"/>
                <a:gd name="connsiteY90" fmla="*/ 626479 h 838042"/>
                <a:gd name="connsiteX91" fmla="*/ 353402 w 1033465"/>
                <a:gd name="connsiteY91" fmla="*/ 632194 h 838042"/>
                <a:gd name="connsiteX92" fmla="*/ 349592 w 1033465"/>
                <a:gd name="connsiteY92" fmla="*/ 637909 h 838042"/>
                <a:gd name="connsiteX93" fmla="*/ 332447 w 1033465"/>
                <a:gd name="connsiteY93" fmla="*/ 704584 h 838042"/>
                <a:gd name="connsiteX94" fmla="*/ 330542 w 1033465"/>
                <a:gd name="connsiteY94" fmla="*/ 756019 h 838042"/>
                <a:gd name="connsiteX95" fmla="*/ 332447 w 1033465"/>
                <a:gd name="connsiteY95" fmla="*/ 780784 h 838042"/>
                <a:gd name="connsiteX96" fmla="*/ 334352 w 1033465"/>
                <a:gd name="connsiteY96" fmla="*/ 786499 h 838042"/>
                <a:gd name="connsiteX97" fmla="*/ 338162 w 1033465"/>
                <a:gd name="connsiteY97" fmla="*/ 790309 h 838042"/>
                <a:gd name="connsiteX98" fmla="*/ 366737 w 1033465"/>
                <a:gd name="connsiteY98" fmla="*/ 836029 h 838042"/>
                <a:gd name="connsiteX99" fmla="*/ 389597 w 1033465"/>
                <a:gd name="connsiteY99" fmla="*/ 837934 h 838042"/>
                <a:gd name="connsiteX100" fmla="*/ 397407 w 1033465"/>
                <a:gd name="connsiteY100" fmla="*/ 833530 h 838042"/>
                <a:gd name="connsiteX101" fmla="*/ 402932 w 1033465"/>
                <a:gd name="connsiteY101" fmla="*/ 784594 h 838042"/>
                <a:gd name="connsiteX102" fmla="*/ 406742 w 1033465"/>
                <a:gd name="connsiteY102" fmla="*/ 727444 h 838042"/>
                <a:gd name="connsiteX103" fmla="*/ 423887 w 1033465"/>
                <a:gd name="connsiteY103" fmla="*/ 672199 h 838042"/>
                <a:gd name="connsiteX104" fmla="*/ 429602 w 1033465"/>
                <a:gd name="connsiteY104" fmla="*/ 658864 h 838042"/>
                <a:gd name="connsiteX105" fmla="*/ 444084 w 1033465"/>
                <a:gd name="connsiteY105" fmla="*/ 626947 h 838042"/>
                <a:gd name="connsiteX106" fmla="*/ 464289 w 1033465"/>
                <a:gd name="connsiteY106" fmla="*/ 600072 h 838042"/>
                <a:gd name="connsiteX107" fmla="*/ 523510 w 1033465"/>
                <a:gd name="connsiteY107" fmla="*/ 565123 h 838042"/>
                <a:gd name="connsiteX108" fmla="*/ 599348 w 1033465"/>
                <a:gd name="connsiteY108" fmla="*/ 550915 h 838042"/>
                <a:gd name="connsiteX109" fmla="*/ 707801 w 1033465"/>
                <a:gd name="connsiteY109" fmla="*/ 612819 h 838042"/>
                <a:gd name="connsiteX110" fmla="*/ 780122 w 1033465"/>
                <a:gd name="connsiteY110" fmla="*/ 656959 h 838042"/>
                <a:gd name="connsiteX111" fmla="*/ 804887 w 1033465"/>
                <a:gd name="connsiteY111" fmla="*/ 632194 h 838042"/>
                <a:gd name="connsiteX112" fmla="*/ 801077 w 1033465"/>
                <a:gd name="connsiteY112" fmla="*/ 601714 h 838042"/>
                <a:gd name="connsiteX113" fmla="*/ 762796 w 1033465"/>
                <a:gd name="connsiteY113" fmla="*/ 562523 h 838042"/>
                <a:gd name="connsiteX114" fmla="*/ 650582 w 1033465"/>
                <a:gd name="connsiteY114" fmla="*/ 479794 h 838042"/>
                <a:gd name="connsiteX115" fmla="*/ 646772 w 1033465"/>
                <a:gd name="connsiteY115" fmla="*/ 462649 h 838042"/>
                <a:gd name="connsiteX116" fmla="*/ 658202 w 1033465"/>
                <a:gd name="connsiteY116" fmla="*/ 426454 h 838042"/>
                <a:gd name="connsiteX117" fmla="*/ 726782 w 1033465"/>
                <a:gd name="connsiteY117" fmla="*/ 405499 h 838042"/>
                <a:gd name="connsiteX118" fmla="*/ 813738 w 1033465"/>
                <a:gd name="connsiteY118" fmla="*/ 406906 h 838042"/>
                <a:gd name="connsiteX119" fmla="*/ 906231 w 1033465"/>
                <a:gd name="connsiteY119" fmla="*/ 417646 h 838042"/>
                <a:gd name="connsiteX120" fmla="*/ 1002290 w 1033465"/>
                <a:gd name="connsiteY120" fmla="*/ 426835 h 838042"/>
                <a:gd name="connsiteX121" fmla="*/ 1032449 w 1033465"/>
                <a:gd name="connsiteY121" fmla="*/ 402711 h 838042"/>
                <a:gd name="connsiteX122" fmla="*/ 1020514 w 1033465"/>
                <a:gd name="connsiteY122" fmla="*/ 377797 h 838042"/>
                <a:gd name="connsiteX123" fmla="*/ 964889 w 1033465"/>
                <a:gd name="connsiteY123" fmla="*/ 358029 h 838042"/>
                <a:gd name="connsiteX124" fmla="*/ 827747 w 1033465"/>
                <a:gd name="connsiteY124" fmla="*/ 357874 h 838042"/>
                <a:gd name="connsiteX125" fmla="*/ 755811 w 1033465"/>
                <a:gd name="connsiteY125" fmla="*/ 361702 h 838042"/>
                <a:gd name="connsiteX126" fmla="*/ 671537 w 1033465"/>
                <a:gd name="connsiteY126" fmla="*/ 369304 h 838042"/>
                <a:gd name="connsiteX127" fmla="*/ 644867 w 1033465"/>
                <a:gd name="connsiteY127" fmla="*/ 338824 h 838042"/>
                <a:gd name="connsiteX128" fmla="*/ 676403 w 1033465"/>
                <a:gd name="connsiteY128" fmla="*/ 304962 h 838042"/>
                <a:gd name="connsiteX129" fmla="*/ 707732 w 1033465"/>
                <a:gd name="connsiteY129" fmla="*/ 283579 h 838042"/>
                <a:gd name="connsiteX130" fmla="*/ 743927 w 1033465"/>
                <a:gd name="connsiteY130" fmla="*/ 251194 h 838042"/>
                <a:gd name="connsiteX131" fmla="*/ 783019 w 1033465"/>
                <a:gd name="connsiteY131" fmla="*/ 213846 h 838042"/>
                <a:gd name="connsiteX132" fmla="*/ 746401 w 1033465"/>
                <a:gd name="connsiteY132" fmla="*/ 201789 h 838042"/>
                <a:gd name="connsiteX133" fmla="*/ 694397 w 1033465"/>
                <a:gd name="connsiteY133" fmla="*/ 226429 h 838042"/>
                <a:gd name="connsiteX134" fmla="*/ 656678 w 1033465"/>
                <a:gd name="connsiteY134" fmla="*/ 257626 h 838042"/>
                <a:gd name="connsiteX135" fmla="*/ 616001 w 1033465"/>
                <a:gd name="connsiteY135" fmla="*/ 286712 h 838042"/>
                <a:gd name="connsiteX136" fmla="*/ 564857 w 1033465"/>
                <a:gd name="connsiteY136" fmla="*/ 287389 h 838042"/>
                <a:gd name="connsiteX137" fmla="*/ 530567 w 1033465"/>
                <a:gd name="connsiteY137" fmla="*/ 274054 h 838042"/>
                <a:gd name="connsiteX138" fmla="*/ 507707 w 1033465"/>
                <a:gd name="connsiteY138" fmla="*/ 235954 h 838042"/>
                <a:gd name="connsiteX139" fmla="*/ 509612 w 1033465"/>
                <a:gd name="connsiteY139" fmla="*/ 171184 h 838042"/>
                <a:gd name="connsiteX140" fmla="*/ 508314 w 1033465"/>
                <a:gd name="connsiteY140" fmla="*/ 73485 h 838042"/>
                <a:gd name="connsiteX141" fmla="*/ 454116 w 1033465"/>
                <a:gd name="connsiteY141" fmla="*/ 11248 h 838042"/>
                <a:gd name="connsiteX142" fmla="*/ 442470 w 1033465"/>
                <a:gd name="connsiteY142" fmla="*/ 75864 h 838042"/>
                <a:gd name="connsiteX143" fmla="*/ 434509 w 1033465"/>
                <a:gd name="connsiteY143" fmla="*/ 135537 h 838042"/>
                <a:gd name="connsiteX144" fmla="*/ 436054 w 1033465"/>
                <a:gd name="connsiteY14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53402 w 1033465"/>
                <a:gd name="connsiteY4" fmla="*/ 270244 h 838042"/>
                <a:gd name="connsiteX5" fmla="*/ 341972 w 1033465"/>
                <a:gd name="connsiteY5" fmla="*/ 279769 h 838042"/>
                <a:gd name="connsiteX6" fmla="*/ 330542 w 1033465"/>
                <a:gd name="connsiteY6" fmla="*/ 283579 h 838042"/>
                <a:gd name="connsiteX7" fmla="*/ 315302 w 1033465"/>
                <a:gd name="connsiteY7" fmla="*/ 289294 h 838042"/>
                <a:gd name="connsiteX8" fmla="*/ 267677 w 1033465"/>
                <a:gd name="connsiteY8" fmla="*/ 285484 h 838042"/>
                <a:gd name="connsiteX9" fmla="*/ 256247 w 1033465"/>
                <a:gd name="connsiteY9" fmla="*/ 281674 h 838042"/>
                <a:gd name="connsiteX10" fmla="*/ 244817 w 1033465"/>
                <a:gd name="connsiteY10" fmla="*/ 277864 h 838042"/>
                <a:gd name="connsiteX11" fmla="*/ 239102 w 1033465"/>
                <a:gd name="connsiteY11" fmla="*/ 275959 h 838042"/>
                <a:gd name="connsiteX12" fmla="*/ 233387 w 1033465"/>
                <a:gd name="connsiteY12" fmla="*/ 274054 h 838042"/>
                <a:gd name="connsiteX13" fmla="*/ 221957 w 1033465"/>
                <a:gd name="connsiteY13" fmla="*/ 272149 h 838042"/>
                <a:gd name="connsiteX14" fmla="*/ 216242 w 1033465"/>
                <a:gd name="connsiteY14" fmla="*/ 270244 h 838042"/>
                <a:gd name="connsiteX15" fmla="*/ 208622 w 1033465"/>
                <a:gd name="connsiteY15" fmla="*/ 268339 h 838042"/>
                <a:gd name="connsiteX16" fmla="*/ 197192 w 1033465"/>
                <a:gd name="connsiteY16" fmla="*/ 264529 h 838042"/>
                <a:gd name="connsiteX17" fmla="*/ 191477 w 1033465"/>
                <a:gd name="connsiteY17" fmla="*/ 262624 h 838042"/>
                <a:gd name="connsiteX18" fmla="*/ 183857 w 1033465"/>
                <a:gd name="connsiteY18" fmla="*/ 260719 h 838042"/>
                <a:gd name="connsiteX19" fmla="*/ 172427 w 1033465"/>
                <a:gd name="connsiteY19" fmla="*/ 255004 h 838042"/>
                <a:gd name="connsiteX20" fmla="*/ 166712 w 1033465"/>
                <a:gd name="connsiteY20" fmla="*/ 251194 h 838042"/>
                <a:gd name="connsiteX21" fmla="*/ 159092 w 1033465"/>
                <a:gd name="connsiteY21" fmla="*/ 239764 h 838042"/>
                <a:gd name="connsiteX22" fmla="*/ 147662 w 1033465"/>
                <a:gd name="connsiteY22" fmla="*/ 235954 h 838042"/>
                <a:gd name="connsiteX23" fmla="*/ 141947 w 1033465"/>
                <a:gd name="connsiteY23" fmla="*/ 232144 h 838042"/>
                <a:gd name="connsiteX24" fmla="*/ 136232 w 1033465"/>
                <a:gd name="connsiteY24" fmla="*/ 230239 h 838042"/>
                <a:gd name="connsiteX25" fmla="*/ 119087 w 1033465"/>
                <a:gd name="connsiteY25" fmla="*/ 226429 h 838042"/>
                <a:gd name="connsiteX26" fmla="*/ 113372 w 1033465"/>
                <a:gd name="connsiteY26" fmla="*/ 220714 h 838042"/>
                <a:gd name="connsiteX27" fmla="*/ 103847 w 1033465"/>
                <a:gd name="connsiteY27" fmla="*/ 203569 h 838042"/>
                <a:gd name="connsiteX28" fmla="*/ 86702 w 1033465"/>
                <a:gd name="connsiteY28" fmla="*/ 195949 h 838042"/>
                <a:gd name="connsiteX29" fmla="*/ 80987 w 1033465"/>
                <a:gd name="connsiteY29" fmla="*/ 194044 h 838042"/>
                <a:gd name="connsiteX30" fmla="*/ 61937 w 1033465"/>
                <a:gd name="connsiteY30" fmla="*/ 197854 h 838042"/>
                <a:gd name="connsiteX31" fmla="*/ 56222 w 1033465"/>
                <a:gd name="connsiteY31" fmla="*/ 201664 h 838042"/>
                <a:gd name="connsiteX32" fmla="*/ 52412 w 1033465"/>
                <a:gd name="connsiteY32" fmla="*/ 207379 h 838042"/>
                <a:gd name="connsiteX33" fmla="*/ 48602 w 1033465"/>
                <a:gd name="connsiteY33" fmla="*/ 218809 h 838042"/>
                <a:gd name="connsiteX34" fmla="*/ 52412 w 1033465"/>
                <a:gd name="connsiteY34" fmla="*/ 256909 h 838042"/>
                <a:gd name="connsiteX35" fmla="*/ 56222 w 1033465"/>
                <a:gd name="connsiteY35" fmla="*/ 262624 h 838042"/>
                <a:gd name="connsiteX36" fmla="*/ 61937 w 1033465"/>
                <a:gd name="connsiteY36" fmla="*/ 266434 h 838042"/>
                <a:gd name="connsiteX37" fmla="*/ 65747 w 1033465"/>
                <a:gd name="connsiteY37" fmla="*/ 272149 h 838042"/>
                <a:gd name="connsiteX38" fmla="*/ 82892 w 1033465"/>
                <a:gd name="connsiteY38" fmla="*/ 281674 h 838042"/>
                <a:gd name="connsiteX39" fmla="*/ 105752 w 1033465"/>
                <a:gd name="connsiteY39" fmla="*/ 283579 h 838042"/>
                <a:gd name="connsiteX40" fmla="*/ 126707 w 1033465"/>
                <a:gd name="connsiteY40" fmla="*/ 289294 h 838042"/>
                <a:gd name="connsiteX41" fmla="*/ 132422 w 1033465"/>
                <a:gd name="connsiteY41" fmla="*/ 291199 h 838042"/>
                <a:gd name="connsiteX42" fmla="*/ 138137 w 1033465"/>
                <a:gd name="connsiteY42" fmla="*/ 296914 h 838042"/>
                <a:gd name="connsiteX43" fmla="*/ 145757 w 1033465"/>
                <a:gd name="connsiteY43" fmla="*/ 298819 h 838042"/>
                <a:gd name="connsiteX44" fmla="*/ 168617 w 1033465"/>
                <a:gd name="connsiteY44" fmla="*/ 302629 h 838042"/>
                <a:gd name="connsiteX45" fmla="*/ 193382 w 1033465"/>
                <a:gd name="connsiteY45" fmla="*/ 308344 h 838042"/>
                <a:gd name="connsiteX46" fmla="*/ 210527 w 1033465"/>
                <a:gd name="connsiteY46" fmla="*/ 314059 h 838042"/>
                <a:gd name="connsiteX47" fmla="*/ 216242 w 1033465"/>
                <a:gd name="connsiteY47" fmla="*/ 315964 h 838042"/>
                <a:gd name="connsiteX48" fmla="*/ 231482 w 1033465"/>
                <a:gd name="connsiteY48" fmla="*/ 319774 h 838042"/>
                <a:gd name="connsiteX49" fmla="*/ 250532 w 1033465"/>
                <a:gd name="connsiteY49" fmla="*/ 325489 h 838042"/>
                <a:gd name="connsiteX50" fmla="*/ 256247 w 1033465"/>
                <a:gd name="connsiteY50" fmla="*/ 329299 h 838042"/>
                <a:gd name="connsiteX51" fmla="*/ 269582 w 1033465"/>
                <a:gd name="connsiteY51" fmla="*/ 344539 h 838042"/>
                <a:gd name="connsiteX52" fmla="*/ 275297 w 1033465"/>
                <a:gd name="connsiteY52" fmla="*/ 363589 h 838042"/>
                <a:gd name="connsiteX53" fmla="*/ 277202 w 1033465"/>
                <a:gd name="connsiteY53" fmla="*/ 369304 h 838042"/>
                <a:gd name="connsiteX54" fmla="*/ 279107 w 1033465"/>
                <a:gd name="connsiteY54" fmla="*/ 375019 h 838042"/>
                <a:gd name="connsiteX55" fmla="*/ 281012 w 1033465"/>
                <a:gd name="connsiteY55" fmla="*/ 399784 h 838042"/>
                <a:gd name="connsiteX56" fmla="*/ 282917 w 1033465"/>
                <a:gd name="connsiteY56" fmla="*/ 405499 h 838042"/>
                <a:gd name="connsiteX57" fmla="*/ 281012 w 1033465"/>
                <a:gd name="connsiteY57" fmla="*/ 424549 h 838042"/>
                <a:gd name="connsiteX58" fmla="*/ 279107 w 1033465"/>
                <a:gd name="connsiteY58" fmla="*/ 434074 h 838042"/>
                <a:gd name="connsiteX59" fmla="*/ 265772 w 1033465"/>
                <a:gd name="connsiteY59" fmla="*/ 447409 h 838042"/>
                <a:gd name="connsiteX60" fmla="*/ 254342 w 1033465"/>
                <a:gd name="connsiteY60" fmla="*/ 455029 h 838042"/>
                <a:gd name="connsiteX61" fmla="*/ 242912 w 1033465"/>
                <a:gd name="connsiteY61" fmla="*/ 458839 h 838042"/>
                <a:gd name="connsiteX62" fmla="*/ 128612 w 1033465"/>
                <a:gd name="connsiteY62" fmla="*/ 458839 h 838042"/>
                <a:gd name="connsiteX63" fmla="*/ 122897 w 1033465"/>
                <a:gd name="connsiteY63" fmla="*/ 460744 h 838042"/>
                <a:gd name="connsiteX64" fmla="*/ 107657 w 1033465"/>
                <a:gd name="connsiteY64" fmla="*/ 462649 h 838042"/>
                <a:gd name="connsiteX65" fmla="*/ 90512 w 1033465"/>
                <a:gd name="connsiteY65" fmla="*/ 468364 h 838042"/>
                <a:gd name="connsiteX66" fmla="*/ 84797 w 1033465"/>
                <a:gd name="connsiteY66" fmla="*/ 470269 h 838042"/>
                <a:gd name="connsiteX67" fmla="*/ 79082 w 1033465"/>
                <a:gd name="connsiteY67" fmla="*/ 474079 h 838042"/>
                <a:gd name="connsiteX68" fmla="*/ 67652 w 1033465"/>
                <a:gd name="connsiteY68" fmla="*/ 475984 h 838042"/>
                <a:gd name="connsiteX69" fmla="*/ 29552 w 1033465"/>
                <a:gd name="connsiteY69" fmla="*/ 477889 h 838042"/>
                <a:gd name="connsiteX70" fmla="*/ 18122 w 1033465"/>
                <a:gd name="connsiteY70" fmla="*/ 483604 h 838042"/>
                <a:gd name="connsiteX71" fmla="*/ 8597 w 1033465"/>
                <a:gd name="connsiteY71" fmla="*/ 493129 h 838042"/>
                <a:gd name="connsiteX72" fmla="*/ 6692 w 1033465"/>
                <a:gd name="connsiteY72" fmla="*/ 498844 h 838042"/>
                <a:gd name="connsiteX73" fmla="*/ 2882 w 1033465"/>
                <a:gd name="connsiteY73" fmla="*/ 504559 h 838042"/>
                <a:gd name="connsiteX74" fmla="*/ 14312 w 1033465"/>
                <a:gd name="connsiteY74" fmla="*/ 540754 h 838042"/>
                <a:gd name="connsiteX75" fmla="*/ 147662 w 1033465"/>
                <a:gd name="connsiteY75" fmla="*/ 540754 h 838042"/>
                <a:gd name="connsiteX76" fmla="*/ 155282 w 1033465"/>
                <a:gd name="connsiteY76" fmla="*/ 538849 h 838042"/>
                <a:gd name="connsiteX77" fmla="*/ 305777 w 1033465"/>
                <a:gd name="connsiteY77" fmla="*/ 533134 h 838042"/>
                <a:gd name="connsiteX78" fmla="*/ 321017 w 1033465"/>
                <a:gd name="connsiteY78" fmla="*/ 540754 h 838042"/>
                <a:gd name="connsiteX79" fmla="*/ 332447 w 1033465"/>
                <a:gd name="connsiteY79" fmla="*/ 546469 h 838042"/>
                <a:gd name="connsiteX80" fmla="*/ 336257 w 1033465"/>
                <a:gd name="connsiteY80" fmla="*/ 552184 h 838042"/>
                <a:gd name="connsiteX81" fmla="*/ 341972 w 1033465"/>
                <a:gd name="connsiteY81" fmla="*/ 554089 h 838042"/>
                <a:gd name="connsiteX82" fmla="*/ 353402 w 1033465"/>
                <a:gd name="connsiteY82" fmla="*/ 561709 h 838042"/>
                <a:gd name="connsiteX83" fmla="*/ 359117 w 1033465"/>
                <a:gd name="connsiteY83" fmla="*/ 565519 h 838042"/>
                <a:gd name="connsiteX84" fmla="*/ 362927 w 1033465"/>
                <a:gd name="connsiteY84" fmla="*/ 571234 h 838042"/>
                <a:gd name="connsiteX85" fmla="*/ 368642 w 1033465"/>
                <a:gd name="connsiteY85" fmla="*/ 582664 h 838042"/>
                <a:gd name="connsiteX86" fmla="*/ 364832 w 1033465"/>
                <a:gd name="connsiteY86" fmla="*/ 609334 h 838042"/>
                <a:gd name="connsiteX87" fmla="*/ 361022 w 1033465"/>
                <a:gd name="connsiteY87" fmla="*/ 615049 h 838042"/>
                <a:gd name="connsiteX88" fmla="*/ 359117 w 1033465"/>
                <a:gd name="connsiteY88" fmla="*/ 620764 h 838042"/>
                <a:gd name="connsiteX89" fmla="*/ 355307 w 1033465"/>
                <a:gd name="connsiteY89" fmla="*/ 626479 h 838042"/>
                <a:gd name="connsiteX90" fmla="*/ 353402 w 1033465"/>
                <a:gd name="connsiteY90" fmla="*/ 632194 h 838042"/>
                <a:gd name="connsiteX91" fmla="*/ 349592 w 1033465"/>
                <a:gd name="connsiteY91" fmla="*/ 637909 h 838042"/>
                <a:gd name="connsiteX92" fmla="*/ 332447 w 1033465"/>
                <a:gd name="connsiteY92" fmla="*/ 704584 h 838042"/>
                <a:gd name="connsiteX93" fmla="*/ 330542 w 1033465"/>
                <a:gd name="connsiteY93" fmla="*/ 756019 h 838042"/>
                <a:gd name="connsiteX94" fmla="*/ 332447 w 1033465"/>
                <a:gd name="connsiteY94" fmla="*/ 780784 h 838042"/>
                <a:gd name="connsiteX95" fmla="*/ 334352 w 1033465"/>
                <a:gd name="connsiteY95" fmla="*/ 786499 h 838042"/>
                <a:gd name="connsiteX96" fmla="*/ 338162 w 1033465"/>
                <a:gd name="connsiteY96" fmla="*/ 790309 h 838042"/>
                <a:gd name="connsiteX97" fmla="*/ 366737 w 1033465"/>
                <a:gd name="connsiteY97" fmla="*/ 836029 h 838042"/>
                <a:gd name="connsiteX98" fmla="*/ 389597 w 1033465"/>
                <a:gd name="connsiteY98" fmla="*/ 837934 h 838042"/>
                <a:gd name="connsiteX99" fmla="*/ 397407 w 1033465"/>
                <a:gd name="connsiteY99" fmla="*/ 833530 h 838042"/>
                <a:gd name="connsiteX100" fmla="*/ 402932 w 1033465"/>
                <a:gd name="connsiteY100" fmla="*/ 784594 h 838042"/>
                <a:gd name="connsiteX101" fmla="*/ 406742 w 1033465"/>
                <a:gd name="connsiteY101" fmla="*/ 727444 h 838042"/>
                <a:gd name="connsiteX102" fmla="*/ 423887 w 1033465"/>
                <a:gd name="connsiteY102" fmla="*/ 672199 h 838042"/>
                <a:gd name="connsiteX103" fmla="*/ 429602 w 1033465"/>
                <a:gd name="connsiteY103" fmla="*/ 658864 h 838042"/>
                <a:gd name="connsiteX104" fmla="*/ 444084 w 1033465"/>
                <a:gd name="connsiteY104" fmla="*/ 626947 h 838042"/>
                <a:gd name="connsiteX105" fmla="*/ 464289 w 1033465"/>
                <a:gd name="connsiteY105" fmla="*/ 600072 h 838042"/>
                <a:gd name="connsiteX106" fmla="*/ 523510 w 1033465"/>
                <a:gd name="connsiteY106" fmla="*/ 565123 h 838042"/>
                <a:gd name="connsiteX107" fmla="*/ 599348 w 1033465"/>
                <a:gd name="connsiteY107" fmla="*/ 550915 h 838042"/>
                <a:gd name="connsiteX108" fmla="*/ 707801 w 1033465"/>
                <a:gd name="connsiteY108" fmla="*/ 612819 h 838042"/>
                <a:gd name="connsiteX109" fmla="*/ 780122 w 1033465"/>
                <a:gd name="connsiteY109" fmla="*/ 656959 h 838042"/>
                <a:gd name="connsiteX110" fmla="*/ 804887 w 1033465"/>
                <a:gd name="connsiteY110" fmla="*/ 632194 h 838042"/>
                <a:gd name="connsiteX111" fmla="*/ 801077 w 1033465"/>
                <a:gd name="connsiteY111" fmla="*/ 601714 h 838042"/>
                <a:gd name="connsiteX112" fmla="*/ 762796 w 1033465"/>
                <a:gd name="connsiteY112" fmla="*/ 562523 h 838042"/>
                <a:gd name="connsiteX113" fmla="*/ 650582 w 1033465"/>
                <a:gd name="connsiteY113" fmla="*/ 479794 h 838042"/>
                <a:gd name="connsiteX114" fmla="*/ 646772 w 1033465"/>
                <a:gd name="connsiteY114" fmla="*/ 462649 h 838042"/>
                <a:gd name="connsiteX115" fmla="*/ 658202 w 1033465"/>
                <a:gd name="connsiteY115" fmla="*/ 426454 h 838042"/>
                <a:gd name="connsiteX116" fmla="*/ 726782 w 1033465"/>
                <a:gd name="connsiteY116" fmla="*/ 405499 h 838042"/>
                <a:gd name="connsiteX117" fmla="*/ 813738 w 1033465"/>
                <a:gd name="connsiteY117" fmla="*/ 406906 h 838042"/>
                <a:gd name="connsiteX118" fmla="*/ 906231 w 1033465"/>
                <a:gd name="connsiteY118" fmla="*/ 417646 h 838042"/>
                <a:gd name="connsiteX119" fmla="*/ 1002290 w 1033465"/>
                <a:gd name="connsiteY119" fmla="*/ 426835 h 838042"/>
                <a:gd name="connsiteX120" fmla="*/ 1032449 w 1033465"/>
                <a:gd name="connsiteY120" fmla="*/ 402711 h 838042"/>
                <a:gd name="connsiteX121" fmla="*/ 1020514 w 1033465"/>
                <a:gd name="connsiteY121" fmla="*/ 377797 h 838042"/>
                <a:gd name="connsiteX122" fmla="*/ 964889 w 1033465"/>
                <a:gd name="connsiteY122" fmla="*/ 358029 h 838042"/>
                <a:gd name="connsiteX123" fmla="*/ 827747 w 1033465"/>
                <a:gd name="connsiteY123" fmla="*/ 357874 h 838042"/>
                <a:gd name="connsiteX124" fmla="*/ 755811 w 1033465"/>
                <a:gd name="connsiteY124" fmla="*/ 361702 h 838042"/>
                <a:gd name="connsiteX125" fmla="*/ 671537 w 1033465"/>
                <a:gd name="connsiteY125" fmla="*/ 369304 h 838042"/>
                <a:gd name="connsiteX126" fmla="*/ 644867 w 1033465"/>
                <a:gd name="connsiteY126" fmla="*/ 338824 h 838042"/>
                <a:gd name="connsiteX127" fmla="*/ 676403 w 1033465"/>
                <a:gd name="connsiteY127" fmla="*/ 304962 h 838042"/>
                <a:gd name="connsiteX128" fmla="*/ 707732 w 1033465"/>
                <a:gd name="connsiteY128" fmla="*/ 283579 h 838042"/>
                <a:gd name="connsiteX129" fmla="*/ 743927 w 1033465"/>
                <a:gd name="connsiteY129" fmla="*/ 251194 h 838042"/>
                <a:gd name="connsiteX130" fmla="*/ 783019 w 1033465"/>
                <a:gd name="connsiteY130" fmla="*/ 213846 h 838042"/>
                <a:gd name="connsiteX131" fmla="*/ 746401 w 1033465"/>
                <a:gd name="connsiteY131" fmla="*/ 201789 h 838042"/>
                <a:gd name="connsiteX132" fmla="*/ 694397 w 1033465"/>
                <a:gd name="connsiteY132" fmla="*/ 226429 h 838042"/>
                <a:gd name="connsiteX133" fmla="*/ 656678 w 1033465"/>
                <a:gd name="connsiteY133" fmla="*/ 257626 h 838042"/>
                <a:gd name="connsiteX134" fmla="*/ 616001 w 1033465"/>
                <a:gd name="connsiteY134" fmla="*/ 286712 h 838042"/>
                <a:gd name="connsiteX135" fmla="*/ 564857 w 1033465"/>
                <a:gd name="connsiteY135" fmla="*/ 287389 h 838042"/>
                <a:gd name="connsiteX136" fmla="*/ 530567 w 1033465"/>
                <a:gd name="connsiteY136" fmla="*/ 274054 h 838042"/>
                <a:gd name="connsiteX137" fmla="*/ 507707 w 1033465"/>
                <a:gd name="connsiteY137" fmla="*/ 235954 h 838042"/>
                <a:gd name="connsiteX138" fmla="*/ 509612 w 1033465"/>
                <a:gd name="connsiteY138" fmla="*/ 171184 h 838042"/>
                <a:gd name="connsiteX139" fmla="*/ 508314 w 1033465"/>
                <a:gd name="connsiteY139" fmla="*/ 73485 h 838042"/>
                <a:gd name="connsiteX140" fmla="*/ 454116 w 1033465"/>
                <a:gd name="connsiteY140" fmla="*/ 11248 h 838042"/>
                <a:gd name="connsiteX141" fmla="*/ 442470 w 1033465"/>
                <a:gd name="connsiteY141" fmla="*/ 75864 h 838042"/>
                <a:gd name="connsiteX142" fmla="*/ 434509 w 1033465"/>
                <a:gd name="connsiteY142" fmla="*/ 135537 h 838042"/>
                <a:gd name="connsiteX143" fmla="*/ 436054 w 1033465"/>
                <a:gd name="connsiteY14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53402 w 1033465"/>
                <a:gd name="connsiteY4" fmla="*/ 270244 h 838042"/>
                <a:gd name="connsiteX5" fmla="*/ 330542 w 1033465"/>
                <a:gd name="connsiteY5" fmla="*/ 283579 h 838042"/>
                <a:gd name="connsiteX6" fmla="*/ 315302 w 1033465"/>
                <a:gd name="connsiteY6" fmla="*/ 289294 h 838042"/>
                <a:gd name="connsiteX7" fmla="*/ 267677 w 1033465"/>
                <a:gd name="connsiteY7" fmla="*/ 285484 h 838042"/>
                <a:gd name="connsiteX8" fmla="*/ 256247 w 1033465"/>
                <a:gd name="connsiteY8" fmla="*/ 281674 h 838042"/>
                <a:gd name="connsiteX9" fmla="*/ 244817 w 1033465"/>
                <a:gd name="connsiteY9" fmla="*/ 277864 h 838042"/>
                <a:gd name="connsiteX10" fmla="*/ 239102 w 1033465"/>
                <a:gd name="connsiteY10" fmla="*/ 275959 h 838042"/>
                <a:gd name="connsiteX11" fmla="*/ 233387 w 1033465"/>
                <a:gd name="connsiteY11" fmla="*/ 274054 h 838042"/>
                <a:gd name="connsiteX12" fmla="*/ 221957 w 1033465"/>
                <a:gd name="connsiteY12" fmla="*/ 272149 h 838042"/>
                <a:gd name="connsiteX13" fmla="*/ 216242 w 1033465"/>
                <a:gd name="connsiteY13" fmla="*/ 270244 h 838042"/>
                <a:gd name="connsiteX14" fmla="*/ 208622 w 1033465"/>
                <a:gd name="connsiteY14" fmla="*/ 268339 h 838042"/>
                <a:gd name="connsiteX15" fmla="*/ 197192 w 1033465"/>
                <a:gd name="connsiteY15" fmla="*/ 264529 h 838042"/>
                <a:gd name="connsiteX16" fmla="*/ 191477 w 1033465"/>
                <a:gd name="connsiteY16" fmla="*/ 262624 h 838042"/>
                <a:gd name="connsiteX17" fmla="*/ 183857 w 1033465"/>
                <a:gd name="connsiteY17" fmla="*/ 260719 h 838042"/>
                <a:gd name="connsiteX18" fmla="*/ 172427 w 1033465"/>
                <a:gd name="connsiteY18" fmla="*/ 255004 h 838042"/>
                <a:gd name="connsiteX19" fmla="*/ 166712 w 1033465"/>
                <a:gd name="connsiteY19" fmla="*/ 251194 h 838042"/>
                <a:gd name="connsiteX20" fmla="*/ 159092 w 1033465"/>
                <a:gd name="connsiteY20" fmla="*/ 239764 h 838042"/>
                <a:gd name="connsiteX21" fmla="*/ 147662 w 1033465"/>
                <a:gd name="connsiteY21" fmla="*/ 235954 h 838042"/>
                <a:gd name="connsiteX22" fmla="*/ 141947 w 1033465"/>
                <a:gd name="connsiteY22" fmla="*/ 232144 h 838042"/>
                <a:gd name="connsiteX23" fmla="*/ 136232 w 1033465"/>
                <a:gd name="connsiteY23" fmla="*/ 230239 h 838042"/>
                <a:gd name="connsiteX24" fmla="*/ 119087 w 1033465"/>
                <a:gd name="connsiteY24" fmla="*/ 226429 h 838042"/>
                <a:gd name="connsiteX25" fmla="*/ 113372 w 1033465"/>
                <a:gd name="connsiteY25" fmla="*/ 220714 h 838042"/>
                <a:gd name="connsiteX26" fmla="*/ 103847 w 1033465"/>
                <a:gd name="connsiteY26" fmla="*/ 203569 h 838042"/>
                <a:gd name="connsiteX27" fmla="*/ 86702 w 1033465"/>
                <a:gd name="connsiteY27" fmla="*/ 195949 h 838042"/>
                <a:gd name="connsiteX28" fmla="*/ 80987 w 1033465"/>
                <a:gd name="connsiteY28" fmla="*/ 194044 h 838042"/>
                <a:gd name="connsiteX29" fmla="*/ 61937 w 1033465"/>
                <a:gd name="connsiteY29" fmla="*/ 197854 h 838042"/>
                <a:gd name="connsiteX30" fmla="*/ 56222 w 1033465"/>
                <a:gd name="connsiteY30" fmla="*/ 201664 h 838042"/>
                <a:gd name="connsiteX31" fmla="*/ 52412 w 1033465"/>
                <a:gd name="connsiteY31" fmla="*/ 207379 h 838042"/>
                <a:gd name="connsiteX32" fmla="*/ 48602 w 1033465"/>
                <a:gd name="connsiteY32" fmla="*/ 218809 h 838042"/>
                <a:gd name="connsiteX33" fmla="*/ 52412 w 1033465"/>
                <a:gd name="connsiteY33" fmla="*/ 256909 h 838042"/>
                <a:gd name="connsiteX34" fmla="*/ 56222 w 1033465"/>
                <a:gd name="connsiteY34" fmla="*/ 262624 h 838042"/>
                <a:gd name="connsiteX35" fmla="*/ 61937 w 1033465"/>
                <a:gd name="connsiteY35" fmla="*/ 266434 h 838042"/>
                <a:gd name="connsiteX36" fmla="*/ 65747 w 1033465"/>
                <a:gd name="connsiteY36" fmla="*/ 272149 h 838042"/>
                <a:gd name="connsiteX37" fmla="*/ 82892 w 1033465"/>
                <a:gd name="connsiteY37" fmla="*/ 281674 h 838042"/>
                <a:gd name="connsiteX38" fmla="*/ 105752 w 1033465"/>
                <a:gd name="connsiteY38" fmla="*/ 283579 h 838042"/>
                <a:gd name="connsiteX39" fmla="*/ 126707 w 1033465"/>
                <a:gd name="connsiteY39" fmla="*/ 289294 h 838042"/>
                <a:gd name="connsiteX40" fmla="*/ 132422 w 1033465"/>
                <a:gd name="connsiteY40" fmla="*/ 291199 h 838042"/>
                <a:gd name="connsiteX41" fmla="*/ 138137 w 1033465"/>
                <a:gd name="connsiteY41" fmla="*/ 296914 h 838042"/>
                <a:gd name="connsiteX42" fmla="*/ 145757 w 1033465"/>
                <a:gd name="connsiteY42" fmla="*/ 298819 h 838042"/>
                <a:gd name="connsiteX43" fmla="*/ 168617 w 1033465"/>
                <a:gd name="connsiteY43" fmla="*/ 302629 h 838042"/>
                <a:gd name="connsiteX44" fmla="*/ 193382 w 1033465"/>
                <a:gd name="connsiteY44" fmla="*/ 308344 h 838042"/>
                <a:gd name="connsiteX45" fmla="*/ 210527 w 1033465"/>
                <a:gd name="connsiteY45" fmla="*/ 314059 h 838042"/>
                <a:gd name="connsiteX46" fmla="*/ 216242 w 1033465"/>
                <a:gd name="connsiteY46" fmla="*/ 315964 h 838042"/>
                <a:gd name="connsiteX47" fmla="*/ 231482 w 1033465"/>
                <a:gd name="connsiteY47" fmla="*/ 319774 h 838042"/>
                <a:gd name="connsiteX48" fmla="*/ 250532 w 1033465"/>
                <a:gd name="connsiteY48" fmla="*/ 325489 h 838042"/>
                <a:gd name="connsiteX49" fmla="*/ 256247 w 1033465"/>
                <a:gd name="connsiteY49" fmla="*/ 329299 h 838042"/>
                <a:gd name="connsiteX50" fmla="*/ 269582 w 1033465"/>
                <a:gd name="connsiteY50" fmla="*/ 344539 h 838042"/>
                <a:gd name="connsiteX51" fmla="*/ 275297 w 1033465"/>
                <a:gd name="connsiteY51" fmla="*/ 363589 h 838042"/>
                <a:gd name="connsiteX52" fmla="*/ 277202 w 1033465"/>
                <a:gd name="connsiteY52" fmla="*/ 369304 h 838042"/>
                <a:gd name="connsiteX53" fmla="*/ 279107 w 1033465"/>
                <a:gd name="connsiteY53" fmla="*/ 375019 h 838042"/>
                <a:gd name="connsiteX54" fmla="*/ 281012 w 1033465"/>
                <a:gd name="connsiteY54" fmla="*/ 399784 h 838042"/>
                <a:gd name="connsiteX55" fmla="*/ 282917 w 1033465"/>
                <a:gd name="connsiteY55" fmla="*/ 405499 h 838042"/>
                <a:gd name="connsiteX56" fmla="*/ 281012 w 1033465"/>
                <a:gd name="connsiteY56" fmla="*/ 424549 h 838042"/>
                <a:gd name="connsiteX57" fmla="*/ 279107 w 1033465"/>
                <a:gd name="connsiteY57" fmla="*/ 434074 h 838042"/>
                <a:gd name="connsiteX58" fmla="*/ 265772 w 1033465"/>
                <a:gd name="connsiteY58" fmla="*/ 447409 h 838042"/>
                <a:gd name="connsiteX59" fmla="*/ 254342 w 1033465"/>
                <a:gd name="connsiteY59" fmla="*/ 455029 h 838042"/>
                <a:gd name="connsiteX60" fmla="*/ 242912 w 1033465"/>
                <a:gd name="connsiteY60" fmla="*/ 458839 h 838042"/>
                <a:gd name="connsiteX61" fmla="*/ 128612 w 1033465"/>
                <a:gd name="connsiteY61" fmla="*/ 458839 h 838042"/>
                <a:gd name="connsiteX62" fmla="*/ 122897 w 1033465"/>
                <a:gd name="connsiteY62" fmla="*/ 460744 h 838042"/>
                <a:gd name="connsiteX63" fmla="*/ 107657 w 1033465"/>
                <a:gd name="connsiteY63" fmla="*/ 462649 h 838042"/>
                <a:gd name="connsiteX64" fmla="*/ 90512 w 1033465"/>
                <a:gd name="connsiteY64" fmla="*/ 468364 h 838042"/>
                <a:gd name="connsiteX65" fmla="*/ 84797 w 1033465"/>
                <a:gd name="connsiteY65" fmla="*/ 470269 h 838042"/>
                <a:gd name="connsiteX66" fmla="*/ 79082 w 1033465"/>
                <a:gd name="connsiteY66" fmla="*/ 474079 h 838042"/>
                <a:gd name="connsiteX67" fmla="*/ 67652 w 1033465"/>
                <a:gd name="connsiteY67" fmla="*/ 475984 h 838042"/>
                <a:gd name="connsiteX68" fmla="*/ 29552 w 1033465"/>
                <a:gd name="connsiteY68" fmla="*/ 477889 h 838042"/>
                <a:gd name="connsiteX69" fmla="*/ 18122 w 1033465"/>
                <a:gd name="connsiteY69" fmla="*/ 483604 h 838042"/>
                <a:gd name="connsiteX70" fmla="*/ 8597 w 1033465"/>
                <a:gd name="connsiteY70" fmla="*/ 493129 h 838042"/>
                <a:gd name="connsiteX71" fmla="*/ 6692 w 1033465"/>
                <a:gd name="connsiteY71" fmla="*/ 498844 h 838042"/>
                <a:gd name="connsiteX72" fmla="*/ 2882 w 1033465"/>
                <a:gd name="connsiteY72" fmla="*/ 504559 h 838042"/>
                <a:gd name="connsiteX73" fmla="*/ 14312 w 1033465"/>
                <a:gd name="connsiteY73" fmla="*/ 540754 h 838042"/>
                <a:gd name="connsiteX74" fmla="*/ 147662 w 1033465"/>
                <a:gd name="connsiteY74" fmla="*/ 540754 h 838042"/>
                <a:gd name="connsiteX75" fmla="*/ 155282 w 1033465"/>
                <a:gd name="connsiteY75" fmla="*/ 538849 h 838042"/>
                <a:gd name="connsiteX76" fmla="*/ 305777 w 1033465"/>
                <a:gd name="connsiteY76" fmla="*/ 533134 h 838042"/>
                <a:gd name="connsiteX77" fmla="*/ 321017 w 1033465"/>
                <a:gd name="connsiteY77" fmla="*/ 540754 h 838042"/>
                <a:gd name="connsiteX78" fmla="*/ 332447 w 1033465"/>
                <a:gd name="connsiteY78" fmla="*/ 546469 h 838042"/>
                <a:gd name="connsiteX79" fmla="*/ 336257 w 1033465"/>
                <a:gd name="connsiteY79" fmla="*/ 552184 h 838042"/>
                <a:gd name="connsiteX80" fmla="*/ 341972 w 1033465"/>
                <a:gd name="connsiteY80" fmla="*/ 554089 h 838042"/>
                <a:gd name="connsiteX81" fmla="*/ 353402 w 1033465"/>
                <a:gd name="connsiteY81" fmla="*/ 561709 h 838042"/>
                <a:gd name="connsiteX82" fmla="*/ 359117 w 1033465"/>
                <a:gd name="connsiteY82" fmla="*/ 565519 h 838042"/>
                <a:gd name="connsiteX83" fmla="*/ 362927 w 1033465"/>
                <a:gd name="connsiteY83" fmla="*/ 571234 h 838042"/>
                <a:gd name="connsiteX84" fmla="*/ 368642 w 1033465"/>
                <a:gd name="connsiteY84" fmla="*/ 582664 h 838042"/>
                <a:gd name="connsiteX85" fmla="*/ 364832 w 1033465"/>
                <a:gd name="connsiteY85" fmla="*/ 609334 h 838042"/>
                <a:gd name="connsiteX86" fmla="*/ 361022 w 1033465"/>
                <a:gd name="connsiteY86" fmla="*/ 615049 h 838042"/>
                <a:gd name="connsiteX87" fmla="*/ 359117 w 1033465"/>
                <a:gd name="connsiteY87" fmla="*/ 620764 h 838042"/>
                <a:gd name="connsiteX88" fmla="*/ 355307 w 1033465"/>
                <a:gd name="connsiteY88" fmla="*/ 626479 h 838042"/>
                <a:gd name="connsiteX89" fmla="*/ 353402 w 1033465"/>
                <a:gd name="connsiteY89" fmla="*/ 632194 h 838042"/>
                <a:gd name="connsiteX90" fmla="*/ 349592 w 1033465"/>
                <a:gd name="connsiteY90" fmla="*/ 637909 h 838042"/>
                <a:gd name="connsiteX91" fmla="*/ 332447 w 1033465"/>
                <a:gd name="connsiteY91" fmla="*/ 704584 h 838042"/>
                <a:gd name="connsiteX92" fmla="*/ 330542 w 1033465"/>
                <a:gd name="connsiteY92" fmla="*/ 756019 h 838042"/>
                <a:gd name="connsiteX93" fmla="*/ 332447 w 1033465"/>
                <a:gd name="connsiteY93" fmla="*/ 780784 h 838042"/>
                <a:gd name="connsiteX94" fmla="*/ 334352 w 1033465"/>
                <a:gd name="connsiteY94" fmla="*/ 786499 h 838042"/>
                <a:gd name="connsiteX95" fmla="*/ 338162 w 1033465"/>
                <a:gd name="connsiteY95" fmla="*/ 790309 h 838042"/>
                <a:gd name="connsiteX96" fmla="*/ 366737 w 1033465"/>
                <a:gd name="connsiteY96" fmla="*/ 836029 h 838042"/>
                <a:gd name="connsiteX97" fmla="*/ 389597 w 1033465"/>
                <a:gd name="connsiteY97" fmla="*/ 837934 h 838042"/>
                <a:gd name="connsiteX98" fmla="*/ 397407 w 1033465"/>
                <a:gd name="connsiteY98" fmla="*/ 833530 h 838042"/>
                <a:gd name="connsiteX99" fmla="*/ 402932 w 1033465"/>
                <a:gd name="connsiteY99" fmla="*/ 784594 h 838042"/>
                <a:gd name="connsiteX100" fmla="*/ 406742 w 1033465"/>
                <a:gd name="connsiteY100" fmla="*/ 727444 h 838042"/>
                <a:gd name="connsiteX101" fmla="*/ 423887 w 1033465"/>
                <a:gd name="connsiteY101" fmla="*/ 672199 h 838042"/>
                <a:gd name="connsiteX102" fmla="*/ 429602 w 1033465"/>
                <a:gd name="connsiteY102" fmla="*/ 658864 h 838042"/>
                <a:gd name="connsiteX103" fmla="*/ 444084 w 1033465"/>
                <a:gd name="connsiteY103" fmla="*/ 626947 h 838042"/>
                <a:gd name="connsiteX104" fmla="*/ 464289 w 1033465"/>
                <a:gd name="connsiteY104" fmla="*/ 600072 h 838042"/>
                <a:gd name="connsiteX105" fmla="*/ 523510 w 1033465"/>
                <a:gd name="connsiteY105" fmla="*/ 565123 h 838042"/>
                <a:gd name="connsiteX106" fmla="*/ 599348 w 1033465"/>
                <a:gd name="connsiteY106" fmla="*/ 550915 h 838042"/>
                <a:gd name="connsiteX107" fmla="*/ 707801 w 1033465"/>
                <a:gd name="connsiteY107" fmla="*/ 612819 h 838042"/>
                <a:gd name="connsiteX108" fmla="*/ 780122 w 1033465"/>
                <a:gd name="connsiteY108" fmla="*/ 656959 h 838042"/>
                <a:gd name="connsiteX109" fmla="*/ 804887 w 1033465"/>
                <a:gd name="connsiteY109" fmla="*/ 632194 h 838042"/>
                <a:gd name="connsiteX110" fmla="*/ 801077 w 1033465"/>
                <a:gd name="connsiteY110" fmla="*/ 601714 h 838042"/>
                <a:gd name="connsiteX111" fmla="*/ 762796 w 1033465"/>
                <a:gd name="connsiteY111" fmla="*/ 562523 h 838042"/>
                <a:gd name="connsiteX112" fmla="*/ 650582 w 1033465"/>
                <a:gd name="connsiteY112" fmla="*/ 479794 h 838042"/>
                <a:gd name="connsiteX113" fmla="*/ 646772 w 1033465"/>
                <a:gd name="connsiteY113" fmla="*/ 462649 h 838042"/>
                <a:gd name="connsiteX114" fmla="*/ 658202 w 1033465"/>
                <a:gd name="connsiteY114" fmla="*/ 426454 h 838042"/>
                <a:gd name="connsiteX115" fmla="*/ 726782 w 1033465"/>
                <a:gd name="connsiteY115" fmla="*/ 405499 h 838042"/>
                <a:gd name="connsiteX116" fmla="*/ 813738 w 1033465"/>
                <a:gd name="connsiteY116" fmla="*/ 406906 h 838042"/>
                <a:gd name="connsiteX117" fmla="*/ 906231 w 1033465"/>
                <a:gd name="connsiteY117" fmla="*/ 417646 h 838042"/>
                <a:gd name="connsiteX118" fmla="*/ 1002290 w 1033465"/>
                <a:gd name="connsiteY118" fmla="*/ 426835 h 838042"/>
                <a:gd name="connsiteX119" fmla="*/ 1032449 w 1033465"/>
                <a:gd name="connsiteY119" fmla="*/ 402711 h 838042"/>
                <a:gd name="connsiteX120" fmla="*/ 1020514 w 1033465"/>
                <a:gd name="connsiteY120" fmla="*/ 377797 h 838042"/>
                <a:gd name="connsiteX121" fmla="*/ 964889 w 1033465"/>
                <a:gd name="connsiteY121" fmla="*/ 358029 h 838042"/>
                <a:gd name="connsiteX122" fmla="*/ 827747 w 1033465"/>
                <a:gd name="connsiteY122" fmla="*/ 357874 h 838042"/>
                <a:gd name="connsiteX123" fmla="*/ 755811 w 1033465"/>
                <a:gd name="connsiteY123" fmla="*/ 361702 h 838042"/>
                <a:gd name="connsiteX124" fmla="*/ 671537 w 1033465"/>
                <a:gd name="connsiteY124" fmla="*/ 369304 h 838042"/>
                <a:gd name="connsiteX125" fmla="*/ 644867 w 1033465"/>
                <a:gd name="connsiteY125" fmla="*/ 338824 h 838042"/>
                <a:gd name="connsiteX126" fmla="*/ 676403 w 1033465"/>
                <a:gd name="connsiteY126" fmla="*/ 304962 h 838042"/>
                <a:gd name="connsiteX127" fmla="*/ 707732 w 1033465"/>
                <a:gd name="connsiteY127" fmla="*/ 283579 h 838042"/>
                <a:gd name="connsiteX128" fmla="*/ 743927 w 1033465"/>
                <a:gd name="connsiteY128" fmla="*/ 251194 h 838042"/>
                <a:gd name="connsiteX129" fmla="*/ 783019 w 1033465"/>
                <a:gd name="connsiteY129" fmla="*/ 213846 h 838042"/>
                <a:gd name="connsiteX130" fmla="*/ 746401 w 1033465"/>
                <a:gd name="connsiteY130" fmla="*/ 201789 h 838042"/>
                <a:gd name="connsiteX131" fmla="*/ 694397 w 1033465"/>
                <a:gd name="connsiteY131" fmla="*/ 226429 h 838042"/>
                <a:gd name="connsiteX132" fmla="*/ 656678 w 1033465"/>
                <a:gd name="connsiteY132" fmla="*/ 257626 h 838042"/>
                <a:gd name="connsiteX133" fmla="*/ 616001 w 1033465"/>
                <a:gd name="connsiteY133" fmla="*/ 286712 h 838042"/>
                <a:gd name="connsiteX134" fmla="*/ 564857 w 1033465"/>
                <a:gd name="connsiteY134" fmla="*/ 287389 h 838042"/>
                <a:gd name="connsiteX135" fmla="*/ 530567 w 1033465"/>
                <a:gd name="connsiteY135" fmla="*/ 274054 h 838042"/>
                <a:gd name="connsiteX136" fmla="*/ 507707 w 1033465"/>
                <a:gd name="connsiteY136" fmla="*/ 235954 h 838042"/>
                <a:gd name="connsiteX137" fmla="*/ 509612 w 1033465"/>
                <a:gd name="connsiteY137" fmla="*/ 171184 h 838042"/>
                <a:gd name="connsiteX138" fmla="*/ 508314 w 1033465"/>
                <a:gd name="connsiteY138" fmla="*/ 73485 h 838042"/>
                <a:gd name="connsiteX139" fmla="*/ 454116 w 1033465"/>
                <a:gd name="connsiteY139" fmla="*/ 11248 h 838042"/>
                <a:gd name="connsiteX140" fmla="*/ 442470 w 1033465"/>
                <a:gd name="connsiteY140" fmla="*/ 75864 h 838042"/>
                <a:gd name="connsiteX141" fmla="*/ 434509 w 1033465"/>
                <a:gd name="connsiteY141" fmla="*/ 135537 h 838042"/>
                <a:gd name="connsiteX142" fmla="*/ 436054 w 1033465"/>
                <a:gd name="connsiteY14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30542 w 1033465"/>
                <a:gd name="connsiteY4" fmla="*/ 283579 h 838042"/>
                <a:gd name="connsiteX5" fmla="*/ 315302 w 1033465"/>
                <a:gd name="connsiteY5" fmla="*/ 289294 h 838042"/>
                <a:gd name="connsiteX6" fmla="*/ 267677 w 1033465"/>
                <a:gd name="connsiteY6" fmla="*/ 285484 h 838042"/>
                <a:gd name="connsiteX7" fmla="*/ 256247 w 1033465"/>
                <a:gd name="connsiteY7" fmla="*/ 281674 h 838042"/>
                <a:gd name="connsiteX8" fmla="*/ 244817 w 1033465"/>
                <a:gd name="connsiteY8" fmla="*/ 277864 h 838042"/>
                <a:gd name="connsiteX9" fmla="*/ 239102 w 1033465"/>
                <a:gd name="connsiteY9" fmla="*/ 275959 h 838042"/>
                <a:gd name="connsiteX10" fmla="*/ 233387 w 1033465"/>
                <a:gd name="connsiteY10" fmla="*/ 274054 h 838042"/>
                <a:gd name="connsiteX11" fmla="*/ 221957 w 1033465"/>
                <a:gd name="connsiteY11" fmla="*/ 272149 h 838042"/>
                <a:gd name="connsiteX12" fmla="*/ 216242 w 1033465"/>
                <a:gd name="connsiteY12" fmla="*/ 270244 h 838042"/>
                <a:gd name="connsiteX13" fmla="*/ 208622 w 1033465"/>
                <a:gd name="connsiteY13" fmla="*/ 268339 h 838042"/>
                <a:gd name="connsiteX14" fmla="*/ 197192 w 1033465"/>
                <a:gd name="connsiteY14" fmla="*/ 264529 h 838042"/>
                <a:gd name="connsiteX15" fmla="*/ 191477 w 1033465"/>
                <a:gd name="connsiteY15" fmla="*/ 262624 h 838042"/>
                <a:gd name="connsiteX16" fmla="*/ 183857 w 1033465"/>
                <a:gd name="connsiteY16" fmla="*/ 260719 h 838042"/>
                <a:gd name="connsiteX17" fmla="*/ 172427 w 1033465"/>
                <a:gd name="connsiteY17" fmla="*/ 255004 h 838042"/>
                <a:gd name="connsiteX18" fmla="*/ 166712 w 1033465"/>
                <a:gd name="connsiteY18" fmla="*/ 251194 h 838042"/>
                <a:gd name="connsiteX19" fmla="*/ 159092 w 1033465"/>
                <a:gd name="connsiteY19" fmla="*/ 239764 h 838042"/>
                <a:gd name="connsiteX20" fmla="*/ 147662 w 1033465"/>
                <a:gd name="connsiteY20" fmla="*/ 235954 h 838042"/>
                <a:gd name="connsiteX21" fmla="*/ 141947 w 1033465"/>
                <a:gd name="connsiteY21" fmla="*/ 232144 h 838042"/>
                <a:gd name="connsiteX22" fmla="*/ 136232 w 1033465"/>
                <a:gd name="connsiteY22" fmla="*/ 230239 h 838042"/>
                <a:gd name="connsiteX23" fmla="*/ 119087 w 1033465"/>
                <a:gd name="connsiteY23" fmla="*/ 226429 h 838042"/>
                <a:gd name="connsiteX24" fmla="*/ 113372 w 1033465"/>
                <a:gd name="connsiteY24" fmla="*/ 220714 h 838042"/>
                <a:gd name="connsiteX25" fmla="*/ 103847 w 1033465"/>
                <a:gd name="connsiteY25" fmla="*/ 203569 h 838042"/>
                <a:gd name="connsiteX26" fmla="*/ 86702 w 1033465"/>
                <a:gd name="connsiteY26" fmla="*/ 195949 h 838042"/>
                <a:gd name="connsiteX27" fmla="*/ 80987 w 1033465"/>
                <a:gd name="connsiteY27" fmla="*/ 194044 h 838042"/>
                <a:gd name="connsiteX28" fmla="*/ 61937 w 1033465"/>
                <a:gd name="connsiteY28" fmla="*/ 197854 h 838042"/>
                <a:gd name="connsiteX29" fmla="*/ 56222 w 1033465"/>
                <a:gd name="connsiteY29" fmla="*/ 201664 h 838042"/>
                <a:gd name="connsiteX30" fmla="*/ 52412 w 1033465"/>
                <a:gd name="connsiteY30" fmla="*/ 207379 h 838042"/>
                <a:gd name="connsiteX31" fmla="*/ 48602 w 1033465"/>
                <a:gd name="connsiteY31" fmla="*/ 218809 h 838042"/>
                <a:gd name="connsiteX32" fmla="*/ 52412 w 1033465"/>
                <a:gd name="connsiteY32" fmla="*/ 256909 h 838042"/>
                <a:gd name="connsiteX33" fmla="*/ 56222 w 1033465"/>
                <a:gd name="connsiteY33" fmla="*/ 262624 h 838042"/>
                <a:gd name="connsiteX34" fmla="*/ 61937 w 1033465"/>
                <a:gd name="connsiteY34" fmla="*/ 266434 h 838042"/>
                <a:gd name="connsiteX35" fmla="*/ 65747 w 1033465"/>
                <a:gd name="connsiteY35" fmla="*/ 272149 h 838042"/>
                <a:gd name="connsiteX36" fmla="*/ 82892 w 1033465"/>
                <a:gd name="connsiteY36" fmla="*/ 281674 h 838042"/>
                <a:gd name="connsiteX37" fmla="*/ 105752 w 1033465"/>
                <a:gd name="connsiteY37" fmla="*/ 283579 h 838042"/>
                <a:gd name="connsiteX38" fmla="*/ 126707 w 1033465"/>
                <a:gd name="connsiteY38" fmla="*/ 289294 h 838042"/>
                <a:gd name="connsiteX39" fmla="*/ 132422 w 1033465"/>
                <a:gd name="connsiteY39" fmla="*/ 291199 h 838042"/>
                <a:gd name="connsiteX40" fmla="*/ 138137 w 1033465"/>
                <a:gd name="connsiteY40" fmla="*/ 296914 h 838042"/>
                <a:gd name="connsiteX41" fmla="*/ 145757 w 1033465"/>
                <a:gd name="connsiteY41" fmla="*/ 298819 h 838042"/>
                <a:gd name="connsiteX42" fmla="*/ 168617 w 1033465"/>
                <a:gd name="connsiteY42" fmla="*/ 302629 h 838042"/>
                <a:gd name="connsiteX43" fmla="*/ 193382 w 1033465"/>
                <a:gd name="connsiteY43" fmla="*/ 308344 h 838042"/>
                <a:gd name="connsiteX44" fmla="*/ 210527 w 1033465"/>
                <a:gd name="connsiteY44" fmla="*/ 314059 h 838042"/>
                <a:gd name="connsiteX45" fmla="*/ 216242 w 1033465"/>
                <a:gd name="connsiteY45" fmla="*/ 315964 h 838042"/>
                <a:gd name="connsiteX46" fmla="*/ 231482 w 1033465"/>
                <a:gd name="connsiteY46" fmla="*/ 319774 h 838042"/>
                <a:gd name="connsiteX47" fmla="*/ 250532 w 1033465"/>
                <a:gd name="connsiteY47" fmla="*/ 325489 h 838042"/>
                <a:gd name="connsiteX48" fmla="*/ 256247 w 1033465"/>
                <a:gd name="connsiteY48" fmla="*/ 329299 h 838042"/>
                <a:gd name="connsiteX49" fmla="*/ 269582 w 1033465"/>
                <a:gd name="connsiteY49" fmla="*/ 344539 h 838042"/>
                <a:gd name="connsiteX50" fmla="*/ 275297 w 1033465"/>
                <a:gd name="connsiteY50" fmla="*/ 363589 h 838042"/>
                <a:gd name="connsiteX51" fmla="*/ 277202 w 1033465"/>
                <a:gd name="connsiteY51" fmla="*/ 369304 h 838042"/>
                <a:gd name="connsiteX52" fmla="*/ 279107 w 1033465"/>
                <a:gd name="connsiteY52" fmla="*/ 375019 h 838042"/>
                <a:gd name="connsiteX53" fmla="*/ 281012 w 1033465"/>
                <a:gd name="connsiteY53" fmla="*/ 399784 h 838042"/>
                <a:gd name="connsiteX54" fmla="*/ 282917 w 1033465"/>
                <a:gd name="connsiteY54" fmla="*/ 405499 h 838042"/>
                <a:gd name="connsiteX55" fmla="*/ 281012 w 1033465"/>
                <a:gd name="connsiteY55" fmla="*/ 424549 h 838042"/>
                <a:gd name="connsiteX56" fmla="*/ 279107 w 1033465"/>
                <a:gd name="connsiteY56" fmla="*/ 434074 h 838042"/>
                <a:gd name="connsiteX57" fmla="*/ 265772 w 1033465"/>
                <a:gd name="connsiteY57" fmla="*/ 447409 h 838042"/>
                <a:gd name="connsiteX58" fmla="*/ 254342 w 1033465"/>
                <a:gd name="connsiteY58" fmla="*/ 455029 h 838042"/>
                <a:gd name="connsiteX59" fmla="*/ 242912 w 1033465"/>
                <a:gd name="connsiteY59" fmla="*/ 458839 h 838042"/>
                <a:gd name="connsiteX60" fmla="*/ 128612 w 1033465"/>
                <a:gd name="connsiteY60" fmla="*/ 458839 h 838042"/>
                <a:gd name="connsiteX61" fmla="*/ 122897 w 1033465"/>
                <a:gd name="connsiteY61" fmla="*/ 460744 h 838042"/>
                <a:gd name="connsiteX62" fmla="*/ 107657 w 1033465"/>
                <a:gd name="connsiteY62" fmla="*/ 462649 h 838042"/>
                <a:gd name="connsiteX63" fmla="*/ 90512 w 1033465"/>
                <a:gd name="connsiteY63" fmla="*/ 468364 h 838042"/>
                <a:gd name="connsiteX64" fmla="*/ 84797 w 1033465"/>
                <a:gd name="connsiteY64" fmla="*/ 470269 h 838042"/>
                <a:gd name="connsiteX65" fmla="*/ 79082 w 1033465"/>
                <a:gd name="connsiteY65" fmla="*/ 474079 h 838042"/>
                <a:gd name="connsiteX66" fmla="*/ 67652 w 1033465"/>
                <a:gd name="connsiteY66" fmla="*/ 475984 h 838042"/>
                <a:gd name="connsiteX67" fmla="*/ 29552 w 1033465"/>
                <a:gd name="connsiteY67" fmla="*/ 477889 h 838042"/>
                <a:gd name="connsiteX68" fmla="*/ 18122 w 1033465"/>
                <a:gd name="connsiteY68" fmla="*/ 483604 h 838042"/>
                <a:gd name="connsiteX69" fmla="*/ 8597 w 1033465"/>
                <a:gd name="connsiteY69" fmla="*/ 493129 h 838042"/>
                <a:gd name="connsiteX70" fmla="*/ 6692 w 1033465"/>
                <a:gd name="connsiteY70" fmla="*/ 498844 h 838042"/>
                <a:gd name="connsiteX71" fmla="*/ 2882 w 1033465"/>
                <a:gd name="connsiteY71" fmla="*/ 504559 h 838042"/>
                <a:gd name="connsiteX72" fmla="*/ 14312 w 1033465"/>
                <a:gd name="connsiteY72" fmla="*/ 540754 h 838042"/>
                <a:gd name="connsiteX73" fmla="*/ 147662 w 1033465"/>
                <a:gd name="connsiteY73" fmla="*/ 540754 h 838042"/>
                <a:gd name="connsiteX74" fmla="*/ 155282 w 1033465"/>
                <a:gd name="connsiteY74" fmla="*/ 538849 h 838042"/>
                <a:gd name="connsiteX75" fmla="*/ 305777 w 1033465"/>
                <a:gd name="connsiteY75" fmla="*/ 533134 h 838042"/>
                <a:gd name="connsiteX76" fmla="*/ 321017 w 1033465"/>
                <a:gd name="connsiteY76" fmla="*/ 540754 h 838042"/>
                <a:gd name="connsiteX77" fmla="*/ 332447 w 1033465"/>
                <a:gd name="connsiteY77" fmla="*/ 546469 h 838042"/>
                <a:gd name="connsiteX78" fmla="*/ 336257 w 1033465"/>
                <a:gd name="connsiteY78" fmla="*/ 552184 h 838042"/>
                <a:gd name="connsiteX79" fmla="*/ 341972 w 1033465"/>
                <a:gd name="connsiteY79" fmla="*/ 554089 h 838042"/>
                <a:gd name="connsiteX80" fmla="*/ 353402 w 1033465"/>
                <a:gd name="connsiteY80" fmla="*/ 561709 h 838042"/>
                <a:gd name="connsiteX81" fmla="*/ 359117 w 1033465"/>
                <a:gd name="connsiteY81" fmla="*/ 565519 h 838042"/>
                <a:gd name="connsiteX82" fmla="*/ 362927 w 1033465"/>
                <a:gd name="connsiteY82" fmla="*/ 571234 h 838042"/>
                <a:gd name="connsiteX83" fmla="*/ 368642 w 1033465"/>
                <a:gd name="connsiteY83" fmla="*/ 582664 h 838042"/>
                <a:gd name="connsiteX84" fmla="*/ 364832 w 1033465"/>
                <a:gd name="connsiteY84" fmla="*/ 609334 h 838042"/>
                <a:gd name="connsiteX85" fmla="*/ 361022 w 1033465"/>
                <a:gd name="connsiteY85" fmla="*/ 615049 h 838042"/>
                <a:gd name="connsiteX86" fmla="*/ 359117 w 1033465"/>
                <a:gd name="connsiteY86" fmla="*/ 620764 h 838042"/>
                <a:gd name="connsiteX87" fmla="*/ 355307 w 1033465"/>
                <a:gd name="connsiteY87" fmla="*/ 626479 h 838042"/>
                <a:gd name="connsiteX88" fmla="*/ 353402 w 1033465"/>
                <a:gd name="connsiteY88" fmla="*/ 632194 h 838042"/>
                <a:gd name="connsiteX89" fmla="*/ 349592 w 1033465"/>
                <a:gd name="connsiteY89" fmla="*/ 637909 h 838042"/>
                <a:gd name="connsiteX90" fmla="*/ 332447 w 1033465"/>
                <a:gd name="connsiteY90" fmla="*/ 704584 h 838042"/>
                <a:gd name="connsiteX91" fmla="*/ 330542 w 1033465"/>
                <a:gd name="connsiteY91" fmla="*/ 756019 h 838042"/>
                <a:gd name="connsiteX92" fmla="*/ 332447 w 1033465"/>
                <a:gd name="connsiteY92" fmla="*/ 780784 h 838042"/>
                <a:gd name="connsiteX93" fmla="*/ 334352 w 1033465"/>
                <a:gd name="connsiteY93" fmla="*/ 786499 h 838042"/>
                <a:gd name="connsiteX94" fmla="*/ 338162 w 1033465"/>
                <a:gd name="connsiteY94" fmla="*/ 790309 h 838042"/>
                <a:gd name="connsiteX95" fmla="*/ 366737 w 1033465"/>
                <a:gd name="connsiteY95" fmla="*/ 836029 h 838042"/>
                <a:gd name="connsiteX96" fmla="*/ 389597 w 1033465"/>
                <a:gd name="connsiteY96" fmla="*/ 837934 h 838042"/>
                <a:gd name="connsiteX97" fmla="*/ 397407 w 1033465"/>
                <a:gd name="connsiteY97" fmla="*/ 833530 h 838042"/>
                <a:gd name="connsiteX98" fmla="*/ 402932 w 1033465"/>
                <a:gd name="connsiteY98" fmla="*/ 784594 h 838042"/>
                <a:gd name="connsiteX99" fmla="*/ 406742 w 1033465"/>
                <a:gd name="connsiteY99" fmla="*/ 727444 h 838042"/>
                <a:gd name="connsiteX100" fmla="*/ 423887 w 1033465"/>
                <a:gd name="connsiteY100" fmla="*/ 672199 h 838042"/>
                <a:gd name="connsiteX101" fmla="*/ 429602 w 1033465"/>
                <a:gd name="connsiteY101" fmla="*/ 658864 h 838042"/>
                <a:gd name="connsiteX102" fmla="*/ 444084 w 1033465"/>
                <a:gd name="connsiteY102" fmla="*/ 626947 h 838042"/>
                <a:gd name="connsiteX103" fmla="*/ 464289 w 1033465"/>
                <a:gd name="connsiteY103" fmla="*/ 600072 h 838042"/>
                <a:gd name="connsiteX104" fmla="*/ 523510 w 1033465"/>
                <a:gd name="connsiteY104" fmla="*/ 565123 h 838042"/>
                <a:gd name="connsiteX105" fmla="*/ 599348 w 1033465"/>
                <a:gd name="connsiteY105" fmla="*/ 550915 h 838042"/>
                <a:gd name="connsiteX106" fmla="*/ 707801 w 1033465"/>
                <a:gd name="connsiteY106" fmla="*/ 612819 h 838042"/>
                <a:gd name="connsiteX107" fmla="*/ 780122 w 1033465"/>
                <a:gd name="connsiteY107" fmla="*/ 656959 h 838042"/>
                <a:gd name="connsiteX108" fmla="*/ 804887 w 1033465"/>
                <a:gd name="connsiteY108" fmla="*/ 632194 h 838042"/>
                <a:gd name="connsiteX109" fmla="*/ 801077 w 1033465"/>
                <a:gd name="connsiteY109" fmla="*/ 601714 h 838042"/>
                <a:gd name="connsiteX110" fmla="*/ 762796 w 1033465"/>
                <a:gd name="connsiteY110" fmla="*/ 562523 h 838042"/>
                <a:gd name="connsiteX111" fmla="*/ 650582 w 1033465"/>
                <a:gd name="connsiteY111" fmla="*/ 479794 h 838042"/>
                <a:gd name="connsiteX112" fmla="*/ 646772 w 1033465"/>
                <a:gd name="connsiteY112" fmla="*/ 462649 h 838042"/>
                <a:gd name="connsiteX113" fmla="*/ 658202 w 1033465"/>
                <a:gd name="connsiteY113" fmla="*/ 426454 h 838042"/>
                <a:gd name="connsiteX114" fmla="*/ 726782 w 1033465"/>
                <a:gd name="connsiteY114" fmla="*/ 405499 h 838042"/>
                <a:gd name="connsiteX115" fmla="*/ 813738 w 1033465"/>
                <a:gd name="connsiteY115" fmla="*/ 406906 h 838042"/>
                <a:gd name="connsiteX116" fmla="*/ 906231 w 1033465"/>
                <a:gd name="connsiteY116" fmla="*/ 417646 h 838042"/>
                <a:gd name="connsiteX117" fmla="*/ 1002290 w 1033465"/>
                <a:gd name="connsiteY117" fmla="*/ 426835 h 838042"/>
                <a:gd name="connsiteX118" fmla="*/ 1032449 w 1033465"/>
                <a:gd name="connsiteY118" fmla="*/ 402711 h 838042"/>
                <a:gd name="connsiteX119" fmla="*/ 1020514 w 1033465"/>
                <a:gd name="connsiteY119" fmla="*/ 377797 h 838042"/>
                <a:gd name="connsiteX120" fmla="*/ 964889 w 1033465"/>
                <a:gd name="connsiteY120" fmla="*/ 358029 h 838042"/>
                <a:gd name="connsiteX121" fmla="*/ 827747 w 1033465"/>
                <a:gd name="connsiteY121" fmla="*/ 357874 h 838042"/>
                <a:gd name="connsiteX122" fmla="*/ 755811 w 1033465"/>
                <a:gd name="connsiteY122" fmla="*/ 361702 h 838042"/>
                <a:gd name="connsiteX123" fmla="*/ 671537 w 1033465"/>
                <a:gd name="connsiteY123" fmla="*/ 369304 h 838042"/>
                <a:gd name="connsiteX124" fmla="*/ 644867 w 1033465"/>
                <a:gd name="connsiteY124" fmla="*/ 338824 h 838042"/>
                <a:gd name="connsiteX125" fmla="*/ 676403 w 1033465"/>
                <a:gd name="connsiteY125" fmla="*/ 304962 h 838042"/>
                <a:gd name="connsiteX126" fmla="*/ 707732 w 1033465"/>
                <a:gd name="connsiteY126" fmla="*/ 283579 h 838042"/>
                <a:gd name="connsiteX127" fmla="*/ 743927 w 1033465"/>
                <a:gd name="connsiteY127" fmla="*/ 251194 h 838042"/>
                <a:gd name="connsiteX128" fmla="*/ 783019 w 1033465"/>
                <a:gd name="connsiteY128" fmla="*/ 213846 h 838042"/>
                <a:gd name="connsiteX129" fmla="*/ 746401 w 1033465"/>
                <a:gd name="connsiteY129" fmla="*/ 201789 h 838042"/>
                <a:gd name="connsiteX130" fmla="*/ 694397 w 1033465"/>
                <a:gd name="connsiteY130" fmla="*/ 226429 h 838042"/>
                <a:gd name="connsiteX131" fmla="*/ 656678 w 1033465"/>
                <a:gd name="connsiteY131" fmla="*/ 257626 h 838042"/>
                <a:gd name="connsiteX132" fmla="*/ 616001 w 1033465"/>
                <a:gd name="connsiteY132" fmla="*/ 286712 h 838042"/>
                <a:gd name="connsiteX133" fmla="*/ 564857 w 1033465"/>
                <a:gd name="connsiteY133" fmla="*/ 287389 h 838042"/>
                <a:gd name="connsiteX134" fmla="*/ 530567 w 1033465"/>
                <a:gd name="connsiteY134" fmla="*/ 274054 h 838042"/>
                <a:gd name="connsiteX135" fmla="*/ 507707 w 1033465"/>
                <a:gd name="connsiteY135" fmla="*/ 235954 h 838042"/>
                <a:gd name="connsiteX136" fmla="*/ 509612 w 1033465"/>
                <a:gd name="connsiteY136" fmla="*/ 171184 h 838042"/>
                <a:gd name="connsiteX137" fmla="*/ 508314 w 1033465"/>
                <a:gd name="connsiteY137" fmla="*/ 73485 h 838042"/>
                <a:gd name="connsiteX138" fmla="*/ 454116 w 1033465"/>
                <a:gd name="connsiteY138" fmla="*/ 11248 h 838042"/>
                <a:gd name="connsiteX139" fmla="*/ 442470 w 1033465"/>
                <a:gd name="connsiteY139" fmla="*/ 75864 h 838042"/>
                <a:gd name="connsiteX140" fmla="*/ 434509 w 1033465"/>
                <a:gd name="connsiteY140" fmla="*/ 135537 h 838042"/>
                <a:gd name="connsiteX141" fmla="*/ 436054 w 1033465"/>
                <a:gd name="connsiteY14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4509 w 1033465"/>
                <a:gd name="connsiteY139" fmla="*/ 135537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4509 w 1033465"/>
                <a:gd name="connsiteY139" fmla="*/ 135537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4509 w 1033465"/>
                <a:gd name="connsiteY139" fmla="*/ 135537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4509 w 1033465"/>
                <a:gd name="connsiteY139" fmla="*/ 135537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4509 w 1033465"/>
                <a:gd name="connsiteY139" fmla="*/ 135537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9102 w 1033465"/>
                <a:gd name="connsiteY8" fmla="*/ 275959 h 838042"/>
                <a:gd name="connsiteX9" fmla="*/ 233387 w 1033465"/>
                <a:gd name="connsiteY9" fmla="*/ 274054 h 838042"/>
                <a:gd name="connsiteX10" fmla="*/ 221957 w 1033465"/>
                <a:gd name="connsiteY10" fmla="*/ 272149 h 838042"/>
                <a:gd name="connsiteX11" fmla="*/ 216242 w 1033465"/>
                <a:gd name="connsiteY11" fmla="*/ 270244 h 838042"/>
                <a:gd name="connsiteX12" fmla="*/ 208622 w 1033465"/>
                <a:gd name="connsiteY12" fmla="*/ 268339 h 838042"/>
                <a:gd name="connsiteX13" fmla="*/ 197192 w 1033465"/>
                <a:gd name="connsiteY13" fmla="*/ 264529 h 838042"/>
                <a:gd name="connsiteX14" fmla="*/ 191477 w 1033465"/>
                <a:gd name="connsiteY14" fmla="*/ 262624 h 838042"/>
                <a:gd name="connsiteX15" fmla="*/ 183857 w 1033465"/>
                <a:gd name="connsiteY15" fmla="*/ 260719 h 838042"/>
                <a:gd name="connsiteX16" fmla="*/ 172427 w 1033465"/>
                <a:gd name="connsiteY16" fmla="*/ 255004 h 838042"/>
                <a:gd name="connsiteX17" fmla="*/ 166712 w 1033465"/>
                <a:gd name="connsiteY17" fmla="*/ 251194 h 838042"/>
                <a:gd name="connsiteX18" fmla="*/ 159092 w 1033465"/>
                <a:gd name="connsiteY18" fmla="*/ 239764 h 838042"/>
                <a:gd name="connsiteX19" fmla="*/ 147662 w 1033465"/>
                <a:gd name="connsiteY19" fmla="*/ 235954 h 838042"/>
                <a:gd name="connsiteX20" fmla="*/ 141947 w 1033465"/>
                <a:gd name="connsiteY20" fmla="*/ 232144 h 838042"/>
                <a:gd name="connsiteX21" fmla="*/ 136232 w 1033465"/>
                <a:gd name="connsiteY21" fmla="*/ 230239 h 838042"/>
                <a:gd name="connsiteX22" fmla="*/ 119087 w 1033465"/>
                <a:gd name="connsiteY22" fmla="*/ 226429 h 838042"/>
                <a:gd name="connsiteX23" fmla="*/ 113372 w 1033465"/>
                <a:gd name="connsiteY23" fmla="*/ 220714 h 838042"/>
                <a:gd name="connsiteX24" fmla="*/ 103847 w 1033465"/>
                <a:gd name="connsiteY24" fmla="*/ 203569 h 838042"/>
                <a:gd name="connsiteX25" fmla="*/ 86702 w 1033465"/>
                <a:gd name="connsiteY25" fmla="*/ 195949 h 838042"/>
                <a:gd name="connsiteX26" fmla="*/ 80987 w 1033465"/>
                <a:gd name="connsiteY26" fmla="*/ 194044 h 838042"/>
                <a:gd name="connsiteX27" fmla="*/ 61937 w 1033465"/>
                <a:gd name="connsiteY27" fmla="*/ 197854 h 838042"/>
                <a:gd name="connsiteX28" fmla="*/ 56222 w 1033465"/>
                <a:gd name="connsiteY28" fmla="*/ 201664 h 838042"/>
                <a:gd name="connsiteX29" fmla="*/ 52412 w 1033465"/>
                <a:gd name="connsiteY29" fmla="*/ 207379 h 838042"/>
                <a:gd name="connsiteX30" fmla="*/ 48602 w 1033465"/>
                <a:gd name="connsiteY30" fmla="*/ 218809 h 838042"/>
                <a:gd name="connsiteX31" fmla="*/ 52412 w 1033465"/>
                <a:gd name="connsiteY31" fmla="*/ 256909 h 838042"/>
                <a:gd name="connsiteX32" fmla="*/ 56222 w 1033465"/>
                <a:gd name="connsiteY32" fmla="*/ 262624 h 838042"/>
                <a:gd name="connsiteX33" fmla="*/ 61937 w 1033465"/>
                <a:gd name="connsiteY33" fmla="*/ 266434 h 838042"/>
                <a:gd name="connsiteX34" fmla="*/ 65747 w 1033465"/>
                <a:gd name="connsiteY34" fmla="*/ 272149 h 838042"/>
                <a:gd name="connsiteX35" fmla="*/ 82892 w 1033465"/>
                <a:gd name="connsiteY35" fmla="*/ 281674 h 838042"/>
                <a:gd name="connsiteX36" fmla="*/ 105752 w 1033465"/>
                <a:gd name="connsiteY36" fmla="*/ 283579 h 838042"/>
                <a:gd name="connsiteX37" fmla="*/ 126707 w 1033465"/>
                <a:gd name="connsiteY37" fmla="*/ 289294 h 838042"/>
                <a:gd name="connsiteX38" fmla="*/ 132422 w 1033465"/>
                <a:gd name="connsiteY38" fmla="*/ 291199 h 838042"/>
                <a:gd name="connsiteX39" fmla="*/ 138137 w 1033465"/>
                <a:gd name="connsiteY39" fmla="*/ 296914 h 838042"/>
                <a:gd name="connsiteX40" fmla="*/ 145757 w 1033465"/>
                <a:gd name="connsiteY40" fmla="*/ 298819 h 838042"/>
                <a:gd name="connsiteX41" fmla="*/ 168617 w 1033465"/>
                <a:gd name="connsiteY41" fmla="*/ 302629 h 838042"/>
                <a:gd name="connsiteX42" fmla="*/ 193382 w 1033465"/>
                <a:gd name="connsiteY42" fmla="*/ 308344 h 838042"/>
                <a:gd name="connsiteX43" fmla="*/ 210527 w 1033465"/>
                <a:gd name="connsiteY43" fmla="*/ 314059 h 838042"/>
                <a:gd name="connsiteX44" fmla="*/ 216242 w 1033465"/>
                <a:gd name="connsiteY44" fmla="*/ 315964 h 838042"/>
                <a:gd name="connsiteX45" fmla="*/ 231482 w 1033465"/>
                <a:gd name="connsiteY45" fmla="*/ 319774 h 838042"/>
                <a:gd name="connsiteX46" fmla="*/ 250532 w 1033465"/>
                <a:gd name="connsiteY46" fmla="*/ 325489 h 838042"/>
                <a:gd name="connsiteX47" fmla="*/ 256247 w 1033465"/>
                <a:gd name="connsiteY47" fmla="*/ 329299 h 838042"/>
                <a:gd name="connsiteX48" fmla="*/ 269582 w 1033465"/>
                <a:gd name="connsiteY48" fmla="*/ 344539 h 838042"/>
                <a:gd name="connsiteX49" fmla="*/ 275297 w 1033465"/>
                <a:gd name="connsiteY49" fmla="*/ 363589 h 838042"/>
                <a:gd name="connsiteX50" fmla="*/ 277202 w 1033465"/>
                <a:gd name="connsiteY50" fmla="*/ 369304 h 838042"/>
                <a:gd name="connsiteX51" fmla="*/ 279107 w 1033465"/>
                <a:gd name="connsiteY51" fmla="*/ 375019 h 838042"/>
                <a:gd name="connsiteX52" fmla="*/ 281012 w 1033465"/>
                <a:gd name="connsiteY52" fmla="*/ 399784 h 838042"/>
                <a:gd name="connsiteX53" fmla="*/ 282917 w 1033465"/>
                <a:gd name="connsiteY53" fmla="*/ 405499 h 838042"/>
                <a:gd name="connsiteX54" fmla="*/ 281012 w 1033465"/>
                <a:gd name="connsiteY54" fmla="*/ 424549 h 838042"/>
                <a:gd name="connsiteX55" fmla="*/ 279107 w 1033465"/>
                <a:gd name="connsiteY55" fmla="*/ 434074 h 838042"/>
                <a:gd name="connsiteX56" fmla="*/ 265772 w 1033465"/>
                <a:gd name="connsiteY56" fmla="*/ 447409 h 838042"/>
                <a:gd name="connsiteX57" fmla="*/ 254342 w 1033465"/>
                <a:gd name="connsiteY57" fmla="*/ 455029 h 838042"/>
                <a:gd name="connsiteX58" fmla="*/ 242912 w 1033465"/>
                <a:gd name="connsiteY58" fmla="*/ 458839 h 838042"/>
                <a:gd name="connsiteX59" fmla="*/ 128612 w 1033465"/>
                <a:gd name="connsiteY59" fmla="*/ 458839 h 838042"/>
                <a:gd name="connsiteX60" fmla="*/ 122897 w 1033465"/>
                <a:gd name="connsiteY60" fmla="*/ 460744 h 838042"/>
                <a:gd name="connsiteX61" fmla="*/ 107657 w 1033465"/>
                <a:gd name="connsiteY61" fmla="*/ 462649 h 838042"/>
                <a:gd name="connsiteX62" fmla="*/ 90512 w 1033465"/>
                <a:gd name="connsiteY62" fmla="*/ 468364 h 838042"/>
                <a:gd name="connsiteX63" fmla="*/ 84797 w 1033465"/>
                <a:gd name="connsiteY63" fmla="*/ 470269 h 838042"/>
                <a:gd name="connsiteX64" fmla="*/ 79082 w 1033465"/>
                <a:gd name="connsiteY64" fmla="*/ 474079 h 838042"/>
                <a:gd name="connsiteX65" fmla="*/ 67652 w 1033465"/>
                <a:gd name="connsiteY65" fmla="*/ 475984 h 838042"/>
                <a:gd name="connsiteX66" fmla="*/ 29552 w 1033465"/>
                <a:gd name="connsiteY66" fmla="*/ 477889 h 838042"/>
                <a:gd name="connsiteX67" fmla="*/ 18122 w 1033465"/>
                <a:gd name="connsiteY67" fmla="*/ 483604 h 838042"/>
                <a:gd name="connsiteX68" fmla="*/ 8597 w 1033465"/>
                <a:gd name="connsiteY68" fmla="*/ 493129 h 838042"/>
                <a:gd name="connsiteX69" fmla="*/ 6692 w 1033465"/>
                <a:gd name="connsiteY69" fmla="*/ 498844 h 838042"/>
                <a:gd name="connsiteX70" fmla="*/ 2882 w 1033465"/>
                <a:gd name="connsiteY70" fmla="*/ 504559 h 838042"/>
                <a:gd name="connsiteX71" fmla="*/ 14312 w 1033465"/>
                <a:gd name="connsiteY71" fmla="*/ 540754 h 838042"/>
                <a:gd name="connsiteX72" fmla="*/ 147662 w 1033465"/>
                <a:gd name="connsiteY72" fmla="*/ 540754 h 838042"/>
                <a:gd name="connsiteX73" fmla="*/ 155282 w 1033465"/>
                <a:gd name="connsiteY73" fmla="*/ 538849 h 838042"/>
                <a:gd name="connsiteX74" fmla="*/ 305777 w 1033465"/>
                <a:gd name="connsiteY74" fmla="*/ 533134 h 838042"/>
                <a:gd name="connsiteX75" fmla="*/ 321017 w 1033465"/>
                <a:gd name="connsiteY75" fmla="*/ 540754 h 838042"/>
                <a:gd name="connsiteX76" fmla="*/ 332447 w 1033465"/>
                <a:gd name="connsiteY76" fmla="*/ 546469 h 838042"/>
                <a:gd name="connsiteX77" fmla="*/ 336257 w 1033465"/>
                <a:gd name="connsiteY77" fmla="*/ 552184 h 838042"/>
                <a:gd name="connsiteX78" fmla="*/ 341972 w 1033465"/>
                <a:gd name="connsiteY78" fmla="*/ 554089 h 838042"/>
                <a:gd name="connsiteX79" fmla="*/ 353402 w 1033465"/>
                <a:gd name="connsiteY79" fmla="*/ 561709 h 838042"/>
                <a:gd name="connsiteX80" fmla="*/ 359117 w 1033465"/>
                <a:gd name="connsiteY80" fmla="*/ 565519 h 838042"/>
                <a:gd name="connsiteX81" fmla="*/ 362927 w 1033465"/>
                <a:gd name="connsiteY81" fmla="*/ 571234 h 838042"/>
                <a:gd name="connsiteX82" fmla="*/ 368642 w 1033465"/>
                <a:gd name="connsiteY82" fmla="*/ 582664 h 838042"/>
                <a:gd name="connsiteX83" fmla="*/ 364832 w 1033465"/>
                <a:gd name="connsiteY83" fmla="*/ 609334 h 838042"/>
                <a:gd name="connsiteX84" fmla="*/ 361022 w 1033465"/>
                <a:gd name="connsiteY84" fmla="*/ 615049 h 838042"/>
                <a:gd name="connsiteX85" fmla="*/ 359117 w 1033465"/>
                <a:gd name="connsiteY85" fmla="*/ 620764 h 838042"/>
                <a:gd name="connsiteX86" fmla="*/ 355307 w 1033465"/>
                <a:gd name="connsiteY86" fmla="*/ 626479 h 838042"/>
                <a:gd name="connsiteX87" fmla="*/ 353402 w 1033465"/>
                <a:gd name="connsiteY87" fmla="*/ 632194 h 838042"/>
                <a:gd name="connsiteX88" fmla="*/ 349592 w 1033465"/>
                <a:gd name="connsiteY88" fmla="*/ 637909 h 838042"/>
                <a:gd name="connsiteX89" fmla="*/ 332447 w 1033465"/>
                <a:gd name="connsiteY89" fmla="*/ 704584 h 838042"/>
                <a:gd name="connsiteX90" fmla="*/ 330542 w 1033465"/>
                <a:gd name="connsiteY90" fmla="*/ 756019 h 838042"/>
                <a:gd name="connsiteX91" fmla="*/ 332447 w 1033465"/>
                <a:gd name="connsiteY91" fmla="*/ 780784 h 838042"/>
                <a:gd name="connsiteX92" fmla="*/ 334352 w 1033465"/>
                <a:gd name="connsiteY92" fmla="*/ 786499 h 838042"/>
                <a:gd name="connsiteX93" fmla="*/ 338162 w 1033465"/>
                <a:gd name="connsiteY93" fmla="*/ 790309 h 838042"/>
                <a:gd name="connsiteX94" fmla="*/ 366737 w 1033465"/>
                <a:gd name="connsiteY94" fmla="*/ 836029 h 838042"/>
                <a:gd name="connsiteX95" fmla="*/ 389597 w 1033465"/>
                <a:gd name="connsiteY95" fmla="*/ 837934 h 838042"/>
                <a:gd name="connsiteX96" fmla="*/ 397407 w 1033465"/>
                <a:gd name="connsiteY96" fmla="*/ 833530 h 838042"/>
                <a:gd name="connsiteX97" fmla="*/ 402932 w 1033465"/>
                <a:gd name="connsiteY97" fmla="*/ 784594 h 838042"/>
                <a:gd name="connsiteX98" fmla="*/ 406742 w 1033465"/>
                <a:gd name="connsiteY98" fmla="*/ 727444 h 838042"/>
                <a:gd name="connsiteX99" fmla="*/ 423887 w 1033465"/>
                <a:gd name="connsiteY99" fmla="*/ 672199 h 838042"/>
                <a:gd name="connsiteX100" fmla="*/ 429602 w 1033465"/>
                <a:gd name="connsiteY100" fmla="*/ 658864 h 838042"/>
                <a:gd name="connsiteX101" fmla="*/ 444084 w 1033465"/>
                <a:gd name="connsiteY101" fmla="*/ 626947 h 838042"/>
                <a:gd name="connsiteX102" fmla="*/ 464289 w 1033465"/>
                <a:gd name="connsiteY102" fmla="*/ 600072 h 838042"/>
                <a:gd name="connsiteX103" fmla="*/ 523510 w 1033465"/>
                <a:gd name="connsiteY103" fmla="*/ 565123 h 838042"/>
                <a:gd name="connsiteX104" fmla="*/ 599348 w 1033465"/>
                <a:gd name="connsiteY104" fmla="*/ 550915 h 838042"/>
                <a:gd name="connsiteX105" fmla="*/ 707801 w 1033465"/>
                <a:gd name="connsiteY105" fmla="*/ 612819 h 838042"/>
                <a:gd name="connsiteX106" fmla="*/ 780122 w 1033465"/>
                <a:gd name="connsiteY106" fmla="*/ 656959 h 838042"/>
                <a:gd name="connsiteX107" fmla="*/ 804887 w 1033465"/>
                <a:gd name="connsiteY107" fmla="*/ 632194 h 838042"/>
                <a:gd name="connsiteX108" fmla="*/ 801077 w 1033465"/>
                <a:gd name="connsiteY108" fmla="*/ 601714 h 838042"/>
                <a:gd name="connsiteX109" fmla="*/ 762796 w 1033465"/>
                <a:gd name="connsiteY109" fmla="*/ 562523 h 838042"/>
                <a:gd name="connsiteX110" fmla="*/ 650582 w 1033465"/>
                <a:gd name="connsiteY110" fmla="*/ 479794 h 838042"/>
                <a:gd name="connsiteX111" fmla="*/ 646772 w 1033465"/>
                <a:gd name="connsiteY111" fmla="*/ 462649 h 838042"/>
                <a:gd name="connsiteX112" fmla="*/ 658202 w 1033465"/>
                <a:gd name="connsiteY112" fmla="*/ 426454 h 838042"/>
                <a:gd name="connsiteX113" fmla="*/ 726782 w 1033465"/>
                <a:gd name="connsiteY113" fmla="*/ 405499 h 838042"/>
                <a:gd name="connsiteX114" fmla="*/ 813738 w 1033465"/>
                <a:gd name="connsiteY114" fmla="*/ 406906 h 838042"/>
                <a:gd name="connsiteX115" fmla="*/ 906231 w 1033465"/>
                <a:gd name="connsiteY115" fmla="*/ 417646 h 838042"/>
                <a:gd name="connsiteX116" fmla="*/ 1002290 w 1033465"/>
                <a:gd name="connsiteY116" fmla="*/ 426835 h 838042"/>
                <a:gd name="connsiteX117" fmla="*/ 1032449 w 1033465"/>
                <a:gd name="connsiteY117" fmla="*/ 402711 h 838042"/>
                <a:gd name="connsiteX118" fmla="*/ 1020514 w 1033465"/>
                <a:gd name="connsiteY118" fmla="*/ 377797 h 838042"/>
                <a:gd name="connsiteX119" fmla="*/ 964889 w 1033465"/>
                <a:gd name="connsiteY119" fmla="*/ 358029 h 838042"/>
                <a:gd name="connsiteX120" fmla="*/ 827747 w 1033465"/>
                <a:gd name="connsiteY120" fmla="*/ 357874 h 838042"/>
                <a:gd name="connsiteX121" fmla="*/ 755811 w 1033465"/>
                <a:gd name="connsiteY121" fmla="*/ 361702 h 838042"/>
                <a:gd name="connsiteX122" fmla="*/ 671537 w 1033465"/>
                <a:gd name="connsiteY122" fmla="*/ 369304 h 838042"/>
                <a:gd name="connsiteX123" fmla="*/ 644867 w 1033465"/>
                <a:gd name="connsiteY123" fmla="*/ 338824 h 838042"/>
                <a:gd name="connsiteX124" fmla="*/ 676403 w 1033465"/>
                <a:gd name="connsiteY124" fmla="*/ 304962 h 838042"/>
                <a:gd name="connsiteX125" fmla="*/ 707732 w 1033465"/>
                <a:gd name="connsiteY125" fmla="*/ 283579 h 838042"/>
                <a:gd name="connsiteX126" fmla="*/ 743927 w 1033465"/>
                <a:gd name="connsiteY126" fmla="*/ 251194 h 838042"/>
                <a:gd name="connsiteX127" fmla="*/ 783019 w 1033465"/>
                <a:gd name="connsiteY127" fmla="*/ 213846 h 838042"/>
                <a:gd name="connsiteX128" fmla="*/ 746401 w 1033465"/>
                <a:gd name="connsiteY128" fmla="*/ 201789 h 838042"/>
                <a:gd name="connsiteX129" fmla="*/ 694397 w 1033465"/>
                <a:gd name="connsiteY129" fmla="*/ 226429 h 838042"/>
                <a:gd name="connsiteX130" fmla="*/ 656678 w 1033465"/>
                <a:gd name="connsiteY130" fmla="*/ 257626 h 838042"/>
                <a:gd name="connsiteX131" fmla="*/ 616001 w 1033465"/>
                <a:gd name="connsiteY131" fmla="*/ 286712 h 838042"/>
                <a:gd name="connsiteX132" fmla="*/ 564857 w 1033465"/>
                <a:gd name="connsiteY132" fmla="*/ 287389 h 838042"/>
                <a:gd name="connsiteX133" fmla="*/ 530567 w 1033465"/>
                <a:gd name="connsiteY133" fmla="*/ 274054 h 838042"/>
                <a:gd name="connsiteX134" fmla="*/ 507707 w 1033465"/>
                <a:gd name="connsiteY134" fmla="*/ 235954 h 838042"/>
                <a:gd name="connsiteX135" fmla="*/ 509612 w 1033465"/>
                <a:gd name="connsiteY135" fmla="*/ 171184 h 838042"/>
                <a:gd name="connsiteX136" fmla="*/ 508314 w 1033465"/>
                <a:gd name="connsiteY136" fmla="*/ 73485 h 838042"/>
                <a:gd name="connsiteX137" fmla="*/ 454116 w 1033465"/>
                <a:gd name="connsiteY137" fmla="*/ 11248 h 838042"/>
                <a:gd name="connsiteX138" fmla="*/ 442470 w 1033465"/>
                <a:gd name="connsiteY138" fmla="*/ 75864 h 838042"/>
                <a:gd name="connsiteX139" fmla="*/ 439226 w 1033465"/>
                <a:gd name="connsiteY139" fmla="*/ 132660 h 838042"/>
                <a:gd name="connsiteX140" fmla="*/ 436054 w 1033465"/>
                <a:gd name="connsiteY14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3387 w 1033465"/>
                <a:gd name="connsiteY8" fmla="*/ 274054 h 838042"/>
                <a:gd name="connsiteX9" fmla="*/ 221957 w 1033465"/>
                <a:gd name="connsiteY9" fmla="*/ 272149 h 838042"/>
                <a:gd name="connsiteX10" fmla="*/ 216242 w 1033465"/>
                <a:gd name="connsiteY10" fmla="*/ 270244 h 838042"/>
                <a:gd name="connsiteX11" fmla="*/ 208622 w 1033465"/>
                <a:gd name="connsiteY11" fmla="*/ 268339 h 838042"/>
                <a:gd name="connsiteX12" fmla="*/ 197192 w 1033465"/>
                <a:gd name="connsiteY12" fmla="*/ 264529 h 838042"/>
                <a:gd name="connsiteX13" fmla="*/ 191477 w 1033465"/>
                <a:gd name="connsiteY13" fmla="*/ 262624 h 838042"/>
                <a:gd name="connsiteX14" fmla="*/ 183857 w 1033465"/>
                <a:gd name="connsiteY14" fmla="*/ 260719 h 838042"/>
                <a:gd name="connsiteX15" fmla="*/ 172427 w 1033465"/>
                <a:gd name="connsiteY15" fmla="*/ 255004 h 838042"/>
                <a:gd name="connsiteX16" fmla="*/ 166712 w 1033465"/>
                <a:gd name="connsiteY16" fmla="*/ 251194 h 838042"/>
                <a:gd name="connsiteX17" fmla="*/ 159092 w 1033465"/>
                <a:gd name="connsiteY17" fmla="*/ 239764 h 838042"/>
                <a:gd name="connsiteX18" fmla="*/ 147662 w 1033465"/>
                <a:gd name="connsiteY18" fmla="*/ 235954 h 838042"/>
                <a:gd name="connsiteX19" fmla="*/ 141947 w 1033465"/>
                <a:gd name="connsiteY19" fmla="*/ 232144 h 838042"/>
                <a:gd name="connsiteX20" fmla="*/ 136232 w 1033465"/>
                <a:gd name="connsiteY20" fmla="*/ 230239 h 838042"/>
                <a:gd name="connsiteX21" fmla="*/ 119087 w 1033465"/>
                <a:gd name="connsiteY21" fmla="*/ 226429 h 838042"/>
                <a:gd name="connsiteX22" fmla="*/ 113372 w 1033465"/>
                <a:gd name="connsiteY22" fmla="*/ 220714 h 838042"/>
                <a:gd name="connsiteX23" fmla="*/ 103847 w 1033465"/>
                <a:gd name="connsiteY23" fmla="*/ 203569 h 838042"/>
                <a:gd name="connsiteX24" fmla="*/ 86702 w 1033465"/>
                <a:gd name="connsiteY24" fmla="*/ 195949 h 838042"/>
                <a:gd name="connsiteX25" fmla="*/ 80987 w 1033465"/>
                <a:gd name="connsiteY25" fmla="*/ 194044 h 838042"/>
                <a:gd name="connsiteX26" fmla="*/ 61937 w 1033465"/>
                <a:gd name="connsiteY26" fmla="*/ 197854 h 838042"/>
                <a:gd name="connsiteX27" fmla="*/ 56222 w 1033465"/>
                <a:gd name="connsiteY27" fmla="*/ 201664 h 838042"/>
                <a:gd name="connsiteX28" fmla="*/ 52412 w 1033465"/>
                <a:gd name="connsiteY28" fmla="*/ 207379 h 838042"/>
                <a:gd name="connsiteX29" fmla="*/ 48602 w 1033465"/>
                <a:gd name="connsiteY29" fmla="*/ 218809 h 838042"/>
                <a:gd name="connsiteX30" fmla="*/ 52412 w 1033465"/>
                <a:gd name="connsiteY30" fmla="*/ 256909 h 838042"/>
                <a:gd name="connsiteX31" fmla="*/ 56222 w 1033465"/>
                <a:gd name="connsiteY31" fmla="*/ 262624 h 838042"/>
                <a:gd name="connsiteX32" fmla="*/ 61937 w 1033465"/>
                <a:gd name="connsiteY32" fmla="*/ 266434 h 838042"/>
                <a:gd name="connsiteX33" fmla="*/ 65747 w 1033465"/>
                <a:gd name="connsiteY33" fmla="*/ 272149 h 838042"/>
                <a:gd name="connsiteX34" fmla="*/ 82892 w 1033465"/>
                <a:gd name="connsiteY34" fmla="*/ 281674 h 838042"/>
                <a:gd name="connsiteX35" fmla="*/ 105752 w 1033465"/>
                <a:gd name="connsiteY35" fmla="*/ 283579 h 838042"/>
                <a:gd name="connsiteX36" fmla="*/ 126707 w 1033465"/>
                <a:gd name="connsiteY36" fmla="*/ 289294 h 838042"/>
                <a:gd name="connsiteX37" fmla="*/ 132422 w 1033465"/>
                <a:gd name="connsiteY37" fmla="*/ 291199 h 838042"/>
                <a:gd name="connsiteX38" fmla="*/ 138137 w 1033465"/>
                <a:gd name="connsiteY38" fmla="*/ 296914 h 838042"/>
                <a:gd name="connsiteX39" fmla="*/ 145757 w 1033465"/>
                <a:gd name="connsiteY39" fmla="*/ 298819 h 838042"/>
                <a:gd name="connsiteX40" fmla="*/ 168617 w 1033465"/>
                <a:gd name="connsiteY40" fmla="*/ 302629 h 838042"/>
                <a:gd name="connsiteX41" fmla="*/ 193382 w 1033465"/>
                <a:gd name="connsiteY41" fmla="*/ 308344 h 838042"/>
                <a:gd name="connsiteX42" fmla="*/ 210527 w 1033465"/>
                <a:gd name="connsiteY42" fmla="*/ 314059 h 838042"/>
                <a:gd name="connsiteX43" fmla="*/ 216242 w 1033465"/>
                <a:gd name="connsiteY43" fmla="*/ 315964 h 838042"/>
                <a:gd name="connsiteX44" fmla="*/ 231482 w 1033465"/>
                <a:gd name="connsiteY44" fmla="*/ 319774 h 838042"/>
                <a:gd name="connsiteX45" fmla="*/ 250532 w 1033465"/>
                <a:gd name="connsiteY45" fmla="*/ 325489 h 838042"/>
                <a:gd name="connsiteX46" fmla="*/ 256247 w 1033465"/>
                <a:gd name="connsiteY46" fmla="*/ 329299 h 838042"/>
                <a:gd name="connsiteX47" fmla="*/ 269582 w 1033465"/>
                <a:gd name="connsiteY47" fmla="*/ 344539 h 838042"/>
                <a:gd name="connsiteX48" fmla="*/ 275297 w 1033465"/>
                <a:gd name="connsiteY48" fmla="*/ 363589 h 838042"/>
                <a:gd name="connsiteX49" fmla="*/ 277202 w 1033465"/>
                <a:gd name="connsiteY49" fmla="*/ 369304 h 838042"/>
                <a:gd name="connsiteX50" fmla="*/ 279107 w 1033465"/>
                <a:gd name="connsiteY50" fmla="*/ 375019 h 838042"/>
                <a:gd name="connsiteX51" fmla="*/ 281012 w 1033465"/>
                <a:gd name="connsiteY51" fmla="*/ 399784 h 838042"/>
                <a:gd name="connsiteX52" fmla="*/ 282917 w 1033465"/>
                <a:gd name="connsiteY52" fmla="*/ 405499 h 838042"/>
                <a:gd name="connsiteX53" fmla="*/ 281012 w 1033465"/>
                <a:gd name="connsiteY53" fmla="*/ 424549 h 838042"/>
                <a:gd name="connsiteX54" fmla="*/ 279107 w 1033465"/>
                <a:gd name="connsiteY54" fmla="*/ 434074 h 838042"/>
                <a:gd name="connsiteX55" fmla="*/ 265772 w 1033465"/>
                <a:gd name="connsiteY55" fmla="*/ 447409 h 838042"/>
                <a:gd name="connsiteX56" fmla="*/ 254342 w 1033465"/>
                <a:gd name="connsiteY56" fmla="*/ 455029 h 838042"/>
                <a:gd name="connsiteX57" fmla="*/ 242912 w 1033465"/>
                <a:gd name="connsiteY57" fmla="*/ 458839 h 838042"/>
                <a:gd name="connsiteX58" fmla="*/ 128612 w 1033465"/>
                <a:gd name="connsiteY58" fmla="*/ 458839 h 838042"/>
                <a:gd name="connsiteX59" fmla="*/ 122897 w 1033465"/>
                <a:gd name="connsiteY59" fmla="*/ 460744 h 838042"/>
                <a:gd name="connsiteX60" fmla="*/ 107657 w 1033465"/>
                <a:gd name="connsiteY60" fmla="*/ 462649 h 838042"/>
                <a:gd name="connsiteX61" fmla="*/ 90512 w 1033465"/>
                <a:gd name="connsiteY61" fmla="*/ 468364 h 838042"/>
                <a:gd name="connsiteX62" fmla="*/ 84797 w 1033465"/>
                <a:gd name="connsiteY62" fmla="*/ 470269 h 838042"/>
                <a:gd name="connsiteX63" fmla="*/ 79082 w 1033465"/>
                <a:gd name="connsiteY63" fmla="*/ 474079 h 838042"/>
                <a:gd name="connsiteX64" fmla="*/ 67652 w 1033465"/>
                <a:gd name="connsiteY64" fmla="*/ 475984 h 838042"/>
                <a:gd name="connsiteX65" fmla="*/ 29552 w 1033465"/>
                <a:gd name="connsiteY65" fmla="*/ 477889 h 838042"/>
                <a:gd name="connsiteX66" fmla="*/ 18122 w 1033465"/>
                <a:gd name="connsiteY66" fmla="*/ 483604 h 838042"/>
                <a:gd name="connsiteX67" fmla="*/ 8597 w 1033465"/>
                <a:gd name="connsiteY67" fmla="*/ 493129 h 838042"/>
                <a:gd name="connsiteX68" fmla="*/ 6692 w 1033465"/>
                <a:gd name="connsiteY68" fmla="*/ 498844 h 838042"/>
                <a:gd name="connsiteX69" fmla="*/ 2882 w 1033465"/>
                <a:gd name="connsiteY69" fmla="*/ 504559 h 838042"/>
                <a:gd name="connsiteX70" fmla="*/ 14312 w 1033465"/>
                <a:gd name="connsiteY70" fmla="*/ 540754 h 838042"/>
                <a:gd name="connsiteX71" fmla="*/ 147662 w 1033465"/>
                <a:gd name="connsiteY71" fmla="*/ 540754 h 838042"/>
                <a:gd name="connsiteX72" fmla="*/ 155282 w 1033465"/>
                <a:gd name="connsiteY72" fmla="*/ 538849 h 838042"/>
                <a:gd name="connsiteX73" fmla="*/ 305777 w 1033465"/>
                <a:gd name="connsiteY73" fmla="*/ 533134 h 838042"/>
                <a:gd name="connsiteX74" fmla="*/ 321017 w 1033465"/>
                <a:gd name="connsiteY74" fmla="*/ 540754 h 838042"/>
                <a:gd name="connsiteX75" fmla="*/ 332447 w 1033465"/>
                <a:gd name="connsiteY75" fmla="*/ 546469 h 838042"/>
                <a:gd name="connsiteX76" fmla="*/ 336257 w 1033465"/>
                <a:gd name="connsiteY76" fmla="*/ 552184 h 838042"/>
                <a:gd name="connsiteX77" fmla="*/ 341972 w 1033465"/>
                <a:gd name="connsiteY77" fmla="*/ 554089 h 838042"/>
                <a:gd name="connsiteX78" fmla="*/ 353402 w 1033465"/>
                <a:gd name="connsiteY78" fmla="*/ 561709 h 838042"/>
                <a:gd name="connsiteX79" fmla="*/ 359117 w 1033465"/>
                <a:gd name="connsiteY79" fmla="*/ 565519 h 838042"/>
                <a:gd name="connsiteX80" fmla="*/ 362927 w 1033465"/>
                <a:gd name="connsiteY80" fmla="*/ 571234 h 838042"/>
                <a:gd name="connsiteX81" fmla="*/ 368642 w 1033465"/>
                <a:gd name="connsiteY81" fmla="*/ 582664 h 838042"/>
                <a:gd name="connsiteX82" fmla="*/ 364832 w 1033465"/>
                <a:gd name="connsiteY82" fmla="*/ 609334 h 838042"/>
                <a:gd name="connsiteX83" fmla="*/ 361022 w 1033465"/>
                <a:gd name="connsiteY83" fmla="*/ 615049 h 838042"/>
                <a:gd name="connsiteX84" fmla="*/ 359117 w 1033465"/>
                <a:gd name="connsiteY84" fmla="*/ 620764 h 838042"/>
                <a:gd name="connsiteX85" fmla="*/ 355307 w 1033465"/>
                <a:gd name="connsiteY85" fmla="*/ 626479 h 838042"/>
                <a:gd name="connsiteX86" fmla="*/ 353402 w 1033465"/>
                <a:gd name="connsiteY86" fmla="*/ 632194 h 838042"/>
                <a:gd name="connsiteX87" fmla="*/ 349592 w 1033465"/>
                <a:gd name="connsiteY87" fmla="*/ 637909 h 838042"/>
                <a:gd name="connsiteX88" fmla="*/ 332447 w 1033465"/>
                <a:gd name="connsiteY88" fmla="*/ 704584 h 838042"/>
                <a:gd name="connsiteX89" fmla="*/ 330542 w 1033465"/>
                <a:gd name="connsiteY89" fmla="*/ 756019 h 838042"/>
                <a:gd name="connsiteX90" fmla="*/ 332447 w 1033465"/>
                <a:gd name="connsiteY90" fmla="*/ 780784 h 838042"/>
                <a:gd name="connsiteX91" fmla="*/ 334352 w 1033465"/>
                <a:gd name="connsiteY91" fmla="*/ 786499 h 838042"/>
                <a:gd name="connsiteX92" fmla="*/ 338162 w 1033465"/>
                <a:gd name="connsiteY92" fmla="*/ 790309 h 838042"/>
                <a:gd name="connsiteX93" fmla="*/ 366737 w 1033465"/>
                <a:gd name="connsiteY93" fmla="*/ 836029 h 838042"/>
                <a:gd name="connsiteX94" fmla="*/ 389597 w 1033465"/>
                <a:gd name="connsiteY94" fmla="*/ 837934 h 838042"/>
                <a:gd name="connsiteX95" fmla="*/ 397407 w 1033465"/>
                <a:gd name="connsiteY95" fmla="*/ 833530 h 838042"/>
                <a:gd name="connsiteX96" fmla="*/ 402932 w 1033465"/>
                <a:gd name="connsiteY96" fmla="*/ 784594 h 838042"/>
                <a:gd name="connsiteX97" fmla="*/ 406742 w 1033465"/>
                <a:gd name="connsiteY97" fmla="*/ 727444 h 838042"/>
                <a:gd name="connsiteX98" fmla="*/ 423887 w 1033465"/>
                <a:gd name="connsiteY98" fmla="*/ 672199 h 838042"/>
                <a:gd name="connsiteX99" fmla="*/ 429602 w 1033465"/>
                <a:gd name="connsiteY99" fmla="*/ 658864 h 838042"/>
                <a:gd name="connsiteX100" fmla="*/ 444084 w 1033465"/>
                <a:gd name="connsiteY100" fmla="*/ 626947 h 838042"/>
                <a:gd name="connsiteX101" fmla="*/ 464289 w 1033465"/>
                <a:gd name="connsiteY101" fmla="*/ 600072 h 838042"/>
                <a:gd name="connsiteX102" fmla="*/ 523510 w 1033465"/>
                <a:gd name="connsiteY102" fmla="*/ 565123 h 838042"/>
                <a:gd name="connsiteX103" fmla="*/ 599348 w 1033465"/>
                <a:gd name="connsiteY103" fmla="*/ 550915 h 838042"/>
                <a:gd name="connsiteX104" fmla="*/ 707801 w 1033465"/>
                <a:gd name="connsiteY104" fmla="*/ 612819 h 838042"/>
                <a:gd name="connsiteX105" fmla="*/ 780122 w 1033465"/>
                <a:gd name="connsiteY105" fmla="*/ 656959 h 838042"/>
                <a:gd name="connsiteX106" fmla="*/ 804887 w 1033465"/>
                <a:gd name="connsiteY106" fmla="*/ 632194 h 838042"/>
                <a:gd name="connsiteX107" fmla="*/ 801077 w 1033465"/>
                <a:gd name="connsiteY107" fmla="*/ 601714 h 838042"/>
                <a:gd name="connsiteX108" fmla="*/ 762796 w 1033465"/>
                <a:gd name="connsiteY108" fmla="*/ 562523 h 838042"/>
                <a:gd name="connsiteX109" fmla="*/ 650582 w 1033465"/>
                <a:gd name="connsiteY109" fmla="*/ 479794 h 838042"/>
                <a:gd name="connsiteX110" fmla="*/ 646772 w 1033465"/>
                <a:gd name="connsiteY110" fmla="*/ 462649 h 838042"/>
                <a:gd name="connsiteX111" fmla="*/ 658202 w 1033465"/>
                <a:gd name="connsiteY111" fmla="*/ 426454 h 838042"/>
                <a:gd name="connsiteX112" fmla="*/ 726782 w 1033465"/>
                <a:gd name="connsiteY112" fmla="*/ 405499 h 838042"/>
                <a:gd name="connsiteX113" fmla="*/ 813738 w 1033465"/>
                <a:gd name="connsiteY113" fmla="*/ 406906 h 838042"/>
                <a:gd name="connsiteX114" fmla="*/ 906231 w 1033465"/>
                <a:gd name="connsiteY114" fmla="*/ 417646 h 838042"/>
                <a:gd name="connsiteX115" fmla="*/ 1002290 w 1033465"/>
                <a:gd name="connsiteY115" fmla="*/ 426835 h 838042"/>
                <a:gd name="connsiteX116" fmla="*/ 1032449 w 1033465"/>
                <a:gd name="connsiteY116" fmla="*/ 402711 h 838042"/>
                <a:gd name="connsiteX117" fmla="*/ 1020514 w 1033465"/>
                <a:gd name="connsiteY117" fmla="*/ 377797 h 838042"/>
                <a:gd name="connsiteX118" fmla="*/ 964889 w 1033465"/>
                <a:gd name="connsiteY118" fmla="*/ 358029 h 838042"/>
                <a:gd name="connsiteX119" fmla="*/ 827747 w 1033465"/>
                <a:gd name="connsiteY119" fmla="*/ 357874 h 838042"/>
                <a:gd name="connsiteX120" fmla="*/ 755811 w 1033465"/>
                <a:gd name="connsiteY120" fmla="*/ 361702 h 838042"/>
                <a:gd name="connsiteX121" fmla="*/ 671537 w 1033465"/>
                <a:gd name="connsiteY121" fmla="*/ 369304 h 838042"/>
                <a:gd name="connsiteX122" fmla="*/ 644867 w 1033465"/>
                <a:gd name="connsiteY122" fmla="*/ 338824 h 838042"/>
                <a:gd name="connsiteX123" fmla="*/ 676403 w 1033465"/>
                <a:gd name="connsiteY123" fmla="*/ 304962 h 838042"/>
                <a:gd name="connsiteX124" fmla="*/ 707732 w 1033465"/>
                <a:gd name="connsiteY124" fmla="*/ 283579 h 838042"/>
                <a:gd name="connsiteX125" fmla="*/ 743927 w 1033465"/>
                <a:gd name="connsiteY125" fmla="*/ 251194 h 838042"/>
                <a:gd name="connsiteX126" fmla="*/ 783019 w 1033465"/>
                <a:gd name="connsiteY126" fmla="*/ 213846 h 838042"/>
                <a:gd name="connsiteX127" fmla="*/ 746401 w 1033465"/>
                <a:gd name="connsiteY127" fmla="*/ 201789 h 838042"/>
                <a:gd name="connsiteX128" fmla="*/ 694397 w 1033465"/>
                <a:gd name="connsiteY128" fmla="*/ 226429 h 838042"/>
                <a:gd name="connsiteX129" fmla="*/ 656678 w 1033465"/>
                <a:gd name="connsiteY129" fmla="*/ 257626 h 838042"/>
                <a:gd name="connsiteX130" fmla="*/ 616001 w 1033465"/>
                <a:gd name="connsiteY130" fmla="*/ 286712 h 838042"/>
                <a:gd name="connsiteX131" fmla="*/ 564857 w 1033465"/>
                <a:gd name="connsiteY131" fmla="*/ 287389 h 838042"/>
                <a:gd name="connsiteX132" fmla="*/ 530567 w 1033465"/>
                <a:gd name="connsiteY132" fmla="*/ 274054 h 838042"/>
                <a:gd name="connsiteX133" fmla="*/ 507707 w 1033465"/>
                <a:gd name="connsiteY133" fmla="*/ 235954 h 838042"/>
                <a:gd name="connsiteX134" fmla="*/ 509612 w 1033465"/>
                <a:gd name="connsiteY134" fmla="*/ 171184 h 838042"/>
                <a:gd name="connsiteX135" fmla="*/ 508314 w 1033465"/>
                <a:gd name="connsiteY135" fmla="*/ 73485 h 838042"/>
                <a:gd name="connsiteX136" fmla="*/ 454116 w 1033465"/>
                <a:gd name="connsiteY136" fmla="*/ 11248 h 838042"/>
                <a:gd name="connsiteX137" fmla="*/ 442470 w 1033465"/>
                <a:gd name="connsiteY137" fmla="*/ 75864 h 838042"/>
                <a:gd name="connsiteX138" fmla="*/ 439226 w 1033465"/>
                <a:gd name="connsiteY138" fmla="*/ 132660 h 838042"/>
                <a:gd name="connsiteX139" fmla="*/ 436054 w 1033465"/>
                <a:gd name="connsiteY139"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3387 w 1033465"/>
                <a:gd name="connsiteY8" fmla="*/ 274054 h 838042"/>
                <a:gd name="connsiteX9" fmla="*/ 221957 w 1033465"/>
                <a:gd name="connsiteY9" fmla="*/ 272149 h 838042"/>
                <a:gd name="connsiteX10" fmla="*/ 216242 w 1033465"/>
                <a:gd name="connsiteY10" fmla="*/ 270244 h 838042"/>
                <a:gd name="connsiteX11" fmla="*/ 197192 w 1033465"/>
                <a:gd name="connsiteY11" fmla="*/ 264529 h 838042"/>
                <a:gd name="connsiteX12" fmla="*/ 191477 w 1033465"/>
                <a:gd name="connsiteY12" fmla="*/ 262624 h 838042"/>
                <a:gd name="connsiteX13" fmla="*/ 183857 w 1033465"/>
                <a:gd name="connsiteY13" fmla="*/ 260719 h 838042"/>
                <a:gd name="connsiteX14" fmla="*/ 172427 w 1033465"/>
                <a:gd name="connsiteY14" fmla="*/ 255004 h 838042"/>
                <a:gd name="connsiteX15" fmla="*/ 166712 w 1033465"/>
                <a:gd name="connsiteY15" fmla="*/ 251194 h 838042"/>
                <a:gd name="connsiteX16" fmla="*/ 159092 w 1033465"/>
                <a:gd name="connsiteY16" fmla="*/ 239764 h 838042"/>
                <a:gd name="connsiteX17" fmla="*/ 147662 w 1033465"/>
                <a:gd name="connsiteY17" fmla="*/ 235954 h 838042"/>
                <a:gd name="connsiteX18" fmla="*/ 141947 w 1033465"/>
                <a:gd name="connsiteY18" fmla="*/ 232144 h 838042"/>
                <a:gd name="connsiteX19" fmla="*/ 136232 w 1033465"/>
                <a:gd name="connsiteY19" fmla="*/ 230239 h 838042"/>
                <a:gd name="connsiteX20" fmla="*/ 119087 w 1033465"/>
                <a:gd name="connsiteY20" fmla="*/ 226429 h 838042"/>
                <a:gd name="connsiteX21" fmla="*/ 113372 w 1033465"/>
                <a:gd name="connsiteY21" fmla="*/ 220714 h 838042"/>
                <a:gd name="connsiteX22" fmla="*/ 103847 w 1033465"/>
                <a:gd name="connsiteY22" fmla="*/ 203569 h 838042"/>
                <a:gd name="connsiteX23" fmla="*/ 86702 w 1033465"/>
                <a:gd name="connsiteY23" fmla="*/ 195949 h 838042"/>
                <a:gd name="connsiteX24" fmla="*/ 80987 w 1033465"/>
                <a:gd name="connsiteY24" fmla="*/ 194044 h 838042"/>
                <a:gd name="connsiteX25" fmla="*/ 61937 w 1033465"/>
                <a:gd name="connsiteY25" fmla="*/ 197854 h 838042"/>
                <a:gd name="connsiteX26" fmla="*/ 56222 w 1033465"/>
                <a:gd name="connsiteY26" fmla="*/ 201664 h 838042"/>
                <a:gd name="connsiteX27" fmla="*/ 52412 w 1033465"/>
                <a:gd name="connsiteY27" fmla="*/ 207379 h 838042"/>
                <a:gd name="connsiteX28" fmla="*/ 48602 w 1033465"/>
                <a:gd name="connsiteY28" fmla="*/ 218809 h 838042"/>
                <a:gd name="connsiteX29" fmla="*/ 52412 w 1033465"/>
                <a:gd name="connsiteY29" fmla="*/ 256909 h 838042"/>
                <a:gd name="connsiteX30" fmla="*/ 56222 w 1033465"/>
                <a:gd name="connsiteY30" fmla="*/ 262624 h 838042"/>
                <a:gd name="connsiteX31" fmla="*/ 61937 w 1033465"/>
                <a:gd name="connsiteY31" fmla="*/ 266434 h 838042"/>
                <a:gd name="connsiteX32" fmla="*/ 65747 w 1033465"/>
                <a:gd name="connsiteY32" fmla="*/ 272149 h 838042"/>
                <a:gd name="connsiteX33" fmla="*/ 82892 w 1033465"/>
                <a:gd name="connsiteY33" fmla="*/ 281674 h 838042"/>
                <a:gd name="connsiteX34" fmla="*/ 105752 w 1033465"/>
                <a:gd name="connsiteY34" fmla="*/ 283579 h 838042"/>
                <a:gd name="connsiteX35" fmla="*/ 126707 w 1033465"/>
                <a:gd name="connsiteY35" fmla="*/ 289294 h 838042"/>
                <a:gd name="connsiteX36" fmla="*/ 132422 w 1033465"/>
                <a:gd name="connsiteY36" fmla="*/ 291199 h 838042"/>
                <a:gd name="connsiteX37" fmla="*/ 138137 w 1033465"/>
                <a:gd name="connsiteY37" fmla="*/ 296914 h 838042"/>
                <a:gd name="connsiteX38" fmla="*/ 145757 w 1033465"/>
                <a:gd name="connsiteY38" fmla="*/ 298819 h 838042"/>
                <a:gd name="connsiteX39" fmla="*/ 168617 w 1033465"/>
                <a:gd name="connsiteY39" fmla="*/ 302629 h 838042"/>
                <a:gd name="connsiteX40" fmla="*/ 193382 w 1033465"/>
                <a:gd name="connsiteY40" fmla="*/ 308344 h 838042"/>
                <a:gd name="connsiteX41" fmla="*/ 210527 w 1033465"/>
                <a:gd name="connsiteY41" fmla="*/ 314059 h 838042"/>
                <a:gd name="connsiteX42" fmla="*/ 216242 w 1033465"/>
                <a:gd name="connsiteY42" fmla="*/ 315964 h 838042"/>
                <a:gd name="connsiteX43" fmla="*/ 231482 w 1033465"/>
                <a:gd name="connsiteY43" fmla="*/ 319774 h 838042"/>
                <a:gd name="connsiteX44" fmla="*/ 250532 w 1033465"/>
                <a:gd name="connsiteY44" fmla="*/ 325489 h 838042"/>
                <a:gd name="connsiteX45" fmla="*/ 256247 w 1033465"/>
                <a:gd name="connsiteY45" fmla="*/ 329299 h 838042"/>
                <a:gd name="connsiteX46" fmla="*/ 269582 w 1033465"/>
                <a:gd name="connsiteY46" fmla="*/ 344539 h 838042"/>
                <a:gd name="connsiteX47" fmla="*/ 275297 w 1033465"/>
                <a:gd name="connsiteY47" fmla="*/ 363589 h 838042"/>
                <a:gd name="connsiteX48" fmla="*/ 277202 w 1033465"/>
                <a:gd name="connsiteY48" fmla="*/ 369304 h 838042"/>
                <a:gd name="connsiteX49" fmla="*/ 279107 w 1033465"/>
                <a:gd name="connsiteY49" fmla="*/ 375019 h 838042"/>
                <a:gd name="connsiteX50" fmla="*/ 281012 w 1033465"/>
                <a:gd name="connsiteY50" fmla="*/ 399784 h 838042"/>
                <a:gd name="connsiteX51" fmla="*/ 282917 w 1033465"/>
                <a:gd name="connsiteY51" fmla="*/ 405499 h 838042"/>
                <a:gd name="connsiteX52" fmla="*/ 281012 w 1033465"/>
                <a:gd name="connsiteY52" fmla="*/ 424549 h 838042"/>
                <a:gd name="connsiteX53" fmla="*/ 279107 w 1033465"/>
                <a:gd name="connsiteY53" fmla="*/ 434074 h 838042"/>
                <a:gd name="connsiteX54" fmla="*/ 265772 w 1033465"/>
                <a:gd name="connsiteY54" fmla="*/ 447409 h 838042"/>
                <a:gd name="connsiteX55" fmla="*/ 254342 w 1033465"/>
                <a:gd name="connsiteY55" fmla="*/ 455029 h 838042"/>
                <a:gd name="connsiteX56" fmla="*/ 242912 w 1033465"/>
                <a:gd name="connsiteY56" fmla="*/ 458839 h 838042"/>
                <a:gd name="connsiteX57" fmla="*/ 128612 w 1033465"/>
                <a:gd name="connsiteY57" fmla="*/ 458839 h 838042"/>
                <a:gd name="connsiteX58" fmla="*/ 122897 w 1033465"/>
                <a:gd name="connsiteY58" fmla="*/ 460744 h 838042"/>
                <a:gd name="connsiteX59" fmla="*/ 107657 w 1033465"/>
                <a:gd name="connsiteY59" fmla="*/ 462649 h 838042"/>
                <a:gd name="connsiteX60" fmla="*/ 90512 w 1033465"/>
                <a:gd name="connsiteY60" fmla="*/ 468364 h 838042"/>
                <a:gd name="connsiteX61" fmla="*/ 84797 w 1033465"/>
                <a:gd name="connsiteY61" fmla="*/ 470269 h 838042"/>
                <a:gd name="connsiteX62" fmla="*/ 79082 w 1033465"/>
                <a:gd name="connsiteY62" fmla="*/ 474079 h 838042"/>
                <a:gd name="connsiteX63" fmla="*/ 67652 w 1033465"/>
                <a:gd name="connsiteY63" fmla="*/ 475984 h 838042"/>
                <a:gd name="connsiteX64" fmla="*/ 29552 w 1033465"/>
                <a:gd name="connsiteY64" fmla="*/ 477889 h 838042"/>
                <a:gd name="connsiteX65" fmla="*/ 18122 w 1033465"/>
                <a:gd name="connsiteY65" fmla="*/ 483604 h 838042"/>
                <a:gd name="connsiteX66" fmla="*/ 8597 w 1033465"/>
                <a:gd name="connsiteY66" fmla="*/ 493129 h 838042"/>
                <a:gd name="connsiteX67" fmla="*/ 6692 w 1033465"/>
                <a:gd name="connsiteY67" fmla="*/ 498844 h 838042"/>
                <a:gd name="connsiteX68" fmla="*/ 2882 w 1033465"/>
                <a:gd name="connsiteY68" fmla="*/ 504559 h 838042"/>
                <a:gd name="connsiteX69" fmla="*/ 14312 w 1033465"/>
                <a:gd name="connsiteY69" fmla="*/ 540754 h 838042"/>
                <a:gd name="connsiteX70" fmla="*/ 147662 w 1033465"/>
                <a:gd name="connsiteY70" fmla="*/ 540754 h 838042"/>
                <a:gd name="connsiteX71" fmla="*/ 155282 w 1033465"/>
                <a:gd name="connsiteY71" fmla="*/ 538849 h 838042"/>
                <a:gd name="connsiteX72" fmla="*/ 305777 w 1033465"/>
                <a:gd name="connsiteY72" fmla="*/ 533134 h 838042"/>
                <a:gd name="connsiteX73" fmla="*/ 321017 w 1033465"/>
                <a:gd name="connsiteY73" fmla="*/ 540754 h 838042"/>
                <a:gd name="connsiteX74" fmla="*/ 332447 w 1033465"/>
                <a:gd name="connsiteY74" fmla="*/ 546469 h 838042"/>
                <a:gd name="connsiteX75" fmla="*/ 336257 w 1033465"/>
                <a:gd name="connsiteY75" fmla="*/ 552184 h 838042"/>
                <a:gd name="connsiteX76" fmla="*/ 341972 w 1033465"/>
                <a:gd name="connsiteY76" fmla="*/ 554089 h 838042"/>
                <a:gd name="connsiteX77" fmla="*/ 353402 w 1033465"/>
                <a:gd name="connsiteY77" fmla="*/ 561709 h 838042"/>
                <a:gd name="connsiteX78" fmla="*/ 359117 w 1033465"/>
                <a:gd name="connsiteY78" fmla="*/ 565519 h 838042"/>
                <a:gd name="connsiteX79" fmla="*/ 362927 w 1033465"/>
                <a:gd name="connsiteY79" fmla="*/ 571234 h 838042"/>
                <a:gd name="connsiteX80" fmla="*/ 368642 w 1033465"/>
                <a:gd name="connsiteY80" fmla="*/ 582664 h 838042"/>
                <a:gd name="connsiteX81" fmla="*/ 364832 w 1033465"/>
                <a:gd name="connsiteY81" fmla="*/ 609334 h 838042"/>
                <a:gd name="connsiteX82" fmla="*/ 361022 w 1033465"/>
                <a:gd name="connsiteY82" fmla="*/ 615049 h 838042"/>
                <a:gd name="connsiteX83" fmla="*/ 359117 w 1033465"/>
                <a:gd name="connsiteY83" fmla="*/ 620764 h 838042"/>
                <a:gd name="connsiteX84" fmla="*/ 355307 w 1033465"/>
                <a:gd name="connsiteY84" fmla="*/ 626479 h 838042"/>
                <a:gd name="connsiteX85" fmla="*/ 353402 w 1033465"/>
                <a:gd name="connsiteY85" fmla="*/ 632194 h 838042"/>
                <a:gd name="connsiteX86" fmla="*/ 349592 w 1033465"/>
                <a:gd name="connsiteY86" fmla="*/ 637909 h 838042"/>
                <a:gd name="connsiteX87" fmla="*/ 332447 w 1033465"/>
                <a:gd name="connsiteY87" fmla="*/ 704584 h 838042"/>
                <a:gd name="connsiteX88" fmla="*/ 330542 w 1033465"/>
                <a:gd name="connsiteY88" fmla="*/ 756019 h 838042"/>
                <a:gd name="connsiteX89" fmla="*/ 332447 w 1033465"/>
                <a:gd name="connsiteY89" fmla="*/ 780784 h 838042"/>
                <a:gd name="connsiteX90" fmla="*/ 334352 w 1033465"/>
                <a:gd name="connsiteY90" fmla="*/ 786499 h 838042"/>
                <a:gd name="connsiteX91" fmla="*/ 338162 w 1033465"/>
                <a:gd name="connsiteY91" fmla="*/ 790309 h 838042"/>
                <a:gd name="connsiteX92" fmla="*/ 366737 w 1033465"/>
                <a:gd name="connsiteY92" fmla="*/ 836029 h 838042"/>
                <a:gd name="connsiteX93" fmla="*/ 389597 w 1033465"/>
                <a:gd name="connsiteY93" fmla="*/ 837934 h 838042"/>
                <a:gd name="connsiteX94" fmla="*/ 397407 w 1033465"/>
                <a:gd name="connsiteY94" fmla="*/ 833530 h 838042"/>
                <a:gd name="connsiteX95" fmla="*/ 402932 w 1033465"/>
                <a:gd name="connsiteY95" fmla="*/ 784594 h 838042"/>
                <a:gd name="connsiteX96" fmla="*/ 406742 w 1033465"/>
                <a:gd name="connsiteY96" fmla="*/ 727444 h 838042"/>
                <a:gd name="connsiteX97" fmla="*/ 423887 w 1033465"/>
                <a:gd name="connsiteY97" fmla="*/ 672199 h 838042"/>
                <a:gd name="connsiteX98" fmla="*/ 429602 w 1033465"/>
                <a:gd name="connsiteY98" fmla="*/ 658864 h 838042"/>
                <a:gd name="connsiteX99" fmla="*/ 444084 w 1033465"/>
                <a:gd name="connsiteY99" fmla="*/ 626947 h 838042"/>
                <a:gd name="connsiteX100" fmla="*/ 464289 w 1033465"/>
                <a:gd name="connsiteY100" fmla="*/ 600072 h 838042"/>
                <a:gd name="connsiteX101" fmla="*/ 523510 w 1033465"/>
                <a:gd name="connsiteY101" fmla="*/ 565123 h 838042"/>
                <a:gd name="connsiteX102" fmla="*/ 599348 w 1033465"/>
                <a:gd name="connsiteY102" fmla="*/ 550915 h 838042"/>
                <a:gd name="connsiteX103" fmla="*/ 707801 w 1033465"/>
                <a:gd name="connsiteY103" fmla="*/ 612819 h 838042"/>
                <a:gd name="connsiteX104" fmla="*/ 780122 w 1033465"/>
                <a:gd name="connsiteY104" fmla="*/ 656959 h 838042"/>
                <a:gd name="connsiteX105" fmla="*/ 804887 w 1033465"/>
                <a:gd name="connsiteY105" fmla="*/ 632194 h 838042"/>
                <a:gd name="connsiteX106" fmla="*/ 801077 w 1033465"/>
                <a:gd name="connsiteY106" fmla="*/ 601714 h 838042"/>
                <a:gd name="connsiteX107" fmla="*/ 762796 w 1033465"/>
                <a:gd name="connsiteY107" fmla="*/ 562523 h 838042"/>
                <a:gd name="connsiteX108" fmla="*/ 650582 w 1033465"/>
                <a:gd name="connsiteY108" fmla="*/ 479794 h 838042"/>
                <a:gd name="connsiteX109" fmla="*/ 646772 w 1033465"/>
                <a:gd name="connsiteY109" fmla="*/ 462649 h 838042"/>
                <a:gd name="connsiteX110" fmla="*/ 658202 w 1033465"/>
                <a:gd name="connsiteY110" fmla="*/ 426454 h 838042"/>
                <a:gd name="connsiteX111" fmla="*/ 726782 w 1033465"/>
                <a:gd name="connsiteY111" fmla="*/ 405499 h 838042"/>
                <a:gd name="connsiteX112" fmla="*/ 813738 w 1033465"/>
                <a:gd name="connsiteY112" fmla="*/ 406906 h 838042"/>
                <a:gd name="connsiteX113" fmla="*/ 906231 w 1033465"/>
                <a:gd name="connsiteY113" fmla="*/ 417646 h 838042"/>
                <a:gd name="connsiteX114" fmla="*/ 1002290 w 1033465"/>
                <a:gd name="connsiteY114" fmla="*/ 426835 h 838042"/>
                <a:gd name="connsiteX115" fmla="*/ 1032449 w 1033465"/>
                <a:gd name="connsiteY115" fmla="*/ 402711 h 838042"/>
                <a:gd name="connsiteX116" fmla="*/ 1020514 w 1033465"/>
                <a:gd name="connsiteY116" fmla="*/ 377797 h 838042"/>
                <a:gd name="connsiteX117" fmla="*/ 964889 w 1033465"/>
                <a:gd name="connsiteY117" fmla="*/ 358029 h 838042"/>
                <a:gd name="connsiteX118" fmla="*/ 827747 w 1033465"/>
                <a:gd name="connsiteY118" fmla="*/ 357874 h 838042"/>
                <a:gd name="connsiteX119" fmla="*/ 755811 w 1033465"/>
                <a:gd name="connsiteY119" fmla="*/ 361702 h 838042"/>
                <a:gd name="connsiteX120" fmla="*/ 671537 w 1033465"/>
                <a:gd name="connsiteY120" fmla="*/ 369304 h 838042"/>
                <a:gd name="connsiteX121" fmla="*/ 644867 w 1033465"/>
                <a:gd name="connsiteY121" fmla="*/ 338824 h 838042"/>
                <a:gd name="connsiteX122" fmla="*/ 676403 w 1033465"/>
                <a:gd name="connsiteY122" fmla="*/ 304962 h 838042"/>
                <a:gd name="connsiteX123" fmla="*/ 707732 w 1033465"/>
                <a:gd name="connsiteY123" fmla="*/ 283579 h 838042"/>
                <a:gd name="connsiteX124" fmla="*/ 743927 w 1033465"/>
                <a:gd name="connsiteY124" fmla="*/ 251194 h 838042"/>
                <a:gd name="connsiteX125" fmla="*/ 783019 w 1033465"/>
                <a:gd name="connsiteY125" fmla="*/ 213846 h 838042"/>
                <a:gd name="connsiteX126" fmla="*/ 746401 w 1033465"/>
                <a:gd name="connsiteY126" fmla="*/ 201789 h 838042"/>
                <a:gd name="connsiteX127" fmla="*/ 694397 w 1033465"/>
                <a:gd name="connsiteY127" fmla="*/ 226429 h 838042"/>
                <a:gd name="connsiteX128" fmla="*/ 656678 w 1033465"/>
                <a:gd name="connsiteY128" fmla="*/ 257626 h 838042"/>
                <a:gd name="connsiteX129" fmla="*/ 616001 w 1033465"/>
                <a:gd name="connsiteY129" fmla="*/ 286712 h 838042"/>
                <a:gd name="connsiteX130" fmla="*/ 564857 w 1033465"/>
                <a:gd name="connsiteY130" fmla="*/ 287389 h 838042"/>
                <a:gd name="connsiteX131" fmla="*/ 530567 w 1033465"/>
                <a:gd name="connsiteY131" fmla="*/ 274054 h 838042"/>
                <a:gd name="connsiteX132" fmla="*/ 507707 w 1033465"/>
                <a:gd name="connsiteY132" fmla="*/ 235954 h 838042"/>
                <a:gd name="connsiteX133" fmla="*/ 509612 w 1033465"/>
                <a:gd name="connsiteY133" fmla="*/ 171184 h 838042"/>
                <a:gd name="connsiteX134" fmla="*/ 508314 w 1033465"/>
                <a:gd name="connsiteY134" fmla="*/ 73485 h 838042"/>
                <a:gd name="connsiteX135" fmla="*/ 454116 w 1033465"/>
                <a:gd name="connsiteY135" fmla="*/ 11248 h 838042"/>
                <a:gd name="connsiteX136" fmla="*/ 442470 w 1033465"/>
                <a:gd name="connsiteY136" fmla="*/ 75864 h 838042"/>
                <a:gd name="connsiteX137" fmla="*/ 439226 w 1033465"/>
                <a:gd name="connsiteY137" fmla="*/ 132660 h 838042"/>
                <a:gd name="connsiteX138" fmla="*/ 436054 w 1033465"/>
                <a:gd name="connsiteY138"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3387 w 1033465"/>
                <a:gd name="connsiteY8" fmla="*/ 274054 h 838042"/>
                <a:gd name="connsiteX9" fmla="*/ 221957 w 1033465"/>
                <a:gd name="connsiteY9" fmla="*/ 272149 h 838042"/>
                <a:gd name="connsiteX10" fmla="*/ 216242 w 1033465"/>
                <a:gd name="connsiteY10" fmla="*/ 270244 h 838042"/>
                <a:gd name="connsiteX11" fmla="*/ 191477 w 1033465"/>
                <a:gd name="connsiteY11" fmla="*/ 262624 h 838042"/>
                <a:gd name="connsiteX12" fmla="*/ 183857 w 1033465"/>
                <a:gd name="connsiteY12" fmla="*/ 260719 h 838042"/>
                <a:gd name="connsiteX13" fmla="*/ 172427 w 1033465"/>
                <a:gd name="connsiteY13" fmla="*/ 255004 h 838042"/>
                <a:gd name="connsiteX14" fmla="*/ 166712 w 1033465"/>
                <a:gd name="connsiteY14" fmla="*/ 251194 h 838042"/>
                <a:gd name="connsiteX15" fmla="*/ 159092 w 1033465"/>
                <a:gd name="connsiteY15" fmla="*/ 239764 h 838042"/>
                <a:gd name="connsiteX16" fmla="*/ 147662 w 1033465"/>
                <a:gd name="connsiteY16" fmla="*/ 235954 h 838042"/>
                <a:gd name="connsiteX17" fmla="*/ 141947 w 1033465"/>
                <a:gd name="connsiteY17" fmla="*/ 232144 h 838042"/>
                <a:gd name="connsiteX18" fmla="*/ 136232 w 1033465"/>
                <a:gd name="connsiteY18" fmla="*/ 230239 h 838042"/>
                <a:gd name="connsiteX19" fmla="*/ 119087 w 1033465"/>
                <a:gd name="connsiteY19" fmla="*/ 226429 h 838042"/>
                <a:gd name="connsiteX20" fmla="*/ 113372 w 1033465"/>
                <a:gd name="connsiteY20" fmla="*/ 220714 h 838042"/>
                <a:gd name="connsiteX21" fmla="*/ 103847 w 1033465"/>
                <a:gd name="connsiteY21" fmla="*/ 203569 h 838042"/>
                <a:gd name="connsiteX22" fmla="*/ 86702 w 1033465"/>
                <a:gd name="connsiteY22" fmla="*/ 195949 h 838042"/>
                <a:gd name="connsiteX23" fmla="*/ 80987 w 1033465"/>
                <a:gd name="connsiteY23" fmla="*/ 194044 h 838042"/>
                <a:gd name="connsiteX24" fmla="*/ 61937 w 1033465"/>
                <a:gd name="connsiteY24" fmla="*/ 197854 h 838042"/>
                <a:gd name="connsiteX25" fmla="*/ 56222 w 1033465"/>
                <a:gd name="connsiteY25" fmla="*/ 201664 h 838042"/>
                <a:gd name="connsiteX26" fmla="*/ 52412 w 1033465"/>
                <a:gd name="connsiteY26" fmla="*/ 207379 h 838042"/>
                <a:gd name="connsiteX27" fmla="*/ 48602 w 1033465"/>
                <a:gd name="connsiteY27" fmla="*/ 218809 h 838042"/>
                <a:gd name="connsiteX28" fmla="*/ 52412 w 1033465"/>
                <a:gd name="connsiteY28" fmla="*/ 256909 h 838042"/>
                <a:gd name="connsiteX29" fmla="*/ 56222 w 1033465"/>
                <a:gd name="connsiteY29" fmla="*/ 262624 h 838042"/>
                <a:gd name="connsiteX30" fmla="*/ 61937 w 1033465"/>
                <a:gd name="connsiteY30" fmla="*/ 266434 h 838042"/>
                <a:gd name="connsiteX31" fmla="*/ 65747 w 1033465"/>
                <a:gd name="connsiteY31" fmla="*/ 272149 h 838042"/>
                <a:gd name="connsiteX32" fmla="*/ 82892 w 1033465"/>
                <a:gd name="connsiteY32" fmla="*/ 281674 h 838042"/>
                <a:gd name="connsiteX33" fmla="*/ 105752 w 1033465"/>
                <a:gd name="connsiteY33" fmla="*/ 283579 h 838042"/>
                <a:gd name="connsiteX34" fmla="*/ 126707 w 1033465"/>
                <a:gd name="connsiteY34" fmla="*/ 289294 h 838042"/>
                <a:gd name="connsiteX35" fmla="*/ 132422 w 1033465"/>
                <a:gd name="connsiteY35" fmla="*/ 291199 h 838042"/>
                <a:gd name="connsiteX36" fmla="*/ 138137 w 1033465"/>
                <a:gd name="connsiteY36" fmla="*/ 296914 h 838042"/>
                <a:gd name="connsiteX37" fmla="*/ 145757 w 1033465"/>
                <a:gd name="connsiteY37" fmla="*/ 298819 h 838042"/>
                <a:gd name="connsiteX38" fmla="*/ 168617 w 1033465"/>
                <a:gd name="connsiteY38" fmla="*/ 302629 h 838042"/>
                <a:gd name="connsiteX39" fmla="*/ 193382 w 1033465"/>
                <a:gd name="connsiteY39" fmla="*/ 308344 h 838042"/>
                <a:gd name="connsiteX40" fmla="*/ 210527 w 1033465"/>
                <a:gd name="connsiteY40" fmla="*/ 314059 h 838042"/>
                <a:gd name="connsiteX41" fmla="*/ 216242 w 1033465"/>
                <a:gd name="connsiteY41" fmla="*/ 315964 h 838042"/>
                <a:gd name="connsiteX42" fmla="*/ 231482 w 1033465"/>
                <a:gd name="connsiteY42" fmla="*/ 319774 h 838042"/>
                <a:gd name="connsiteX43" fmla="*/ 250532 w 1033465"/>
                <a:gd name="connsiteY43" fmla="*/ 325489 h 838042"/>
                <a:gd name="connsiteX44" fmla="*/ 256247 w 1033465"/>
                <a:gd name="connsiteY44" fmla="*/ 329299 h 838042"/>
                <a:gd name="connsiteX45" fmla="*/ 269582 w 1033465"/>
                <a:gd name="connsiteY45" fmla="*/ 344539 h 838042"/>
                <a:gd name="connsiteX46" fmla="*/ 275297 w 1033465"/>
                <a:gd name="connsiteY46" fmla="*/ 363589 h 838042"/>
                <a:gd name="connsiteX47" fmla="*/ 277202 w 1033465"/>
                <a:gd name="connsiteY47" fmla="*/ 369304 h 838042"/>
                <a:gd name="connsiteX48" fmla="*/ 279107 w 1033465"/>
                <a:gd name="connsiteY48" fmla="*/ 375019 h 838042"/>
                <a:gd name="connsiteX49" fmla="*/ 281012 w 1033465"/>
                <a:gd name="connsiteY49" fmla="*/ 399784 h 838042"/>
                <a:gd name="connsiteX50" fmla="*/ 282917 w 1033465"/>
                <a:gd name="connsiteY50" fmla="*/ 405499 h 838042"/>
                <a:gd name="connsiteX51" fmla="*/ 281012 w 1033465"/>
                <a:gd name="connsiteY51" fmla="*/ 424549 h 838042"/>
                <a:gd name="connsiteX52" fmla="*/ 279107 w 1033465"/>
                <a:gd name="connsiteY52" fmla="*/ 434074 h 838042"/>
                <a:gd name="connsiteX53" fmla="*/ 265772 w 1033465"/>
                <a:gd name="connsiteY53" fmla="*/ 447409 h 838042"/>
                <a:gd name="connsiteX54" fmla="*/ 254342 w 1033465"/>
                <a:gd name="connsiteY54" fmla="*/ 455029 h 838042"/>
                <a:gd name="connsiteX55" fmla="*/ 242912 w 1033465"/>
                <a:gd name="connsiteY55" fmla="*/ 458839 h 838042"/>
                <a:gd name="connsiteX56" fmla="*/ 128612 w 1033465"/>
                <a:gd name="connsiteY56" fmla="*/ 458839 h 838042"/>
                <a:gd name="connsiteX57" fmla="*/ 122897 w 1033465"/>
                <a:gd name="connsiteY57" fmla="*/ 460744 h 838042"/>
                <a:gd name="connsiteX58" fmla="*/ 107657 w 1033465"/>
                <a:gd name="connsiteY58" fmla="*/ 462649 h 838042"/>
                <a:gd name="connsiteX59" fmla="*/ 90512 w 1033465"/>
                <a:gd name="connsiteY59" fmla="*/ 468364 h 838042"/>
                <a:gd name="connsiteX60" fmla="*/ 84797 w 1033465"/>
                <a:gd name="connsiteY60" fmla="*/ 470269 h 838042"/>
                <a:gd name="connsiteX61" fmla="*/ 79082 w 1033465"/>
                <a:gd name="connsiteY61" fmla="*/ 474079 h 838042"/>
                <a:gd name="connsiteX62" fmla="*/ 67652 w 1033465"/>
                <a:gd name="connsiteY62" fmla="*/ 475984 h 838042"/>
                <a:gd name="connsiteX63" fmla="*/ 29552 w 1033465"/>
                <a:gd name="connsiteY63" fmla="*/ 477889 h 838042"/>
                <a:gd name="connsiteX64" fmla="*/ 18122 w 1033465"/>
                <a:gd name="connsiteY64" fmla="*/ 483604 h 838042"/>
                <a:gd name="connsiteX65" fmla="*/ 8597 w 1033465"/>
                <a:gd name="connsiteY65" fmla="*/ 493129 h 838042"/>
                <a:gd name="connsiteX66" fmla="*/ 6692 w 1033465"/>
                <a:gd name="connsiteY66" fmla="*/ 498844 h 838042"/>
                <a:gd name="connsiteX67" fmla="*/ 2882 w 1033465"/>
                <a:gd name="connsiteY67" fmla="*/ 504559 h 838042"/>
                <a:gd name="connsiteX68" fmla="*/ 14312 w 1033465"/>
                <a:gd name="connsiteY68" fmla="*/ 540754 h 838042"/>
                <a:gd name="connsiteX69" fmla="*/ 147662 w 1033465"/>
                <a:gd name="connsiteY69" fmla="*/ 540754 h 838042"/>
                <a:gd name="connsiteX70" fmla="*/ 155282 w 1033465"/>
                <a:gd name="connsiteY70" fmla="*/ 538849 h 838042"/>
                <a:gd name="connsiteX71" fmla="*/ 305777 w 1033465"/>
                <a:gd name="connsiteY71" fmla="*/ 533134 h 838042"/>
                <a:gd name="connsiteX72" fmla="*/ 321017 w 1033465"/>
                <a:gd name="connsiteY72" fmla="*/ 540754 h 838042"/>
                <a:gd name="connsiteX73" fmla="*/ 332447 w 1033465"/>
                <a:gd name="connsiteY73" fmla="*/ 546469 h 838042"/>
                <a:gd name="connsiteX74" fmla="*/ 336257 w 1033465"/>
                <a:gd name="connsiteY74" fmla="*/ 552184 h 838042"/>
                <a:gd name="connsiteX75" fmla="*/ 341972 w 1033465"/>
                <a:gd name="connsiteY75" fmla="*/ 554089 h 838042"/>
                <a:gd name="connsiteX76" fmla="*/ 353402 w 1033465"/>
                <a:gd name="connsiteY76" fmla="*/ 561709 h 838042"/>
                <a:gd name="connsiteX77" fmla="*/ 359117 w 1033465"/>
                <a:gd name="connsiteY77" fmla="*/ 565519 h 838042"/>
                <a:gd name="connsiteX78" fmla="*/ 362927 w 1033465"/>
                <a:gd name="connsiteY78" fmla="*/ 571234 h 838042"/>
                <a:gd name="connsiteX79" fmla="*/ 368642 w 1033465"/>
                <a:gd name="connsiteY79" fmla="*/ 582664 h 838042"/>
                <a:gd name="connsiteX80" fmla="*/ 364832 w 1033465"/>
                <a:gd name="connsiteY80" fmla="*/ 609334 h 838042"/>
                <a:gd name="connsiteX81" fmla="*/ 361022 w 1033465"/>
                <a:gd name="connsiteY81" fmla="*/ 615049 h 838042"/>
                <a:gd name="connsiteX82" fmla="*/ 359117 w 1033465"/>
                <a:gd name="connsiteY82" fmla="*/ 620764 h 838042"/>
                <a:gd name="connsiteX83" fmla="*/ 355307 w 1033465"/>
                <a:gd name="connsiteY83" fmla="*/ 626479 h 838042"/>
                <a:gd name="connsiteX84" fmla="*/ 353402 w 1033465"/>
                <a:gd name="connsiteY84" fmla="*/ 632194 h 838042"/>
                <a:gd name="connsiteX85" fmla="*/ 349592 w 1033465"/>
                <a:gd name="connsiteY85" fmla="*/ 637909 h 838042"/>
                <a:gd name="connsiteX86" fmla="*/ 332447 w 1033465"/>
                <a:gd name="connsiteY86" fmla="*/ 704584 h 838042"/>
                <a:gd name="connsiteX87" fmla="*/ 330542 w 1033465"/>
                <a:gd name="connsiteY87" fmla="*/ 756019 h 838042"/>
                <a:gd name="connsiteX88" fmla="*/ 332447 w 1033465"/>
                <a:gd name="connsiteY88" fmla="*/ 780784 h 838042"/>
                <a:gd name="connsiteX89" fmla="*/ 334352 w 1033465"/>
                <a:gd name="connsiteY89" fmla="*/ 786499 h 838042"/>
                <a:gd name="connsiteX90" fmla="*/ 338162 w 1033465"/>
                <a:gd name="connsiteY90" fmla="*/ 790309 h 838042"/>
                <a:gd name="connsiteX91" fmla="*/ 366737 w 1033465"/>
                <a:gd name="connsiteY91" fmla="*/ 836029 h 838042"/>
                <a:gd name="connsiteX92" fmla="*/ 389597 w 1033465"/>
                <a:gd name="connsiteY92" fmla="*/ 837934 h 838042"/>
                <a:gd name="connsiteX93" fmla="*/ 397407 w 1033465"/>
                <a:gd name="connsiteY93" fmla="*/ 833530 h 838042"/>
                <a:gd name="connsiteX94" fmla="*/ 402932 w 1033465"/>
                <a:gd name="connsiteY94" fmla="*/ 784594 h 838042"/>
                <a:gd name="connsiteX95" fmla="*/ 406742 w 1033465"/>
                <a:gd name="connsiteY95" fmla="*/ 727444 h 838042"/>
                <a:gd name="connsiteX96" fmla="*/ 423887 w 1033465"/>
                <a:gd name="connsiteY96" fmla="*/ 672199 h 838042"/>
                <a:gd name="connsiteX97" fmla="*/ 429602 w 1033465"/>
                <a:gd name="connsiteY97" fmla="*/ 658864 h 838042"/>
                <a:gd name="connsiteX98" fmla="*/ 444084 w 1033465"/>
                <a:gd name="connsiteY98" fmla="*/ 626947 h 838042"/>
                <a:gd name="connsiteX99" fmla="*/ 464289 w 1033465"/>
                <a:gd name="connsiteY99" fmla="*/ 600072 h 838042"/>
                <a:gd name="connsiteX100" fmla="*/ 523510 w 1033465"/>
                <a:gd name="connsiteY100" fmla="*/ 565123 h 838042"/>
                <a:gd name="connsiteX101" fmla="*/ 599348 w 1033465"/>
                <a:gd name="connsiteY101" fmla="*/ 550915 h 838042"/>
                <a:gd name="connsiteX102" fmla="*/ 707801 w 1033465"/>
                <a:gd name="connsiteY102" fmla="*/ 612819 h 838042"/>
                <a:gd name="connsiteX103" fmla="*/ 780122 w 1033465"/>
                <a:gd name="connsiteY103" fmla="*/ 656959 h 838042"/>
                <a:gd name="connsiteX104" fmla="*/ 804887 w 1033465"/>
                <a:gd name="connsiteY104" fmla="*/ 632194 h 838042"/>
                <a:gd name="connsiteX105" fmla="*/ 801077 w 1033465"/>
                <a:gd name="connsiteY105" fmla="*/ 601714 h 838042"/>
                <a:gd name="connsiteX106" fmla="*/ 762796 w 1033465"/>
                <a:gd name="connsiteY106" fmla="*/ 562523 h 838042"/>
                <a:gd name="connsiteX107" fmla="*/ 650582 w 1033465"/>
                <a:gd name="connsiteY107" fmla="*/ 479794 h 838042"/>
                <a:gd name="connsiteX108" fmla="*/ 646772 w 1033465"/>
                <a:gd name="connsiteY108" fmla="*/ 462649 h 838042"/>
                <a:gd name="connsiteX109" fmla="*/ 658202 w 1033465"/>
                <a:gd name="connsiteY109" fmla="*/ 426454 h 838042"/>
                <a:gd name="connsiteX110" fmla="*/ 726782 w 1033465"/>
                <a:gd name="connsiteY110" fmla="*/ 405499 h 838042"/>
                <a:gd name="connsiteX111" fmla="*/ 813738 w 1033465"/>
                <a:gd name="connsiteY111" fmla="*/ 406906 h 838042"/>
                <a:gd name="connsiteX112" fmla="*/ 906231 w 1033465"/>
                <a:gd name="connsiteY112" fmla="*/ 417646 h 838042"/>
                <a:gd name="connsiteX113" fmla="*/ 1002290 w 1033465"/>
                <a:gd name="connsiteY113" fmla="*/ 426835 h 838042"/>
                <a:gd name="connsiteX114" fmla="*/ 1032449 w 1033465"/>
                <a:gd name="connsiteY114" fmla="*/ 402711 h 838042"/>
                <a:gd name="connsiteX115" fmla="*/ 1020514 w 1033465"/>
                <a:gd name="connsiteY115" fmla="*/ 377797 h 838042"/>
                <a:gd name="connsiteX116" fmla="*/ 964889 w 1033465"/>
                <a:gd name="connsiteY116" fmla="*/ 358029 h 838042"/>
                <a:gd name="connsiteX117" fmla="*/ 827747 w 1033465"/>
                <a:gd name="connsiteY117" fmla="*/ 357874 h 838042"/>
                <a:gd name="connsiteX118" fmla="*/ 755811 w 1033465"/>
                <a:gd name="connsiteY118" fmla="*/ 361702 h 838042"/>
                <a:gd name="connsiteX119" fmla="*/ 671537 w 1033465"/>
                <a:gd name="connsiteY119" fmla="*/ 369304 h 838042"/>
                <a:gd name="connsiteX120" fmla="*/ 644867 w 1033465"/>
                <a:gd name="connsiteY120" fmla="*/ 338824 h 838042"/>
                <a:gd name="connsiteX121" fmla="*/ 676403 w 1033465"/>
                <a:gd name="connsiteY121" fmla="*/ 304962 h 838042"/>
                <a:gd name="connsiteX122" fmla="*/ 707732 w 1033465"/>
                <a:gd name="connsiteY122" fmla="*/ 283579 h 838042"/>
                <a:gd name="connsiteX123" fmla="*/ 743927 w 1033465"/>
                <a:gd name="connsiteY123" fmla="*/ 251194 h 838042"/>
                <a:gd name="connsiteX124" fmla="*/ 783019 w 1033465"/>
                <a:gd name="connsiteY124" fmla="*/ 213846 h 838042"/>
                <a:gd name="connsiteX125" fmla="*/ 746401 w 1033465"/>
                <a:gd name="connsiteY125" fmla="*/ 201789 h 838042"/>
                <a:gd name="connsiteX126" fmla="*/ 694397 w 1033465"/>
                <a:gd name="connsiteY126" fmla="*/ 226429 h 838042"/>
                <a:gd name="connsiteX127" fmla="*/ 656678 w 1033465"/>
                <a:gd name="connsiteY127" fmla="*/ 257626 h 838042"/>
                <a:gd name="connsiteX128" fmla="*/ 616001 w 1033465"/>
                <a:gd name="connsiteY128" fmla="*/ 286712 h 838042"/>
                <a:gd name="connsiteX129" fmla="*/ 564857 w 1033465"/>
                <a:gd name="connsiteY129" fmla="*/ 287389 h 838042"/>
                <a:gd name="connsiteX130" fmla="*/ 530567 w 1033465"/>
                <a:gd name="connsiteY130" fmla="*/ 274054 h 838042"/>
                <a:gd name="connsiteX131" fmla="*/ 507707 w 1033465"/>
                <a:gd name="connsiteY131" fmla="*/ 235954 h 838042"/>
                <a:gd name="connsiteX132" fmla="*/ 509612 w 1033465"/>
                <a:gd name="connsiteY132" fmla="*/ 171184 h 838042"/>
                <a:gd name="connsiteX133" fmla="*/ 508314 w 1033465"/>
                <a:gd name="connsiteY133" fmla="*/ 73485 h 838042"/>
                <a:gd name="connsiteX134" fmla="*/ 454116 w 1033465"/>
                <a:gd name="connsiteY134" fmla="*/ 11248 h 838042"/>
                <a:gd name="connsiteX135" fmla="*/ 442470 w 1033465"/>
                <a:gd name="connsiteY135" fmla="*/ 75864 h 838042"/>
                <a:gd name="connsiteX136" fmla="*/ 439226 w 1033465"/>
                <a:gd name="connsiteY136" fmla="*/ 132660 h 838042"/>
                <a:gd name="connsiteX137" fmla="*/ 436054 w 1033465"/>
                <a:gd name="connsiteY13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44817 w 1033465"/>
                <a:gd name="connsiteY7" fmla="*/ 277864 h 838042"/>
                <a:gd name="connsiteX8" fmla="*/ 233387 w 1033465"/>
                <a:gd name="connsiteY8" fmla="*/ 274054 h 838042"/>
                <a:gd name="connsiteX9" fmla="*/ 221957 w 1033465"/>
                <a:gd name="connsiteY9" fmla="*/ 272149 h 838042"/>
                <a:gd name="connsiteX10" fmla="*/ 191477 w 1033465"/>
                <a:gd name="connsiteY10" fmla="*/ 262624 h 838042"/>
                <a:gd name="connsiteX11" fmla="*/ 183857 w 1033465"/>
                <a:gd name="connsiteY11" fmla="*/ 260719 h 838042"/>
                <a:gd name="connsiteX12" fmla="*/ 172427 w 1033465"/>
                <a:gd name="connsiteY12" fmla="*/ 255004 h 838042"/>
                <a:gd name="connsiteX13" fmla="*/ 166712 w 1033465"/>
                <a:gd name="connsiteY13" fmla="*/ 251194 h 838042"/>
                <a:gd name="connsiteX14" fmla="*/ 159092 w 1033465"/>
                <a:gd name="connsiteY14" fmla="*/ 239764 h 838042"/>
                <a:gd name="connsiteX15" fmla="*/ 147662 w 1033465"/>
                <a:gd name="connsiteY15" fmla="*/ 235954 h 838042"/>
                <a:gd name="connsiteX16" fmla="*/ 141947 w 1033465"/>
                <a:gd name="connsiteY16" fmla="*/ 232144 h 838042"/>
                <a:gd name="connsiteX17" fmla="*/ 136232 w 1033465"/>
                <a:gd name="connsiteY17" fmla="*/ 230239 h 838042"/>
                <a:gd name="connsiteX18" fmla="*/ 119087 w 1033465"/>
                <a:gd name="connsiteY18" fmla="*/ 226429 h 838042"/>
                <a:gd name="connsiteX19" fmla="*/ 113372 w 1033465"/>
                <a:gd name="connsiteY19" fmla="*/ 220714 h 838042"/>
                <a:gd name="connsiteX20" fmla="*/ 103847 w 1033465"/>
                <a:gd name="connsiteY20" fmla="*/ 203569 h 838042"/>
                <a:gd name="connsiteX21" fmla="*/ 86702 w 1033465"/>
                <a:gd name="connsiteY21" fmla="*/ 195949 h 838042"/>
                <a:gd name="connsiteX22" fmla="*/ 80987 w 1033465"/>
                <a:gd name="connsiteY22" fmla="*/ 194044 h 838042"/>
                <a:gd name="connsiteX23" fmla="*/ 61937 w 1033465"/>
                <a:gd name="connsiteY23" fmla="*/ 197854 h 838042"/>
                <a:gd name="connsiteX24" fmla="*/ 56222 w 1033465"/>
                <a:gd name="connsiteY24" fmla="*/ 201664 h 838042"/>
                <a:gd name="connsiteX25" fmla="*/ 52412 w 1033465"/>
                <a:gd name="connsiteY25" fmla="*/ 207379 h 838042"/>
                <a:gd name="connsiteX26" fmla="*/ 48602 w 1033465"/>
                <a:gd name="connsiteY26" fmla="*/ 218809 h 838042"/>
                <a:gd name="connsiteX27" fmla="*/ 52412 w 1033465"/>
                <a:gd name="connsiteY27" fmla="*/ 256909 h 838042"/>
                <a:gd name="connsiteX28" fmla="*/ 56222 w 1033465"/>
                <a:gd name="connsiteY28" fmla="*/ 262624 h 838042"/>
                <a:gd name="connsiteX29" fmla="*/ 61937 w 1033465"/>
                <a:gd name="connsiteY29" fmla="*/ 266434 h 838042"/>
                <a:gd name="connsiteX30" fmla="*/ 65747 w 1033465"/>
                <a:gd name="connsiteY30" fmla="*/ 272149 h 838042"/>
                <a:gd name="connsiteX31" fmla="*/ 82892 w 1033465"/>
                <a:gd name="connsiteY31" fmla="*/ 281674 h 838042"/>
                <a:gd name="connsiteX32" fmla="*/ 105752 w 1033465"/>
                <a:gd name="connsiteY32" fmla="*/ 283579 h 838042"/>
                <a:gd name="connsiteX33" fmla="*/ 126707 w 1033465"/>
                <a:gd name="connsiteY33" fmla="*/ 289294 h 838042"/>
                <a:gd name="connsiteX34" fmla="*/ 132422 w 1033465"/>
                <a:gd name="connsiteY34" fmla="*/ 291199 h 838042"/>
                <a:gd name="connsiteX35" fmla="*/ 138137 w 1033465"/>
                <a:gd name="connsiteY35" fmla="*/ 296914 h 838042"/>
                <a:gd name="connsiteX36" fmla="*/ 145757 w 1033465"/>
                <a:gd name="connsiteY36" fmla="*/ 298819 h 838042"/>
                <a:gd name="connsiteX37" fmla="*/ 168617 w 1033465"/>
                <a:gd name="connsiteY37" fmla="*/ 302629 h 838042"/>
                <a:gd name="connsiteX38" fmla="*/ 193382 w 1033465"/>
                <a:gd name="connsiteY38" fmla="*/ 308344 h 838042"/>
                <a:gd name="connsiteX39" fmla="*/ 210527 w 1033465"/>
                <a:gd name="connsiteY39" fmla="*/ 314059 h 838042"/>
                <a:gd name="connsiteX40" fmla="*/ 216242 w 1033465"/>
                <a:gd name="connsiteY40" fmla="*/ 315964 h 838042"/>
                <a:gd name="connsiteX41" fmla="*/ 231482 w 1033465"/>
                <a:gd name="connsiteY41" fmla="*/ 319774 h 838042"/>
                <a:gd name="connsiteX42" fmla="*/ 250532 w 1033465"/>
                <a:gd name="connsiteY42" fmla="*/ 325489 h 838042"/>
                <a:gd name="connsiteX43" fmla="*/ 256247 w 1033465"/>
                <a:gd name="connsiteY43" fmla="*/ 329299 h 838042"/>
                <a:gd name="connsiteX44" fmla="*/ 269582 w 1033465"/>
                <a:gd name="connsiteY44" fmla="*/ 344539 h 838042"/>
                <a:gd name="connsiteX45" fmla="*/ 275297 w 1033465"/>
                <a:gd name="connsiteY45" fmla="*/ 363589 h 838042"/>
                <a:gd name="connsiteX46" fmla="*/ 277202 w 1033465"/>
                <a:gd name="connsiteY46" fmla="*/ 369304 h 838042"/>
                <a:gd name="connsiteX47" fmla="*/ 279107 w 1033465"/>
                <a:gd name="connsiteY47" fmla="*/ 375019 h 838042"/>
                <a:gd name="connsiteX48" fmla="*/ 281012 w 1033465"/>
                <a:gd name="connsiteY48" fmla="*/ 399784 h 838042"/>
                <a:gd name="connsiteX49" fmla="*/ 282917 w 1033465"/>
                <a:gd name="connsiteY49" fmla="*/ 405499 h 838042"/>
                <a:gd name="connsiteX50" fmla="*/ 281012 w 1033465"/>
                <a:gd name="connsiteY50" fmla="*/ 424549 h 838042"/>
                <a:gd name="connsiteX51" fmla="*/ 279107 w 1033465"/>
                <a:gd name="connsiteY51" fmla="*/ 434074 h 838042"/>
                <a:gd name="connsiteX52" fmla="*/ 265772 w 1033465"/>
                <a:gd name="connsiteY52" fmla="*/ 447409 h 838042"/>
                <a:gd name="connsiteX53" fmla="*/ 254342 w 1033465"/>
                <a:gd name="connsiteY53" fmla="*/ 455029 h 838042"/>
                <a:gd name="connsiteX54" fmla="*/ 242912 w 1033465"/>
                <a:gd name="connsiteY54" fmla="*/ 458839 h 838042"/>
                <a:gd name="connsiteX55" fmla="*/ 128612 w 1033465"/>
                <a:gd name="connsiteY55" fmla="*/ 458839 h 838042"/>
                <a:gd name="connsiteX56" fmla="*/ 122897 w 1033465"/>
                <a:gd name="connsiteY56" fmla="*/ 460744 h 838042"/>
                <a:gd name="connsiteX57" fmla="*/ 107657 w 1033465"/>
                <a:gd name="connsiteY57" fmla="*/ 462649 h 838042"/>
                <a:gd name="connsiteX58" fmla="*/ 90512 w 1033465"/>
                <a:gd name="connsiteY58" fmla="*/ 468364 h 838042"/>
                <a:gd name="connsiteX59" fmla="*/ 84797 w 1033465"/>
                <a:gd name="connsiteY59" fmla="*/ 470269 h 838042"/>
                <a:gd name="connsiteX60" fmla="*/ 79082 w 1033465"/>
                <a:gd name="connsiteY60" fmla="*/ 474079 h 838042"/>
                <a:gd name="connsiteX61" fmla="*/ 67652 w 1033465"/>
                <a:gd name="connsiteY61" fmla="*/ 475984 h 838042"/>
                <a:gd name="connsiteX62" fmla="*/ 29552 w 1033465"/>
                <a:gd name="connsiteY62" fmla="*/ 477889 h 838042"/>
                <a:gd name="connsiteX63" fmla="*/ 18122 w 1033465"/>
                <a:gd name="connsiteY63" fmla="*/ 483604 h 838042"/>
                <a:gd name="connsiteX64" fmla="*/ 8597 w 1033465"/>
                <a:gd name="connsiteY64" fmla="*/ 493129 h 838042"/>
                <a:gd name="connsiteX65" fmla="*/ 6692 w 1033465"/>
                <a:gd name="connsiteY65" fmla="*/ 498844 h 838042"/>
                <a:gd name="connsiteX66" fmla="*/ 2882 w 1033465"/>
                <a:gd name="connsiteY66" fmla="*/ 504559 h 838042"/>
                <a:gd name="connsiteX67" fmla="*/ 14312 w 1033465"/>
                <a:gd name="connsiteY67" fmla="*/ 540754 h 838042"/>
                <a:gd name="connsiteX68" fmla="*/ 147662 w 1033465"/>
                <a:gd name="connsiteY68" fmla="*/ 540754 h 838042"/>
                <a:gd name="connsiteX69" fmla="*/ 155282 w 1033465"/>
                <a:gd name="connsiteY69" fmla="*/ 538849 h 838042"/>
                <a:gd name="connsiteX70" fmla="*/ 305777 w 1033465"/>
                <a:gd name="connsiteY70" fmla="*/ 533134 h 838042"/>
                <a:gd name="connsiteX71" fmla="*/ 321017 w 1033465"/>
                <a:gd name="connsiteY71" fmla="*/ 540754 h 838042"/>
                <a:gd name="connsiteX72" fmla="*/ 332447 w 1033465"/>
                <a:gd name="connsiteY72" fmla="*/ 546469 h 838042"/>
                <a:gd name="connsiteX73" fmla="*/ 336257 w 1033465"/>
                <a:gd name="connsiteY73" fmla="*/ 552184 h 838042"/>
                <a:gd name="connsiteX74" fmla="*/ 341972 w 1033465"/>
                <a:gd name="connsiteY74" fmla="*/ 554089 h 838042"/>
                <a:gd name="connsiteX75" fmla="*/ 353402 w 1033465"/>
                <a:gd name="connsiteY75" fmla="*/ 561709 h 838042"/>
                <a:gd name="connsiteX76" fmla="*/ 359117 w 1033465"/>
                <a:gd name="connsiteY76" fmla="*/ 565519 h 838042"/>
                <a:gd name="connsiteX77" fmla="*/ 362927 w 1033465"/>
                <a:gd name="connsiteY77" fmla="*/ 571234 h 838042"/>
                <a:gd name="connsiteX78" fmla="*/ 368642 w 1033465"/>
                <a:gd name="connsiteY78" fmla="*/ 582664 h 838042"/>
                <a:gd name="connsiteX79" fmla="*/ 364832 w 1033465"/>
                <a:gd name="connsiteY79" fmla="*/ 609334 h 838042"/>
                <a:gd name="connsiteX80" fmla="*/ 361022 w 1033465"/>
                <a:gd name="connsiteY80" fmla="*/ 615049 h 838042"/>
                <a:gd name="connsiteX81" fmla="*/ 359117 w 1033465"/>
                <a:gd name="connsiteY81" fmla="*/ 620764 h 838042"/>
                <a:gd name="connsiteX82" fmla="*/ 355307 w 1033465"/>
                <a:gd name="connsiteY82" fmla="*/ 626479 h 838042"/>
                <a:gd name="connsiteX83" fmla="*/ 353402 w 1033465"/>
                <a:gd name="connsiteY83" fmla="*/ 632194 h 838042"/>
                <a:gd name="connsiteX84" fmla="*/ 349592 w 1033465"/>
                <a:gd name="connsiteY84" fmla="*/ 637909 h 838042"/>
                <a:gd name="connsiteX85" fmla="*/ 332447 w 1033465"/>
                <a:gd name="connsiteY85" fmla="*/ 704584 h 838042"/>
                <a:gd name="connsiteX86" fmla="*/ 330542 w 1033465"/>
                <a:gd name="connsiteY86" fmla="*/ 756019 h 838042"/>
                <a:gd name="connsiteX87" fmla="*/ 332447 w 1033465"/>
                <a:gd name="connsiteY87" fmla="*/ 780784 h 838042"/>
                <a:gd name="connsiteX88" fmla="*/ 334352 w 1033465"/>
                <a:gd name="connsiteY88" fmla="*/ 786499 h 838042"/>
                <a:gd name="connsiteX89" fmla="*/ 338162 w 1033465"/>
                <a:gd name="connsiteY89" fmla="*/ 790309 h 838042"/>
                <a:gd name="connsiteX90" fmla="*/ 366737 w 1033465"/>
                <a:gd name="connsiteY90" fmla="*/ 836029 h 838042"/>
                <a:gd name="connsiteX91" fmla="*/ 389597 w 1033465"/>
                <a:gd name="connsiteY91" fmla="*/ 837934 h 838042"/>
                <a:gd name="connsiteX92" fmla="*/ 397407 w 1033465"/>
                <a:gd name="connsiteY92" fmla="*/ 833530 h 838042"/>
                <a:gd name="connsiteX93" fmla="*/ 402932 w 1033465"/>
                <a:gd name="connsiteY93" fmla="*/ 784594 h 838042"/>
                <a:gd name="connsiteX94" fmla="*/ 406742 w 1033465"/>
                <a:gd name="connsiteY94" fmla="*/ 727444 h 838042"/>
                <a:gd name="connsiteX95" fmla="*/ 423887 w 1033465"/>
                <a:gd name="connsiteY95" fmla="*/ 672199 h 838042"/>
                <a:gd name="connsiteX96" fmla="*/ 429602 w 1033465"/>
                <a:gd name="connsiteY96" fmla="*/ 658864 h 838042"/>
                <a:gd name="connsiteX97" fmla="*/ 444084 w 1033465"/>
                <a:gd name="connsiteY97" fmla="*/ 626947 h 838042"/>
                <a:gd name="connsiteX98" fmla="*/ 464289 w 1033465"/>
                <a:gd name="connsiteY98" fmla="*/ 600072 h 838042"/>
                <a:gd name="connsiteX99" fmla="*/ 523510 w 1033465"/>
                <a:gd name="connsiteY99" fmla="*/ 565123 h 838042"/>
                <a:gd name="connsiteX100" fmla="*/ 599348 w 1033465"/>
                <a:gd name="connsiteY100" fmla="*/ 550915 h 838042"/>
                <a:gd name="connsiteX101" fmla="*/ 707801 w 1033465"/>
                <a:gd name="connsiteY101" fmla="*/ 612819 h 838042"/>
                <a:gd name="connsiteX102" fmla="*/ 780122 w 1033465"/>
                <a:gd name="connsiteY102" fmla="*/ 656959 h 838042"/>
                <a:gd name="connsiteX103" fmla="*/ 804887 w 1033465"/>
                <a:gd name="connsiteY103" fmla="*/ 632194 h 838042"/>
                <a:gd name="connsiteX104" fmla="*/ 801077 w 1033465"/>
                <a:gd name="connsiteY104" fmla="*/ 601714 h 838042"/>
                <a:gd name="connsiteX105" fmla="*/ 762796 w 1033465"/>
                <a:gd name="connsiteY105" fmla="*/ 562523 h 838042"/>
                <a:gd name="connsiteX106" fmla="*/ 650582 w 1033465"/>
                <a:gd name="connsiteY106" fmla="*/ 479794 h 838042"/>
                <a:gd name="connsiteX107" fmla="*/ 646772 w 1033465"/>
                <a:gd name="connsiteY107" fmla="*/ 462649 h 838042"/>
                <a:gd name="connsiteX108" fmla="*/ 658202 w 1033465"/>
                <a:gd name="connsiteY108" fmla="*/ 426454 h 838042"/>
                <a:gd name="connsiteX109" fmla="*/ 726782 w 1033465"/>
                <a:gd name="connsiteY109" fmla="*/ 405499 h 838042"/>
                <a:gd name="connsiteX110" fmla="*/ 813738 w 1033465"/>
                <a:gd name="connsiteY110" fmla="*/ 406906 h 838042"/>
                <a:gd name="connsiteX111" fmla="*/ 906231 w 1033465"/>
                <a:gd name="connsiteY111" fmla="*/ 417646 h 838042"/>
                <a:gd name="connsiteX112" fmla="*/ 1002290 w 1033465"/>
                <a:gd name="connsiteY112" fmla="*/ 426835 h 838042"/>
                <a:gd name="connsiteX113" fmla="*/ 1032449 w 1033465"/>
                <a:gd name="connsiteY113" fmla="*/ 402711 h 838042"/>
                <a:gd name="connsiteX114" fmla="*/ 1020514 w 1033465"/>
                <a:gd name="connsiteY114" fmla="*/ 377797 h 838042"/>
                <a:gd name="connsiteX115" fmla="*/ 964889 w 1033465"/>
                <a:gd name="connsiteY115" fmla="*/ 358029 h 838042"/>
                <a:gd name="connsiteX116" fmla="*/ 827747 w 1033465"/>
                <a:gd name="connsiteY116" fmla="*/ 357874 h 838042"/>
                <a:gd name="connsiteX117" fmla="*/ 755811 w 1033465"/>
                <a:gd name="connsiteY117" fmla="*/ 361702 h 838042"/>
                <a:gd name="connsiteX118" fmla="*/ 671537 w 1033465"/>
                <a:gd name="connsiteY118" fmla="*/ 369304 h 838042"/>
                <a:gd name="connsiteX119" fmla="*/ 644867 w 1033465"/>
                <a:gd name="connsiteY119" fmla="*/ 338824 h 838042"/>
                <a:gd name="connsiteX120" fmla="*/ 676403 w 1033465"/>
                <a:gd name="connsiteY120" fmla="*/ 304962 h 838042"/>
                <a:gd name="connsiteX121" fmla="*/ 707732 w 1033465"/>
                <a:gd name="connsiteY121" fmla="*/ 283579 h 838042"/>
                <a:gd name="connsiteX122" fmla="*/ 743927 w 1033465"/>
                <a:gd name="connsiteY122" fmla="*/ 251194 h 838042"/>
                <a:gd name="connsiteX123" fmla="*/ 783019 w 1033465"/>
                <a:gd name="connsiteY123" fmla="*/ 213846 h 838042"/>
                <a:gd name="connsiteX124" fmla="*/ 746401 w 1033465"/>
                <a:gd name="connsiteY124" fmla="*/ 201789 h 838042"/>
                <a:gd name="connsiteX125" fmla="*/ 694397 w 1033465"/>
                <a:gd name="connsiteY125" fmla="*/ 226429 h 838042"/>
                <a:gd name="connsiteX126" fmla="*/ 656678 w 1033465"/>
                <a:gd name="connsiteY126" fmla="*/ 257626 h 838042"/>
                <a:gd name="connsiteX127" fmla="*/ 616001 w 1033465"/>
                <a:gd name="connsiteY127" fmla="*/ 286712 h 838042"/>
                <a:gd name="connsiteX128" fmla="*/ 564857 w 1033465"/>
                <a:gd name="connsiteY128" fmla="*/ 287389 h 838042"/>
                <a:gd name="connsiteX129" fmla="*/ 530567 w 1033465"/>
                <a:gd name="connsiteY129" fmla="*/ 274054 h 838042"/>
                <a:gd name="connsiteX130" fmla="*/ 507707 w 1033465"/>
                <a:gd name="connsiteY130" fmla="*/ 235954 h 838042"/>
                <a:gd name="connsiteX131" fmla="*/ 509612 w 1033465"/>
                <a:gd name="connsiteY131" fmla="*/ 171184 h 838042"/>
                <a:gd name="connsiteX132" fmla="*/ 508314 w 1033465"/>
                <a:gd name="connsiteY132" fmla="*/ 73485 h 838042"/>
                <a:gd name="connsiteX133" fmla="*/ 454116 w 1033465"/>
                <a:gd name="connsiteY133" fmla="*/ 11248 h 838042"/>
                <a:gd name="connsiteX134" fmla="*/ 442470 w 1033465"/>
                <a:gd name="connsiteY134" fmla="*/ 75864 h 838042"/>
                <a:gd name="connsiteX135" fmla="*/ 439226 w 1033465"/>
                <a:gd name="connsiteY135" fmla="*/ 132660 h 838042"/>
                <a:gd name="connsiteX136" fmla="*/ 436054 w 1033465"/>
                <a:gd name="connsiteY13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56247 w 1033465"/>
                <a:gd name="connsiteY6" fmla="*/ 281674 h 838042"/>
                <a:gd name="connsiteX7" fmla="*/ 233387 w 1033465"/>
                <a:gd name="connsiteY7" fmla="*/ 274054 h 838042"/>
                <a:gd name="connsiteX8" fmla="*/ 221957 w 1033465"/>
                <a:gd name="connsiteY8" fmla="*/ 272149 h 838042"/>
                <a:gd name="connsiteX9" fmla="*/ 191477 w 1033465"/>
                <a:gd name="connsiteY9" fmla="*/ 262624 h 838042"/>
                <a:gd name="connsiteX10" fmla="*/ 183857 w 1033465"/>
                <a:gd name="connsiteY10" fmla="*/ 260719 h 838042"/>
                <a:gd name="connsiteX11" fmla="*/ 172427 w 1033465"/>
                <a:gd name="connsiteY11" fmla="*/ 255004 h 838042"/>
                <a:gd name="connsiteX12" fmla="*/ 166712 w 1033465"/>
                <a:gd name="connsiteY12" fmla="*/ 251194 h 838042"/>
                <a:gd name="connsiteX13" fmla="*/ 159092 w 1033465"/>
                <a:gd name="connsiteY13" fmla="*/ 239764 h 838042"/>
                <a:gd name="connsiteX14" fmla="*/ 147662 w 1033465"/>
                <a:gd name="connsiteY14" fmla="*/ 235954 h 838042"/>
                <a:gd name="connsiteX15" fmla="*/ 141947 w 1033465"/>
                <a:gd name="connsiteY15" fmla="*/ 232144 h 838042"/>
                <a:gd name="connsiteX16" fmla="*/ 136232 w 1033465"/>
                <a:gd name="connsiteY16" fmla="*/ 230239 h 838042"/>
                <a:gd name="connsiteX17" fmla="*/ 119087 w 1033465"/>
                <a:gd name="connsiteY17" fmla="*/ 226429 h 838042"/>
                <a:gd name="connsiteX18" fmla="*/ 113372 w 1033465"/>
                <a:gd name="connsiteY18" fmla="*/ 220714 h 838042"/>
                <a:gd name="connsiteX19" fmla="*/ 103847 w 1033465"/>
                <a:gd name="connsiteY19" fmla="*/ 203569 h 838042"/>
                <a:gd name="connsiteX20" fmla="*/ 86702 w 1033465"/>
                <a:gd name="connsiteY20" fmla="*/ 195949 h 838042"/>
                <a:gd name="connsiteX21" fmla="*/ 80987 w 1033465"/>
                <a:gd name="connsiteY21" fmla="*/ 194044 h 838042"/>
                <a:gd name="connsiteX22" fmla="*/ 61937 w 1033465"/>
                <a:gd name="connsiteY22" fmla="*/ 197854 h 838042"/>
                <a:gd name="connsiteX23" fmla="*/ 56222 w 1033465"/>
                <a:gd name="connsiteY23" fmla="*/ 201664 h 838042"/>
                <a:gd name="connsiteX24" fmla="*/ 52412 w 1033465"/>
                <a:gd name="connsiteY24" fmla="*/ 207379 h 838042"/>
                <a:gd name="connsiteX25" fmla="*/ 48602 w 1033465"/>
                <a:gd name="connsiteY25" fmla="*/ 218809 h 838042"/>
                <a:gd name="connsiteX26" fmla="*/ 52412 w 1033465"/>
                <a:gd name="connsiteY26" fmla="*/ 256909 h 838042"/>
                <a:gd name="connsiteX27" fmla="*/ 56222 w 1033465"/>
                <a:gd name="connsiteY27" fmla="*/ 262624 h 838042"/>
                <a:gd name="connsiteX28" fmla="*/ 61937 w 1033465"/>
                <a:gd name="connsiteY28" fmla="*/ 266434 h 838042"/>
                <a:gd name="connsiteX29" fmla="*/ 65747 w 1033465"/>
                <a:gd name="connsiteY29" fmla="*/ 272149 h 838042"/>
                <a:gd name="connsiteX30" fmla="*/ 82892 w 1033465"/>
                <a:gd name="connsiteY30" fmla="*/ 281674 h 838042"/>
                <a:gd name="connsiteX31" fmla="*/ 105752 w 1033465"/>
                <a:gd name="connsiteY31" fmla="*/ 283579 h 838042"/>
                <a:gd name="connsiteX32" fmla="*/ 126707 w 1033465"/>
                <a:gd name="connsiteY32" fmla="*/ 289294 h 838042"/>
                <a:gd name="connsiteX33" fmla="*/ 132422 w 1033465"/>
                <a:gd name="connsiteY33" fmla="*/ 291199 h 838042"/>
                <a:gd name="connsiteX34" fmla="*/ 138137 w 1033465"/>
                <a:gd name="connsiteY34" fmla="*/ 296914 h 838042"/>
                <a:gd name="connsiteX35" fmla="*/ 145757 w 1033465"/>
                <a:gd name="connsiteY35" fmla="*/ 298819 h 838042"/>
                <a:gd name="connsiteX36" fmla="*/ 168617 w 1033465"/>
                <a:gd name="connsiteY36" fmla="*/ 302629 h 838042"/>
                <a:gd name="connsiteX37" fmla="*/ 193382 w 1033465"/>
                <a:gd name="connsiteY37" fmla="*/ 308344 h 838042"/>
                <a:gd name="connsiteX38" fmla="*/ 210527 w 1033465"/>
                <a:gd name="connsiteY38" fmla="*/ 314059 h 838042"/>
                <a:gd name="connsiteX39" fmla="*/ 216242 w 1033465"/>
                <a:gd name="connsiteY39" fmla="*/ 315964 h 838042"/>
                <a:gd name="connsiteX40" fmla="*/ 231482 w 1033465"/>
                <a:gd name="connsiteY40" fmla="*/ 319774 h 838042"/>
                <a:gd name="connsiteX41" fmla="*/ 250532 w 1033465"/>
                <a:gd name="connsiteY41" fmla="*/ 325489 h 838042"/>
                <a:gd name="connsiteX42" fmla="*/ 256247 w 1033465"/>
                <a:gd name="connsiteY42" fmla="*/ 329299 h 838042"/>
                <a:gd name="connsiteX43" fmla="*/ 269582 w 1033465"/>
                <a:gd name="connsiteY43" fmla="*/ 344539 h 838042"/>
                <a:gd name="connsiteX44" fmla="*/ 275297 w 1033465"/>
                <a:gd name="connsiteY44" fmla="*/ 363589 h 838042"/>
                <a:gd name="connsiteX45" fmla="*/ 277202 w 1033465"/>
                <a:gd name="connsiteY45" fmla="*/ 369304 h 838042"/>
                <a:gd name="connsiteX46" fmla="*/ 279107 w 1033465"/>
                <a:gd name="connsiteY46" fmla="*/ 375019 h 838042"/>
                <a:gd name="connsiteX47" fmla="*/ 281012 w 1033465"/>
                <a:gd name="connsiteY47" fmla="*/ 399784 h 838042"/>
                <a:gd name="connsiteX48" fmla="*/ 282917 w 1033465"/>
                <a:gd name="connsiteY48" fmla="*/ 405499 h 838042"/>
                <a:gd name="connsiteX49" fmla="*/ 281012 w 1033465"/>
                <a:gd name="connsiteY49" fmla="*/ 424549 h 838042"/>
                <a:gd name="connsiteX50" fmla="*/ 279107 w 1033465"/>
                <a:gd name="connsiteY50" fmla="*/ 434074 h 838042"/>
                <a:gd name="connsiteX51" fmla="*/ 265772 w 1033465"/>
                <a:gd name="connsiteY51" fmla="*/ 447409 h 838042"/>
                <a:gd name="connsiteX52" fmla="*/ 254342 w 1033465"/>
                <a:gd name="connsiteY52" fmla="*/ 455029 h 838042"/>
                <a:gd name="connsiteX53" fmla="*/ 242912 w 1033465"/>
                <a:gd name="connsiteY53" fmla="*/ 458839 h 838042"/>
                <a:gd name="connsiteX54" fmla="*/ 128612 w 1033465"/>
                <a:gd name="connsiteY54" fmla="*/ 458839 h 838042"/>
                <a:gd name="connsiteX55" fmla="*/ 122897 w 1033465"/>
                <a:gd name="connsiteY55" fmla="*/ 460744 h 838042"/>
                <a:gd name="connsiteX56" fmla="*/ 107657 w 1033465"/>
                <a:gd name="connsiteY56" fmla="*/ 462649 h 838042"/>
                <a:gd name="connsiteX57" fmla="*/ 90512 w 1033465"/>
                <a:gd name="connsiteY57" fmla="*/ 468364 h 838042"/>
                <a:gd name="connsiteX58" fmla="*/ 84797 w 1033465"/>
                <a:gd name="connsiteY58" fmla="*/ 470269 h 838042"/>
                <a:gd name="connsiteX59" fmla="*/ 79082 w 1033465"/>
                <a:gd name="connsiteY59" fmla="*/ 474079 h 838042"/>
                <a:gd name="connsiteX60" fmla="*/ 67652 w 1033465"/>
                <a:gd name="connsiteY60" fmla="*/ 475984 h 838042"/>
                <a:gd name="connsiteX61" fmla="*/ 29552 w 1033465"/>
                <a:gd name="connsiteY61" fmla="*/ 477889 h 838042"/>
                <a:gd name="connsiteX62" fmla="*/ 18122 w 1033465"/>
                <a:gd name="connsiteY62" fmla="*/ 483604 h 838042"/>
                <a:gd name="connsiteX63" fmla="*/ 8597 w 1033465"/>
                <a:gd name="connsiteY63" fmla="*/ 493129 h 838042"/>
                <a:gd name="connsiteX64" fmla="*/ 6692 w 1033465"/>
                <a:gd name="connsiteY64" fmla="*/ 498844 h 838042"/>
                <a:gd name="connsiteX65" fmla="*/ 2882 w 1033465"/>
                <a:gd name="connsiteY65" fmla="*/ 504559 h 838042"/>
                <a:gd name="connsiteX66" fmla="*/ 14312 w 1033465"/>
                <a:gd name="connsiteY66" fmla="*/ 540754 h 838042"/>
                <a:gd name="connsiteX67" fmla="*/ 147662 w 1033465"/>
                <a:gd name="connsiteY67" fmla="*/ 540754 h 838042"/>
                <a:gd name="connsiteX68" fmla="*/ 155282 w 1033465"/>
                <a:gd name="connsiteY68" fmla="*/ 538849 h 838042"/>
                <a:gd name="connsiteX69" fmla="*/ 305777 w 1033465"/>
                <a:gd name="connsiteY69" fmla="*/ 533134 h 838042"/>
                <a:gd name="connsiteX70" fmla="*/ 321017 w 1033465"/>
                <a:gd name="connsiteY70" fmla="*/ 540754 h 838042"/>
                <a:gd name="connsiteX71" fmla="*/ 332447 w 1033465"/>
                <a:gd name="connsiteY71" fmla="*/ 546469 h 838042"/>
                <a:gd name="connsiteX72" fmla="*/ 336257 w 1033465"/>
                <a:gd name="connsiteY72" fmla="*/ 552184 h 838042"/>
                <a:gd name="connsiteX73" fmla="*/ 341972 w 1033465"/>
                <a:gd name="connsiteY73" fmla="*/ 554089 h 838042"/>
                <a:gd name="connsiteX74" fmla="*/ 353402 w 1033465"/>
                <a:gd name="connsiteY74" fmla="*/ 561709 h 838042"/>
                <a:gd name="connsiteX75" fmla="*/ 359117 w 1033465"/>
                <a:gd name="connsiteY75" fmla="*/ 565519 h 838042"/>
                <a:gd name="connsiteX76" fmla="*/ 362927 w 1033465"/>
                <a:gd name="connsiteY76" fmla="*/ 571234 h 838042"/>
                <a:gd name="connsiteX77" fmla="*/ 368642 w 1033465"/>
                <a:gd name="connsiteY77" fmla="*/ 582664 h 838042"/>
                <a:gd name="connsiteX78" fmla="*/ 364832 w 1033465"/>
                <a:gd name="connsiteY78" fmla="*/ 609334 h 838042"/>
                <a:gd name="connsiteX79" fmla="*/ 361022 w 1033465"/>
                <a:gd name="connsiteY79" fmla="*/ 615049 h 838042"/>
                <a:gd name="connsiteX80" fmla="*/ 359117 w 1033465"/>
                <a:gd name="connsiteY80" fmla="*/ 620764 h 838042"/>
                <a:gd name="connsiteX81" fmla="*/ 355307 w 1033465"/>
                <a:gd name="connsiteY81" fmla="*/ 626479 h 838042"/>
                <a:gd name="connsiteX82" fmla="*/ 353402 w 1033465"/>
                <a:gd name="connsiteY82" fmla="*/ 632194 h 838042"/>
                <a:gd name="connsiteX83" fmla="*/ 349592 w 1033465"/>
                <a:gd name="connsiteY83" fmla="*/ 637909 h 838042"/>
                <a:gd name="connsiteX84" fmla="*/ 332447 w 1033465"/>
                <a:gd name="connsiteY84" fmla="*/ 704584 h 838042"/>
                <a:gd name="connsiteX85" fmla="*/ 330542 w 1033465"/>
                <a:gd name="connsiteY85" fmla="*/ 756019 h 838042"/>
                <a:gd name="connsiteX86" fmla="*/ 332447 w 1033465"/>
                <a:gd name="connsiteY86" fmla="*/ 780784 h 838042"/>
                <a:gd name="connsiteX87" fmla="*/ 334352 w 1033465"/>
                <a:gd name="connsiteY87" fmla="*/ 786499 h 838042"/>
                <a:gd name="connsiteX88" fmla="*/ 338162 w 1033465"/>
                <a:gd name="connsiteY88" fmla="*/ 790309 h 838042"/>
                <a:gd name="connsiteX89" fmla="*/ 366737 w 1033465"/>
                <a:gd name="connsiteY89" fmla="*/ 836029 h 838042"/>
                <a:gd name="connsiteX90" fmla="*/ 389597 w 1033465"/>
                <a:gd name="connsiteY90" fmla="*/ 837934 h 838042"/>
                <a:gd name="connsiteX91" fmla="*/ 397407 w 1033465"/>
                <a:gd name="connsiteY91" fmla="*/ 833530 h 838042"/>
                <a:gd name="connsiteX92" fmla="*/ 402932 w 1033465"/>
                <a:gd name="connsiteY92" fmla="*/ 784594 h 838042"/>
                <a:gd name="connsiteX93" fmla="*/ 406742 w 1033465"/>
                <a:gd name="connsiteY93" fmla="*/ 727444 h 838042"/>
                <a:gd name="connsiteX94" fmla="*/ 423887 w 1033465"/>
                <a:gd name="connsiteY94" fmla="*/ 672199 h 838042"/>
                <a:gd name="connsiteX95" fmla="*/ 429602 w 1033465"/>
                <a:gd name="connsiteY95" fmla="*/ 658864 h 838042"/>
                <a:gd name="connsiteX96" fmla="*/ 444084 w 1033465"/>
                <a:gd name="connsiteY96" fmla="*/ 626947 h 838042"/>
                <a:gd name="connsiteX97" fmla="*/ 464289 w 1033465"/>
                <a:gd name="connsiteY97" fmla="*/ 600072 h 838042"/>
                <a:gd name="connsiteX98" fmla="*/ 523510 w 1033465"/>
                <a:gd name="connsiteY98" fmla="*/ 565123 h 838042"/>
                <a:gd name="connsiteX99" fmla="*/ 599348 w 1033465"/>
                <a:gd name="connsiteY99" fmla="*/ 550915 h 838042"/>
                <a:gd name="connsiteX100" fmla="*/ 707801 w 1033465"/>
                <a:gd name="connsiteY100" fmla="*/ 612819 h 838042"/>
                <a:gd name="connsiteX101" fmla="*/ 780122 w 1033465"/>
                <a:gd name="connsiteY101" fmla="*/ 656959 h 838042"/>
                <a:gd name="connsiteX102" fmla="*/ 804887 w 1033465"/>
                <a:gd name="connsiteY102" fmla="*/ 632194 h 838042"/>
                <a:gd name="connsiteX103" fmla="*/ 801077 w 1033465"/>
                <a:gd name="connsiteY103" fmla="*/ 601714 h 838042"/>
                <a:gd name="connsiteX104" fmla="*/ 762796 w 1033465"/>
                <a:gd name="connsiteY104" fmla="*/ 562523 h 838042"/>
                <a:gd name="connsiteX105" fmla="*/ 650582 w 1033465"/>
                <a:gd name="connsiteY105" fmla="*/ 479794 h 838042"/>
                <a:gd name="connsiteX106" fmla="*/ 646772 w 1033465"/>
                <a:gd name="connsiteY106" fmla="*/ 462649 h 838042"/>
                <a:gd name="connsiteX107" fmla="*/ 658202 w 1033465"/>
                <a:gd name="connsiteY107" fmla="*/ 426454 h 838042"/>
                <a:gd name="connsiteX108" fmla="*/ 726782 w 1033465"/>
                <a:gd name="connsiteY108" fmla="*/ 405499 h 838042"/>
                <a:gd name="connsiteX109" fmla="*/ 813738 w 1033465"/>
                <a:gd name="connsiteY109" fmla="*/ 406906 h 838042"/>
                <a:gd name="connsiteX110" fmla="*/ 906231 w 1033465"/>
                <a:gd name="connsiteY110" fmla="*/ 417646 h 838042"/>
                <a:gd name="connsiteX111" fmla="*/ 1002290 w 1033465"/>
                <a:gd name="connsiteY111" fmla="*/ 426835 h 838042"/>
                <a:gd name="connsiteX112" fmla="*/ 1032449 w 1033465"/>
                <a:gd name="connsiteY112" fmla="*/ 402711 h 838042"/>
                <a:gd name="connsiteX113" fmla="*/ 1020514 w 1033465"/>
                <a:gd name="connsiteY113" fmla="*/ 377797 h 838042"/>
                <a:gd name="connsiteX114" fmla="*/ 964889 w 1033465"/>
                <a:gd name="connsiteY114" fmla="*/ 358029 h 838042"/>
                <a:gd name="connsiteX115" fmla="*/ 827747 w 1033465"/>
                <a:gd name="connsiteY115" fmla="*/ 357874 h 838042"/>
                <a:gd name="connsiteX116" fmla="*/ 755811 w 1033465"/>
                <a:gd name="connsiteY116" fmla="*/ 361702 h 838042"/>
                <a:gd name="connsiteX117" fmla="*/ 671537 w 1033465"/>
                <a:gd name="connsiteY117" fmla="*/ 369304 h 838042"/>
                <a:gd name="connsiteX118" fmla="*/ 644867 w 1033465"/>
                <a:gd name="connsiteY118" fmla="*/ 338824 h 838042"/>
                <a:gd name="connsiteX119" fmla="*/ 676403 w 1033465"/>
                <a:gd name="connsiteY119" fmla="*/ 304962 h 838042"/>
                <a:gd name="connsiteX120" fmla="*/ 707732 w 1033465"/>
                <a:gd name="connsiteY120" fmla="*/ 283579 h 838042"/>
                <a:gd name="connsiteX121" fmla="*/ 743927 w 1033465"/>
                <a:gd name="connsiteY121" fmla="*/ 251194 h 838042"/>
                <a:gd name="connsiteX122" fmla="*/ 783019 w 1033465"/>
                <a:gd name="connsiteY122" fmla="*/ 213846 h 838042"/>
                <a:gd name="connsiteX123" fmla="*/ 746401 w 1033465"/>
                <a:gd name="connsiteY123" fmla="*/ 201789 h 838042"/>
                <a:gd name="connsiteX124" fmla="*/ 694397 w 1033465"/>
                <a:gd name="connsiteY124" fmla="*/ 226429 h 838042"/>
                <a:gd name="connsiteX125" fmla="*/ 656678 w 1033465"/>
                <a:gd name="connsiteY125" fmla="*/ 257626 h 838042"/>
                <a:gd name="connsiteX126" fmla="*/ 616001 w 1033465"/>
                <a:gd name="connsiteY126" fmla="*/ 286712 h 838042"/>
                <a:gd name="connsiteX127" fmla="*/ 564857 w 1033465"/>
                <a:gd name="connsiteY127" fmla="*/ 287389 h 838042"/>
                <a:gd name="connsiteX128" fmla="*/ 530567 w 1033465"/>
                <a:gd name="connsiteY128" fmla="*/ 274054 h 838042"/>
                <a:gd name="connsiteX129" fmla="*/ 507707 w 1033465"/>
                <a:gd name="connsiteY129" fmla="*/ 235954 h 838042"/>
                <a:gd name="connsiteX130" fmla="*/ 509612 w 1033465"/>
                <a:gd name="connsiteY130" fmla="*/ 171184 h 838042"/>
                <a:gd name="connsiteX131" fmla="*/ 508314 w 1033465"/>
                <a:gd name="connsiteY131" fmla="*/ 73485 h 838042"/>
                <a:gd name="connsiteX132" fmla="*/ 454116 w 1033465"/>
                <a:gd name="connsiteY132" fmla="*/ 11248 h 838042"/>
                <a:gd name="connsiteX133" fmla="*/ 442470 w 1033465"/>
                <a:gd name="connsiteY133" fmla="*/ 75864 h 838042"/>
                <a:gd name="connsiteX134" fmla="*/ 439226 w 1033465"/>
                <a:gd name="connsiteY134" fmla="*/ 132660 h 838042"/>
                <a:gd name="connsiteX135" fmla="*/ 436054 w 1033465"/>
                <a:gd name="connsiteY13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33387 w 1033465"/>
                <a:gd name="connsiteY6" fmla="*/ 274054 h 838042"/>
                <a:gd name="connsiteX7" fmla="*/ 221957 w 1033465"/>
                <a:gd name="connsiteY7" fmla="*/ 272149 h 838042"/>
                <a:gd name="connsiteX8" fmla="*/ 191477 w 1033465"/>
                <a:gd name="connsiteY8" fmla="*/ 262624 h 838042"/>
                <a:gd name="connsiteX9" fmla="*/ 183857 w 1033465"/>
                <a:gd name="connsiteY9" fmla="*/ 260719 h 838042"/>
                <a:gd name="connsiteX10" fmla="*/ 172427 w 1033465"/>
                <a:gd name="connsiteY10" fmla="*/ 255004 h 838042"/>
                <a:gd name="connsiteX11" fmla="*/ 166712 w 1033465"/>
                <a:gd name="connsiteY11" fmla="*/ 251194 h 838042"/>
                <a:gd name="connsiteX12" fmla="*/ 159092 w 1033465"/>
                <a:gd name="connsiteY12" fmla="*/ 239764 h 838042"/>
                <a:gd name="connsiteX13" fmla="*/ 147662 w 1033465"/>
                <a:gd name="connsiteY13" fmla="*/ 235954 h 838042"/>
                <a:gd name="connsiteX14" fmla="*/ 141947 w 1033465"/>
                <a:gd name="connsiteY14" fmla="*/ 232144 h 838042"/>
                <a:gd name="connsiteX15" fmla="*/ 136232 w 1033465"/>
                <a:gd name="connsiteY15" fmla="*/ 230239 h 838042"/>
                <a:gd name="connsiteX16" fmla="*/ 119087 w 1033465"/>
                <a:gd name="connsiteY16" fmla="*/ 226429 h 838042"/>
                <a:gd name="connsiteX17" fmla="*/ 113372 w 1033465"/>
                <a:gd name="connsiteY17" fmla="*/ 220714 h 838042"/>
                <a:gd name="connsiteX18" fmla="*/ 103847 w 1033465"/>
                <a:gd name="connsiteY18" fmla="*/ 203569 h 838042"/>
                <a:gd name="connsiteX19" fmla="*/ 86702 w 1033465"/>
                <a:gd name="connsiteY19" fmla="*/ 195949 h 838042"/>
                <a:gd name="connsiteX20" fmla="*/ 80987 w 1033465"/>
                <a:gd name="connsiteY20" fmla="*/ 194044 h 838042"/>
                <a:gd name="connsiteX21" fmla="*/ 61937 w 1033465"/>
                <a:gd name="connsiteY21" fmla="*/ 197854 h 838042"/>
                <a:gd name="connsiteX22" fmla="*/ 56222 w 1033465"/>
                <a:gd name="connsiteY22" fmla="*/ 201664 h 838042"/>
                <a:gd name="connsiteX23" fmla="*/ 52412 w 1033465"/>
                <a:gd name="connsiteY23" fmla="*/ 207379 h 838042"/>
                <a:gd name="connsiteX24" fmla="*/ 48602 w 1033465"/>
                <a:gd name="connsiteY24" fmla="*/ 218809 h 838042"/>
                <a:gd name="connsiteX25" fmla="*/ 52412 w 1033465"/>
                <a:gd name="connsiteY25" fmla="*/ 256909 h 838042"/>
                <a:gd name="connsiteX26" fmla="*/ 56222 w 1033465"/>
                <a:gd name="connsiteY26" fmla="*/ 262624 h 838042"/>
                <a:gd name="connsiteX27" fmla="*/ 61937 w 1033465"/>
                <a:gd name="connsiteY27" fmla="*/ 266434 h 838042"/>
                <a:gd name="connsiteX28" fmla="*/ 65747 w 1033465"/>
                <a:gd name="connsiteY28" fmla="*/ 272149 h 838042"/>
                <a:gd name="connsiteX29" fmla="*/ 82892 w 1033465"/>
                <a:gd name="connsiteY29" fmla="*/ 281674 h 838042"/>
                <a:gd name="connsiteX30" fmla="*/ 105752 w 1033465"/>
                <a:gd name="connsiteY30" fmla="*/ 283579 h 838042"/>
                <a:gd name="connsiteX31" fmla="*/ 126707 w 1033465"/>
                <a:gd name="connsiteY31" fmla="*/ 289294 h 838042"/>
                <a:gd name="connsiteX32" fmla="*/ 132422 w 1033465"/>
                <a:gd name="connsiteY32" fmla="*/ 291199 h 838042"/>
                <a:gd name="connsiteX33" fmla="*/ 138137 w 1033465"/>
                <a:gd name="connsiteY33" fmla="*/ 296914 h 838042"/>
                <a:gd name="connsiteX34" fmla="*/ 145757 w 1033465"/>
                <a:gd name="connsiteY34" fmla="*/ 298819 h 838042"/>
                <a:gd name="connsiteX35" fmla="*/ 168617 w 1033465"/>
                <a:gd name="connsiteY35" fmla="*/ 302629 h 838042"/>
                <a:gd name="connsiteX36" fmla="*/ 193382 w 1033465"/>
                <a:gd name="connsiteY36" fmla="*/ 308344 h 838042"/>
                <a:gd name="connsiteX37" fmla="*/ 210527 w 1033465"/>
                <a:gd name="connsiteY37" fmla="*/ 314059 h 838042"/>
                <a:gd name="connsiteX38" fmla="*/ 216242 w 1033465"/>
                <a:gd name="connsiteY38" fmla="*/ 315964 h 838042"/>
                <a:gd name="connsiteX39" fmla="*/ 231482 w 1033465"/>
                <a:gd name="connsiteY39" fmla="*/ 319774 h 838042"/>
                <a:gd name="connsiteX40" fmla="*/ 250532 w 1033465"/>
                <a:gd name="connsiteY40" fmla="*/ 325489 h 838042"/>
                <a:gd name="connsiteX41" fmla="*/ 256247 w 1033465"/>
                <a:gd name="connsiteY41" fmla="*/ 329299 h 838042"/>
                <a:gd name="connsiteX42" fmla="*/ 269582 w 1033465"/>
                <a:gd name="connsiteY42" fmla="*/ 344539 h 838042"/>
                <a:gd name="connsiteX43" fmla="*/ 275297 w 1033465"/>
                <a:gd name="connsiteY43" fmla="*/ 363589 h 838042"/>
                <a:gd name="connsiteX44" fmla="*/ 277202 w 1033465"/>
                <a:gd name="connsiteY44" fmla="*/ 369304 h 838042"/>
                <a:gd name="connsiteX45" fmla="*/ 279107 w 1033465"/>
                <a:gd name="connsiteY45" fmla="*/ 375019 h 838042"/>
                <a:gd name="connsiteX46" fmla="*/ 281012 w 1033465"/>
                <a:gd name="connsiteY46" fmla="*/ 399784 h 838042"/>
                <a:gd name="connsiteX47" fmla="*/ 282917 w 1033465"/>
                <a:gd name="connsiteY47" fmla="*/ 405499 h 838042"/>
                <a:gd name="connsiteX48" fmla="*/ 281012 w 1033465"/>
                <a:gd name="connsiteY48" fmla="*/ 424549 h 838042"/>
                <a:gd name="connsiteX49" fmla="*/ 279107 w 1033465"/>
                <a:gd name="connsiteY49" fmla="*/ 434074 h 838042"/>
                <a:gd name="connsiteX50" fmla="*/ 265772 w 1033465"/>
                <a:gd name="connsiteY50" fmla="*/ 447409 h 838042"/>
                <a:gd name="connsiteX51" fmla="*/ 254342 w 1033465"/>
                <a:gd name="connsiteY51" fmla="*/ 455029 h 838042"/>
                <a:gd name="connsiteX52" fmla="*/ 242912 w 1033465"/>
                <a:gd name="connsiteY52" fmla="*/ 458839 h 838042"/>
                <a:gd name="connsiteX53" fmla="*/ 128612 w 1033465"/>
                <a:gd name="connsiteY53" fmla="*/ 458839 h 838042"/>
                <a:gd name="connsiteX54" fmla="*/ 122897 w 1033465"/>
                <a:gd name="connsiteY54" fmla="*/ 460744 h 838042"/>
                <a:gd name="connsiteX55" fmla="*/ 107657 w 1033465"/>
                <a:gd name="connsiteY55" fmla="*/ 462649 h 838042"/>
                <a:gd name="connsiteX56" fmla="*/ 90512 w 1033465"/>
                <a:gd name="connsiteY56" fmla="*/ 468364 h 838042"/>
                <a:gd name="connsiteX57" fmla="*/ 84797 w 1033465"/>
                <a:gd name="connsiteY57" fmla="*/ 470269 h 838042"/>
                <a:gd name="connsiteX58" fmla="*/ 79082 w 1033465"/>
                <a:gd name="connsiteY58" fmla="*/ 474079 h 838042"/>
                <a:gd name="connsiteX59" fmla="*/ 67652 w 1033465"/>
                <a:gd name="connsiteY59" fmla="*/ 475984 h 838042"/>
                <a:gd name="connsiteX60" fmla="*/ 29552 w 1033465"/>
                <a:gd name="connsiteY60" fmla="*/ 477889 h 838042"/>
                <a:gd name="connsiteX61" fmla="*/ 18122 w 1033465"/>
                <a:gd name="connsiteY61" fmla="*/ 483604 h 838042"/>
                <a:gd name="connsiteX62" fmla="*/ 8597 w 1033465"/>
                <a:gd name="connsiteY62" fmla="*/ 493129 h 838042"/>
                <a:gd name="connsiteX63" fmla="*/ 6692 w 1033465"/>
                <a:gd name="connsiteY63" fmla="*/ 498844 h 838042"/>
                <a:gd name="connsiteX64" fmla="*/ 2882 w 1033465"/>
                <a:gd name="connsiteY64" fmla="*/ 504559 h 838042"/>
                <a:gd name="connsiteX65" fmla="*/ 14312 w 1033465"/>
                <a:gd name="connsiteY65" fmla="*/ 540754 h 838042"/>
                <a:gd name="connsiteX66" fmla="*/ 147662 w 1033465"/>
                <a:gd name="connsiteY66" fmla="*/ 540754 h 838042"/>
                <a:gd name="connsiteX67" fmla="*/ 155282 w 1033465"/>
                <a:gd name="connsiteY67" fmla="*/ 538849 h 838042"/>
                <a:gd name="connsiteX68" fmla="*/ 305777 w 1033465"/>
                <a:gd name="connsiteY68" fmla="*/ 533134 h 838042"/>
                <a:gd name="connsiteX69" fmla="*/ 321017 w 1033465"/>
                <a:gd name="connsiteY69" fmla="*/ 540754 h 838042"/>
                <a:gd name="connsiteX70" fmla="*/ 332447 w 1033465"/>
                <a:gd name="connsiteY70" fmla="*/ 546469 h 838042"/>
                <a:gd name="connsiteX71" fmla="*/ 336257 w 1033465"/>
                <a:gd name="connsiteY71" fmla="*/ 552184 h 838042"/>
                <a:gd name="connsiteX72" fmla="*/ 341972 w 1033465"/>
                <a:gd name="connsiteY72" fmla="*/ 554089 h 838042"/>
                <a:gd name="connsiteX73" fmla="*/ 353402 w 1033465"/>
                <a:gd name="connsiteY73" fmla="*/ 561709 h 838042"/>
                <a:gd name="connsiteX74" fmla="*/ 359117 w 1033465"/>
                <a:gd name="connsiteY74" fmla="*/ 565519 h 838042"/>
                <a:gd name="connsiteX75" fmla="*/ 362927 w 1033465"/>
                <a:gd name="connsiteY75" fmla="*/ 571234 h 838042"/>
                <a:gd name="connsiteX76" fmla="*/ 368642 w 1033465"/>
                <a:gd name="connsiteY76" fmla="*/ 582664 h 838042"/>
                <a:gd name="connsiteX77" fmla="*/ 364832 w 1033465"/>
                <a:gd name="connsiteY77" fmla="*/ 609334 h 838042"/>
                <a:gd name="connsiteX78" fmla="*/ 361022 w 1033465"/>
                <a:gd name="connsiteY78" fmla="*/ 615049 h 838042"/>
                <a:gd name="connsiteX79" fmla="*/ 359117 w 1033465"/>
                <a:gd name="connsiteY79" fmla="*/ 620764 h 838042"/>
                <a:gd name="connsiteX80" fmla="*/ 355307 w 1033465"/>
                <a:gd name="connsiteY80" fmla="*/ 626479 h 838042"/>
                <a:gd name="connsiteX81" fmla="*/ 353402 w 1033465"/>
                <a:gd name="connsiteY81" fmla="*/ 632194 h 838042"/>
                <a:gd name="connsiteX82" fmla="*/ 349592 w 1033465"/>
                <a:gd name="connsiteY82" fmla="*/ 637909 h 838042"/>
                <a:gd name="connsiteX83" fmla="*/ 332447 w 1033465"/>
                <a:gd name="connsiteY83" fmla="*/ 704584 h 838042"/>
                <a:gd name="connsiteX84" fmla="*/ 330542 w 1033465"/>
                <a:gd name="connsiteY84" fmla="*/ 756019 h 838042"/>
                <a:gd name="connsiteX85" fmla="*/ 332447 w 1033465"/>
                <a:gd name="connsiteY85" fmla="*/ 780784 h 838042"/>
                <a:gd name="connsiteX86" fmla="*/ 334352 w 1033465"/>
                <a:gd name="connsiteY86" fmla="*/ 786499 h 838042"/>
                <a:gd name="connsiteX87" fmla="*/ 338162 w 1033465"/>
                <a:gd name="connsiteY87" fmla="*/ 790309 h 838042"/>
                <a:gd name="connsiteX88" fmla="*/ 366737 w 1033465"/>
                <a:gd name="connsiteY88" fmla="*/ 836029 h 838042"/>
                <a:gd name="connsiteX89" fmla="*/ 389597 w 1033465"/>
                <a:gd name="connsiteY89" fmla="*/ 837934 h 838042"/>
                <a:gd name="connsiteX90" fmla="*/ 397407 w 1033465"/>
                <a:gd name="connsiteY90" fmla="*/ 833530 h 838042"/>
                <a:gd name="connsiteX91" fmla="*/ 402932 w 1033465"/>
                <a:gd name="connsiteY91" fmla="*/ 784594 h 838042"/>
                <a:gd name="connsiteX92" fmla="*/ 406742 w 1033465"/>
                <a:gd name="connsiteY92" fmla="*/ 727444 h 838042"/>
                <a:gd name="connsiteX93" fmla="*/ 423887 w 1033465"/>
                <a:gd name="connsiteY93" fmla="*/ 672199 h 838042"/>
                <a:gd name="connsiteX94" fmla="*/ 429602 w 1033465"/>
                <a:gd name="connsiteY94" fmla="*/ 658864 h 838042"/>
                <a:gd name="connsiteX95" fmla="*/ 444084 w 1033465"/>
                <a:gd name="connsiteY95" fmla="*/ 626947 h 838042"/>
                <a:gd name="connsiteX96" fmla="*/ 464289 w 1033465"/>
                <a:gd name="connsiteY96" fmla="*/ 600072 h 838042"/>
                <a:gd name="connsiteX97" fmla="*/ 523510 w 1033465"/>
                <a:gd name="connsiteY97" fmla="*/ 565123 h 838042"/>
                <a:gd name="connsiteX98" fmla="*/ 599348 w 1033465"/>
                <a:gd name="connsiteY98" fmla="*/ 550915 h 838042"/>
                <a:gd name="connsiteX99" fmla="*/ 707801 w 1033465"/>
                <a:gd name="connsiteY99" fmla="*/ 612819 h 838042"/>
                <a:gd name="connsiteX100" fmla="*/ 780122 w 1033465"/>
                <a:gd name="connsiteY100" fmla="*/ 656959 h 838042"/>
                <a:gd name="connsiteX101" fmla="*/ 804887 w 1033465"/>
                <a:gd name="connsiteY101" fmla="*/ 632194 h 838042"/>
                <a:gd name="connsiteX102" fmla="*/ 801077 w 1033465"/>
                <a:gd name="connsiteY102" fmla="*/ 601714 h 838042"/>
                <a:gd name="connsiteX103" fmla="*/ 762796 w 1033465"/>
                <a:gd name="connsiteY103" fmla="*/ 562523 h 838042"/>
                <a:gd name="connsiteX104" fmla="*/ 650582 w 1033465"/>
                <a:gd name="connsiteY104" fmla="*/ 479794 h 838042"/>
                <a:gd name="connsiteX105" fmla="*/ 646772 w 1033465"/>
                <a:gd name="connsiteY105" fmla="*/ 462649 h 838042"/>
                <a:gd name="connsiteX106" fmla="*/ 658202 w 1033465"/>
                <a:gd name="connsiteY106" fmla="*/ 426454 h 838042"/>
                <a:gd name="connsiteX107" fmla="*/ 726782 w 1033465"/>
                <a:gd name="connsiteY107" fmla="*/ 405499 h 838042"/>
                <a:gd name="connsiteX108" fmla="*/ 813738 w 1033465"/>
                <a:gd name="connsiteY108" fmla="*/ 406906 h 838042"/>
                <a:gd name="connsiteX109" fmla="*/ 906231 w 1033465"/>
                <a:gd name="connsiteY109" fmla="*/ 417646 h 838042"/>
                <a:gd name="connsiteX110" fmla="*/ 1002290 w 1033465"/>
                <a:gd name="connsiteY110" fmla="*/ 426835 h 838042"/>
                <a:gd name="connsiteX111" fmla="*/ 1032449 w 1033465"/>
                <a:gd name="connsiteY111" fmla="*/ 402711 h 838042"/>
                <a:gd name="connsiteX112" fmla="*/ 1020514 w 1033465"/>
                <a:gd name="connsiteY112" fmla="*/ 377797 h 838042"/>
                <a:gd name="connsiteX113" fmla="*/ 964889 w 1033465"/>
                <a:gd name="connsiteY113" fmla="*/ 358029 h 838042"/>
                <a:gd name="connsiteX114" fmla="*/ 827747 w 1033465"/>
                <a:gd name="connsiteY114" fmla="*/ 357874 h 838042"/>
                <a:gd name="connsiteX115" fmla="*/ 755811 w 1033465"/>
                <a:gd name="connsiteY115" fmla="*/ 361702 h 838042"/>
                <a:gd name="connsiteX116" fmla="*/ 671537 w 1033465"/>
                <a:gd name="connsiteY116" fmla="*/ 369304 h 838042"/>
                <a:gd name="connsiteX117" fmla="*/ 644867 w 1033465"/>
                <a:gd name="connsiteY117" fmla="*/ 338824 h 838042"/>
                <a:gd name="connsiteX118" fmla="*/ 676403 w 1033465"/>
                <a:gd name="connsiteY118" fmla="*/ 304962 h 838042"/>
                <a:gd name="connsiteX119" fmla="*/ 707732 w 1033465"/>
                <a:gd name="connsiteY119" fmla="*/ 283579 h 838042"/>
                <a:gd name="connsiteX120" fmla="*/ 743927 w 1033465"/>
                <a:gd name="connsiteY120" fmla="*/ 251194 h 838042"/>
                <a:gd name="connsiteX121" fmla="*/ 783019 w 1033465"/>
                <a:gd name="connsiteY121" fmla="*/ 213846 h 838042"/>
                <a:gd name="connsiteX122" fmla="*/ 746401 w 1033465"/>
                <a:gd name="connsiteY122" fmla="*/ 201789 h 838042"/>
                <a:gd name="connsiteX123" fmla="*/ 694397 w 1033465"/>
                <a:gd name="connsiteY123" fmla="*/ 226429 h 838042"/>
                <a:gd name="connsiteX124" fmla="*/ 656678 w 1033465"/>
                <a:gd name="connsiteY124" fmla="*/ 257626 h 838042"/>
                <a:gd name="connsiteX125" fmla="*/ 616001 w 1033465"/>
                <a:gd name="connsiteY125" fmla="*/ 286712 h 838042"/>
                <a:gd name="connsiteX126" fmla="*/ 564857 w 1033465"/>
                <a:gd name="connsiteY126" fmla="*/ 287389 h 838042"/>
                <a:gd name="connsiteX127" fmla="*/ 530567 w 1033465"/>
                <a:gd name="connsiteY127" fmla="*/ 274054 h 838042"/>
                <a:gd name="connsiteX128" fmla="*/ 507707 w 1033465"/>
                <a:gd name="connsiteY128" fmla="*/ 235954 h 838042"/>
                <a:gd name="connsiteX129" fmla="*/ 509612 w 1033465"/>
                <a:gd name="connsiteY129" fmla="*/ 171184 h 838042"/>
                <a:gd name="connsiteX130" fmla="*/ 508314 w 1033465"/>
                <a:gd name="connsiteY130" fmla="*/ 73485 h 838042"/>
                <a:gd name="connsiteX131" fmla="*/ 454116 w 1033465"/>
                <a:gd name="connsiteY131" fmla="*/ 11248 h 838042"/>
                <a:gd name="connsiteX132" fmla="*/ 442470 w 1033465"/>
                <a:gd name="connsiteY132" fmla="*/ 75864 h 838042"/>
                <a:gd name="connsiteX133" fmla="*/ 439226 w 1033465"/>
                <a:gd name="connsiteY133" fmla="*/ 132660 h 838042"/>
                <a:gd name="connsiteX134" fmla="*/ 436054 w 1033465"/>
                <a:gd name="connsiteY13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4 h 838042"/>
                <a:gd name="connsiteX5" fmla="*/ 267677 w 1033465"/>
                <a:gd name="connsiteY5" fmla="*/ 285484 h 838042"/>
                <a:gd name="connsiteX6" fmla="*/ 221957 w 1033465"/>
                <a:gd name="connsiteY6" fmla="*/ 272149 h 838042"/>
                <a:gd name="connsiteX7" fmla="*/ 191477 w 1033465"/>
                <a:gd name="connsiteY7" fmla="*/ 262624 h 838042"/>
                <a:gd name="connsiteX8" fmla="*/ 183857 w 1033465"/>
                <a:gd name="connsiteY8" fmla="*/ 260719 h 838042"/>
                <a:gd name="connsiteX9" fmla="*/ 172427 w 1033465"/>
                <a:gd name="connsiteY9" fmla="*/ 255004 h 838042"/>
                <a:gd name="connsiteX10" fmla="*/ 166712 w 1033465"/>
                <a:gd name="connsiteY10" fmla="*/ 251194 h 838042"/>
                <a:gd name="connsiteX11" fmla="*/ 159092 w 1033465"/>
                <a:gd name="connsiteY11" fmla="*/ 239764 h 838042"/>
                <a:gd name="connsiteX12" fmla="*/ 147662 w 1033465"/>
                <a:gd name="connsiteY12" fmla="*/ 235954 h 838042"/>
                <a:gd name="connsiteX13" fmla="*/ 141947 w 1033465"/>
                <a:gd name="connsiteY13" fmla="*/ 232144 h 838042"/>
                <a:gd name="connsiteX14" fmla="*/ 136232 w 1033465"/>
                <a:gd name="connsiteY14" fmla="*/ 230239 h 838042"/>
                <a:gd name="connsiteX15" fmla="*/ 119087 w 1033465"/>
                <a:gd name="connsiteY15" fmla="*/ 226429 h 838042"/>
                <a:gd name="connsiteX16" fmla="*/ 113372 w 1033465"/>
                <a:gd name="connsiteY16" fmla="*/ 220714 h 838042"/>
                <a:gd name="connsiteX17" fmla="*/ 103847 w 1033465"/>
                <a:gd name="connsiteY17" fmla="*/ 203569 h 838042"/>
                <a:gd name="connsiteX18" fmla="*/ 86702 w 1033465"/>
                <a:gd name="connsiteY18" fmla="*/ 195949 h 838042"/>
                <a:gd name="connsiteX19" fmla="*/ 80987 w 1033465"/>
                <a:gd name="connsiteY19" fmla="*/ 194044 h 838042"/>
                <a:gd name="connsiteX20" fmla="*/ 61937 w 1033465"/>
                <a:gd name="connsiteY20" fmla="*/ 197854 h 838042"/>
                <a:gd name="connsiteX21" fmla="*/ 56222 w 1033465"/>
                <a:gd name="connsiteY21" fmla="*/ 201664 h 838042"/>
                <a:gd name="connsiteX22" fmla="*/ 52412 w 1033465"/>
                <a:gd name="connsiteY22" fmla="*/ 207379 h 838042"/>
                <a:gd name="connsiteX23" fmla="*/ 48602 w 1033465"/>
                <a:gd name="connsiteY23" fmla="*/ 218809 h 838042"/>
                <a:gd name="connsiteX24" fmla="*/ 52412 w 1033465"/>
                <a:gd name="connsiteY24" fmla="*/ 256909 h 838042"/>
                <a:gd name="connsiteX25" fmla="*/ 56222 w 1033465"/>
                <a:gd name="connsiteY25" fmla="*/ 262624 h 838042"/>
                <a:gd name="connsiteX26" fmla="*/ 61937 w 1033465"/>
                <a:gd name="connsiteY26" fmla="*/ 266434 h 838042"/>
                <a:gd name="connsiteX27" fmla="*/ 65747 w 1033465"/>
                <a:gd name="connsiteY27" fmla="*/ 272149 h 838042"/>
                <a:gd name="connsiteX28" fmla="*/ 82892 w 1033465"/>
                <a:gd name="connsiteY28" fmla="*/ 281674 h 838042"/>
                <a:gd name="connsiteX29" fmla="*/ 105752 w 1033465"/>
                <a:gd name="connsiteY29" fmla="*/ 283579 h 838042"/>
                <a:gd name="connsiteX30" fmla="*/ 126707 w 1033465"/>
                <a:gd name="connsiteY30" fmla="*/ 289294 h 838042"/>
                <a:gd name="connsiteX31" fmla="*/ 132422 w 1033465"/>
                <a:gd name="connsiteY31" fmla="*/ 291199 h 838042"/>
                <a:gd name="connsiteX32" fmla="*/ 138137 w 1033465"/>
                <a:gd name="connsiteY32" fmla="*/ 296914 h 838042"/>
                <a:gd name="connsiteX33" fmla="*/ 145757 w 1033465"/>
                <a:gd name="connsiteY33" fmla="*/ 298819 h 838042"/>
                <a:gd name="connsiteX34" fmla="*/ 168617 w 1033465"/>
                <a:gd name="connsiteY34" fmla="*/ 302629 h 838042"/>
                <a:gd name="connsiteX35" fmla="*/ 193382 w 1033465"/>
                <a:gd name="connsiteY35" fmla="*/ 308344 h 838042"/>
                <a:gd name="connsiteX36" fmla="*/ 210527 w 1033465"/>
                <a:gd name="connsiteY36" fmla="*/ 314059 h 838042"/>
                <a:gd name="connsiteX37" fmla="*/ 216242 w 1033465"/>
                <a:gd name="connsiteY37" fmla="*/ 315964 h 838042"/>
                <a:gd name="connsiteX38" fmla="*/ 231482 w 1033465"/>
                <a:gd name="connsiteY38" fmla="*/ 319774 h 838042"/>
                <a:gd name="connsiteX39" fmla="*/ 250532 w 1033465"/>
                <a:gd name="connsiteY39" fmla="*/ 325489 h 838042"/>
                <a:gd name="connsiteX40" fmla="*/ 256247 w 1033465"/>
                <a:gd name="connsiteY40" fmla="*/ 329299 h 838042"/>
                <a:gd name="connsiteX41" fmla="*/ 269582 w 1033465"/>
                <a:gd name="connsiteY41" fmla="*/ 344539 h 838042"/>
                <a:gd name="connsiteX42" fmla="*/ 275297 w 1033465"/>
                <a:gd name="connsiteY42" fmla="*/ 363589 h 838042"/>
                <a:gd name="connsiteX43" fmla="*/ 277202 w 1033465"/>
                <a:gd name="connsiteY43" fmla="*/ 369304 h 838042"/>
                <a:gd name="connsiteX44" fmla="*/ 279107 w 1033465"/>
                <a:gd name="connsiteY44" fmla="*/ 375019 h 838042"/>
                <a:gd name="connsiteX45" fmla="*/ 281012 w 1033465"/>
                <a:gd name="connsiteY45" fmla="*/ 399784 h 838042"/>
                <a:gd name="connsiteX46" fmla="*/ 282917 w 1033465"/>
                <a:gd name="connsiteY46" fmla="*/ 405499 h 838042"/>
                <a:gd name="connsiteX47" fmla="*/ 281012 w 1033465"/>
                <a:gd name="connsiteY47" fmla="*/ 424549 h 838042"/>
                <a:gd name="connsiteX48" fmla="*/ 279107 w 1033465"/>
                <a:gd name="connsiteY48" fmla="*/ 434074 h 838042"/>
                <a:gd name="connsiteX49" fmla="*/ 265772 w 1033465"/>
                <a:gd name="connsiteY49" fmla="*/ 447409 h 838042"/>
                <a:gd name="connsiteX50" fmla="*/ 254342 w 1033465"/>
                <a:gd name="connsiteY50" fmla="*/ 455029 h 838042"/>
                <a:gd name="connsiteX51" fmla="*/ 242912 w 1033465"/>
                <a:gd name="connsiteY51" fmla="*/ 458839 h 838042"/>
                <a:gd name="connsiteX52" fmla="*/ 128612 w 1033465"/>
                <a:gd name="connsiteY52" fmla="*/ 458839 h 838042"/>
                <a:gd name="connsiteX53" fmla="*/ 122897 w 1033465"/>
                <a:gd name="connsiteY53" fmla="*/ 460744 h 838042"/>
                <a:gd name="connsiteX54" fmla="*/ 107657 w 1033465"/>
                <a:gd name="connsiteY54" fmla="*/ 462649 h 838042"/>
                <a:gd name="connsiteX55" fmla="*/ 90512 w 1033465"/>
                <a:gd name="connsiteY55" fmla="*/ 468364 h 838042"/>
                <a:gd name="connsiteX56" fmla="*/ 84797 w 1033465"/>
                <a:gd name="connsiteY56" fmla="*/ 470269 h 838042"/>
                <a:gd name="connsiteX57" fmla="*/ 79082 w 1033465"/>
                <a:gd name="connsiteY57" fmla="*/ 474079 h 838042"/>
                <a:gd name="connsiteX58" fmla="*/ 67652 w 1033465"/>
                <a:gd name="connsiteY58" fmla="*/ 475984 h 838042"/>
                <a:gd name="connsiteX59" fmla="*/ 29552 w 1033465"/>
                <a:gd name="connsiteY59" fmla="*/ 477889 h 838042"/>
                <a:gd name="connsiteX60" fmla="*/ 18122 w 1033465"/>
                <a:gd name="connsiteY60" fmla="*/ 483604 h 838042"/>
                <a:gd name="connsiteX61" fmla="*/ 8597 w 1033465"/>
                <a:gd name="connsiteY61" fmla="*/ 493129 h 838042"/>
                <a:gd name="connsiteX62" fmla="*/ 6692 w 1033465"/>
                <a:gd name="connsiteY62" fmla="*/ 498844 h 838042"/>
                <a:gd name="connsiteX63" fmla="*/ 2882 w 1033465"/>
                <a:gd name="connsiteY63" fmla="*/ 504559 h 838042"/>
                <a:gd name="connsiteX64" fmla="*/ 14312 w 1033465"/>
                <a:gd name="connsiteY64" fmla="*/ 540754 h 838042"/>
                <a:gd name="connsiteX65" fmla="*/ 147662 w 1033465"/>
                <a:gd name="connsiteY65" fmla="*/ 540754 h 838042"/>
                <a:gd name="connsiteX66" fmla="*/ 155282 w 1033465"/>
                <a:gd name="connsiteY66" fmla="*/ 538849 h 838042"/>
                <a:gd name="connsiteX67" fmla="*/ 305777 w 1033465"/>
                <a:gd name="connsiteY67" fmla="*/ 533134 h 838042"/>
                <a:gd name="connsiteX68" fmla="*/ 321017 w 1033465"/>
                <a:gd name="connsiteY68" fmla="*/ 540754 h 838042"/>
                <a:gd name="connsiteX69" fmla="*/ 332447 w 1033465"/>
                <a:gd name="connsiteY69" fmla="*/ 546469 h 838042"/>
                <a:gd name="connsiteX70" fmla="*/ 336257 w 1033465"/>
                <a:gd name="connsiteY70" fmla="*/ 552184 h 838042"/>
                <a:gd name="connsiteX71" fmla="*/ 341972 w 1033465"/>
                <a:gd name="connsiteY71" fmla="*/ 554089 h 838042"/>
                <a:gd name="connsiteX72" fmla="*/ 353402 w 1033465"/>
                <a:gd name="connsiteY72" fmla="*/ 561709 h 838042"/>
                <a:gd name="connsiteX73" fmla="*/ 359117 w 1033465"/>
                <a:gd name="connsiteY73" fmla="*/ 565519 h 838042"/>
                <a:gd name="connsiteX74" fmla="*/ 362927 w 1033465"/>
                <a:gd name="connsiteY74" fmla="*/ 571234 h 838042"/>
                <a:gd name="connsiteX75" fmla="*/ 368642 w 1033465"/>
                <a:gd name="connsiteY75" fmla="*/ 582664 h 838042"/>
                <a:gd name="connsiteX76" fmla="*/ 364832 w 1033465"/>
                <a:gd name="connsiteY76" fmla="*/ 609334 h 838042"/>
                <a:gd name="connsiteX77" fmla="*/ 361022 w 1033465"/>
                <a:gd name="connsiteY77" fmla="*/ 615049 h 838042"/>
                <a:gd name="connsiteX78" fmla="*/ 359117 w 1033465"/>
                <a:gd name="connsiteY78" fmla="*/ 620764 h 838042"/>
                <a:gd name="connsiteX79" fmla="*/ 355307 w 1033465"/>
                <a:gd name="connsiteY79" fmla="*/ 626479 h 838042"/>
                <a:gd name="connsiteX80" fmla="*/ 353402 w 1033465"/>
                <a:gd name="connsiteY80" fmla="*/ 632194 h 838042"/>
                <a:gd name="connsiteX81" fmla="*/ 349592 w 1033465"/>
                <a:gd name="connsiteY81" fmla="*/ 637909 h 838042"/>
                <a:gd name="connsiteX82" fmla="*/ 332447 w 1033465"/>
                <a:gd name="connsiteY82" fmla="*/ 704584 h 838042"/>
                <a:gd name="connsiteX83" fmla="*/ 330542 w 1033465"/>
                <a:gd name="connsiteY83" fmla="*/ 756019 h 838042"/>
                <a:gd name="connsiteX84" fmla="*/ 332447 w 1033465"/>
                <a:gd name="connsiteY84" fmla="*/ 780784 h 838042"/>
                <a:gd name="connsiteX85" fmla="*/ 334352 w 1033465"/>
                <a:gd name="connsiteY85" fmla="*/ 786499 h 838042"/>
                <a:gd name="connsiteX86" fmla="*/ 338162 w 1033465"/>
                <a:gd name="connsiteY86" fmla="*/ 790309 h 838042"/>
                <a:gd name="connsiteX87" fmla="*/ 366737 w 1033465"/>
                <a:gd name="connsiteY87" fmla="*/ 836029 h 838042"/>
                <a:gd name="connsiteX88" fmla="*/ 389597 w 1033465"/>
                <a:gd name="connsiteY88" fmla="*/ 837934 h 838042"/>
                <a:gd name="connsiteX89" fmla="*/ 397407 w 1033465"/>
                <a:gd name="connsiteY89" fmla="*/ 833530 h 838042"/>
                <a:gd name="connsiteX90" fmla="*/ 402932 w 1033465"/>
                <a:gd name="connsiteY90" fmla="*/ 784594 h 838042"/>
                <a:gd name="connsiteX91" fmla="*/ 406742 w 1033465"/>
                <a:gd name="connsiteY91" fmla="*/ 727444 h 838042"/>
                <a:gd name="connsiteX92" fmla="*/ 423887 w 1033465"/>
                <a:gd name="connsiteY92" fmla="*/ 672199 h 838042"/>
                <a:gd name="connsiteX93" fmla="*/ 429602 w 1033465"/>
                <a:gd name="connsiteY93" fmla="*/ 658864 h 838042"/>
                <a:gd name="connsiteX94" fmla="*/ 444084 w 1033465"/>
                <a:gd name="connsiteY94" fmla="*/ 626947 h 838042"/>
                <a:gd name="connsiteX95" fmla="*/ 464289 w 1033465"/>
                <a:gd name="connsiteY95" fmla="*/ 600072 h 838042"/>
                <a:gd name="connsiteX96" fmla="*/ 523510 w 1033465"/>
                <a:gd name="connsiteY96" fmla="*/ 565123 h 838042"/>
                <a:gd name="connsiteX97" fmla="*/ 599348 w 1033465"/>
                <a:gd name="connsiteY97" fmla="*/ 550915 h 838042"/>
                <a:gd name="connsiteX98" fmla="*/ 707801 w 1033465"/>
                <a:gd name="connsiteY98" fmla="*/ 612819 h 838042"/>
                <a:gd name="connsiteX99" fmla="*/ 780122 w 1033465"/>
                <a:gd name="connsiteY99" fmla="*/ 656959 h 838042"/>
                <a:gd name="connsiteX100" fmla="*/ 804887 w 1033465"/>
                <a:gd name="connsiteY100" fmla="*/ 632194 h 838042"/>
                <a:gd name="connsiteX101" fmla="*/ 801077 w 1033465"/>
                <a:gd name="connsiteY101" fmla="*/ 601714 h 838042"/>
                <a:gd name="connsiteX102" fmla="*/ 762796 w 1033465"/>
                <a:gd name="connsiteY102" fmla="*/ 562523 h 838042"/>
                <a:gd name="connsiteX103" fmla="*/ 650582 w 1033465"/>
                <a:gd name="connsiteY103" fmla="*/ 479794 h 838042"/>
                <a:gd name="connsiteX104" fmla="*/ 646772 w 1033465"/>
                <a:gd name="connsiteY104" fmla="*/ 462649 h 838042"/>
                <a:gd name="connsiteX105" fmla="*/ 658202 w 1033465"/>
                <a:gd name="connsiteY105" fmla="*/ 426454 h 838042"/>
                <a:gd name="connsiteX106" fmla="*/ 726782 w 1033465"/>
                <a:gd name="connsiteY106" fmla="*/ 405499 h 838042"/>
                <a:gd name="connsiteX107" fmla="*/ 813738 w 1033465"/>
                <a:gd name="connsiteY107" fmla="*/ 406906 h 838042"/>
                <a:gd name="connsiteX108" fmla="*/ 906231 w 1033465"/>
                <a:gd name="connsiteY108" fmla="*/ 417646 h 838042"/>
                <a:gd name="connsiteX109" fmla="*/ 1002290 w 1033465"/>
                <a:gd name="connsiteY109" fmla="*/ 426835 h 838042"/>
                <a:gd name="connsiteX110" fmla="*/ 1032449 w 1033465"/>
                <a:gd name="connsiteY110" fmla="*/ 402711 h 838042"/>
                <a:gd name="connsiteX111" fmla="*/ 1020514 w 1033465"/>
                <a:gd name="connsiteY111" fmla="*/ 377797 h 838042"/>
                <a:gd name="connsiteX112" fmla="*/ 964889 w 1033465"/>
                <a:gd name="connsiteY112" fmla="*/ 358029 h 838042"/>
                <a:gd name="connsiteX113" fmla="*/ 827747 w 1033465"/>
                <a:gd name="connsiteY113" fmla="*/ 357874 h 838042"/>
                <a:gd name="connsiteX114" fmla="*/ 755811 w 1033465"/>
                <a:gd name="connsiteY114" fmla="*/ 361702 h 838042"/>
                <a:gd name="connsiteX115" fmla="*/ 671537 w 1033465"/>
                <a:gd name="connsiteY115" fmla="*/ 369304 h 838042"/>
                <a:gd name="connsiteX116" fmla="*/ 644867 w 1033465"/>
                <a:gd name="connsiteY116" fmla="*/ 338824 h 838042"/>
                <a:gd name="connsiteX117" fmla="*/ 676403 w 1033465"/>
                <a:gd name="connsiteY117" fmla="*/ 304962 h 838042"/>
                <a:gd name="connsiteX118" fmla="*/ 707732 w 1033465"/>
                <a:gd name="connsiteY118" fmla="*/ 283579 h 838042"/>
                <a:gd name="connsiteX119" fmla="*/ 743927 w 1033465"/>
                <a:gd name="connsiteY119" fmla="*/ 251194 h 838042"/>
                <a:gd name="connsiteX120" fmla="*/ 783019 w 1033465"/>
                <a:gd name="connsiteY120" fmla="*/ 213846 h 838042"/>
                <a:gd name="connsiteX121" fmla="*/ 746401 w 1033465"/>
                <a:gd name="connsiteY121" fmla="*/ 201789 h 838042"/>
                <a:gd name="connsiteX122" fmla="*/ 694397 w 1033465"/>
                <a:gd name="connsiteY122" fmla="*/ 226429 h 838042"/>
                <a:gd name="connsiteX123" fmla="*/ 656678 w 1033465"/>
                <a:gd name="connsiteY123" fmla="*/ 257626 h 838042"/>
                <a:gd name="connsiteX124" fmla="*/ 616001 w 1033465"/>
                <a:gd name="connsiteY124" fmla="*/ 286712 h 838042"/>
                <a:gd name="connsiteX125" fmla="*/ 564857 w 1033465"/>
                <a:gd name="connsiteY125" fmla="*/ 287389 h 838042"/>
                <a:gd name="connsiteX126" fmla="*/ 530567 w 1033465"/>
                <a:gd name="connsiteY126" fmla="*/ 274054 h 838042"/>
                <a:gd name="connsiteX127" fmla="*/ 507707 w 1033465"/>
                <a:gd name="connsiteY127" fmla="*/ 235954 h 838042"/>
                <a:gd name="connsiteX128" fmla="*/ 509612 w 1033465"/>
                <a:gd name="connsiteY128" fmla="*/ 171184 h 838042"/>
                <a:gd name="connsiteX129" fmla="*/ 508314 w 1033465"/>
                <a:gd name="connsiteY129" fmla="*/ 73485 h 838042"/>
                <a:gd name="connsiteX130" fmla="*/ 454116 w 1033465"/>
                <a:gd name="connsiteY130" fmla="*/ 11248 h 838042"/>
                <a:gd name="connsiteX131" fmla="*/ 442470 w 1033465"/>
                <a:gd name="connsiteY131" fmla="*/ 75864 h 838042"/>
                <a:gd name="connsiteX132" fmla="*/ 439226 w 1033465"/>
                <a:gd name="connsiteY132" fmla="*/ 132660 h 838042"/>
                <a:gd name="connsiteX133" fmla="*/ 436054 w 1033465"/>
                <a:gd name="connsiteY13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9117 w 1033465"/>
                <a:gd name="connsiteY3" fmla="*/ 266434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83857 w 1033465"/>
                <a:gd name="connsiteY8" fmla="*/ 260719 h 838042"/>
                <a:gd name="connsiteX9" fmla="*/ 172427 w 1033465"/>
                <a:gd name="connsiteY9" fmla="*/ 255004 h 838042"/>
                <a:gd name="connsiteX10" fmla="*/ 166712 w 1033465"/>
                <a:gd name="connsiteY10" fmla="*/ 251194 h 838042"/>
                <a:gd name="connsiteX11" fmla="*/ 159092 w 1033465"/>
                <a:gd name="connsiteY11" fmla="*/ 239764 h 838042"/>
                <a:gd name="connsiteX12" fmla="*/ 147662 w 1033465"/>
                <a:gd name="connsiteY12" fmla="*/ 235954 h 838042"/>
                <a:gd name="connsiteX13" fmla="*/ 141947 w 1033465"/>
                <a:gd name="connsiteY13" fmla="*/ 232144 h 838042"/>
                <a:gd name="connsiteX14" fmla="*/ 136232 w 1033465"/>
                <a:gd name="connsiteY14" fmla="*/ 230239 h 838042"/>
                <a:gd name="connsiteX15" fmla="*/ 119087 w 1033465"/>
                <a:gd name="connsiteY15" fmla="*/ 226429 h 838042"/>
                <a:gd name="connsiteX16" fmla="*/ 113372 w 1033465"/>
                <a:gd name="connsiteY16" fmla="*/ 220714 h 838042"/>
                <a:gd name="connsiteX17" fmla="*/ 103847 w 1033465"/>
                <a:gd name="connsiteY17" fmla="*/ 203569 h 838042"/>
                <a:gd name="connsiteX18" fmla="*/ 86702 w 1033465"/>
                <a:gd name="connsiteY18" fmla="*/ 195949 h 838042"/>
                <a:gd name="connsiteX19" fmla="*/ 80987 w 1033465"/>
                <a:gd name="connsiteY19" fmla="*/ 194044 h 838042"/>
                <a:gd name="connsiteX20" fmla="*/ 61937 w 1033465"/>
                <a:gd name="connsiteY20" fmla="*/ 197854 h 838042"/>
                <a:gd name="connsiteX21" fmla="*/ 56222 w 1033465"/>
                <a:gd name="connsiteY21" fmla="*/ 201664 h 838042"/>
                <a:gd name="connsiteX22" fmla="*/ 52412 w 1033465"/>
                <a:gd name="connsiteY22" fmla="*/ 207379 h 838042"/>
                <a:gd name="connsiteX23" fmla="*/ 48602 w 1033465"/>
                <a:gd name="connsiteY23" fmla="*/ 218809 h 838042"/>
                <a:gd name="connsiteX24" fmla="*/ 52412 w 1033465"/>
                <a:gd name="connsiteY24" fmla="*/ 256909 h 838042"/>
                <a:gd name="connsiteX25" fmla="*/ 56222 w 1033465"/>
                <a:gd name="connsiteY25" fmla="*/ 262624 h 838042"/>
                <a:gd name="connsiteX26" fmla="*/ 61937 w 1033465"/>
                <a:gd name="connsiteY26" fmla="*/ 266434 h 838042"/>
                <a:gd name="connsiteX27" fmla="*/ 65747 w 1033465"/>
                <a:gd name="connsiteY27" fmla="*/ 272149 h 838042"/>
                <a:gd name="connsiteX28" fmla="*/ 82892 w 1033465"/>
                <a:gd name="connsiteY28" fmla="*/ 281674 h 838042"/>
                <a:gd name="connsiteX29" fmla="*/ 105752 w 1033465"/>
                <a:gd name="connsiteY29" fmla="*/ 283579 h 838042"/>
                <a:gd name="connsiteX30" fmla="*/ 126707 w 1033465"/>
                <a:gd name="connsiteY30" fmla="*/ 289294 h 838042"/>
                <a:gd name="connsiteX31" fmla="*/ 132422 w 1033465"/>
                <a:gd name="connsiteY31" fmla="*/ 291199 h 838042"/>
                <a:gd name="connsiteX32" fmla="*/ 138137 w 1033465"/>
                <a:gd name="connsiteY32" fmla="*/ 296914 h 838042"/>
                <a:gd name="connsiteX33" fmla="*/ 145757 w 1033465"/>
                <a:gd name="connsiteY33" fmla="*/ 298819 h 838042"/>
                <a:gd name="connsiteX34" fmla="*/ 168617 w 1033465"/>
                <a:gd name="connsiteY34" fmla="*/ 302629 h 838042"/>
                <a:gd name="connsiteX35" fmla="*/ 193382 w 1033465"/>
                <a:gd name="connsiteY35" fmla="*/ 308344 h 838042"/>
                <a:gd name="connsiteX36" fmla="*/ 210527 w 1033465"/>
                <a:gd name="connsiteY36" fmla="*/ 314059 h 838042"/>
                <a:gd name="connsiteX37" fmla="*/ 216242 w 1033465"/>
                <a:gd name="connsiteY37" fmla="*/ 315964 h 838042"/>
                <a:gd name="connsiteX38" fmla="*/ 231482 w 1033465"/>
                <a:gd name="connsiteY38" fmla="*/ 319774 h 838042"/>
                <a:gd name="connsiteX39" fmla="*/ 250532 w 1033465"/>
                <a:gd name="connsiteY39" fmla="*/ 325489 h 838042"/>
                <a:gd name="connsiteX40" fmla="*/ 256247 w 1033465"/>
                <a:gd name="connsiteY40" fmla="*/ 329299 h 838042"/>
                <a:gd name="connsiteX41" fmla="*/ 269582 w 1033465"/>
                <a:gd name="connsiteY41" fmla="*/ 344539 h 838042"/>
                <a:gd name="connsiteX42" fmla="*/ 275297 w 1033465"/>
                <a:gd name="connsiteY42" fmla="*/ 363589 h 838042"/>
                <a:gd name="connsiteX43" fmla="*/ 277202 w 1033465"/>
                <a:gd name="connsiteY43" fmla="*/ 369304 h 838042"/>
                <a:gd name="connsiteX44" fmla="*/ 279107 w 1033465"/>
                <a:gd name="connsiteY44" fmla="*/ 375019 h 838042"/>
                <a:gd name="connsiteX45" fmla="*/ 281012 w 1033465"/>
                <a:gd name="connsiteY45" fmla="*/ 399784 h 838042"/>
                <a:gd name="connsiteX46" fmla="*/ 282917 w 1033465"/>
                <a:gd name="connsiteY46" fmla="*/ 405499 h 838042"/>
                <a:gd name="connsiteX47" fmla="*/ 281012 w 1033465"/>
                <a:gd name="connsiteY47" fmla="*/ 424549 h 838042"/>
                <a:gd name="connsiteX48" fmla="*/ 279107 w 1033465"/>
                <a:gd name="connsiteY48" fmla="*/ 434074 h 838042"/>
                <a:gd name="connsiteX49" fmla="*/ 265772 w 1033465"/>
                <a:gd name="connsiteY49" fmla="*/ 447409 h 838042"/>
                <a:gd name="connsiteX50" fmla="*/ 254342 w 1033465"/>
                <a:gd name="connsiteY50" fmla="*/ 455029 h 838042"/>
                <a:gd name="connsiteX51" fmla="*/ 242912 w 1033465"/>
                <a:gd name="connsiteY51" fmla="*/ 458839 h 838042"/>
                <a:gd name="connsiteX52" fmla="*/ 128612 w 1033465"/>
                <a:gd name="connsiteY52" fmla="*/ 458839 h 838042"/>
                <a:gd name="connsiteX53" fmla="*/ 122897 w 1033465"/>
                <a:gd name="connsiteY53" fmla="*/ 460744 h 838042"/>
                <a:gd name="connsiteX54" fmla="*/ 107657 w 1033465"/>
                <a:gd name="connsiteY54" fmla="*/ 462649 h 838042"/>
                <a:gd name="connsiteX55" fmla="*/ 90512 w 1033465"/>
                <a:gd name="connsiteY55" fmla="*/ 468364 h 838042"/>
                <a:gd name="connsiteX56" fmla="*/ 84797 w 1033465"/>
                <a:gd name="connsiteY56" fmla="*/ 470269 h 838042"/>
                <a:gd name="connsiteX57" fmla="*/ 79082 w 1033465"/>
                <a:gd name="connsiteY57" fmla="*/ 474079 h 838042"/>
                <a:gd name="connsiteX58" fmla="*/ 67652 w 1033465"/>
                <a:gd name="connsiteY58" fmla="*/ 475984 h 838042"/>
                <a:gd name="connsiteX59" fmla="*/ 29552 w 1033465"/>
                <a:gd name="connsiteY59" fmla="*/ 477889 h 838042"/>
                <a:gd name="connsiteX60" fmla="*/ 18122 w 1033465"/>
                <a:gd name="connsiteY60" fmla="*/ 483604 h 838042"/>
                <a:gd name="connsiteX61" fmla="*/ 8597 w 1033465"/>
                <a:gd name="connsiteY61" fmla="*/ 493129 h 838042"/>
                <a:gd name="connsiteX62" fmla="*/ 6692 w 1033465"/>
                <a:gd name="connsiteY62" fmla="*/ 498844 h 838042"/>
                <a:gd name="connsiteX63" fmla="*/ 2882 w 1033465"/>
                <a:gd name="connsiteY63" fmla="*/ 504559 h 838042"/>
                <a:gd name="connsiteX64" fmla="*/ 14312 w 1033465"/>
                <a:gd name="connsiteY64" fmla="*/ 540754 h 838042"/>
                <a:gd name="connsiteX65" fmla="*/ 147662 w 1033465"/>
                <a:gd name="connsiteY65" fmla="*/ 540754 h 838042"/>
                <a:gd name="connsiteX66" fmla="*/ 155282 w 1033465"/>
                <a:gd name="connsiteY66" fmla="*/ 538849 h 838042"/>
                <a:gd name="connsiteX67" fmla="*/ 305777 w 1033465"/>
                <a:gd name="connsiteY67" fmla="*/ 533134 h 838042"/>
                <a:gd name="connsiteX68" fmla="*/ 321017 w 1033465"/>
                <a:gd name="connsiteY68" fmla="*/ 540754 h 838042"/>
                <a:gd name="connsiteX69" fmla="*/ 332447 w 1033465"/>
                <a:gd name="connsiteY69" fmla="*/ 546469 h 838042"/>
                <a:gd name="connsiteX70" fmla="*/ 336257 w 1033465"/>
                <a:gd name="connsiteY70" fmla="*/ 552184 h 838042"/>
                <a:gd name="connsiteX71" fmla="*/ 341972 w 1033465"/>
                <a:gd name="connsiteY71" fmla="*/ 554089 h 838042"/>
                <a:gd name="connsiteX72" fmla="*/ 353402 w 1033465"/>
                <a:gd name="connsiteY72" fmla="*/ 561709 h 838042"/>
                <a:gd name="connsiteX73" fmla="*/ 359117 w 1033465"/>
                <a:gd name="connsiteY73" fmla="*/ 565519 h 838042"/>
                <a:gd name="connsiteX74" fmla="*/ 362927 w 1033465"/>
                <a:gd name="connsiteY74" fmla="*/ 571234 h 838042"/>
                <a:gd name="connsiteX75" fmla="*/ 368642 w 1033465"/>
                <a:gd name="connsiteY75" fmla="*/ 582664 h 838042"/>
                <a:gd name="connsiteX76" fmla="*/ 364832 w 1033465"/>
                <a:gd name="connsiteY76" fmla="*/ 609334 h 838042"/>
                <a:gd name="connsiteX77" fmla="*/ 361022 w 1033465"/>
                <a:gd name="connsiteY77" fmla="*/ 615049 h 838042"/>
                <a:gd name="connsiteX78" fmla="*/ 359117 w 1033465"/>
                <a:gd name="connsiteY78" fmla="*/ 620764 h 838042"/>
                <a:gd name="connsiteX79" fmla="*/ 355307 w 1033465"/>
                <a:gd name="connsiteY79" fmla="*/ 626479 h 838042"/>
                <a:gd name="connsiteX80" fmla="*/ 353402 w 1033465"/>
                <a:gd name="connsiteY80" fmla="*/ 632194 h 838042"/>
                <a:gd name="connsiteX81" fmla="*/ 349592 w 1033465"/>
                <a:gd name="connsiteY81" fmla="*/ 637909 h 838042"/>
                <a:gd name="connsiteX82" fmla="*/ 332447 w 1033465"/>
                <a:gd name="connsiteY82" fmla="*/ 704584 h 838042"/>
                <a:gd name="connsiteX83" fmla="*/ 330542 w 1033465"/>
                <a:gd name="connsiteY83" fmla="*/ 756019 h 838042"/>
                <a:gd name="connsiteX84" fmla="*/ 332447 w 1033465"/>
                <a:gd name="connsiteY84" fmla="*/ 780784 h 838042"/>
                <a:gd name="connsiteX85" fmla="*/ 334352 w 1033465"/>
                <a:gd name="connsiteY85" fmla="*/ 786499 h 838042"/>
                <a:gd name="connsiteX86" fmla="*/ 338162 w 1033465"/>
                <a:gd name="connsiteY86" fmla="*/ 790309 h 838042"/>
                <a:gd name="connsiteX87" fmla="*/ 366737 w 1033465"/>
                <a:gd name="connsiteY87" fmla="*/ 836029 h 838042"/>
                <a:gd name="connsiteX88" fmla="*/ 389597 w 1033465"/>
                <a:gd name="connsiteY88" fmla="*/ 837934 h 838042"/>
                <a:gd name="connsiteX89" fmla="*/ 397407 w 1033465"/>
                <a:gd name="connsiteY89" fmla="*/ 833530 h 838042"/>
                <a:gd name="connsiteX90" fmla="*/ 402932 w 1033465"/>
                <a:gd name="connsiteY90" fmla="*/ 784594 h 838042"/>
                <a:gd name="connsiteX91" fmla="*/ 406742 w 1033465"/>
                <a:gd name="connsiteY91" fmla="*/ 727444 h 838042"/>
                <a:gd name="connsiteX92" fmla="*/ 423887 w 1033465"/>
                <a:gd name="connsiteY92" fmla="*/ 672199 h 838042"/>
                <a:gd name="connsiteX93" fmla="*/ 429602 w 1033465"/>
                <a:gd name="connsiteY93" fmla="*/ 658864 h 838042"/>
                <a:gd name="connsiteX94" fmla="*/ 444084 w 1033465"/>
                <a:gd name="connsiteY94" fmla="*/ 626947 h 838042"/>
                <a:gd name="connsiteX95" fmla="*/ 464289 w 1033465"/>
                <a:gd name="connsiteY95" fmla="*/ 600072 h 838042"/>
                <a:gd name="connsiteX96" fmla="*/ 523510 w 1033465"/>
                <a:gd name="connsiteY96" fmla="*/ 565123 h 838042"/>
                <a:gd name="connsiteX97" fmla="*/ 599348 w 1033465"/>
                <a:gd name="connsiteY97" fmla="*/ 550915 h 838042"/>
                <a:gd name="connsiteX98" fmla="*/ 707801 w 1033465"/>
                <a:gd name="connsiteY98" fmla="*/ 612819 h 838042"/>
                <a:gd name="connsiteX99" fmla="*/ 780122 w 1033465"/>
                <a:gd name="connsiteY99" fmla="*/ 656959 h 838042"/>
                <a:gd name="connsiteX100" fmla="*/ 804887 w 1033465"/>
                <a:gd name="connsiteY100" fmla="*/ 632194 h 838042"/>
                <a:gd name="connsiteX101" fmla="*/ 801077 w 1033465"/>
                <a:gd name="connsiteY101" fmla="*/ 601714 h 838042"/>
                <a:gd name="connsiteX102" fmla="*/ 762796 w 1033465"/>
                <a:gd name="connsiteY102" fmla="*/ 562523 h 838042"/>
                <a:gd name="connsiteX103" fmla="*/ 650582 w 1033465"/>
                <a:gd name="connsiteY103" fmla="*/ 479794 h 838042"/>
                <a:gd name="connsiteX104" fmla="*/ 646772 w 1033465"/>
                <a:gd name="connsiteY104" fmla="*/ 462649 h 838042"/>
                <a:gd name="connsiteX105" fmla="*/ 658202 w 1033465"/>
                <a:gd name="connsiteY105" fmla="*/ 426454 h 838042"/>
                <a:gd name="connsiteX106" fmla="*/ 726782 w 1033465"/>
                <a:gd name="connsiteY106" fmla="*/ 405499 h 838042"/>
                <a:gd name="connsiteX107" fmla="*/ 813738 w 1033465"/>
                <a:gd name="connsiteY107" fmla="*/ 406906 h 838042"/>
                <a:gd name="connsiteX108" fmla="*/ 906231 w 1033465"/>
                <a:gd name="connsiteY108" fmla="*/ 417646 h 838042"/>
                <a:gd name="connsiteX109" fmla="*/ 1002290 w 1033465"/>
                <a:gd name="connsiteY109" fmla="*/ 426835 h 838042"/>
                <a:gd name="connsiteX110" fmla="*/ 1032449 w 1033465"/>
                <a:gd name="connsiteY110" fmla="*/ 402711 h 838042"/>
                <a:gd name="connsiteX111" fmla="*/ 1020514 w 1033465"/>
                <a:gd name="connsiteY111" fmla="*/ 377797 h 838042"/>
                <a:gd name="connsiteX112" fmla="*/ 964889 w 1033465"/>
                <a:gd name="connsiteY112" fmla="*/ 358029 h 838042"/>
                <a:gd name="connsiteX113" fmla="*/ 827747 w 1033465"/>
                <a:gd name="connsiteY113" fmla="*/ 357874 h 838042"/>
                <a:gd name="connsiteX114" fmla="*/ 755811 w 1033465"/>
                <a:gd name="connsiteY114" fmla="*/ 361702 h 838042"/>
                <a:gd name="connsiteX115" fmla="*/ 671537 w 1033465"/>
                <a:gd name="connsiteY115" fmla="*/ 369304 h 838042"/>
                <a:gd name="connsiteX116" fmla="*/ 644867 w 1033465"/>
                <a:gd name="connsiteY116" fmla="*/ 338824 h 838042"/>
                <a:gd name="connsiteX117" fmla="*/ 676403 w 1033465"/>
                <a:gd name="connsiteY117" fmla="*/ 304962 h 838042"/>
                <a:gd name="connsiteX118" fmla="*/ 707732 w 1033465"/>
                <a:gd name="connsiteY118" fmla="*/ 283579 h 838042"/>
                <a:gd name="connsiteX119" fmla="*/ 743927 w 1033465"/>
                <a:gd name="connsiteY119" fmla="*/ 251194 h 838042"/>
                <a:gd name="connsiteX120" fmla="*/ 783019 w 1033465"/>
                <a:gd name="connsiteY120" fmla="*/ 213846 h 838042"/>
                <a:gd name="connsiteX121" fmla="*/ 746401 w 1033465"/>
                <a:gd name="connsiteY121" fmla="*/ 201789 h 838042"/>
                <a:gd name="connsiteX122" fmla="*/ 694397 w 1033465"/>
                <a:gd name="connsiteY122" fmla="*/ 226429 h 838042"/>
                <a:gd name="connsiteX123" fmla="*/ 656678 w 1033465"/>
                <a:gd name="connsiteY123" fmla="*/ 257626 h 838042"/>
                <a:gd name="connsiteX124" fmla="*/ 616001 w 1033465"/>
                <a:gd name="connsiteY124" fmla="*/ 286712 h 838042"/>
                <a:gd name="connsiteX125" fmla="*/ 564857 w 1033465"/>
                <a:gd name="connsiteY125" fmla="*/ 287389 h 838042"/>
                <a:gd name="connsiteX126" fmla="*/ 530567 w 1033465"/>
                <a:gd name="connsiteY126" fmla="*/ 274054 h 838042"/>
                <a:gd name="connsiteX127" fmla="*/ 507707 w 1033465"/>
                <a:gd name="connsiteY127" fmla="*/ 235954 h 838042"/>
                <a:gd name="connsiteX128" fmla="*/ 509612 w 1033465"/>
                <a:gd name="connsiteY128" fmla="*/ 171184 h 838042"/>
                <a:gd name="connsiteX129" fmla="*/ 508314 w 1033465"/>
                <a:gd name="connsiteY129" fmla="*/ 73485 h 838042"/>
                <a:gd name="connsiteX130" fmla="*/ 454116 w 1033465"/>
                <a:gd name="connsiteY130" fmla="*/ 11248 h 838042"/>
                <a:gd name="connsiteX131" fmla="*/ 442470 w 1033465"/>
                <a:gd name="connsiteY131" fmla="*/ 75864 h 838042"/>
                <a:gd name="connsiteX132" fmla="*/ 439226 w 1033465"/>
                <a:gd name="connsiteY132" fmla="*/ 132660 h 838042"/>
                <a:gd name="connsiteX133" fmla="*/ 436054 w 1033465"/>
                <a:gd name="connsiteY13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83857 w 1033465"/>
                <a:gd name="connsiteY8" fmla="*/ 260719 h 838042"/>
                <a:gd name="connsiteX9" fmla="*/ 172427 w 1033465"/>
                <a:gd name="connsiteY9" fmla="*/ 255004 h 838042"/>
                <a:gd name="connsiteX10" fmla="*/ 166712 w 1033465"/>
                <a:gd name="connsiteY10" fmla="*/ 251194 h 838042"/>
                <a:gd name="connsiteX11" fmla="*/ 159092 w 1033465"/>
                <a:gd name="connsiteY11" fmla="*/ 239764 h 838042"/>
                <a:gd name="connsiteX12" fmla="*/ 147662 w 1033465"/>
                <a:gd name="connsiteY12" fmla="*/ 235954 h 838042"/>
                <a:gd name="connsiteX13" fmla="*/ 141947 w 1033465"/>
                <a:gd name="connsiteY13" fmla="*/ 232144 h 838042"/>
                <a:gd name="connsiteX14" fmla="*/ 136232 w 1033465"/>
                <a:gd name="connsiteY14" fmla="*/ 230239 h 838042"/>
                <a:gd name="connsiteX15" fmla="*/ 119087 w 1033465"/>
                <a:gd name="connsiteY15" fmla="*/ 226429 h 838042"/>
                <a:gd name="connsiteX16" fmla="*/ 113372 w 1033465"/>
                <a:gd name="connsiteY16" fmla="*/ 220714 h 838042"/>
                <a:gd name="connsiteX17" fmla="*/ 103847 w 1033465"/>
                <a:gd name="connsiteY17" fmla="*/ 203569 h 838042"/>
                <a:gd name="connsiteX18" fmla="*/ 86702 w 1033465"/>
                <a:gd name="connsiteY18" fmla="*/ 195949 h 838042"/>
                <a:gd name="connsiteX19" fmla="*/ 80987 w 1033465"/>
                <a:gd name="connsiteY19" fmla="*/ 194044 h 838042"/>
                <a:gd name="connsiteX20" fmla="*/ 61937 w 1033465"/>
                <a:gd name="connsiteY20" fmla="*/ 197854 h 838042"/>
                <a:gd name="connsiteX21" fmla="*/ 56222 w 1033465"/>
                <a:gd name="connsiteY21" fmla="*/ 201664 h 838042"/>
                <a:gd name="connsiteX22" fmla="*/ 52412 w 1033465"/>
                <a:gd name="connsiteY22" fmla="*/ 207379 h 838042"/>
                <a:gd name="connsiteX23" fmla="*/ 48602 w 1033465"/>
                <a:gd name="connsiteY23" fmla="*/ 218809 h 838042"/>
                <a:gd name="connsiteX24" fmla="*/ 52412 w 1033465"/>
                <a:gd name="connsiteY24" fmla="*/ 256909 h 838042"/>
                <a:gd name="connsiteX25" fmla="*/ 56222 w 1033465"/>
                <a:gd name="connsiteY25" fmla="*/ 262624 h 838042"/>
                <a:gd name="connsiteX26" fmla="*/ 61937 w 1033465"/>
                <a:gd name="connsiteY26" fmla="*/ 266434 h 838042"/>
                <a:gd name="connsiteX27" fmla="*/ 65747 w 1033465"/>
                <a:gd name="connsiteY27" fmla="*/ 272149 h 838042"/>
                <a:gd name="connsiteX28" fmla="*/ 82892 w 1033465"/>
                <a:gd name="connsiteY28" fmla="*/ 281674 h 838042"/>
                <a:gd name="connsiteX29" fmla="*/ 105752 w 1033465"/>
                <a:gd name="connsiteY29" fmla="*/ 283579 h 838042"/>
                <a:gd name="connsiteX30" fmla="*/ 126707 w 1033465"/>
                <a:gd name="connsiteY30" fmla="*/ 289294 h 838042"/>
                <a:gd name="connsiteX31" fmla="*/ 132422 w 1033465"/>
                <a:gd name="connsiteY31" fmla="*/ 291199 h 838042"/>
                <a:gd name="connsiteX32" fmla="*/ 138137 w 1033465"/>
                <a:gd name="connsiteY32" fmla="*/ 296914 h 838042"/>
                <a:gd name="connsiteX33" fmla="*/ 145757 w 1033465"/>
                <a:gd name="connsiteY33" fmla="*/ 298819 h 838042"/>
                <a:gd name="connsiteX34" fmla="*/ 168617 w 1033465"/>
                <a:gd name="connsiteY34" fmla="*/ 302629 h 838042"/>
                <a:gd name="connsiteX35" fmla="*/ 193382 w 1033465"/>
                <a:gd name="connsiteY35" fmla="*/ 308344 h 838042"/>
                <a:gd name="connsiteX36" fmla="*/ 210527 w 1033465"/>
                <a:gd name="connsiteY36" fmla="*/ 314059 h 838042"/>
                <a:gd name="connsiteX37" fmla="*/ 216242 w 1033465"/>
                <a:gd name="connsiteY37" fmla="*/ 315964 h 838042"/>
                <a:gd name="connsiteX38" fmla="*/ 231482 w 1033465"/>
                <a:gd name="connsiteY38" fmla="*/ 319774 h 838042"/>
                <a:gd name="connsiteX39" fmla="*/ 250532 w 1033465"/>
                <a:gd name="connsiteY39" fmla="*/ 325489 h 838042"/>
                <a:gd name="connsiteX40" fmla="*/ 256247 w 1033465"/>
                <a:gd name="connsiteY40" fmla="*/ 329299 h 838042"/>
                <a:gd name="connsiteX41" fmla="*/ 269582 w 1033465"/>
                <a:gd name="connsiteY41" fmla="*/ 344539 h 838042"/>
                <a:gd name="connsiteX42" fmla="*/ 275297 w 1033465"/>
                <a:gd name="connsiteY42" fmla="*/ 363589 h 838042"/>
                <a:gd name="connsiteX43" fmla="*/ 277202 w 1033465"/>
                <a:gd name="connsiteY43" fmla="*/ 369304 h 838042"/>
                <a:gd name="connsiteX44" fmla="*/ 279107 w 1033465"/>
                <a:gd name="connsiteY44" fmla="*/ 375019 h 838042"/>
                <a:gd name="connsiteX45" fmla="*/ 281012 w 1033465"/>
                <a:gd name="connsiteY45" fmla="*/ 399784 h 838042"/>
                <a:gd name="connsiteX46" fmla="*/ 282917 w 1033465"/>
                <a:gd name="connsiteY46" fmla="*/ 405499 h 838042"/>
                <a:gd name="connsiteX47" fmla="*/ 281012 w 1033465"/>
                <a:gd name="connsiteY47" fmla="*/ 424549 h 838042"/>
                <a:gd name="connsiteX48" fmla="*/ 279107 w 1033465"/>
                <a:gd name="connsiteY48" fmla="*/ 434074 h 838042"/>
                <a:gd name="connsiteX49" fmla="*/ 265772 w 1033465"/>
                <a:gd name="connsiteY49" fmla="*/ 447409 h 838042"/>
                <a:gd name="connsiteX50" fmla="*/ 254342 w 1033465"/>
                <a:gd name="connsiteY50" fmla="*/ 455029 h 838042"/>
                <a:gd name="connsiteX51" fmla="*/ 242912 w 1033465"/>
                <a:gd name="connsiteY51" fmla="*/ 458839 h 838042"/>
                <a:gd name="connsiteX52" fmla="*/ 128612 w 1033465"/>
                <a:gd name="connsiteY52" fmla="*/ 458839 h 838042"/>
                <a:gd name="connsiteX53" fmla="*/ 122897 w 1033465"/>
                <a:gd name="connsiteY53" fmla="*/ 460744 h 838042"/>
                <a:gd name="connsiteX54" fmla="*/ 107657 w 1033465"/>
                <a:gd name="connsiteY54" fmla="*/ 462649 h 838042"/>
                <a:gd name="connsiteX55" fmla="*/ 90512 w 1033465"/>
                <a:gd name="connsiteY55" fmla="*/ 468364 h 838042"/>
                <a:gd name="connsiteX56" fmla="*/ 84797 w 1033465"/>
                <a:gd name="connsiteY56" fmla="*/ 470269 h 838042"/>
                <a:gd name="connsiteX57" fmla="*/ 79082 w 1033465"/>
                <a:gd name="connsiteY57" fmla="*/ 474079 h 838042"/>
                <a:gd name="connsiteX58" fmla="*/ 67652 w 1033465"/>
                <a:gd name="connsiteY58" fmla="*/ 475984 h 838042"/>
                <a:gd name="connsiteX59" fmla="*/ 29552 w 1033465"/>
                <a:gd name="connsiteY59" fmla="*/ 477889 h 838042"/>
                <a:gd name="connsiteX60" fmla="*/ 18122 w 1033465"/>
                <a:gd name="connsiteY60" fmla="*/ 483604 h 838042"/>
                <a:gd name="connsiteX61" fmla="*/ 8597 w 1033465"/>
                <a:gd name="connsiteY61" fmla="*/ 493129 h 838042"/>
                <a:gd name="connsiteX62" fmla="*/ 6692 w 1033465"/>
                <a:gd name="connsiteY62" fmla="*/ 498844 h 838042"/>
                <a:gd name="connsiteX63" fmla="*/ 2882 w 1033465"/>
                <a:gd name="connsiteY63" fmla="*/ 504559 h 838042"/>
                <a:gd name="connsiteX64" fmla="*/ 14312 w 1033465"/>
                <a:gd name="connsiteY64" fmla="*/ 540754 h 838042"/>
                <a:gd name="connsiteX65" fmla="*/ 147662 w 1033465"/>
                <a:gd name="connsiteY65" fmla="*/ 540754 h 838042"/>
                <a:gd name="connsiteX66" fmla="*/ 155282 w 1033465"/>
                <a:gd name="connsiteY66" fmla="*/ 538849 h 838042"/>
                <a:gd name="connsiteX67" fmla="*/ 305777 w 1033465"/>
                <a:gd name="connsiteY67" fmla="*/ 533134 h 838042"/>
                <a:gd name="connsiteX68" fmla="*/ 321017 w 1033465"/>
                <a:gd name="connsiteY68" fmla="*/ 540754 h 838042"/>
                <a:gd name="connsiteX69" fmla="*/ 332447 w 1033465"/>
                <a:gd name="connsiteY69" fmla="*/ 546469 h 838042"/>
                <a:gd name="connsiteX70" fmla="*/ 336257 w 1033465"/>
                <a:gd name="connsiteY70" fmla="*/ 552184 h 838042"/>
                <a:gd name="connsiteX71" fmla="*/ 341972 w 1033465"/>
                <a:gd name="connsiteY71" fmla="*/ 554089 h 838042"/>
                <a:gd name="connsiteX72" fmla="*/ 353402 w 1033465"/>
                <a:gd name="connsiteY72" fmla="*/ 561709 h 838042"/>
                <a:gd name="connsiteX73" fmla="*/ 359117 w 1033465"/>
                <a:gd name="connsiteY73" fmla="*/ 565519 h 838042"/>
                <a:gd name="connsiteX74" fmla="*/ 362927 w 1033465"/>
                <a:gd name="connsiteY74" fmla="*/ 571234 h 838042"/>
                <a:gd name="connsiteX75" fmla="*/ 368642 w 1033465"/>
                <a:gd name="connsiteY75" fmla="*/ 582664 h 838042"/>
                <a:gd name="connsiteX76" fmla="*/ 364832 w 1033465"/>
                <a:gd name="connsiteY76" fmla="*/ 609334 h 838042"/>
                <a:gd name="connsiteX77" fmla="*/ 361022 w 1033465"/>
                <a:gd name="connsiteY77" fmla="*/ 615049 h 838042"/>
                <a:gd name="connsiteX78" fmla="*/ 359117 w 1033465"/>
                <a:gd name="connsiteY78" fmla="*/ 620764 h 838042"/>
                <a:gd name="connsiteX79" fmla="*/ 355307 w 1033465"/>
                <a:gd name="connsiteY79" fmla="*/ 626479 h 838042"/>
                <a:gd name="connsiteX80" fmla="*/ 353402 w 1033465"/>
                <a:gd name="connsiteY80" fmla="*/ 632194 h 838042"/>
                <a:gd name="connsiteX81" fmla="*/ 349592 w 1033465"/>
                <a:gd name="connsiteY81" fmla="*/ 637909 h 838042"/>
                <a:gd name="connsiteX82" fmla="*/ 332447 w 1033465"/>
                <a:gd name="connsiteY82" fmla="*/ 704584 h 838042"/>
                <a:gd name="connsiteX83" fmla="*/ 330542 w 1033465"/>
                <a:gd name="connsiteY83" fmla="*/ 756019 h 838042"/>
                <a:gd name="connsiteX84" fmla="*/ 332447 w 1033465"/>
                <a:gd name="connsiteY84" fmla="*/ 780784 h 838042"/>
                <a:gd name="connsiteX85" fmla="*/ 334352 w 1033465"/>
                <a:gd name="connsiteY85" fmla="*/ 786499 h 838042"/>
                <a:gd name="connsiteX86" fmla="*/ 338162 w 1033465"/>
                <a:gd name="connsiteY86" fmla="*/ 790309 h 838042"/>
                <a:gd name="connsiteX87" fmla="*/ 366737 w 1033465"/>
                <a:gd name="connsiteY87" fmla="*/ 836029 h 838042"/>
                <a:gd name="connsiteX88" fmla="*/ 389597 w 1033465"/>
                <a:gd name="connsiteY88" fmla="*/ 837934 h 838042"/>
                <a:gd name="connsiteX89" fmla="*/ 397407 w 1033465"/>
                <a:gd name="connsiteY89" fmla="*/ 833530 h 838042"/>
                <a:gd name="connsiteX90" fmla="*/ 402932 w 1033465"/>
                <a:gd name="connsiteY90" fmla="*/ 784594 h 838042"/>
                <a:gd name="connsiteX91" fmla="*/ 406742 w 1033465"/>
                <a:gd name="connsiteY91" fmla="*/ 727444 h 838042"/>
                <a:gd name="connsiteX92" fmla="*/ 423887 w 1033465"/>
                <a:gd name="connsiteY92" fmla="*/ 672199 h 838042"/>
                <a:gd name="connsiteX93" fmla="*/ 429602 w 1033465"/>
                <a:gd name="connsiteY93" fmla="*/ 658864 h 838042"/>
                <a:gd name="connsiteX94" fmla="*/ 444084 w 1033465"/>
                <a:gd name="connsiteY94" fmla="*/ 626947 h 838042"/>
                <a:gd name="connsiteX95" fmla="*/ 464289 w 1033465"/>
                <a:gd name="connsiteY95" fmla="*/ 600072 h 838042"/>
                <a:gd name="connsiteX96" fmla="*/ 523510 w 1033465"/>
                <a:gd name="connsiteY96" fmla="*/ 565123 h 838042"/>
                <a:gd name="connsiteX97" fmla="*/ 599348 w 1033465"/>
                <a:gd name="connsiteY97" fmla="*/ 550915 h 838042"/>
                <a:gd name="connsiteX98" fmla="*/ 707801 w 1033465"/>
                <a:gd name="connsiteY98" fmla="*/ 612819 h 838042"/>
                <a:gd name="connsiteX99" fmla="*/ 780122 w 1033465"/>
                <a:gd name="connsiteY99" fmla="*/ 656959 h 838042"/>
                <a:gd name="connsiteX100" fmla="*/ 804887 w 1033465"/>
                <a:gd name="connsiteY100" fmla="*/ 632194 h 838042"/>
                <a:gd name="connsiteX101" fmla="*/ 801077 w 1033465"/>
                <a:gd name="connsiteY101" fmla="*/ 601714 h 838042"/>
                <a:gd name="connsiteX102" fmla="*/ 762796 w 1033465"/>
                <a:gd name="connsiteY102" fmla="*/ 562523 h 838042"/>
                <a:gd name="connsiteX103" fmla="*/ 650582 w 1033465"/>
                <a:gd name="connsiteY103" fmla="*/ 479794 h 838042"/>
                <a:gd name="connsiteX104" fmla="*/ 646772 w 1033465"/>
                <a:gd name="connsiteY104" fmla="*/ 462649 h 838042"/>
                <a:gd name="connsiteX105" fmla="*/ 658202 w 1033465"/>
                <a:gd name="connsiteY105" fmla="*/ 426454 h 838042"/>
                <a:gd name="connsiteX106" fmla="*/ 726782 w 1033465"/>
                <a:gd name="connsiteY106" fmla="*/ 405499 h 838042"/>
                <a:gd name="connsiteX107" fmla="*/ 813738 w 1033465"/>
                <a:gd name="connsiteY107" fmla="*/ 406906 h 838042"/>
                <a:gd name="connsiteX108" fmla="*/ 906231 w 1033465"/>
                <a:gd name="connsiteY108" fmla="*/ 417646 h 838042"/>
                <a:gd name="connsiteX109" fmla="*/ 1002290 w 1033465"/>
                <a:gd name="connsiteY109" fmla="*/ 426835 h 838042"/>
                <a:gd name="connsiteX110" fmla="*/ 1032449 w 1033465"/>
                <a:gd name="connsiteY110" fmla="*/ 402711 h 838042"/>
                <a:gd name="connsiteX111" fmla="*/ 1020514 w 1033465"/>
                <a:gd name="connsiteY111" fmla="*/ 377797 h 838042"/>
                <a:gd name="connsiteX112" fmla="*/ 964889 w 1033465"/>
                <a:gd name="connsiteY112" fmla="*/ 358029 h 838042"/>
                <a:gd name="connsiteX113" fmla="*/ 827747 w 1033465"/>
                <a:gd name="connsiteY113" fmla="*/ 357874 h 838042"/>
                <a:gd name="connsiteX114" fmla="*/ 755811 w 1033465"/>
                <a:gd name="connsiteY114" fmla="*/ 361702 h 838042"/>
                <a:gd name="connsiteX115" fmla="*/ 671537 w 1033465"/>
                <a:gd name="connsiteY115" fmla="*/ 369304 h 838042"/>
                <a:gd name="connsiteX116" fmla="*/ 644867 w 1033465"/>
                <a:gd name="connsiteY116" fmla="*/ 338824 h 838042"/>
                <a:gd name="connsiteX117" fmla="*/ 676403 w 1033465"/>
                <a:gd name="connsiteY117" fmla="*/ 304962 h 838042"/>
                <a:gd name="connsiteX118" fmla="*/ 707732 w 1033465"/>
                <a:gd name="connsiteY118" fmla="*/ 283579 h 838042"/>
                <a:gd name="connsiteX119" fmla="*/ 743927 w 1033465"/>
                <a:gd name="connsiteY119" fmla="*/ 251194 h 838042"/>
                <a:gd name="connsiteX120" fmla="*/ 783019 w 1033465"/>
                <a:gd name="connsiteY120" fmla="*/ 213846 h 838042"/>
                <a:gd name="connsiteX121" fmla="*/ 746401 w 1033465"/>
                <a:gd name="connsiteY121" fmla="*/ 201789 h 838042"/>
                <a:gd name="connsiteX122" fmla="*/ 694397 w 1033465"/>
                <a:gd name="connsiteY122" fmla="*/ 226429 h 838042"/>
                <a:gd name="connsiteX123" fmla="*/ 656678 w 1033465"/>
                <a:gd name="connsiteY123" fmla="*/ 257626 h 838042"/>
                <a:gd name="connsiteX124" fmla="*/ 616001 w 1033465"/>
                <a:gd name="connsiteY124" fmla="*/ 286712 h 838042"/>
                <a:gd name="connsiteX125" fmla="*/ 564857 w 1033465"/>
                <a:gd name="connsiteY125" fmla="*/ 287389 h 838042"/>
                <a:gd name="connsiteX126" fmla="*/ 530567 w 1033465"/>
                <a:gd name="connsiteY126" fmla="*/ 274054 h 838042"/>
                <a:gd name="connsiteX127" fmla="*/ 507707 w 1033465"/>
                <a:gd name="connsiteY127" fmla="*/ 235954 h 838042"/>
                <a:gd name="connsiteX128" fmla="*/ 509612 w 1033465"/>
                <a:gd name="connsiteY128" fmla="*/ 171184 h 838042"/>
                <a:gd name="connsiteX129" fmla="*/ 508314 w 1033465"/>
                <a:gd name="connsiteY129" fmla="*/ 73485 h 838042"/>
                <a:gd name="connsiteX130" fmla="*/ 454116 w 1033465"/>
                <a:gd name="connsiteY130" fmla="*/ 11248 h 838042"/>
                <a:gd name="connsiteX131" fmla="*/ 442470 w 1033465"/>
                <a:gd name="connsiteY131" fmla="*/ 75864 h 838042"/>
                <a:gd name="connsiteX132" fmla="*/ 439226 w 1033465"/>
                <a:gd name="connsiteY132" fmla="*/ 132660 h 838042"/>
                <a:gd name="connsiteX133" fmla="*/ 436054 w 1033465"/>
                <a:gd name="connsiteY13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83857 w 1033465"/>
                <a:gd name="connsiteY8" fmla="*/ 260719 h 838042"/>
                <a:gd name="connsiteX9" fmla="*/ 172427 w 1033465"/>
                <a:gd name="connsiteY9" fmla="*/ 255004 h 838042"/>
                <a:gd name="connsiteX10" fmla="*/ 159092 w 1033465"/>
                <a:gd name="connsiteY10" fmla="*/ 239764 h 838042"/>
                <a:gd name="connsiteX11" fmla="*/ 147662 w 1033465"/>
                <a:gd name="connsiteY11" fmla="*/ 235954 h 838042"/>
                <a:gd name="connsiteX12" fmla="*/ 141947 w 1033465"/>
                <a:gd name="connsiteY12" fmla="*/ 232144 h 838042"/>
                <a:gd name="connsiteX13" fmla="*/ 136232 w 1033465"/>
                <a:gd name="connsiteY13" fmla="*/ 230239 h 838042"/>
                <a:gd name="connsiteX14" fmla="*/ 119087 w 1033465"/>
                <a:gd name="connsiteY14" fmla="*/ 226429 h 838042"/>
                <a:gd name="connsiteX15" fmla="*/ 113372 w 1033465"/>
                <a:gd name="connsiteY15" fmla="*/ 220714 h 838042"/>
                <a:gd name="connsiteX16" fmla="*/ 103847 w 1033465"/>
                <a:gd name="connsiteY16" fmla="*/ 203569 h 838042"/>
                <a:gd name="connsiteX17" fmla="*/ 86702 w 1033465"/>
                <a:gd name="connsiteY17" fmla="*/ 195949 h 838042"/>
                <a:gd name="connsiteX18" fmla="*/ 80987 w 1033465"/>
                <a:gd name="connsiteY18" fmla="*/ 194044 h 838042"/>
                <a:gd name="connsiteX19" fmla="*/ 61937 w 1033465"/>
                <a:gd name="connsiteY19" fmla="*/ 197854 h 838042"/>
                <a:gd name="connsiteX20" fmla="*/ 56222 w 1033465"/>
                <a:gd name="connsiteY20" fmla="*/ 201664 h 838042"/>
                <a:gd name="connsiteX21" fmla="*/ 52412 w 1033465"/>
                <a:gd name="connsiteY21" fmla="*/ 207379 h 838042"/>
                <a:gd name="connsiteX22" fmla="*/ 48602 w 1033465"/>
                <a:gd name="connsiteY22" fmla="*/ 218809 h 838042"/>
                <a:gd name="connsiteX23" fmla="*/ 52412 w 1033465"/>
                <a:gd name="connsiteY23" fmla="*/ 256909 h 838042"/>
                <a:gd name="connsiteX24" fmla="*/ 56222 w 1033465"/>
                <a:gd name="connsiteY24" fmla="*/ 262624 h 838042"/>
                <a:gd name="connsiteX25" fmla="*/ 61937 w 1033465"/>
                <a:gd name="connsiteY25" fmla="*/ 266434 h 838042"/>
                <a:gd name="connsiteX26" fmla="*/ 65747 w 1033465"/>
                <a:gd name="connsiteY26" fmla="*/ 272149 h 838042"/>
                <a:gd name="connsiteX27" fmla="*/ 82892 w 1033465"/>
                <a:gd name="connsiteY27" fmla="*/ 281674 h 838042"/>
                <a:gd name="connsiteX28" fmla="*/ 105752 w 1033465"/>
                <a:gd name="connsiteY28" fmla="*/ 283579 h 838042"/>
                <a:gd name="connsiteX29" fmla="*/ 126707 w 1033465"/>
                <a:gd name="connsiteY29" fmla="*/ 289294 h 838042"/>
                <a:gd name="connsiteX30" fmla="*/ 132422 w 1033465"/>
                <a:gd name="connsiteY30" fmla="*/ 291199 h 838042"/>
                <a:gd name="connsiteX31" fmla="*/ 138137 w 1033465"/>
                <a:gd name="connsiteY31" fmla="*/ 296914 h 838042"/>
                <a:gd name="connsiteX32" fmla="*/ 145757 w 1033465"/>
                <a:gd name="connsiteY32" fmla="*/ 298819 h 838042"/>
                <a:gd name="connsiteX33" fmla="*/ 168617 w 1033465"/>
                <a:gd name="connsiteY33" fmla="*/ 302629 h 838042"/>
                <a:gd name="connsiteX34" fmla="*/ 193382 w 1033465"/>
                <a:gd name="connsiteY34" fmla="*/ 308344 h 838042"/>
                <a:gd name="connsiteX35" fmla="*/ 210527 w 1033465"/>
                <a:gd name="connsiteY35" fmla="*/ 314059 h 838042"/>
                <a:gd name="connsiteX36" fmla="*/ 216242 w 1033465"/>
                <a:gd name="connsiteY36" fmla="*/ 315964 h 838042"/>
                <a:gd name="connsiteX37" fmla="*/ 231482 w 1033465"/>
                <a:gd name="connsiteY37" fmla="*/ 319774 h 838042"/>
                <a:gd name="connsiteX38" fmla="*/ 250532 w 1033465"/>
                <a:gd name="connsiteY38" fmla="*/ 325489 h 838042"/>
                <a:gd name="connsiteX39" fmla="*/ 256247 w 1033465"/>
                <a:gd name="connsiteY39" fmla="*/ 329299 h 838042"/>
                <a:gd name="connsiteX40" fmla="*/ 269582 w 1033465"/>
                <a:gd name="connsiteY40" fmla="*/ 344539 h 838042"/>
                <a:gd name="connsiteX41" fmla="*/ 275297 w 1033465"/>
                <a:gd name="connsiteY41" fmla="*/ 363589 h 838042"/>
                <a:gd name="connsiteX42" fmla="*/ 277202 w 1033465"/>
                <a:gd name="connsiteY42" fmla="*/ 369304 h 838042"/>
                <a:gd name="connsiteX43" fmla="*/ 279107 w 1033465"/>
                <a:gd name="connsiteY43" fmla="*/ 375019 h 838042"/>
                <a:gd name="connsiteX44" fmla="*/ 281012 w 1033465"/>
                <a:gd name="connsiteY44" fmla="*/ 399784 h 838042"/>
                <a:gd name="connsiteX45" fmla="*/ 282917 w 1033465"/>
                <a:gd name="connsiteY45" fmla="*/ 405499 h 838042"/>
                <a:gd name="connsiteX46" fmla="*/ 281012 w 1033465"/>
                <a:gd name="connsiteY46" fmla="*/ 424549 h 838042"/>
                <a:gd name="connsiteX47" fmla="*/ 279107 w 1033465"/>
                <a:gd name="connsiteY47" fmla="*/ 434074 h 838042"/>
                <a:gd name="connsiteX48" fmla="*/ 265772 w 1033465"/>
                <a:gd name="connsiteY48" fmla="*/ 447409 h 838042"/>
                <a:gd name="connsiteX49" fmla="*/ 254342 w 1033465"/>
                <a:gd name="connsiteY49" fmla="*/ 455029 h 838042"/>
                <a:gd name="connsiteX50" fmla="*/ 242912 w 1033465"/>
                <a:gd name="connsiteY50" fmla="*/ 458839 h 838042"/>
                <a:gd name="connsiteX51" fmla="*/ 128612 w 1033465"/>
                <a:gd name="connsiteY51" fmla="*/ 458839 h 838042"/>
                <a:gd name="connsiteX52" fmla="*/ 122897 w 1033465"/>
                <a:gd name="connsiteY52" fmla="*/ 460744 h 838042"/>
                <a:gd name="connsiteX53" fmla="*/ 107657 w 1033465"/>
                <a:gd name="connsiteY53" fmla="*/ 462649 h 838042"/>
                <a:gd name="connsiteX54" fmla="*/ 90512 w 1033465"/>
                <a:gd name="connsiteY54" fmla="*/ 468364 h 838042"/>
                <a:gd name="connsiteX55" fmla="*/ 84797 w 1033465"/>
                <a:gd name="connsiteY55" fmla="*/ 470269 h 838042"/>
                <a:gd name="connsiteX56" fmla="*/ 79082 w 1033465"/>
                <a:gd name="connsiteY56" fmla="*/ 474079 h 838042"/>
                <a:gd name="connsiteX57" fmla="*/ 67652 w 1033465"/>
                <a:gd name="connsiteY57" fmla="*/ 475984 h 838042"/>
                <a:gd name="connsiteX58" fmla="*/ 29552 w 1033465"/>
                <a:gd name="connsiteY58" fmla="*/ 477889 h 838042"/>
                <a:gd name="connsiteX59" fmla="*/ 18122 w 1033465"/>
                <a:gd name="connsiteY59" fmla="*/ 483604 h 838042"/>
                <a:gd name="connsiteX60" fmla="*/ 8597 w 1033465"/>
                <a:gd name="connsiteY60" fmla="*/ 493129 h 838042"/>
                <a:gd name="connsiteX61" fmla="*/ 6692 w 1033465"/>
                <a:gd name="connsiteY61" fmla="*/ 498844 h 838042"/>
                <a:gd name="connsiteX62" fmla="*/ 2882 w 1033465"/>
                <a:gd name="connsiteY62" fmla="*/ 504559 h 838042"/>
                <a:gd name="connsiteX63" fmla="*/ 14312 w 1033465"/>
                <a:gd name="connsiteY63" fmla="*/ 540754 h 838042"/>
                <a:gd name="connsiteX64" fmla="*/ 147662 w 1033465"/>
                <a:gd name="connsiteY64" fmla="*/ 540754 h 838042"/>
                <a:gd name="connsiteX65" fmla="*/ 155282 w 1033465"/>
                <a:gd name="connsiteY65" fmla="*/ 538849 h 838042"/>
                <a:gd name="connsiteX66" fmla="*/ 305777 w 1033465"/>
                <a:gd name="connsiteY66" fmla="*/ 533134 h 838042"/>
                <a:gd name="connsiteX67" fmla="*/ 321017 w 1033465"/>
                <a:gd name="connsiteY67" fmla="*/ 540754 h 838042"/>
                <a:gd name="connsiteX68" fmla="*/ 332447 w 1033465"/>
                <a:gd name="connsiteY68" fmla="*/ 546469 h 838042"/>
                <a:gd name="connsiteX69" fmla="*/ 336257 w 1033465"/>
                <a:gd name="connsiteY69" fmla="*/ 552184 h 838042"/>
                <a:gd name="connsiteX70" fmla="*/ 341972 w 1033465"/>
                <a:gd name="connsiteY70" fmla="*/ 554089 h 838042"/>
                <a:gd name="connsiteX71" fmla="*/ 353402 w 1033465"/>
                <a:gd name="connsiteY71" fmla="*/ 561709 h 838042"/>
                <a:gd name="connsiteX72" fmla="*/ 359117 w 1033465"/>
                <a:gd name="connsiteY72" fmla="*/ 565519 h 838042"/>
                <a:gd name="connsiteX73" fmla="*/ 362927 w 1033465"/>
                <a:gd name="connsiteY73" fmla="*/ 571234 h 838042"/>
                <a:gd name="connsiteX74" fmla="*/ 368642 w 1033465"/>
                <a:gd name="connsiteY74" fmla="*/ 582664 h 838042"/>
                <a:gd name="connsiteX75" fmla="*/ 364832 w 1033465"/>
                <a:gd name="connsiteY75" fmla="*/ 609334 h 838042"/>
                <a:gd name="connsiteX76" fmla="*/ 361022 w 1033465"/>
                <a:gd name="connsiteY76" fmla="*/ 615049 h 838042"/>
                <a:gd name="connsiteX77" fmla="*/ 359117 w 1033465"/>
                <a:gd name="connsiteY77" fmla="*/ 620764 h 838042"/>
                <a:gd name="connsiteX78" fmla="*/ 355307 w 1033465"/>
                <a:gd name="connsiteY78" fmla="*/ 626479 h 838042"/>
                <a:gd name="connsiteX79" fmla="*/ 353402 w 1033465"/>
                <a:gd name="connsiteY79" fmla="*/ 632194 h 838042"/>
                <a:gd name="connsiteX80" fmla="*/ 349592 w 1033465"/>
                <a:gd name="connsiteY80" fmla="*/ 637909 h 838042"/>
                <a:gd name="connsiteX81" fmla="*/ 332447 w 1033465"/>
                <a:gd name="connsiteY81" fmla="*/ 704584 h 838042"/>
                <a:gd name="connsiteX82" fmla="*/ 330542 w 1033465"/>
                <a:gd name="connsiteY82" fmla="*/ 756019 h 838042"/>
                <a:gd name="connsiteX83" fmla="*/ 332447 w 1033465"/>
                <a:gd name="connsiteY83" fmla="*/ 780784 h 838042"/>
                <a:gd name="connsiteX84" fmla="*/ 334352 w 1033465"/>
                <a:gd name="connsiteY84" fmla="*/ 786499 h 838042"/>
                <a:gd name="connsiteX85" fmla="*/ 338162 w 1033465"/>
                <a:gd name="connsiteY85" fmla="*/ 790309 h 838042"/>
                <a:gd name="connsiteX86" fmla="*/ 366737 w 1033465"/>
                <a:gd name="connsiteY86" fmla="*/ 836029 h 838042"/>
                <a:gd name="connsiteX87" fmla="*/ 389597 w 1033465"/>
                <a:gd name="connsiteY87" fmla="*/ 837934 h 838042"/>
                <a:gd name="connsiteX88" fmla="*/ 397407 w 1033465"/>
                <a:gd name="connsiteY88" fmla="*/ 833530 h 838042"/>
                <a:gd name="connsiteX89" fmla="*/ 402932 w 1033465"/>
                <a:gd name="connsiteY89" fmla="*/ 784594 h 838042"/>
                <a:gd name="connsiteX90" fmla="*/ 406742 w 1033465"/>
                <a:gd name="connsiteY90" fmla="*/ 727444 h 838042"/>
                <a:gd name="connsiteX91" fmla="*/ 423887 w 1033465"/>
                <a:gd name="connsiteY91" fmla="*/ 672199 h 838042"/>
                <a:gd name="connsiteX92" fmla="*/ 429602 w 1033465"/>
                <a:gd name="connsiteY92" fmla="*/ 658864 h 838042"/>
                <a:gd name="connsiteX93" fmla="*/ 444084 w 1033465"/>
                <a:gd name="connsiteY93" fmla="*/ 626947 h 838042"/>
                <a:gd name="connsiteX94" fmla="*/ 464289 w 1033465"/>
                <a:gd name="connsiteY94" fmla="*/ 600072 h 838042"/>
                <a:gd name="connsiteX95" fmla="*/ 523510 w 1033465"/>
                <a:gd name="connsiteY95" fmla="*/ 565123 h 838042"/>
                <a:gd name="connsiteX96" fmla="*/ 599348 w 1033465"/>
                <a:gd name="connsiteY96" fmla="*/ 550915 h 838042"/>
                <a:gd name="connsiteX97" fmla="*/ 707801 w 1033465"/>
                <a:gd name="connsiteY97" fmla="*/ 612819 h 838042"/>
                <a:gd name="connsiteX98" fmla="*/ 780122 w 1033465"/>
                <a:gd name="connsiteY98" fmla="*/ 656959 h 838042"/>
                <a:gd name="connsiteX99" fmla="*/ 804887 w 1033465"/>
                <a:gd name="connsiteY99" fmla="*/ 632194 h 838042"/>
                <a:gd name="connsiteX100" fmla="*/ 801077 w 1033465"/>
                <a:gd name="connsiteY100" fmla="*/ 601714 h 838042"/>
                <a:gd name="connsiteX101" fmla="*/ 762796 w 1033465"/>
                <a:gd name="connsiteY101" fmla="*/ 562523 h 838042"/>
                <a:gd name="connsiteX102" fmla="*/ 650582 w 1033465"/>
                <a:gd name="connsiteY102" fmla="*/ 479794 h 838042"/>
                <a:gd name="connsiteX103" fmla="*/ 646772 w 1033465"/>
                <a:gd name="connsiteY103" fmla="*/ 462649 h 838042"/>
                <a:gd name="connsiteX104" fmla="*/ 658202 w 1033465"/>
                <a:gd name="connsiteY104" fmla="*/ 426454 h 838042"/>
                <a:gd name="connsiteX105" fmla="*/ 726782 w 1033465"/>
                <a:gd name="connsiteY105" fmla="*/ 405499 h 838042"/>
                <a:gd name="connsiteX106" fmla="*/ 813738 w 1033465"/>
                <a:gd name="connsiteY106" fmla="*/ 406906 h 838042"/>
                <a:gd name="connsiteX107" fmla="*/ 906231 w 1033465"/>
                <a:gd name="connsiteY107" fmla="*/ 417646 h 838042"/>
                <a:gd name="connsiteX108" fmla="*/ 1002290 w 1033465"/>
                <a:gd name="connsiteY108" fmla="*/ 426835 h 838042"/>
                <a:gd name="connsiteX109" fmla="*/ 1032449 w 1033465"/>
                <a:gd name="connsiteY109" fmla="*/ 402711 h 838042"/>
                <a:gd name="connsiteX110" fmla="*/ 1020514 w 1033465"/>
                <a:gd name="connsiteY110" fmla="*/ 377797 h 838042"/>
                <a:gd name="connsiteX111" fmla="*/ 964889 w 1033465"/>
                <a:gd name="connsiteY111" fmla="*/ 358029 h 838042"/>
                <a:gd name="connsiteX112" fmla="*/ 827747 w 1033465"/>
                <a:gd name="connsiteY112" fmla="*/ 357874 h 838042"/>
                <a:gd name="connsiteX113" fmla="*/ 755811 w 1033465"/>
                <a:gd name="connsiteY113" fmla="*/ 361702 h 838042"/>
                <a:gd name="connsiteX114" fmla="*/ 671537 w 1033465"/>
                <a:gd name="connsiteY114" fmla="*/ 369304 h 838042"/>
                <a:gd name="connsiteX115" fmla="*/ 644867 w 1033465"/>
                <a:gd name="connsiteY115" fmla="*/ 338824 h 838042"/>
                <a:gd name="connsiteX116" fmla="*/ 676403 w 1033465"/>
                <a:gd name="connsiteY116" fmla="*/ 304962 h 838042"/>
                <a:gd name="connsiteX117" fmla="*/ 707732 w 1033465"/>
                <a:gd name="connsiteY117" fmla="*/ 283579 h 838042"/>
                <a:gd name="connsiteX118" fmla="*/ 743927 w 1033465"/>
                <a:gd name="connsiteY118" fmla="*/ 251194 h 838042"/>
                <a:gd name="connsiteX119" fmla="*/ 783019 w 1033465"/>
                <a:gd name="connsiteY119" fmla="*/ 213846 h 838042"/>
                <a:gd name="connsiteX120" fmla="*/ 746401 w 1033465"/>
                <a:gd name="connsiteY120" fmla="*/ 201789 h 838042"/>
                <a:gd name="connsiteX121" fmla="*/ 694397 w 1033465"/>
                <a:gd name="connsiteY121" fmla="*/ 226429 h 838042"/>
                <a:gd name="connsiteX122" fmla="*/ 656678 w 1033465"/>
                <a:gd name="connsiteY122" fmla="*/ 257626 h 838042"/>
                <a:gd name="connsiteX123" fmla="*/ 616001 w 1033465"/>
                <a:gd name="connsiteY123" fmla="*/ 286712 h 838042"/>
                <a:gd name="connsiteX124" fmla="*/ 564857 w 1033465"/>
                <a:gd name="connsiteY124" fmla="*/ 287389 h 838042"/>
                <a:gd name="connsiteX125" fmla="*/ 530567 w 1033465"/>
                <a:gd name="connsiteY125" fmla="*/ 274054 h 838042"/>
                <a:gd name="connsiteX126" fmla="*/ 507707 w 1033465"/>
                <a:gd name="connsiteY126" fmla="*/ 235954 h 838042"/>
                <a:gd name="connsiteX127" fmla="*/ 509612 w 1033465"/>
                <a:gd name="connsiteY127" fmla="*/ 171184 h 838042"/>
                <a:gd name="connsiteX128" fmla="*/ 508314 w 1033465"/>
                <a:gd name="connsiteY128" fmla="*/ 73485 h 838042"/>
                <a:gd name="connsiteX129" fmla="*/ 454116 w 1033465"/>
                <a:gd name="connsiteY129" fmla="*/ 11248 h 838042"/>
                <a:gd name="connsiteX130" fmla="*/ 442470 w 1033465"/>
                <a:gd name="connsiteY130" fmla="*/ 75864 h 838042"/>
                <a:gd name="connsiteX131" fmla="*/ 439226 w 1033465"/>
                <a:gd name="connsiteY131" fmla="*/ 132660 h 838042"/>
                <a:gd name="connsiteX132" fmla="*/ 436054 w 1033465"/>
                <a:gd name="connsiteY13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83857 w 1033465"/>
                <a:gd name="connsiteY8" fmla="*/ 260719 h 838042"/>
                <a:gd name="connsiteX9" fmla="*/ 159092 w 1033465"/>
                <a:gd name="connsiteY9" fmla="*/ 239764 h 838042"/>
                <a:gd name="connsiteX10" fmla="*/ 147662 w 1033465"/>
                <a:gd name="connsiteY10" fmla="*/ 235954 h 838042"/>
                <a:gd name="connsiteX11" fmla="*/ 141947 w 1033465"/>
                <a:gd name="connsiteY11" fmla="*/ 232144 h 838042"/>
                <a:gd name="connsiteX12" fmla="*/ 136232 w 1033465"/>
                <a:gd name="connsiteY12" fmla="*/ 230239 h 838042"/>
                <a:gd name="connsiteX13" fmla="*/ 119087 w 1033465"/>
                <a:gd name="connsiteY13" fmla="*/ 226429 h 838042"/>
                <a:gd name="connsiteX14" fmla="*/ 113372 w 1033465"/>
                <a:gd name="connsiteY14" fmla="*/ 220714 h 838042"/>
                <a:gd name="connsiteX15" fmla="*/ 103847 w 1033465"/>
                <a:gd name="connsiteY15" fmla="*/ 203569 h 838042"/>
                <a:gd name="connsiteX16" fmla="*/ 86702 w 1033465"/>
                <a:gd name="connsiteY16" fmla="*/ 195949 h 838042"/>
                <a:gd name="connsiteX17" fmla="*/ 80987 w 1033465"/>
                <a:gd name="connsiteY17" fmla="*/ 194044 h 838042"/>
                <a:gd name="connsiteX18" fmla="*/ 61937 w 1033465"/>
                <a:gd name="connsiteY18" fmla="*/ 197854 h 838042"/>
                <a:gd name="connsiteX19" fmla="*/ 56222 w 1033465"/>
                <a:gd name="connsiteY19" fmla="*/ 201664 h 838042"/>
                <a:gd name="connsiteX20" fmla="*/ 52412 w 1033465"/>
                <a:gd name="connsiteY20" fmla="*/ 207379 h 838042"/>
                <a:gd name="connsiteX21" fmla="*/ 48602 w 1033465"/>
                <a:gd name="connsiteY21" fmla="*/ 218809 h 838042"/>
                <a:gd name="connsiteX22" fmla="*/ 52412 w 1033465"/>
                <a:gd name="connsiteY22" fmla="*/ 256909 h 838042"/>
                <a:gd name="connsiteX23" fmla="*/ 56222 w 1033465"/>
                <a:gd name="connsiteY23" fmla="*/ 262624 h 838042"/>
                <a:gd name="connsiteX24" fmla="*/ 61937 w 1033465"/>
                <a:gd name="connsiteY24" fmla="*/ 266434 h 838042"/>
                <a:gd name="connsiteX25" fmla="*/ 65747 w 1033465"/>
                <a:gd name="connsiteY25" fmla="*/ 272149 h 838042"/>
                <a:gd name="connsiteX26" fmla="*/ 82892 w 1033465"/>
                <a:gd name="connsiteY26" fmla="*/ 281674 h 838042"/>
                <a:gd name="connsiteX27" fmla="*/ 105752 w 1033465"/>
                <a:gd name="connsiteY27" fmla="*/ 283579 h 838042"/>
                <a:gd name="connsiteX28" fmla="*/ 126707 w 1033465"/>
                <a:gd name="connsiteY28" fmla="*/ 289294 h 838042"/>
                <a:gd name="connsiteX29" fmla="*/ 132422 w 1033465"/>
                <a:gd name="connsiteY29" fmla="*/ 291199 h 838042"/>
                <a:gd name="connsiteX30" fmla="*/ 138137 w 1033465"/>
                <a:gd name="connsiteY30" fmla="*/ 296914 h 838042"/>
                <a:gd name="connsiteX31" fmla="*/ 145757 w 1033465"/>
                <a:gd name="connsiteY31" fmla="*/ 298819 h 838042"/>
                <a:gd name="connsiteX32" fmla="*/ 168617 w 1033465"/>
                <a:gd name="connsiteY32" fmla="*/ 302629 h 838042"/>
                <a:gd name="connsiteX33" fmla="*/ 193382 w 1033465"/>
                <a:gd name="connsiteY33" fmla="*/ 308344 h 838042"/>
                <a:gd name="connsiteX34" fmla="*/ 210527 w 1033465"/>
                <a:gd name="connsiteY34" fmla="*/ 314059 h 838042"/>
                <a:gd name="connsiteX35" fmla="*/ 216242 w 1033465"/>
                <a:gd name="connsiteY35" fmla="*/ 315964 h 838042"/>
                <a:gd name="connsiteX36" fmla="*/ 231482 w 1033465"/>
                <a:gd name="connsiteY36" fmla="*/ 319774 h 838042"/>
                <a:gd name="connsiteX37" fmla="*/ 250532 w 1033465"/>
                <a:gd name="connsiteY37" fmla="*/ 325489 h 838042"/>
                <a:gd name="connsiteX38" fmla="*/ 256247 w 1033465"/>
                <a:gd name="connsiteY38" fmla="*/ 329299 h 838042"/>
                <a:gd name="connsiteX39" fmla="*/ 269582 w 1033465"/>
                <a:gd name="connsiteY39" fmla="*/ 344539 h 838042"/>
                <a:gd name="connsiteX40" fmla="*/ 275297 w 1033465"/>
                <a:gd name="connsiteY40" fmla="*/ 363589 h 838042"/>
                <a:gd name="connsiteX41" fmla="*/ 277202 w 1033465"/>
                <a:gd name="connsiteY41" fmla="*/ 369304 h 838042"/>
                <a:gd name="connsiteX42" fmla="*/ 279107 w 1033465"/>
                <a:gd name="connsiteY42" fmla="*/ 375019 h 838042"/>
                <a:gd name="connsiteX43" fmla="*/ 281012 w 1033465"/>
                <a:gd name="connsiteY43" fmla="*/ 399784 h 838042"/>
                <a:gd name="connsiteX44" fmla="*/ 282917 w 1033465"/>
                <a:gd name="connsiteY44" fmla="*/ 405499 h 838042"/>
                <a:gd name="connsiteX45" fmla="*/ 281012 w 1033465"/>
                <a:gd name="connsiteY45" fmla="*/ 424549 h 838042"/>
                <a:gd name="connsiteX46" fmla="*/ 279107 w 1033465"/>
                <a:gd name="connsiteY46" fmla="*/ 434074 h 838042"/>
                <a:gd name="connsiteX47" fmla="*/ 265772 w 1033465"/>
                <a:gd name="connsiteY47" fmla="*/ 447409 h 838042"/>
                <a:gd name="connsiteX48" fmla="*/ 254342 w 1033465"/>
                <a:gd name="connsiteY48" fmla="*/ 455029 h 838042"/>
                <a:gd name="connsiteX49" fmla="*/ 242912 w 1033465"/>
                <a:gd name="connsiteY49" fmla="*/ 458839 h 838042"/>
                <a:gd name="connsiteX50" fmla="*/ 128612 w 1033465"/>
                <a:gd name="connsiteY50" fmla="*/ 458839 h 838042"/>
                <a:gd name="connsiteX51" fmla="*/ 122897 w 1033465"/>
                <a:gd name="connsiteY51" fmla="*/ 460744 h 838042"/>
                <a:gd name="connsiteX52" fmla="*/ 107657 w 1033465"/>
                <a:gd name="connsiteY52" fmla="*/ 462649 h 838042"/>
                <a:gd name="connsiteX53" fmla="*/ 90512 w 1033465"/>
                <a:gd name="connsiteY53" fmla="*/ 468364 h 838042"/>
                <a:gd name="connsiteX54" fmla="*/ 84797 w 1033465"/>
                <a:gd name="connsiteY54" fmla="*/ 470269 h 838042"/>
                <a:gd name="connsiteX55" fmla="*/ 79082 w 1033465"/>
                <a:gd name="connsiteY55" fmla="*/ 474079 h 838042"/>
                <a:gd name="connsiteX56" fmla="*/ 67652 w 1033465"/>
                <a:gd name="connsiteY56" fmla="*/ 475984 h 838042"/>
                <a:gd name="connsiteX57" fmla="*/ 29552 w 1033465"/>
                <a:gd name="connsiteY57" fmla="*/ 477889 h 838042"/>
                <a:gd name="connsiteX58" fmla="*/ 18122 w 1033465"/>
                <a:gd name="connsiteY58" fmla="*/ 483604 h 838042"/>
                <a:gd name="connsiteX59" fmla="*/ 8597 w 1033465"/>
                <a:gd name="connsiteY59" fmla="*/ 493129 h 838042"/>
                <a:gd name="connsiteX60" fmla="*/ 6692 w 1033465"/>
                <a:gd name="connsiteY60" fmla="*/ 498844 h 838042"/>
                <a:gd name="connsiteX61" fmla="*/ 2882 w 1033465"/>
                <a:gd name="connsiteY61" fmla="*/ 504559 h 838042"/>
                <a:gd name="connsiteX62" fmla="*/ 14312 w 1033465"/>
                <a:gd name="connsiteY62" fmla="*/ 540754 h 838042"/>
                <a:gd name="connsiteX63" fmla="*/ 147662 w 1033465"/>
                <a:gd name="connsiteY63" fmla="*/ 540754 h 838042"/>
                <a:gd name="connsiteX64" fmla="*/ 155282 w 1033465"/>
                <a:gd name="connsiteY64" fmla="*/ 538849 h 838042"/>
                <a:gd name="connsiteX65" fmla="*/ 305777 w 1033465"/>
                <a:gd name="connsiteY65" fmla="*/ 533134 h 838042"/>
                <a:gd name="connsiteX66" fmla="*/ 321017 w 1033465"/>
                <a:gd name="connsiteY66" fmla="*/ 540754 h 838042"/>
                <a:gd name="connsiteX67" fmla="*/ 332447 w 1033465"/>
                <a:gd name="connsiteY67" fmla="*/ 546469 h 838042"/>
                <a:gd name="connsiteX68" fmla="*/ 336257 w 1033465"/>
                <a:gd name="connsiteY68" fmla="*/ 552184 h 838042"/>
                <a:gd name="connsiteX69" fmla="*/ 341972 w 1033465"/>
                <a:gd name="connsiteY69" fmla="*/ 554089 h 838042"/>
                <a:gd name="connsiteX70" fmla="*/ 353402 w 1033465"/>
                <a:gd name="connsiteY70" fmla="*/ 561709 h 838042"/>
                <a:gd name="connsiteX71" fmla="*/ 359117 w 1033465"/>
                <a:gd name="connsiteY71" fmla="*/ 565519 h 838042"/>
                <a:gd name="connsiteX72" fmla="*/ 362927 w 1033465"/>
                <a:gd name="connsiteY72" fmla="*/ 571234 h 838042"/>
                <a:gd name="connsiteX73" fmla="*/ 368642 w 1033465"/>
                <a:gd name="connsiteY73" fmla="*/ 582664 h 838042"/>
                <a:gd name="connsiteX74" fmla="*/ 364832 w 1033465"/>
                <a:gd name="connsiteY74" fmla="*/ 609334 h 838042"/>
                <a:gd name="connsiteX75" fmla="*/ 361022 w 1033465"/>
                <a:gd name="connsiteY75" fmla="*/ 615049 h 838042"/>
                <a:gd name="connsiteX76" fmla="*/ 359117 w 1033465"/>
                <a:gd name="connsiteY76" fmla="*/ 620764 h 838042"/>
                <a:gd name="connsiteX77" fmla="*/ 355307 w 1033465"/>
                <a:gd name="connsiteY77" fmla="*/ 626479 h 838042"/>
                <a:gd name="connsiteX78" fmla="*/ 353402 w 1033465"/>
                <a:gd name="connsiteY78" fmla="*/ 632194 h 838042"/>
                <a:gd name="connsiteX79" fmla="*/ 349592 w 1033465"/>
                <a:gd name="connsiteY79" fmla="*/ 637909 h 838042"/>
                <a:gd name="connsiteX80" fmla="*/ 332447 w 1033465"/>
                <a:gd name="connsiteY80" fmla="*/ 704584 h 838042"/>
                <a:gd name="connsiteX81" fmla="*/ 330542 w 1033465"/>
                <a:gd name="connsiteY81" fmla="*/ 756019 h 838042"/>
                <a:gd name="connsiteX82" fmla="*/ 332447 w 1033465"/>
                <a:gd name="connsiteY82" fmla="*/ 780784 h 838042"/>
                <a:gd name="connsiteX83" fmla="*/ 334352 w 1033465"/>
                <a:gd name="connsiteY83" fmla="*/ 786499 h 838042"/>
                <a:gd name="connsiteX84" fmla="*/ 338162 w 1033465"/>
                <a:gd name="connsiteY84" fmla="*/ 790309 h 838042"/>
                <a:gd name="connsiteX85" fmla="*/ 366737 w 1033465"/>
                <a:gd name="connsiteY85" fmla="*/ 836029 h 838042"/>
                <a:gd name="connsiteX86" fmla="*/ 389597 w 1033465"/>
                <a:gd name="connsiteY86" fmla="*/ 837934 h 838042"/>
                <a:gd name="connsiteX87" fmla="*/ 397407 w 1033465"/>
                <a:gd name="connsiteY87" fmla="*/ 833530 h 838042"/>
                <a:gd name="connsiteX88" fmla="*/ 402932 w 1033465"/>
                <a:gd name="connsiteY88" fmla="*/ 784594 h 838042"/>
                <a:gd name="connsiteX89" fmla="*/ 406742 w 1033465"/>
                <a:gd name="connsiteY89" fmla="*/ 727444 h 838042"/>
                <a:gd name="connsiteX90" fmla="*/ 423887 w 1033465"/>
                <a:gd name="connsiteY90" fmla="*/ 672199 h 838042"/>
                <a:gd name="connsiteX91" fmla="*/ 429602 w 1033465"/>
                <a:gd name="connsiteY91" fmla="*/ 658864 h 838042"/>
                <a:gd name="connsiteX92" fmla="*/ 444084 w 1033465"/>
                <a:gd name="connsiteY92" fmla="*/ 626947 h 838042"/>
                <a:gd name="connsiteX93" fmla="*/ 464289 w 1033465"/>
                <a:gd name="connsiteY93" fmla="*/ 600072 h 838042"/>
                <a:gd name="connsiteX94" fmla="*/ 523510 w 1033465"/>
                <a:gd name="connsiteY94" fmla="*/ 565123 h 838042"/>
                <a:gd name="connsiteX95" fmla="*/ 599348 w 1033465"/>
                <a:gd name="connsiteY95" fmla="*/ 550915 h 838042"/>
                <a:gd name="connsiteX96" fmla="*/ 707801 w 1033465"/>
                <a:gd name="connsiteY96" fmla="*/ 612819 h 838042"/>
                <a:gd name="connsiteX97" fmla="*/ 780122 w 1033465"/>
                <a:gd name="connsiteY97" fmla="*/ 656959 h 838042"/>
                <a:gd name="connsiteX98" fmla="*/ 804887 w 1033465"/>
                <a:gd name="connsiteY98" fmla="*/ 632194 h 838042"/>
                <a:gd name="connsiteX99" fmla="*/ 801077 w 1033465"/>
                <a:gd name="connsiteY99" fmla="*/ 601714 h 838042"/>
                <a:gd name="connsiteX100" fmla="*/ 762796 w 1033465"/>
                <a:gd name="connsiteY100" fmla="*/ 562523 h 838042"/>
                <a:gd name="connsiteX101" fmla="*/ 650582 w 1033465"/>
                <a:gd name="connsiteY101" fmla="*/ 479794 h 838042"/>
                <a:gd name="connsiteX102" fmla="*/ 646772 w 1033465"/>
                <a:gd name="connsiteY102" fmla="*/ 462649 h 838042"/>
                <a:gd name="connsiteX103" fmla="*/ 658202 w 1033465"/>
                <a:gd name="connsiteY103" fmla="*/ 426454 h 838042"/>
                <a:gd name="connsiteX104" fmla="*/ 726782 w 1033465"/>
                <a:gd name="connsiteY104" fmla="*/ 405499 h 838042"/>
                <a:gd name="connsiteX105" fmla="*/ 813738 w 1033465"/>
                <a:gd name="connsiteY105" fmla="*/ 406906 h 838042"/>
                <a:gd name="connsiteX106" fmla="*/ 906231 w 1033465"/>
                <a:gd name="connsiteY106" fmla="*/ 417646 h 838042"/>
                <a:gd name="connsiteX107" fmla="*/ 1002290 w 1033465"/>
                <a:gd name="connsiteY107" fmla="*/ 426835 h 838042"/>
                <a:gd name="connsiteX108" fmla="*/ 1032449 w 1033465"/>
                <a:gd name="connsiteY108" fmla="*/ 402711 h 838042"/>
                <a:gd name="connsiteX109" fmla="*/ 1020514 w 1033465"/>
                <a:gd name="connsiteY109" fmla="*/ 377797 h 838042"/>
                <a:gd name="connsiteX110" fmla="*/ 964889 w 1033465"/>
                <a:gd name="connsiteY110" fmla="*/ 358029 h 838042"/>
                <a:gd name="connsiteX111" fmla="*/ 827747 w 1033465"/>
                <a:gd name="connsiteY111" fmla="*/ 357874 h 838042"/>
                <a:gd name="connsiteX112" fmla="*/ 755811 w 1033465"/>
                <a:gd name="connsiteY112" fmla="*/ 361702 h 838042"/>
                <a:gd name="connsiteX113" fmla="*/ 671537 w 1033465"/>
                <a:gd name="connsiteY113" fmla="*/ 369304 h 838042"/>
                <a:gd name="connsiteX114" fmla="*/ 644867 w 1033465"/>
                <a:gd name="connsiteY114" fmla="*/ 338824 h 838042"/>
                <a:gd name="connsiteX115" fmla="*/ 676403 w 1033465"/>
                <a:gd name="connsiteY115" fmla="*/ 304962 h 838042"/>
                <a:gd name="connsiteX116" fmla="*/ 707732 w 1033465"/>
                <a:gd name="connsiteY116" fmla="*/ 283579 h 838042"/>
                <a:gd name="connsiteX117" fmla="*/ 743927 w 1033465"/>
                <a:gd name="connsiteY117" fmla="*/ 251194 h 838042"/>
                <a:gd name="connsiteX118" fmla="*/ 783019 w 1033465"/>
                <a:gd name="connsiteY118" fmla="*/ 213846 h 838042"/>
                <a:gd name="connsiteX119" fmla="*/ 746401 w 1033465"/>
                <a:gd name="connsiteY119" fmla="*/ 201789 h 838042"/>
                <a:gd name="connsiteX120" fmla="*/ 694397 w 1033465"/>
                <a:gd name="connsiteY120" fmla="*/ 226429 h 838042"/>
                <a:gd name="connsiteX121" fmla="*/ 656678 w 1033465"/>
                <a:gd name="connsiteY121" fmla="*/ 257626 h 838042"/>
                <a:gd name="connsiteX122" fmla="*/ 616001 w 1033465"/>
                <a:gd name="connsiteY122" fmla="*/ 286712 h 838042"/>
                <a:gd name="connsiteX123" fmla="*/ 564857 w 1033465"/>
                <a:gd name="connsiteY123" fmla="*/ 287389 h 838042"/>
                <a:gd name="connsiteX124" fmla="*/ 530567 w 1033465"/>
                <a:gd name="connsiteY124" fmla="*/ 274054 h 838042"/>
                <a:gd name="connsiteX125" fmla="*/ 507707 w 1033465"/>
                <a:gd name="connsiteY125" fmla="*/ 235954 h 838042"/>
                <a:gd name="connsiteX126" fmla="*/ 509612 w 1033465"/>
                <a:gd name="connsiteY126" fmla="*/ 171184 h 838042"/>
                <a:gd name="connsiteX127" fmla="*/ 508314 w 1033465"/>
                <a:gd name="connsiteY127" fmla="*/ 73485 h 838042"/>
                <a:gd name="connsiteX128" fmla="*/ 454116 w 1033465"/>
                <a:gd name="connsiteY128" fmla="*/ 11248 h 838042"/>
                <a:gd name="connsiteX129" fmla="*/ 442470 w 1033465"/>
                <a:gd name="connsiteY129" fmla="*/ 75864 h 838042"/>
                <a:gd name="connsiteX130" fmla="*/ 439226 w 1033465"/>
                <a:gd name="connsiteY130" fmla="*/ 132660 h 838042"/>
                <a:gd name="connsiteX131" fmla="*/ 436054 w 1033465"/>
                <a:gd name="connsiteY13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36232 w 1033465"/>
                <a:gd name="connsiteY11" fmla="*/ 230239 h 838042"/>
                <a:gd name="connsiteX12" fmla="*/ 119087 w 1033465"/>
                <a:gd name="connsiteY12" fmla="*/ 226429 h 838042"/>
                <a:gd name="connsiteX13" fmla="*/ 113372 w 1033465"/>
                <a:gd name="connsiteY13" fmla="*/ 220714 h 838042"/>
                <a:gd name="connsiteX14" fmla="*/ 103847 w 1033465"/>
                <a:gd name="connsiteY14" fmla="*/ 203569 h 838042"/>
                <a:gd name="connsiteX15" fmla="*/ 86702 w 1033465"/>
                <a:gd name="connsiteY15" fmla="*/ 195949 h 838042"/>
                <a:gd name="connsiteX16" fmla="*/ 80987 w 1033465"/>
                <a:gd name="connsiteY16" fmla="*/ 194044 h 838042"/>
                <a:gd name="connsiteX17" fmla="*/ 61937 w 1033465"/>
                <a:gd name="connsiteY17" fmla="*/ 197854 h 838042"/>
                <a:gd name="connsiteX18" fmla="*/ 56222 w 1033465"/>
                <a:gd name="connsiteY18" fmla="*/ 201664 h 838042"/>
                <a:gd name="connsiteX19" fmla="*/ 52412 w 1033465"/>
                <a:gd name="connsiteY19" fmla="*/ 207379 h 838042"/>
                <a:gd name="connsiteX20" fmla="*/ 48602 w 1033465"/>
                <a:gd name="connsiteY20" fmla="*/ 218809 h 838042"/>
                <a:gd name="connsiteX21" fmla="*/ 52412 w 1033465"/>
                <a:gd name="connsiteY21" fmla="*/ 256909 h 838042"/>
                <a:gd name="connsiteX22" fmla="*/ 56222 w 1033465"/>
                <a:gd name="connsiteY22" fmla="*/ 262624 h 838042"/>
                <a:gd name="connsiteX23" fmla="*/ 61937 w 1033465"/>
                <a:gd name="connsiteY23" fmla="*/ 266434 h 838042"/>
                <a:gd name="connsiteX24" fmla="*/ 65747 w 1033465"/>
                <a:gd name="connsiteY24" fmla="*/ 272149 h 838042"/>
                <a:gd name="connsiteX25" fmla="*/ 82892 w 1033465"/>
                <a:gd name="connsiteY25" fmla="*/ 281674 h 838042"/>
                <a:gd name="connsiteX26" fmla="*/ 105752 w 1033465"/>
                <a:gd name="connsiteY26" fmla="*/ 283579 h 838042"/>
                <a:gd name="connsiteX27" fmla="*/ 126707 w 1033465"/>
                <a:gd name="connsiteY27" fmla="*/ 289294 h 838042"/>
                <a:gd name="connsiteX28" fmla="*/ 132422 w 1033465"/>
                <a:gd name="connsiteY28" fmla="*/ 291199 h 838042"/>
                <a:gd name="connsiteX29" fmla="*/ 138137 w 1033465"/>
                <a:gd name="connsiteY29" fmla="*/ 296914 h 838042"/>
                <a:gd name="connsiteX30" fmla="*/ 145757 w 1033465"/>
                <a:gd name="connsiteY30" fmla="*/ 298819 h 838042"/>
                <a:gd name="connsiteX31" fmla="*/ 168617 w 1033465"/>
                <a:gd name="connsiteY31" fmla="*/ 302629 h 838042"/>
                <a:gd name="connsiteX32" fmla="*/ 193382 w 1033465"/>
                <a:gd name="connsiteY32" fmla="*/ 308344 h 838042"/>
                <a:gd name="connsiteX33" fmla="*/ 210527 w 1033465"/>
                <a:gd name="connsiteY33" fmla="*/ 314059 h 838042"/>
                <a:gd name="connsiteX34" fmla="*/ 216242 w 1033465"/>
                <a:gd name="connsiteY34" fmla="*/ 315964 h 838042"/>
                <a:gd name="connsiteX35" fmla="*/ 231482 w 1033465"/>
                <a:gd name="connsiteY35" fmla="*/ 319774 h 838042"/>
                <a:gd name="connsiteX36" fmla="*/ 250532 w 1033465"/>
                <a:gd name="connsiteY36" fmla="*/ 325489 h 838042"/>
                <a:gd name="connsiteX37" fmla="*/ 256247 w 1033465"/>
                <a:gd name="connsiteY37" fmla="*/ 329299 h 838042"/>
                <a:gd name="connsiteX38" fmla="*/ 269582 w 1033465"/>
                <a:gd name="connsiteY38" fmla="*/ 344539 h 838042"/>
                <a:gd name="connsiteX39" fmla="*/ 275297 w 1033465"/>
                <a:gd name="connsiteY39" fmla="*/ 363589 h 838042"/>
                <a:gd name="connsiteX40" fmla="*/ 277202 w 1033465"/>
                <a:gd name="connsiteY40" fmla="*/ 369304 h 838042"/>
                <a:gd name="connsiteX41" fmla="*/ 279107 w 1033465"/>
                <a:gd name="connsiteY41" fmla="*/ 375019 h 838042"/>
                <a:gd name="connsiteX42" fmla="*/ 281012 w 1033465"/>
                <a:gd name="connsiteY42" fmla="*/ 399784 h 838042"/>
                <a:gd name="connsiteX43" fmla="*/ 282917 w 1033465"/>
                <a:gd name="connsiteY43" fmla="*/ 405499 h 838042"/>
                <a:gd name="connsiteX44" fmla="*/ 281012 w 1033465"/>
                <a:gd name="connsiteY44" fmla="*/ 424549 h 838042"/>
                <a:gd name="connsiteX45" fmla="*/ 279107 w 1033465"/>
                <a:gd name="connsiteY45" fmla="*/ 434074 h 838042"/>
                <a:gd name="connsiteX46" fmla="*/ 265772 w 1033465"/>
                <a:gd name="connsiteY46" fmla="*/ 447409 h 838042"/>
                <a:gd name="connsiteX47" fmla="*/ 254342 w 1033465"/>
                <a:gd name="connsiteY47" fmla="*/ 455029 h 838042"/>
                <a:gd name="connsiteX48" fmla="*/ 242912 w 1033465"/>
                <a:gd name="connsiteY48" fmla="*/ 458839 h 838042"/>
                <a:gd name="connsiteX49" fmla="*/ 128612 w 1033465"/>
                <a:gd name="connsiteY49" fmla="*/ 458839 h 838042"/>
                <a:gd name="connsiteX50" fmla="*/ 122897 w 1033465"/>
                <a:gd name="connsiteY50" fmla="*/ 460744 h 838042"/>
                <a:gd name="connsiteX51" fmla="*/ 107657 w 1033465"/>
                <a:gd name="connsiteY51" fmla="*/ 462649 h 838042"/>
                <a:gd name="connsiteX52" fmla="*/ 90512 w 1033465"/>
                <a:gd name="connsiteY52" fmla="*/ 468364 h 838042"/>
                <a:gd name="connsiteX53" fmla="*/ 84797 w 1033465"/>
                <a:gd name="connsiteY53" fmla="*/ 470269 h 838042"/>
                <a:gd name="connsiteX54" fmla="*/ 79082 w 1033465"/>
                <a:gd name="connsiteY54" fmla="*/ 474079 h 838042"/>
                <a:gd name="connsiteX55" fmla="*/ 67652 w 1033465"/>
                <a:gd name="connsiteY55" fmla="*/ 475984 h 838042"/>
                <a:gd name="connsiteX56" fmla="*/ 29552 w 1033465"/>
                <a:gd name="connsiteY56" fmla="*/ 477889 h 838042"/>
                <a:gd name="connsiteX57" fmla="*/ 18122 w 1033465"/>
                <a:gd name="connsiteY57" fmla="*/ 483604 h 838042"/>
                <a:gd name="connsiteX58" fmla="*/ 8597 w 1033465"/>
                <a:gd name="connsiteY58" fmla="*/ 493129 h 838042"/>
                <a:gd name="connsiteX59" fmla="*/ 6692 w 1033465"/>
                <a:gd name="connsiteY59" fmla="*/ 498844 h 838042"/>
                <a:gd name="connsiteX60" fmla="*/ 2882 w 1033465"/>
                <a:gd name="connsiteY60" fmla="*/ 504559 h 838042"/>
                <a:gd name="connsiteX61" fmla="*/ 14312 w 1033465"/>
                <a:gd name="connsiteY61" fmla="*/ 540754 h 838042"/>
                <a:gd name="connsiteX62" fmla="*/ 147662 w 1033465"/>
                <a:gd name="connsiteY62" fmla="*/ 540754 h 838042"/>
                <a:gd name="connsiteX63" fmla="*/ 155282 w 1033465"/>
                <a:gd name="connsiteY63" fmla="*/ 538849 h 838042"/>
                <a:gd name="connsiteX64" fmla="*/ 305777 w 1033465"/>
                <a:gd name="connsiteY64" fmla="*/ 533134 h 838042"/>
                <a:gd name="connsiteX65" fmla="*/ 321017 w 1033465"/>
                <a:gd name="connsiteY65" fmla="*/ 540754 h 838042"/>
                <a:gd name="connsiteX66" fmla="*/ 332447 w 1033465"/>
                <a:gd name="connsiteY66" fmla="*/ 546469 h 838042"/>
                <a:gd name="connsiteX67" fmla="*/ 336257 w 1033465"/>
                <a:gd name="connsiteY67" fmla="*/ 552184 h 838042"/>
                <a:gd name="connsiteX68" fmla="*/ 341972 w 1033465"/>
                <a:gd name="connsiteY68" fmla="*/ 554089 h 838042"/>
                <a:gd name="connsiteX69" fmla="*/ 353402 w 1033465"/>
                <a:gd name="connsiteY69" fmla="*/ 561709 h 838042"/>
                <a:gd name="connsiteX70" fmla="*/ 359117 w 1033465"/>
                <a:gd name="connsiteY70" fmla="*/ 565519 h 838042"/>
                <a:gd name="connsiteX71" fmla="*/ 362927 w 1033465"/>
                <a:gd name="connsiteY71" fmla="*/ 571234 h 838042"/>
                <a:gd name="connsiteX72" fmla="*/ 368642 w 1033465"/>
                <a:gd name="connsiteY72" fmla="*/ 582664 h 838042"/>
                <a:gd name="connsiteX73" fmla="*/ 364832 w 1033465"/>
                <a:gd name="connsiteY73" fmla="*/ 609334 h 838042"/>
                <a:gd name="connsiteX74" fmla="*/ 361022 w 1033465"/>
                <a:gd name="connsiteY74" fmla="*/ 615049 h 838042"/>
                <a:gd name="connsiteX75" fmla="*/ 359117 w 1033465"/>
                <a:gd name="connsiteY75" fmla="*/ 620764 h 838042"/>
                <a:gd name="connsiteX76" fmla="*/ 355307 w 1033465"/>
                <a:gd name="connsiteY76" fmla="*/ 626479 h 838042"/>
                <a:gd name="connsiteX77" fmla="*/ 353402 w 1033465"/>
                <a:gd name="connsiteY77" fmla="*/ 632194 h 838042"/>
                <a:gd name="connsiteX78" fmla="*/ 349592 w 1033465"/>
                <a:gd name="connsiteY78" fmla="*/ 637909 h 838042"/>
                <a:gd name="connsiteX79" fmla="*/ 332447 w 1033465"/>
                <a:gd name="connsiteY79" fmla="*/ 704584 h 838042"/>
                <a:gd name="connsiteX80" fmla="*/ 330542 w 1033465"/>
                <a:gd name="connsiteY80" fmla="*/ 756019 h 838042"/>
                <a:gd name="connsiteX81" fmla="*/ 332447 w 1033465"/>
                <a:gd name="connsiteY81" fmla="*/ 780784 h 838042"/>
                <a:gd name="connsiteX82" fmla="*/ 334352 w 1033465"/>
                <a:gd name="connsiteY82" fmla="*/ 786499 h 838042"/>
                <a:gd name="connsiteX83" fmla="*/ 338162 w 1033465"/>
                <a:gd name="connsiteY83" fmla="*/ 790309 h 838042"/>
                <a:gd name="connsiteX84" fmla="*/ 366737 w 1033465"/>
                <a:gd name="connsiteY84" fmla="*/ 836029 h 838042"/>
                <a:gd name="connsiteX85" fmla="*/ 389597 w 1033465"/>
                <a:gd name="connsiteY85" fmla="*/ 837934 h 838042"/>
                <a:gd name="connsiteX86" fmla="*/ 397407 w 1033465"/>
                <a:gd name="connsiteY86" fmla="*/ 833530 h 838042"/>
                <a:gd name="connsiteX87" fmla="*/ 402932 w 1033465"/>
                <a:gd name="connsiteY87" fmla="*/ 784594 h 838042"/>
                <a:gd name="connsiteX88" fmla="*/ 406742 w 1033465"/>
                <a:gd name="connsiteY88" fmla="*/ 727444 h 838042"/>
                <a:gd name="connsiteX89" fmla="*/ 423887 w 1033465"/>
                <a:gd name="connsiteY89" fmla="*/ 672199 h 838042"/>
                <a:gd name="connsiteX90" fmla="*/ 429602 w 1033465"/>
                <a:gd name="connsiteY90" fmla="*/ 658864 h 838042"/>
                <a:gd name="connsiteX91" fmla="*/ 444084 w 1033465"/>
                <a:gd name="connsiteY91" fmla="*/ 626947 h 838042"/>
                <a:gd name="connsiteX92" fmla="*/ 464289 w 1033465"/>
                <a:gd name="connsiteY92" fmla="*/ 600072 h 838042"/>
                <a:gd name="connsiteX93" fmla="*/ 523510 w 1033465"/>
                <a:gd name="connsiteY93" fmla="*/ 565123 h 838042"/>
                <a:gd name="connsiteX94" fmla="*/ 599348 w 1033465"/>
                <a:gd name="connsiteY94" fmla="*/ 550915 h 838042"/>
                <a:gd name="connsiteX95" fmla="*/ 707801 w 1033465"/>
                <a:gd name="connsiteY95" fmla="*/ 612819 h 838042"/>
                <a:gd name="connsiteX96" fmla="*/ 780122 w 1033465"/>
                <a:gd name="connsiteY96" fmla="*/ 656959 h 838042"/>
                <a:gd name="connsiteX97" fmla="*/ 804887 w 1033465"/>
                <a:gd name="connsiteY97" fmla="*/ 632194 h 838042"/>
                <a:gd name="connsiteX98" fmla="*/ 801077 w 1033465"/>
                <a:gd name="connsiteY98" fmla="*/ 601714 h 838042"/>
                <a:gd name="connsiteX99" fmla="*/ 762796 w 1033465"/>
                <a:gd name="connsiteY99" fmla="*/ 562523 h 838042"/>
                <a:gd name="connsiteX100" fmla="*/ 650582 w 1033465"/>
                <a:gd name="connsiteY100" fmla="*/ 479794 h 838042"/>
                <a:gd name="connsiteX101" fmla="*/ 646772 w 1033465"/>
                <a:gd name="connsiteY101" fmla="*/ 462649 h 838042"/>
                <a:gd name="connsiteX102" fmla="*/ 658202 w 1033465"/>
                <a:gd name="connsiteY102" fmla="*/ 426454 h 838042"/>
                <a:gd name="connsiteX103" fmla="*/ 726782 w 1033465"/>
                <a:gd name="connsiteY103" fmla="*/ 405499 h 838042"/>
                <a:gd name="connsiteX104" fmla="*/ 813738 w 1033465"/>
                <a:gd name="connsiteY104" fmla="*/ 406906 h 838042"/>
                <a:gd name="connsiteX105" fmla="*/ 906231 w 1033465"/>
                <a:gd name="connsiteY105" fmla="*/ 417646 h 838042"/>
                <a:gd name="connsiteX106" fmla="*/ 1002290 w 1033465"/>
                <a:gd name="connsiteY106" fmla="*/ 426835 h 838042"/>
                <a:gd name="connsiteX107" fmla="*/ 1032449 w 1033465"/>
                <a:gd name="connsiteY107" fmla="*/ 402711 h 838042"/>
                <a:gd name="connsiteX108" fmla="*/ 1020514 w 1033465"/>
                <a:gd name="connsiteY108" fmla="*/ 377797 h 838042"/>
                <a:gd name="connsiteX109" fmla="*/ 964889 w 1033465"/>
                <a:gd name="connsiteY109" fmla="*/ 358029 h 838042"/>
                <a:gd name="connsiteX110" fmla="*/ 827747 w 1033465"/>
                <a:gd name="connsiteY110" fmla="*/ 357874 h 838042"/>
                <a:gd name="connsiteX111" fmla="*/ 755811 w 1033465"/>
                <a:gd name="connsiteY111" fmla="*/ 361702 h 838042"/>
                <a:gd name="connsiteX112" fmla="*/ 671537 w 1033465"/>
                <a:gd name="connsiteY112" fmla="*/ 369304 h 838042"/>
                <a:gd name="connsiteX113" fmla="*/ 644867 w 1033465"/>
                <a:gd name="connsiteY113" fmla="*/ 338824 h 838042"/>
                <a:gd name="connsiteX114" fmla="*/ 676403 w 1033465"/>
                <a:gd name="connsiteY114" fmla="*/ 304962 h 838042"/>
                <a:gd name="connsiteX115" fmla="*/ 707732 w 1033465"/>
                <a:gd name="connsiteY115" fmla="*/ 283579 h 838042"/>
                <a:gd name="connsiteX116" fmla="*/ 743927 w 1033465"/>
                <a:gd name="connsiteY116" fmla="*/ 251194 h 838042"/>
                <a:gd name="connsiteX117" fmla="*/ 783019 w 1033465"/>
                <a:gd name="connsiteY117" fmla="*/ 213846 h 838042"/>
                <a:gd name="connsiteX118" fmla="*/ 746401 w 1033465"/>
                <a:gd name="connsiteY118" fmla="*/ 201789 h 838042"/>
                <a:gd name="connsiteX119" fmla="*/ 694397 w 1033465"/>
                <a:gd name="connsiteY119" fmla="*/ 226429 h 838042"/>
                <a:gd name="connsiteX120" fmla="*/ 656678 w 1033465"/>
                <a:gd name="connsiteY120" fmla="*/ 257626 h 838042"/>
                <a:gd name="connsiteX121" fmla="*/ 616001 w 1033465"/>
                <a:gd name="connsiteY121" fmla="*/ 286712 h 838042"/>
                <a:gd name="connsiteX122" fmla="*/ 564857 w 1033465"/>
                <a:gd name="connsiteY122" fmla="*/ 287389 h 838042"/>
                <a:gd name="connsiteX123" fmla="*/ 530567 w 1033465"/>
                <a:gd name="connsiteY123" fmla="*/ 274054 h 838042"/>
                <a:gd name="connsiteX124" fmla="*/ 507707 w 1033465"/>
                <a:gd name="connsiteY124" fmla="*/ 235954 h 838042"/>
                <a:gd name="connsiteX125" fmla="*/ 509612 w 1033465"/>
                <a:gd name="connsiteY125" fmla="*/ 171184 h 838042"/>
                <a:gd name="connsiteX126" fmla="*/ 508314 w 1033465"/>
                <a:gd name="connsiteY126" fmla="*/ 73485 h 838042"/>
                <a:gd name="connsiteX127" fmla="*/ 454116 w 1033465"/>
                <a:gd name="connsiteY127" fmla="*/ 11248 h 838042"/>
                <a:gd name="connsiteX128" fmla="*/ 442470 w 1033465"/>
                <a:gd name="connsiteY128" fmla="*/ 75864 h 838042"/>
                <a:gd name="connsiteX129" fmla="*/ 439226 w 1033465"/>
                <a:gd name="connsiteY129" fmla="*/ 132660 h 838042"/>
                <a:gd name="connsiteX130" fmla="*/ 436054 w 1033465"/>
                <a:gd name="connsiteY13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36232 w 1033465"/>
                <a:gd name="connsiteY11" fmla="*/ 230239 h 838042"/>
                <a:gd name="connsiteX12" fmla="*/ 119087 w 1033465"/>
                <a:gd name="connsiteY12" fmla="*/ 226429 h 838042"/>
                <a:gd name="connsiteX13" fmla="*/ 113372 w 1033465"/>
                <a:gd name="connsiteY13" fmla="*/ 220714 h 838042"/>
                <a:gd name="connsiteX14" fmla="*/ 103847 w 1033465"/>
                <a:gd name="connsiteY14" fmla="*/ 203569 h 838042"/>
                <a:gd name="connsiteX15" fmla="*/ 86702 w 1033465"/>
                <a:gd name="connsiteY15" fmla="*/ 195949 h 838042"/>
                <a:gd name="connsiteX16" fmla="*/ 80987 w 1033465"/>
                <a:gd name="connsiteY16" fmla="*/ 194044 h 838042"/>
                <a:gd name="connsiteX17" fmla="*/ 61937 w 1033465"/>
                <a:gd name="connsiteY17" fmla="*/ 197854 h 838042"/>
                <a:gd name="connsiteX18" fmla="*/ 56222 w 1033465"/>
                <a:gd name="connsiteY18" fmla="*/ 201664 h 838042"/>
                <a:gd name="connsiteX19" fmla="*/ 52412 w 1033465"/>
                <a:gd name="connsiteY19" fmla="*/ 207379 h 838042"/>
                <a:gd name="connsiteX20" fmla="*/ 48602 w 1033465"/>
                <a:gd name="connsiteY20" fmla="*/ 218809 h 838042"/>
                <a:gd name="connsiteX21" fmla="*/ 52412 w 1033465"/>
                <a:gd name="connsiteY21" fmla="*/ 256909 h 838042"/>
                <a:gd name="connsiteX22" fmla="*/ 56222 w 1033465"/>
                <a:gd name="connsiteY22" fmla="*/ 262624 h 838042"/>
                <a:gd name="connsiteX23" fmla="*/ 61937 w 1033465"/>
                <a:gd name="connsiteY23" fmla="*/ 266434 h 838042"/>
                <a:gd name="connsiteX24" fmla="*/ 65747 w 1033465"/>
                <a:gd name="connsiteY24" fmla="*/ 272149 h 838042"/>
                <a:gd name="connsiteX25" fmla="*/ 82892 w 1033465"/>
                <a:gd name="connsiteY25" fmla="*/ 281674 h 838042"/>
                <a:gd name="connsiteX26" fmla="*/ 105752 w 1033465"/>
                <a:gd name="connsiteY26" fmla="*/ 283579 h 838042"/>
                <a:gd name="connsiteX27" fmla="*/ 126707 w 1033465"/>
                <a:gd name="connsiteY27" fmla="*/ 289294 h 838042"/>
                <a:gd name="connsiteX28" fmla="*/ 132422 w 1033465"/>
                <a:gd name="connsiteY28" fmla="*/ 291199 h 838042"/>
                <a:gd name="connsiteX29" fmla="*/ 138137 w 1033465"/>
                <a:gd name="connsiteY29" fmla="*/ 296914 h 838042"/>
                <a:gd name="connsiteX30" fmla="*/ 145757 w 1033465"/>
                <a:gd name="connsiteY30" fmla="*/ 298819 h 838042"/>
                <a:gd name="connsiteX31" fmla="*/ 168617 w 1033465"/>
                <a:gd name="connsiteY31" fmla="*/ 302629 h 838042"/>
                <a:gd name="connsiteX32" fmla="*/ 193382 w 1033465"/>
                <a:gd name="connsiteY32" fmla="*/ 308344 h 838042"/>
                <a:gd name="connsiteX33" fmla="*/ 210527 w 1033465"/>
                <a:gd name="connsiteY33" fmla="*/ 314059 h 838042"/>
                <a:gd name="connsiteX34" fmla="*/ 216242 w 1033465"/>
                <a:gd name="connsiteY34" fmla="*/ 315964 h 838042"/>
                <a:gd name="connsiteX35" fmla="*/ 231482 w 1033465"/>
                <a:gd name="connsiteY35" fmla="*/ 319774 h 838042"/>
                <a:gd name="connsiteX36" fmla="*/ 250532 w 1033465"/>
                <a:gd name="connsiteY36" fmla="*/ 325489 h 838042"/>
                <a:gd name="connsiteX37" fmla="*/ 256247 w 1033465"/>
                <a:gd name="connsiteY37" fmla="*/ 329299 h 838042"/>
                <a:gd name="connsiteX38" fmla="*/ 269582 w 1033465"/>
                <a:gd name="connsiteY38" fmla="*/ 344539 h 838042"/>
                <a:gd name="connsiteX39" fmla="*/ 275297 w 1033465"/>
                <a:gd name="connsiteY39" fmla="*/ 363589 h 838042"/>
                <a:gd name="connsiteX40" fmla="*/ 277202 w 1033465"/>
                <a:gd name="connsiteY40" fmla="*/ 369304 h 838042"/>
                <a:gd name="connsiteX41" fmla="*/ 279107 w 1033465"/>
                <a:gd name="connsiteY41" fmla="*/ 375019 h 838042"/>
                <a:gd name="connsiteX42" fmla="*/ 281012 w 1033465"/>
                <a:gd name="connsiteY42" fmla="*/ 399784 h 838042"/>
                <a:gd name="connsiteX43" fmla="*/ 282917 w 1033465"/>
                <a:gd name="connsiteY43" fmla="*/ 405499 h 838042"/>
                <a:gd name="connsiteX44" fmla="*/ 281012 w 1033465"/>
                <a:gd name="connsiteY44" fmla="*/ 424549 h 838042"/>
                <a:gd name="connsiteX45" fmla="*/ 279107 w 1033465"/>
                <a:gd name="connsiteY45" fmla="*/ 434074 h 838042"/>
                <a:gd name="connsiteX46" fmla="*/ 265772 w 1033465"/>
                <a:gd name="connsiteY46" fmla="*/ 447409 h 838042"/>
                <a:gd name="connsiteX47" fmla="*/ 254342 w 1033465"/>
                <a:gd name="connsiteY47" fmla="*/ 455029 h 838042"/>
                <a:gd name="connsiteX48" fmla="*/ 242912 w 1033465"/>
                <a:gd name="connsiteY48" fmla="*/ 458839 h 838042"/>
                <a:gd name="connsiteX49" fmla="*/ 128612 w 1033465"/>
                <a:gd name="connsiteY49" fmla="*/ 458839 h 838042"/>
                <a:gd name="connsiteX50" fmla="*/ 122897 w 1033465"/>
                <a:gd name="connsiteY50" fmla="*/ 460744 h 838042"/>
                <a:gd name="connsiteX51" fmla="*/ 107657 w 1033465"/>
                <a:gd name="connsiteY51" fmla="*/ 462649 h 838042"/>
                <a:gd name="connsiteX52" fmla="*/ 90512 w 1033465"/>
                <a:gd name="connsiteY52" fmla="*/ 468364 h 838042"/>
                <a:gd name="connsiteX53" fmla="*/ 84797 w 1033465"/>
                <a:gd name="connsiteY53" fmla="*/ 470269 h 838042"/>
                <a:gd name="connsiteX54" fmla="*/ 79082 w 1033465"/>
                <a:gd name="connsiteY54" fmla="*/ 474079 h 838042"/>
                <a:gd name="connsiteX55" fmla="*/ 67652 w 1033465"/>
                <a:gd name="connsiteY55" fmla="*/ 475984 h 838042"/>
                <a:gd name="connsiteX56" fmla="*/ 29552 w 1033465"/>
                <a:gd name="connsiteY56" fmla="*/ 477889 h 838042"/>
                <a:gd name="connsiteX57" fmla="*/ 18122 w 1033465"/>
                <a:gd name="connsiteY57" fmla="*/ 483604 h 838042"/>
                <a:gd name="connsiteX58" fmla="*/ 8597 w 1033465"/>
                <a:gd name="connsiteY58" fmla="*/ 493129 h 838042"/>
                <a:gd name="connsiteX59" fmla="*/ 6692 w 1033465"/>
                <a:gd name="connsiteY59" fmla="*/ 498844 h 838042"/>
                <a:gd name="connsiteX60" fmla="*/ 2882 w 1033465"/>
                <a:gd name="connsiteY60" fmla="*/ 504559 h 838042"/>
                <a:gd name="connsiteX61" fmla="*/ 14312 w 1033465"/>
                <a:gd name="connsiteY61" fmla="*/ 540754 h 838042"/>
                <a:gd name="connsiteX62" fmla="*/ 147662 w 1033465"/>
                <a:gd name="connsiteY62" fmla="*/ 540754 h 838042"/>
                <a:gd name="connsiteX63" fmla="*/ 155282 w 1033465"/>
                <a:gd name="connsiteY63" fmla="*/ 538849 h 838042"/>
                <a:gd name="connsiteX64" fmla="*/ 305777 w 1033465"/>
                <a:gd name="connsiteY64" fmla="*/ 533134 h 838042"/>
                <a:gd name="connsiteX65" fmla="*/ 321017 w 1033465"/>
                <a:gd name="connsiteY65" fmla="*/ 540754 h 838042"/>
                <a:gd name="connsiteX66" fmla="*/ 332447 w 1033465"/>
                <a:gd name="connsiteY66" fmla="*/ 546469 h 838042"/>
                <a:gd name="connsiteX67" fmla="*/ 336257 w 1033465"/>
                <a:gd name="connsiteY67" fmla="*/ 552184 h 838042"/>
                <a:gd name="connsiteX68" fmla="*/ 341972 w 1033465"/>
                <a:gd name="connsiteY68" fmla="*/ 554089 h 838042"/>
                <a:gd name="connsiteX69" fmla="*/ 353402 w 1033465"/>
                <a:gd name="connsiteY69" fmla="*/ 561709 h 838042"/>
                <a:gd name="connsiteX70" fmla="*/ 359117 w 1033465"/>
                <a:gd name="connsiteY70" fmla="*/ 565519 h 838042"/>
                <a:gd name="connsiteX71" fmla="*/ 362927 w 1033465"/>
                <a:gd name="connsiteY71" fmla="*/ 571234 h 838042"/>
                <a:gd name="connsiteX72" fmla="*/ 368642 w 1033465"/>
                <a:gd name="connsiteY72" fmla="*/ 582664 h 838042"/>
                <a:gd name="connsiteX73" fmla="*/ 364832 w 1033465"/>
                <a:gd name="connsiteY73" fmla="*/ 609334 h 838042"/>
                <a:gd name="connsiteX74" fmla="*/ 361022 w 1033465"/>
                <a:gd name="connsiteY74" fmla="*/ 615049 h 838042"/>
                <a:gd name="connsiteX75" fmla="*/ 359117 w 1033465"/>
                <a:gd name="connsiteY75" fmla="*/ 620764 h 838042"/>
                <a:gd name="connsiteX76" fmla="*/ 355307 w 1033465"/>
                <a:gd name="connsiteY76" fmla="*/ 626479 h 838042"/>
                <a:gd name="connsiteX77" fmla="*/ 353402 w 1033465"/>
                <a:gd name="connsiteY77" fmla="*/ 632194 h 838042"/>
                <a:gd name="connsiteX78" fmla="*/ 349592 w 1033465"/>
                <a:gd name="connsiteY78" fmla="*/ 637909 h 838042"/>
                <a:gd name="connsiteX79" fmla="*/ 332447 w 1033465"/>
                <a:gd name="connsiteY79" fmla="*/ 704584 h 838042"/>
                <a:gd name="connsiteX80" fmla="*/ 330542 w 1033465"/>
                <a:gd name="connsiteY80" fmla="*/ 756019 h 838042"/>
                <a:gd name="connsiteX81" fmla="*/ 332447 w 1033465"/>
                <a:gd name="connsiteY81" fmla="*/ 780784 h 838042"/>
                <a:gd name="connsiteX82" fmla="*/ 334352 w 1033465"/>
                <a:gd name="connsiteY82" fmla="*/ 786499 h 838042"/>
                <a:gd name="connsiteX83" fmla="*/ 338162 w 1033465"/>
                <a:gd name="connsiteY83" fmla="*/ 790309 h 838042"/>
                <a:gd name="connsiteX84" fmla="*/ 366737 w 1033465"/>
                <a:gd name="connsiteY84" fmla="*/ 836029 h 838042"/>
                <a:gd name="connsiteX85" fmla="*/ 389597 w 1033465"/>
                <a:gd name="connsiteY85" fmla="*/ 837934 h 838042"/>
                <a:gd name="connsiteX86" fmla="*/ 397407 w 1033465"/>
                <a:gd name="connsiteY86" fmla="*/ 833530 h 838042"/>
                <a:gd name="connsiteX87" fmla="*/ 402932 w 1033465"/>
                <a:gd name="connsiteY87" fmla="*/ 784594 h 838042"/>
                <a:gd name="connsiteX88" fmla="*/ 406742 w 1033465"/>
                <a:gd name="connsiteY88" fmla="*/ 727444 h 838042"/>
                <a:gd name="connsiteX89" fmla="*/ 423887 w 1033465"/>
                <a:gd name="connsiteY89" fmla="*/ 672199 h 838042"/>
                <a:gd name="connsiteX90" fmla="*/ 429602 w 1033465"/>
                <a:gd name="connsiteY90" fmla="*/ 658864 h 838042"/>
                <a:gd name="connsiteX91" fmla="*/ 444084 w 1033465"/>
                <a:gd name="connsiteY91" fmla="*/ 626947 h 838042"/>
                <a:gd name="connsiteX92" fmla="*/ 464289 w 1033465"/>
                <a:gd name="connsiteY92" fmla="*/ 600072 h 838042"/>
                <a:gd name="connsiteX93" fmla="*/ 523510 w 1033465"/>
                <a:gd name="connsiteY93" fmla="*/ 565123 h 838042"/>
                <a:gd name="connsiteX94" fmla="*/ 599348 w 1033465"/>
                <a:gd name="connsiteY94" fmla="*/ 550915 h 838042"/>
                <a:gd name="connsiteX95" fmla="*/ 707801 w 1033465"/>
                <a:gd name="connsiteY95" fmla="*/ 612819 h 838042"/>
                <a:gd name="connsiteX96" fmla="*/ 780122 w 1033465"/>
                <a:gd name="connsiteY96" fmla="*/ 656959 h 838042"/>
                <a:gd name="connsiteX97" fmla="*/ 804887 w 1033465"/>
                <a:gd name="connsiteY97" fmla="*/ 632194 h 838042"/>
                <a:gd name="connsiteX98" fmla="*/ 801077 w 1033465"/>
                <a:gd name="connsiteY98" fmla="*/ 601714 h 838042"/>
                <a:gd name="connsiteX99" fmla="*/ 762796 w 1033465"/>
                <a:gd name="connsiteY99" fmla="*/ 562523 h 838042"/>
                <a:gd name="connsiteX100" fmla="*/ 650582 w 1033465"/>
                <a:gd name="connsiteY100" fmla="*/ 479794 h 838042"/>
                <a:gd name="connsiteX101" fmla="*/ 646772 w 1033465"/>
                <a:gd name="connsiteY101" fmla="*/ 462649 h 838042"/>
                <a:gd name="connsiteX102" fmla="*/ 658202 w 1033465"/>
                <a:gd name="connsiteY102" fmla="*/ 426454 h 838042"/>
                <a:gd name="connsiteX103" fmla="*/ 726782 w 1033465"/>
                <a:gd name="connsiteY103" fmla="*/ 405499 h 838042"/>
                <a:gd name="connsiteX104" fmla="*/ 813738 w 1033465"/>
                <a:gd name="connsiteY104" fmla="*/ 406906 h 838042"/>
                <a:gd name="connsiteX105" fmla="*/ 906231 w 1033465"/>
                <a:gd name="connsiteY105" fmla="*/ 417646 h 838042"/>
                <a:gd name="connsiteX106" fmla="*/ 1002290 w 1033465"/>
                <a:gd name="connsiteY106" fmla="*/ 426835 h 838042"/>
                <a:gd name="connsiteX107" fmla="*/ 1032449 w 1033465"/>
                <a:gd name="connsiteY107" fmla="*/ 402711 h 838042"/>
                <a:gd name="connsiteX108" fmla="*/ 1020514 w 1033465"/>
                <a:gd name="connsiteY108" fmla="*/ 377797 h 838042"/>
                <a:gd name="connsiteX109" fmla="*/ 964889 w 1033465"/>
                <a:gd name="connsiteY109" fmla="*/ 358029 h 838042"/>
                <a:gd name="connsiteX110" fmla="*/ 827747 w 1033465"/>
                <a:gd name="connsiteY110" fmla="*/ 357874 h 838042"/>
                <a:gd name="connsiteX111" fmla="*/ 755811 w 1033465"/>
                <a:gd name="connsiteY111" fmla="*/ 361702 h 838042"/>
                <a:gd name="connsiteX112" fmla="*/ 671537 w 1033465"/>
                <a:gd name="connsiteY112" fmla="*/ 369304 h 838042"/>
                <a:gd name="connsiteX113" fmla="*/ 644867 w 1033465"/>
                <a:gd name="connsiteY113" fmla="*/ 338824 h 838042"/>
                <a:gd name="connsiteX114" fmla="*/ 676403 w 1033465"/>
                <a:gd name="connsiteY114" fmla="*/ 304962 h 838042"/>
                <a:gd name="connsiteX115" fmla="*/ 707732 w 1033465"/>
                <a:gd name="connsiteY115" fmla="*/ 283579 h 838042"/>
                <a:gd name="connsiteX116" fmla="*/ 743927 w 1033465"/>
                <a:gd name="connsiteY116" fmla="*/ 251194 h 838042"/>
                <a:gd name="connsiteX117" fmla="*/ 783019 w 1033465"/>
                <a:gd name="connsiteY117" fmla="*/ 213846 h 838042"/>
                <a:gd name="connsiteX118" fmla="*/ 746401 w 1033465"/>
                <a:gd name="connsiteY118" fmla="*/ 201789 h 838042"/>
                <a:gd name="connsiteX119" fmla="*/ 694397 w 1033465"/>
                <a:gd name="connsiteY119" fmla="*/ 226429 h 838042"/>
                <a:gd name="connsiteX120" fmla="*/ 656678 w 1033465"/>
                <a:gd name="connsiteY120" fmla="*/ 257626 h 838042"/>
                <a:gd name="connsiteX121" fmla="*/ 616001 w 1033465"/>
                <a:gd name="connsiteY121" fmla="*/ 286712 h 838042"/>
                <a:gd name="connsiteX122" fmla="*/ 564857 w 1033465"/>
                <a:gd name="connsiteY122" fmla="*/ 287389 h 838042"/>
                <a:gd name="connsiteX123" fmla="*/ 530567 w 1033465"/>
                <a:gd name="connsiteY123" fmla="*/ 274054 h 838042"/>
                <a:gd name="connsiteX124" fmla="*/ 507707 w 1033465"/>
                <a:gd name="connsiteY124" fmla="*/ 235954 h 838042"/>
                <a:gd name="connsiteX125" fmla="*/ 509612 w 1033465"/>
                <a:gd name="connsiteY125" fmla="*/ 171184 h 838042"/>
                <a:gd name="connsiteX126" fmla="*/ 508314 w 1033465"/>
                <a:gd name="connsiteY126" fmla="*/ 73485 h 838042"/>
                <a:gd name="connsiteX127" fmla="*/ 454116 w 1033465"/>
                <a:gd name="connsiteY127" fmla="*/ 11248 h 838042"/>
                <a:gd name="connsiteX128" fmla="*/ 442470 w 1033465"/>
                <a:gd name="connsiteY128" fmla="*/ 75864 h 838042"/>
                <a:gd name="connsiteX129" fmla="*/ 439226 w 1033465"/>
                <a:gd name="connsiteY129" fmla="*/ 132660 h 838042"/>
                <a:gd name="connsiteX130" fmla="*/ 436054 w 1033465"/>
                <a:gd name="connsiteY13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36232 w 1033465"/>
                <a:gd name="connsiteY11" fmla="*/ 230239 h 838042"/>
                <a:gd name="connsiteX12" fmla="*/ 119087 w 1033465"/>
                <a:gd name="connsiteY12" fmla="*/ 226429 h 838042"/>
                <a:gd name="connsiteX13" fmla="*/ 113372 w 1033465"/>
                <a:gd name="connsiteY13" fmla="*/ 220714 h 838042"/>
                <a:gd name="connsiteX14" fmla="*/ 103847 w 1033465"/>
                <a:gd name="connsiteY14" fmla="*/ 203569 h 838042"/>
                <a:gd name="connsiteX15" fmla="*/ 86702 w 1033465"/>
                <a:gd name="connsiteY15" fmla="*/ 195949 h 838042"/>
                <a:gd name="connsiteX16" fmla="*/ 80987 w 1033465"/>
                <a:gd name="connsiteY16" fmla="*/ 194044 h 838042"/>
                <a:gd name="connsiteX17" fmla="*/ 61937 w 1033465"/>
                <a:gd name="connsiteY17" fmla="*/ 197854 h 838042"/>
                <a:gd name="connsiteX18" fmla="*/ 56222 w 1033465"/>
                <a:gd name="connsiteY18" fmla="*/ 201664 h 838042"/>
                <a:gd name="connsiteX19" fmla="*/ 52412 w 1033465"/>
                <a:gd name="connsiteY19" fmla="*/ 207379 h 838042"/>
                <a:gd name="connsiteX20" fmla="*/ 48602 w 1033465"/>
                <a:gd name="connsiteY20" fmla="*/ 218809 h 838042"/>
                <a:gd name="connsiteX21" fmla="*/ 52412 w 1033465"/>
                <a:gd name="connsiteY21" fmla="*/ 256909 h 838042"/>
                <a:gd name="connsiteX22" fmla="*/ 56222 w 1033465"/>
                <a:gd name="connsiteY22" fmla="*/ 262624 h 838042"/>
                <a:gd name="connsiteX23" fmla="*/ 61937 w 1033465"/>
                <a:gd name="connsiteY23" fmla="*/ 266434 h 838042"/>
                <a:gd name="connsiteX24" fmla="*/ 65747 w 1033465"/>
                <a:gd name="connsiteY24" fmla="*/ 272149 h 838042"/>
                <a:gd name="connsiteX25" fmla="*/ 82892 w 1033465"/>
                <a:gd name="connsiteY25" fmla="*/ 281674 h 838042"/>
                <a:gd name="connsiteX26" fmla="*/ 105752 w 1033465"/>
                <a:gd name="connsiteY26" fmla="*/ 283579 h 838042"/>
                <a:gd name="connsiteX27" fmla="*/ 126707 w 1033465"/>
                <a:gd name="connsiteY27" fmla="*/ 289294 h 838042"/>
                <a:gd name="connsiteX28" fmla="*/ 132422 w 1033465"/>
                <a:gd name="connsiteY28" fmla="*/ 291199 h 838042"/>
                <a:gd name="connsiteX29" fmla="*/ 138137 w 1033465"/>
                <a:gd name="connsiteY29" fmla="*/ 296914 h 838042"/>
                <a:gd name="connsiteX30" fmla="*/ 145757 w 1033465"/>
                <a:gd name="connsiteY30" fmla="*/ 298819 h 838042"/>
                <a:gd name="connsiteX31" fmla="*/ 168617 w 1033465"/>
                <a:gd name="connsiteY31" fmla="*/ 302629 h 838042"/>
                <a:gd name="connsiteX32" fmla="*/ 193382 w 1033465"/>
                <a:gd name="connsiteY32" fmla="*/ 308344 h 838042"/>
                <a:gd name="connsiteX33" fmla="*/ 210527 w 1033465"/>
                <a:gd name="connsiteY33" fmla="*/ 314059 h 838042"/>
                <a:gd name="connsiteX34" fmla="*/ 216242 w 1033465"/>
                <a:gd name="connsiteY34" fmla="*/ 315964 h 838042"/>
                <a:gd name="connsiteX35" fmla="*/ 231482 w 1033465"/>
                <a:gd name="connsiteY35" fmla="*/ 319774 h 838042"/>
                <a:gd name="connsiteX36" fmla="*/ 250532 w 1033465"/>
                <a:gd name="connsiteY36" fmla="*/ 325489 h 838042"/>
                <a:gd name="connsiteX37" fmla="*/ 256247 w 1033465"/>
                <a:gd name="connsiteY37" fmla="*/ 329299 h 838042"/>
                <a:gd name="connsiteX38" fmla="*/ 269582 w 1033465"/>
                <a:gd name="connsiteY38" fmla="*/ 344539 h 838042"/>
                <a:gd name="connsiteX39" fmla="*/ 275297 w 1033465"/>
                <a:gd name="connsiteY39" fmla="*/ 363589 h 838042"/>
                <a:gd name="connsiteX40" fmla="*/ 277202 w 1033465"/>
                <a:gd name="connsiteY40" fmla="*/ 369304 h 838042"/>
                <a:gd name="connsiteX41" fmla="*/ 279107 w 1033465"/>
                <a:gd name="connsiteY41" fmla="*/ 375019 h 838042"/>
                <a:gd name="connsiteX42" fmla="*/ 281012 w 1033465"/>
                <a:gd name="connsiteY42" fmla="*/ 399784 h 838042"/>
                <a:gd name="connsiteX43" fmla="*/ 282917 w 1033465"/>
                <a:gd name="connsiteY43" fmla="*/ 405499 h 838042"/>
                <a:gd name="connsiteX44" fmla="*/ 281012 w 1033465"/>
                <a:gd name="connsiteY44" fmla="*/ 424549 h 838042"/>
                <a:gd name="connsiteX45" fmla="*/ 279107 w 1033465"/>
                <a:gd name="connsiteY45" fmla="*/ 434074 h 838042"/>
                <a:gd name="connsiteX46" fmla="*/ 265772 w 1033465"/>
                <a:gd name="connsiteY46" fmla="*/ 447409 h 838042"/>
                <a:gd name="connsiteX47" fmla="*/ 254342 w 1033465"/>
                <a:gd name="connsiteY47" fmla="*/ 455029 h 838042"/>
                <a:gd name="connsiteX48" fmla="*/ 242912 w 1033465"/>
                <a:gd name="connsiteY48" fmla="*/ 458839 h 838042"/>
                <a:gd name="connsiteX49" fmla="*/ 128612 w 1033465"/>
                <a:gd name="connsiteY49" fmla="*/ 458839 h 838042"/>
                <a:gd name="connsiteX50" fmla="*/ 122897 w 1033465"/>
                <a:gd name="connsiteY50" fmla="*/ 460744 h 838042"/>
                <a:gd name="connsiteX51" fmla="*/ 107657 w 1033465"/>
                <a:gd name="connsiteY51" fmla="*/ 462649 h 838042"/>
                <a:gd name="connsiteX52" fmla="*/ 90512 w 1033465"/>
                <a:gd name="connsiteY52" fmla="*/ 468364 h 838042"/>
                <a:gd name="connsiteX53" fmla="*/ 84797 w 1033465"/>
                <a:gd name="connsiteY53" fmla="*/ 470269 h 838042"/>
                <a:gd name="connsiteX54" fmla="*/ 79082 w 1033465"/>
                <a:gd name="connsiteY54" fmla="*/ 474079 h 838042"/>
                <a:gd name="connsiteX55" fmla="*/ 67652 w 1033465"/>
                <a:gd name="connsiteY55" fmla="*/ 475984 h 838042"/>
                <a:gd name="connsiteX56" fmla="*/ 29552 w 1033465"/>
                <a:gd name="connsiteY56" fmla="*/ 477889 h 838042"/>
                <a:gd name="connsiteX57" fmla="*/ 18122 w 1033465"/>
                <a:gd name="connsiteY57" fmla="*/ 483604 h 838042"/>
                <a:gd name="connsiteX58" fmla="*/ 8597 w 1033465"/>
                <a:gd name="connsiteY58" fmla="*/ 493129 h 838042"/>
                <a:gd name="connsiteX59" fmla="*/ 6692 w 1033465"/>
                <a:gd name="connsiteY59" fmla="*/ 498844 h 838042"/>
                <a:gd name="connsiteX60" fmla="*/ 2882 w 1033465"/>
                <a:gd name="connsiteY60" fmla="*/ 504559 h 838042"/>
                <a:gd name="connsiteX61" fmla="*/ 14312 w 1033465"/>
                <a:gd name="connsiteY61" fmla="*/ 540754 h 838042"/>
                <a:gd name="connsiteX62" fmla="*/ 147662 w 1033465"/>
                <a:gd name="connsiteY62" fmla="*/ 540754 h 838042"/>
                <a:gd name="connsiteX63" fmla="*/ 155282 w 1033465"/>
                <a:gd name="connsiteY63" fmla="*/ 538849 h 838042"/>
                <a:gd name="connsiteX64" fmla="*/ 305777 w 1033465"/>
                <a:gd name="connsiteY64" fmla="*/ 533134 h 838042"/>
                <a:gd name="connsiteX65" fmla="*/ 321017 w 1033465"/>
                <a:gd name="connsiteY65" fmla="*/ 540754 h 838042"/>
                <a:gd name="connsiteX66" fmla="*/ 332447 w 1033465"/>
                <a:gd name="connsiteY66" fmla="*/ 546469 h 838042"/>
                <a:gd name="connsiteX67" fmla="*/ 336257 w 1033465"/>
                <a:gd name="connsiteY67" fmla="*/ 552184 h 838042"/>
                <a:gd name="connsiteX68" fmla="*/ 341972 w 1033465"/>
                <a:gd name="connsiteY68" fmla="*/ 554089 h 838042"/>
                <a:gd name="connsiteX69" fmla="*/ 353402 w 1033465"/>
                <a:gd name="connsiteY69" fmla="*/ 561709 h 838042"/>
                <a:gd name="connsiteX70" fmla="*/ 359117 w 1033465"/>
                <a:gd name="connsiteY70" fmla="*/ 565519 h 838042"/>
                <a:gd name="connsiteX71" fmla="*/ 362927 w 1033465"/>
                <a:gd name="connsiteY71" fmla="*/ 571234 h 838042"/>
                <a:gd name="connsiteX72" fmla="*/ 368642 w 1033465"/>
                <a:gd name="connsiteY72" fmla="*/ 582664 h 838042"/>
                <a:gd name="connsiteX73" fmla="*/ 364832 w 1033465"/>
                <a:gd name="connsiteY73" fmla="*/ 609334 h 838042"/>
                <a:gd name="connsiteX74" fmla="*/ 361022 w 1033465"/>
                <a:gd name="connsiteY74" fmla="*/ 615049 h 838042"/>
                <a:gd name="connsiteX75" fmla="*/ 359117 w 1033465"/>
                <a:gd name="connsiteY75" fmla="*/ 620764 h 838042"/>
                <a:gd name="connsiteX76" fmla="*/ 355307 w 1033465"/>
                <a:gd name="connsiteY76" fmla="*/ 626479 h 838042"/>
                <a:gd name="connsiteX77" fmla="*/ 353402 w 1033465"/>
                <a:gd name="connsiteY77" fmla="*/ 632194 h 838042"/>
                <a:gd name="connsiteX78" fmla="*/ 349592 w 1033465"/>
                <a:gd name="connsiteY78" fmla="*/ 637909 h 838042"/>
                <a:gd name="connsiteX79" fmla="*/ 332447 w 1033465"/>
                <a:gd name="connsiteY79" fmla="*/ 704584 h 838042"/>
                <a:gd name="connsiteX80" fmla="*/ 330542 w 1033465"/>
                <a:gd name="connsiteY80" fmla="*/ 756019 h 838042"/>
                <a:gd name="connsiteX81" fmla="*/ 332447 w 1033465"/>
                <a:gd name="connsiteY81" fmla="*/ 780784 h 838042"/>
                <a:gd name="connsiteX82" fmla="*/ 334352 w 1033465"/>
                <a:gd name="connsiteY82" fmla="*/ 786499 h 838042"/>
                <a:gd name="connsiteX83" fmla="*/ 338162 w 1033465"/>
                <a:gd name="connsiteY83" fmla="*/ 790309 h 838042"/>
                <a:gd name="connsiteX84" fmla="*/ 366737 w 1033465"/>
                <a:gd name="connsiteY84" fmla="*/ 836029 h 838042"/>
                <a:gd name="connsiteX85" fmla="*/ 389597 w 1033465"/>
                <a:gd name="connsiteY85" fmla="*/ 837934 h 838042"/>
                <a:gd name="connsiteX86" fmla="*/ 397407 w 1033465"/>
                <a:gd name="connsiteY86" fmla="*/ 833530 h 838042"/>
                <a:gd name="connsiteX87" fmla="*/ 402932 w 1033465"/>
                <a:gd name="connsiteY87" fmla="*/ 784594 h 838042"/>
                <a:gd name="connsiteX88" fmla="*/ 406742 w 1033465"/>
                <a:gd name="connsiteY88" fmla="*/ 727444 h 838042"/>
                <a:gd name="connsiteX89" fmla="*/ 423887 w 1033465"/>
                <a:gd name="connsiteY89" fmla="*/ 672199 h 838042"/>
                <a:gd name="connsiteX90" fmla="*/ 429602 w 1033465"/>
                <a:gd name="connsiteY90" fmla="*/ 658864 h 838042"/>
                <a:gd name="connsiteX91" fmla="*/ 444084 w 1033465"/>
                <a:gd name="connsiteY91" fmla="*/ 626947 h 838042"/>
                <a:gd name="connsiteX92" fmla="*/ 464289 w 1033465"/>
                <a:gd name="connsiteY92" fmla="*/ 600072 h 838042"/>
                <a:gd name="connsiteX93" fmla="*/ 523510 w 1033465"/>
                <a:gd name="connsiteY93" fmla="*/ 565123 h 838042"/>
                <a:gd name="connsiteX94" fmla="*/ 599348 w 1033465"/>
                <a:gd name="connsiteY94" fmla="*/ 550915 h 838042"/>
                <a:gd name="connsiteX95" fmla="*/ 707801 w 1033465"/>
                <a:gd name="connsiteY95" fmla="*/ 612819 h 838042"/>
                <a:gd name="connsiteX96" fmla="*/ 780122 w 1033465"/>
                <a:gd name="connsiteY96" fmla="*/ 656959 h 838042"/>
                <a:gd name="connsiteX97" fmla="*/ 804887 w 1033465"/>
                <a:gd name="connsiteY97" fmla="*/ 632194 h 838042"/>
                <a:gd name="connsiteX98" fmla="*/ 801077 w 1033465"/>
                <a:gd name="connsiteY98" fmla="*/ 601714 h 838042"/>
                <a:gd name="connsiteX99" fmla="*/ 762796 w 1033465"/>
                <a:gd name="connsiteY99" fmla="*/ 562523 h 838042"/>
                <a:gd name="connsiteX100" fmla="*/ 650582 w 1033465"/>
                <a:gd name="connsiteY100" fmla="*/ 479794 h 838042"/>
                <a:gd name="connsiteX101" fmla="*/ 646772 w 1033465"/>
                <a:gd name="connsiteY101" fmla="*/ 462649 h 838042"/>
                <a:gd name="connsiteX102" fmla="*/ 658202 w 1033465"/>
                <a:gd name="connsiteY102" fmla="*/ 426454 h 838042"/>
                <a:gd name="connsiteX103" fmla="*/ 726782 w 1033465"/>
                <a:gd name="connsiteY103" fmla="*/ 405499 h 838042"/>
                <a:gd name="connsiteX104" fmla="*/ 813738 w 1033465"/>
                <a:gd name="connsiteY104" fmla="*/ 406906 h 838042"/>
                <a:gd name="connsiteX105" fmla="*/ 906231 w 1033465"/>
                <a:gd name="connsiteY105" fmla="*/ 417646 h 838042"/>
                <a:gd name="connsiteX106" fmla="*/ 1002290 w 1033465"/>
                <a:gd name="connsiteY106" fmla="*/ 426835 h 838042"/>
                <a:gd name="connsiteX107" fmla="*/ 1032449 w 1033465"/>
                <a:gd name="connsiteY107" fmla="*/ 402711 h 838042"/>
                <a:gd name="connsiteX108" fmla="*/ 1020514 w 1033465"/>
                <a:gd name="connsiteY108" fmla="*/ 377797 h 838042"/>
                <a:gd name="connsiteX109" fmla="*/ 964889 w 1033465"/>
                <a:gd name="connsiteY109" fmla="*/ 358029 h 838042"/>
                <a:gd name="connsiteX110" fmla="*/ 827747 w 1033465"/>
                <a:gd name="connsiteY110" fmla="*/ 357874 h 838042"/>
                <a:gd name="connsiteX111" fmla="*/ 755811 w 1033465"/>
                <a:gd name="connsiteY111" fmla="*/ 361702 h 838042"/>
                <a:gd name="connsiteX112" fmla="*/ 671537 w 1033465"/>
                <a:gd name="connsiteY112" fmla="*/ 369304 h 838042"/>
                <a:gd name="connsiteX113" fmla="*/ 644867 w 1033465"/>
                <a:gd name="connsiteY113" fmla="*/ 338824 h 838042"/>
                <a:gd name="connsiteX114" fmla="*/ 676403 w 1033465"/>
                <a:gd name="connsiteY114" fmla="*/ 304962 h 838042"/>
                <a:gd name="connsiteX115" fmla="*/ 707732 w 1033465"/>
                <a:gd name="connsiteY115" fmla="*/ 283579 h 838042"/>
                <a:gd name="connsiteX116" fmla="*/ 743927 w 1033465"/>
                <a:gd name="connsiteY116" fmla="*/ 251194 h 838042"/>
                <a:gd name="connsiteX117" fmla="*/ 783019 w 1033465"/>
                <a:gd name="connsiteY117" fmla="*/ 213846 h 838042"/>
                <a:gd name="connsiteX118" fmla="*/ 746401 w 1033465"/>
                <a:gd name="connsiteY118" fmla="*/ 201789 h 838042"/>
                <a:gd name="connsiteX119" fmla="*/ 694397 w 1033465"/>
                <a:gd name="connsiteY119" fmla="*/ 226429 h 838042"/>
                <a:gd name="connsiteX120" fmla="*/ 656678 w 1033465"/>
                <a:gd name="connsiteY120" fmla="*/ 257626 h 838042"/>
                <a:gd name="connsiteX121" fmla="*/ 616001 w 1033465"/>
                <a:gd name="connsiteY121" fmla="*/ 286712 h 838042"/>
                <a:gd name="connsiteX122" fmla="*/ 564857 w 1033465"/>
                <a:gd name="connsiteY122" fmla="*/ 287389 h 838042"/>
                <a:gd name="connsiteX123" fmla="*/ 530567 w 1033465"/>
                <a:gd name="connsiteY123" fmla="*/ 274054 h 838042"/>
                <a:gd name="connsiteX124" fmla="*/ 507707 w 1033465"/>
                <a:gd name="connsiteY124" fmla="*/ 235954 h 838042"/>
                <a:gd name="connsiteX125" fmla="*/ 509612 w 1033465"/>
                <a:gd name="connsiteY125" fmla="*/ 171184 h 838042"/>
                <a:gd name="connsiteX126" fmla="*/ 508314 w 1033465"/>
                <a:gd name="connsiteY126" fmla="*/ 73485 h 838042"/>
                <a:gd name="connsiteX127" fmla="*/ 454116 w 1033465"/>
                <a:gd name="connsiteY127" fmla="*/ 11248 h 838042"/>
                <a:gd name="connsiteX128" fmla="*/ 442470 w 1033465"/>
                <a:gd name="connsiteY128" fmla="*/ 75864 h 838042"/>
                <a:gd name="connsiteX129" fmla="*/ 439226 w 1033465"/>
                <a:gd name="connsiteY129" fmla="*/ 132660 h 838042"/>
                <a:gd name="connsiteX130" fmla="*/ 436054 w 1033465"/>
                <a:gd name="connsiteY13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36232 w 1033465"/>
                <a:gd name="connsiteY11" fmla="*/ 230239 h 838042"/>
                <a:gd name="connsiteX12" fmla="*/ 119087 w 1033465"/>
                <a:gd name="connsiteY12" fmla="*/ 226429 h 838042"/>
                <a:gd name="connsiteX13" fmla="*/ 113372 w 1033465"/>
                <a:gd name="connsiteY13" fmla="*/ 220714 h 838042"/>
                <a:gd name="connsiteX14" fmla="*/ 103847 w 1033465"/>
                <a:gd name="connsiteY14" fmla="*/ 203569 h 838042"/>
                <a:gd name="connsiteX15" fmla="*/ 86702 w 1033465"/>
                <a:gd name="connsiteY15" fmla="*/ 195949 h 838042"/>
                <a:gd name="connsiteX16" fmla="*/ 80987 w 1033465"/>
                <a:gd name="connsiteY16" fmla="*/ 194044 h 838042"/>
                <a:gd name="connsiteX17" fmla="*/ 61937 w 1033465"/>
                <a:gd name="connsiteY17" fmla="*/ 197854 h 838042"/>
                <a:gd name="connsiteX18" fmla="*/ 56222 w 1033465"/>
                <a:gd name="connsiteY18" fmla="*/ 201664 h 838042"/>
                <a:gd name="connsiteX19" fmla="*/ 52412 w 1033465"/>
                <a:gd name="connsiteY19" fmla="*/ 207379 h 838042"/>
                <a:gd name="connsiteX20" fmla="*/ 48602 w 1033465"/>
                <a:gd name="connsiteY20" fmla="*/ 218809 h 838042"/>
                <a:gd name="connsiteX21" fmla="*/ 52412 w 1033465"/>
                <a:gd name="connsiteY21" fmla="*/ 256909 h 838042"/>
                <a:gd name="connsiteX22" fmla="*/ 56222 w 1033465"/>
                <a:gd name="connsiteY22" fmla="*/ 262624 h 838042"/>
                <a:gd name="connsiteX23" fmla="*/ 61937 w 1033465"/>
                <a:gd name="connsiteY23" fmla="*/ 266434 h 838042"/>
                <a:gd name="connsiteX24" fmla="*/ 65747 w 1033465"/>
                <a:gd name="connsiteY24" fmla="*/ 272149 h 838042"/>
                <a:gd name="connsiteX25" fmla="*/ 82892 w 1033465"/>
                <a:gd name="connsiteY25" fmla="*/ 281674 h 838042"/>
                <a:gd name="connsiteX26" fmla="*/ 105752 w 1033465"/>
                <a:gd name="connsiteY26" fmla="*/ 283579 h 838042"/>
                <a:gd name="connsiteX27" fmla="*/ 126707 w 1033465"/>
                <a:gd name="connsiteY27" fmla="*/ 289294 h 838042"/>
                <a:gd name="connsiteX28" fmla="*/ 132422 w 1033465"/>
                <a:gd name="connsiteY28" fmla="*/ 291199 h 838042"/>
                <a:gd name="connsiteX29" fmla="*/ 138137 w 1033465"/>
                <a:gd name="connsiteY29" fmla="*/ 296914 h 838042"/>
                <a:gd name="connsiteX30" fmla="*/ 145757 w 1033465"/>
                <a:gd name="connsiteY30" fmla="*/ 298819 h 838042"/>
                <a:gd name="connsiteX31" fmla="*/ 168617 w 1033465"/>
                <a:gd name="connsiteY31" fmla="*/ 302629 h 838042"/>
                <a:gd name="connsiteX32" fmla="*/ 193382 w 1033465"/>
                <a:gd name="connsiteY32" fmla="*/ 308344 h 838042"/>
                <a:gd name="connsiteX33" fmla="*/ 210527 w 1033465"/>
                <a:gd name="connsiteY33" fmla="*/ 314059 h 838042"/>
                <a:gd name="connsiteX34" fmla="*/ 216242 w 1033465"/>
                <a:gd name="connsiteY34" fmla="*/ 315964 h 838042"/>
                <a:gd name="connsiteX35" fmla="*/ 231482 w 1033465"/>
                <a:gd name="connsiteY35" fmla="*/ 319774 h 838042"/>
                <a:gd name="connsiteX36" fmla="*/ 250532 w 1033465"/>
                <a:gd name="connsiteY36" fmla="*/ 325489 h 838042"/>
                <a:gd name="connsiteX37" fmla="*/ 256247 w 1033465"/>
                <a:gd name="connsiteY37" fmla="*/ 329299 h 838042"/>
                <a:gd name="connsiteX38" fmla="*/ 269582 w 1033465"/>
                <a:gd name="connsiteY38" fmla="*/ 344539 h 838042"/>
                <a:gd name="connsiteX39" fmla="*/ 275297 w 1033465"/>
                <a:gd name="connsiteY39" fmla="*/ 363589 h 838042"/>
                <a:gd name="connsiteX40" fmla="*/ 277202 w 1033465"/>
                <a:gd name="connsiteY40" fmla="*/ 369304 h 838042"/>
                <a:gd name="connsiteX41" fmla="*/ 279107 w 1033465"/>
                <a:gd name="connsiteY41" fmla="*/ 375019 h 838042"/>
                <a:gd name="connsiteX42" fmla="*/ 281012 w 1033465"/>
                <a:gd name="connsiteY42" fmla="*/ 399784 h 838042"/>
                <a:gd name="connsiteX43" fmla="*/ 282917 w 1033465"/>
                <a:gd name="connsiteY43" fmla="*/ 405499 h 838042"/>
                <a:gd name="connsiteX44" fmla="*/ 281012 w 1033465"/>
                <a:gd name="connsiteY44" fmla="*/ 424549 h 838042"/>
                <a:gd name="connsiteX45" fmla="*/ 279107 w 1033465"/>
                <a:gd name="connsiteY45" fmla="*/ 434074 h 838042"/>
                <a:gd name="connsiteX46" fmla="*/ 265772 w 1033465"/>
                <a:gd name="connsiteY46" fmla="*/ 447409 h 838042"/>
                <a:gd name="connsiteX47" fmla="*/ 254342 w 1033465"/>
                <a:gd name="connsiteY47" fmla="*/ 455029 h 838042"/>
                <a:gd name="connsiteX48" fmla="*/ 242912 w 1033465"/>
                <a:gd name="connsiteY48" fmla="*/ 458839 h 838042"/>
                <a:gd name="connsiteX49" fmla="*/ 128612 w 1033465"/>
                <a:gd name="connsiteY49" fmla="*/ 458839 h 838042"/>
                <a:gd name="connsiteX50" fmla="*/ 122897 w 1033465"/>
                <a:gd name="connsiteY50" fmla="*/ 460744 h 838042"/>
                <a:gd name="connsiteX51" fmla="*/ 107657 w 1033465"/>
                <a:gd name="connsiteY51" fmla="*/ 462649 h 838042"/>
                <a:gd name="connsiteX52" fmla="*/ 90512 w 1033465"/>
                <a:gd name="connsiteY52" fmla="*/ 468364 h 838042"/>
                <a:gd name="connsiteX53" fmla="*/ 84797 w 1033465"/>
                <a:gd name="connsiteY53" fmla="*/ 470269 h 838042"/>
                <a:gd name="connsiteX54" fmla="*/ 79082 w 1033465"/>
                <a:gd name="connsiteY54" fmla="*/ 474079 h 838042"/>
                <a:gd name="connsiteX55" fmla="*/ 67652 w 1033465"/>
                <a:gd name="connsiteY55" fmla="*/ 475984 h 838042"/>
                <a:gd name="connsiteX56" fmla="*/ 29552 w 1033465"/>
                <a:gd name="connsiteY56" fmla="*/ 477889 h 838042"/>
                <a:gd name="connsiteX57" fmla="*/ 18122 w 1033465"/>
                <a:gd name="connsiteY57" fmla="*/ 483604 h 838042"/>
                <a:gd name="connsiteX58" fmla="*/ 8597 w 1033465"/>
                <a:gd name="connsiteY58" fmla="*/ 493129 h 838042"/>
                <a:gd name="connsiteX59" fmla="*/ 6692 w 1033465"/>
                <a:gd name="connsiteY59" fmla="*/ 498844 h 838042"/>
                <a:gd name="connsiteX60" fmla="*/ 2882 w 1033465"/>
                <a:gd name="connsiteY60" fmla="*/ 504559 h 838042"/>
                <a:gd name="connsiteX61" fmla="*/ 14312 w 1033465"/>
                <a:gd name="connsiteY61" fmla="*/ 540754 h 838042"/>
                <a:gd name="connsiteX62" fmla="*/ 147662 w 1033465"/>
                <a:gd name="connsiteY62" fmla="*/ 540754 h 838042"/>
                <a:gd name="connsiteX63" fmla="*/ 155282 w 1033465"/>
                <a:gd name="connsiteY63" fmla="*/ 538849 h 838042"/>
                <a:gd name="connsiteX64" fmla="*/ 305777 w 1033465"/>
                <a:gd name="connsiteY64" fmla="*/ 533134 h 838042"/>
                <a:gd name="connsiteX65" fmla="*/ 321017 w 1033465"/>
                <a:gd name="connsiteY65" fmla="*/ 540754 h 838042"/>
                <a:gd name="connsiteX66" fmla="*/ 332447 w 1033465"/>
                <a:gd name="connsiteY66" fmla="*/ 546469 h 838042"/>
                <a:gd name="connsiteX67" fmla="*/ 336257 w 1033465"/>
                <a:gd name="connsiteY67" fmla="*/ 552184 h 838042"/>
                <a:gd name="connsiteX68" fmla="*/ 341972 w 1033465"/>
                <a:gd name="connsiteY68" fmla="*/ 554089 h 838042"/>
                <a:gd name="connsiteX69" fmla="*/ 353402 w 1033465"/>
                <a:gd name="connsiteY69" fmla="*/ 561709 h 838042"/>
                <a:gd name="connsiteX70" fmla="*/ 359117 w 1033465"/>
                <a:gd name="connsiteY70" fmla="*/ 565519 h 838042"/>
                <a:gd name="connsiteX71" fmla="*/ 362927 w 1033465"/>
                <a:gd name="connsiteY71" fmla="*/ 571234 h 838042"/>
                <a:gd name="connsiteX72" fmla="*/ 368642 w 1033465"/>
                <a:gd name="connsiteY72" fmla="*/ 582664 h 838042"/>
                <a:gd name="connsiteX73" fmla="*/ 364832 w 1033465"/>
                <a:gd name="connsiteY73" fmla="*/ 609334 h 838042"/>
                <a:gd name="connsiteX74" fmla="*/ 361022 w 1033465"/>
                <a:gd name="connsiteY74" fmla="*/ 615049 h 838042"/>
                <a:gd name="connsiteX75" fmla="*/ 359117 w 1033465"/>
                <a:gd name="connsiteY75" fmla="*/ 620764 h 838042"/>
                <a:gd name="connsiteX76" fmla="*/ 355307 w 1033465"/>
                <a:gd name="connsiteY76" fmla="*/ 626479 h 838042"/>
                <a:gd name="connsiteX77" fmla="*/ 353402 w 1033465"/>
                <a:gd name="connsiteY77" fmla="*/ 632194 h 838042"/>
                <a:gd name="connsiteX78" fmla="*/ 349592 w 1033465"/>
                <a:gd name="connsiteY78" fmla="*/ 637909 h 838042"/>
                <a:gd name="connsiteX79" fmla="*/ 332447 w 1033465"/>
                <a:gd name="connsiteY79" fmla="*/ 704584 h 838042"/>
                <a:gd name="connsiteX80" fmla="*/ 330542 w 1033465"/>
                <a:gd name="connsiteY80" fmla="*/ 756019 h 838042"/>
                <a:gd name="connsiteX81" fmla="*/ 332447 w 1033465"/>
                <a:gd name="connsiteY81" fmla="*/ 780784 h 838042"/>
                <a:gd name="connsiteX82" fmla="*/ 334352 w 1033465"/>
                <a:gd name="connsiteY82" fmla="*/ 786499 h 838042"/>
                <a:gd name="connsiteX83" fmla="*/ 338162 w 1033465"/>
                <a:gd name="connsiteY83" fmla="*/ 790309 h 838042"/>
                <a:gd name="connsiteX84" fmla="*/ 366737 w 1033465"/>
                <a:gd name="connsiteY84" fmla="*/ 836029 h 838042"/>
                <a:gd name="connsiteX85" fmla="*/ 389597 w 1033465"/>
                <a:gd name="connsiteY85" fmla="*/ 837934 h 838042"/>
                <a:gd name="connsiteX86" fmla="*/ 397407 w 1033465"/>
                <a:gd name="connsiteY86" fmla="*/ 833530 h 838042"/>
                <a:gd name="connsiteX87" fmla="*/ 402932 w 1033465"/>
                <a:gd name="connsiteY87" fmla="*/ 784594 h 838042"/>
                <a:gd name="connsiteX88" fmla="*/ 406742 w 1033465"/>
                <a:gd name="connsiteY88" fmla="*/ 727444 h 838042"/>
                <a:gd name="connsiteX89" fmla="*/ 423887 w 1033465"/>
                <a:gd name="connsiteY89" fmla="*/ 672199 h 838042"/>
                <a:gd name="connsiteX90" fmla="*/ 429602 w 1033465"/>
                <a:gd name="connsiteY90" fmla="*/ 658864 h 838042"/>
                <a:gd name="connsiteX91" fmla="*/ 444084 w 1033465"/>
                <a:gd name="connsiteY91" fmla="*/ 626947 h 838042"/>
                <a:gd name="connsiteX92" fmla="*/ 464289 w 1033465"/>
                <a:gd name="connsiteY92" fmla="*/ 600072 h 838042"/>
                <a:gd name="connsiteX93" fmla="*/ 523510 w 1033465"/>
                <a:gd name="connsiteY93" fmla="*/ 565123 h 838042"/>
                <a:gd name="connsiteX94" fmla="*/ 599348 w 1033465"/>
                <a:gd name="connsiteY94" fmla="*/ 550915 h 838042"/>
                <a:gd name="connsiteX95" fmla="*/ 707801 w 1033465"/>
                <a:gd name="connsiteY95" fmla="*/ 612819 h 838042"/>
                <a:gd name="connsiteX96" fmla="*/ 780122 w 1033465"/>
                <a:gd name="connsiteY96" fmla="*/ 656959 h 838042"/>
                <a:gd name="connsiteX97" fmla="*/ 804887 w 1033465"/>
                <a:gd name="connsiteY97" fmla="*/ 632194 h 838042"/>
                <a:gd name="connsiteX98" fmla="*/ 801077 w 1033465"/>
                <a:gd name="connsiteY98" fmla="*/ 601714 h 838042"/>
                <a:gd name="connsiteX99" fmla="*/ 762796 w 1033465"/>
                <a:gd name="connsiteY99" fmla="*/ 562523 h 838042"/>
                <a:gd name="connsiteX100" fmla="*/ 650582 w 1033465"/>
                <a:gd name="connsiteY100" fmla="*/ 479794 h 838042"/>
                <a:gd name="connsiteX101" fmla="*/ 646772 w 1033465"/>
                <a:gd name="connsiteY101" fmla="*/ 462649 h 838042"/>
                <a:gd name="connsiteX102" fmla="*/ 658202 w 1033465"/>
                <a:gd name="connsiteY102" fmla="*/ 426454 h 838042"/>
                <a:gd name="connsiteX103" fmla="*/ 726782 w 1033465"/>
                <a:gd name="connsiteY103" fmla="*/ 405499 h 838042"/>
                <a:gd name="connsiteX104" fmla="*/ 813738 w 1033465"/>
                <a:gd name="connsiteY104" fmla="*/ 406906 h 838042"/>
                <a:gd name="connsiteX105" fmla="*/ 906231 w 1033465"/>
                <a:gd name="connsiteY105" fmla="*/ 417646 h 838042"/>
                <a:gd name="connsiteX106" fmla="*/ 1002290 w 1033465"/>
                <a:gd name="connsiteY106" fmla="*/ 426835 h 838042"/>
                <a:gd name="connsiteX107" fmla="*/ 1032449 w 1033465"/>
                <a:gd name="connsiteY107" fmla="*/ 402711 h 838042"/>
                <a:gd name="connsiteX108" fmla="*/ 1020514 w 1033465"/>
                <a:gd name="connsiteY108" fmla="*/ 377797 h 838042"/>
                <a:gd name="connsiteX109" fmla="*/ 964889 w 1033465"/>
                <a:gd name="connsiteY109" fmla="*/ 358029 h 838042"/>
                <a:gd name="connsiteX110" fmla="*/ 827747 w 1033465"/>
                <a:gd name="connsiteY110" fmla="*/ 357874 h 838042"/>
                <a:gd name="connsiteX111" fmla="*/ 755811 w 1033465"/>
                <a:gd name="connsiteY111" fmla="*/ 361702 h 838042"/>
                <a:gd name="connsiteX112" fmla="*/ 671537 w 1033465"/>
                <a:gd name="connsiteY112" fmla="*/ 369304 h 838042"/>
                <a:gd name="connsiteX113" fmla="*/ 644867 w 1033465"/>
                <a:gd name="connsiteY113" fmla="*/ 338824 h 838042"/>
                <a:gd name="connsiteX114" fmla="*/ 676403 w 1033465"/>
                <a:gd name="connsiteY114" fmla="*/ 304962 h 838042"/>
                <a:gd name="connsiteX115" fmla="*/ 707732 w 1033465"/>
                <a:gd name="connsiteY115" fmla="*/ 283579 h 838042"/>
                <a:gd name="connsiteX116" fmla="*/ 743927 w 1033465"/>
                <a:gd name="connsiteY116" fmla="*/ 251194 h 838042"/>
                <a:gd name="connsiteX117" fmla="*/ 783019 w 1033465"/>
                <a:gd name="connsiteY117" fmla="*/ 213846 h 838042"/>
                <a:gd name="connsiteX118" fmla="*/ 746401 w 1033465"/>
                <a:gd name="connsiteY118" fmla="*/ 201789 h 838042"/>
                <a:gd name="connsiteX119" fmla="*/ 694397 w 1033465"/>
                <a:gd name="connsiteY119" fmla="*/ 226429 h 838042"/>
                <a:gd name="connsiteX120" fmla="*/ 656678 w 1033465"/>
                <a:gd name="connsiteY120" fmla="*/ 257626 h 838042"/>
                <a:gd name="connsiteX121" fmla="*/ 616001 w 1033465"/>
                <a:gd name="connsiteY121" fmla="*/ 286712 h 838042"/>
                <a:gd name="connsiteX122" fmla="*/ 564857 w 1033465"/>
                <a:gd name="connsiteY122" fmla="*/ 287389 h 838042"/>
                <a:gd name="connsiteX123" fmla="*/ 530567 w 1033465"/>
                <a:gd name="connsiteY123" fmla="*/ 274054 h 838042"/>
                <a:gd name="connsiteX124" fmla="*/ 507707 w 1033465"/>
                <a:gd name="connsiteY124" fmla="*/ 235954 h 838042"/>
                <a:gd name="connsiteX125" fmla="*/ 509612 w 1033465"/>
                <a:gd name="connsiteY125" fmla="*/ 171184 h 838042"/>
                <a:gd name="connsiteX126" fmla="*/ 508314 w 1033465"/>
                <a:gd name="connsiteY126" fmla="*/ 73485 h 838042"/>
                <a:gd name="connsiteX127" fmla="*/ 454116 w 1033465"/>
                <a:gd name="connsiteY127" fmla="*/ 11248 h 838042"/>
                <a:gd name="connsiteX128" fmla="*/ 442470 w 1033465"/>
                <a:gd name="connsiteY128" fmla="*/ 75864 h 838042"/>
                <a:gd name="connsiteX129" fmla="*/ 439226 w 1033465"/>
                <a:gd name="connsiteY129" fmla="*/ 132660 h 838042"/>
                <a:gd name="connsiteX130" fmla="*/ 436054 w 1033465"/>
                <a:gd name="connsiteY13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36232 w 1033465"/>
                <a:gd name="connsiteY11" fmla="*/ 230239 h 838042"/>
                <a:gd name="connsiteX12" fmla="*/ 119087 w 1033465"/>
                <a:gd name="connsiteY12" fmla="*/ 226429 h 838042"/>
                <a:gd name="connsiteX13" fmla="*/ 113372 w 1033465"/>
                <a:gd name="connsiteY13" fmla="*/ 220714 h 838042"/>
                <a:gd name="connsiteX14" fmla="*/ 103847 w 1033465"/>
                <a:gd name="connsiteY14" fmla="*/ 203569 h 838042"/>
                <a:gd name="connsiteX15" fmla="*/ 86702 w 1033465"/>
                <a:gd name="connsiteY15" fmla="*/ 195949 h 838042"/>
                <a:gd name="connsiteX16" fmla="*/ 80987 w 1033465"/>
                <a:gd name="connsiteY16" fmla="*/ 194044 h 838042"/>
                <a:gd name="connsiteX17" fmla="*/ 61937 w 1033465"/>
                <a:gd name="connsiteY17" fmla="*/ 197854 h 838042"/>
                <a:gd name="connsiteX18" fmla="*/ 56222 w 1033465"/>
                <a:gd name="connsiteY18" fmla="*/ 201664 h 838042"/>
                <a:gd name="connsiteX19" fmla="*/ 52412 w 1033465"/>
                <a:gd name="connsiteY19" fmla="*/ 207379 h 838042"/>
                <a:gd name="connsiteX20" fmla="*/ 48602 w 1033465"/>
                <a:gd name="connsiteY20" fmla="*/ 218809 h 838042"/>
                <a:gd name="connsiteX21" fmla="*/ 52412 w 1033465"/>
                <a:gd name="connsiteY21" fmla="*/ 256909 h 838042"/>
                <a:gd name="connsiteX22" fmla="*/ 56222 w 1033465"/>
                <a:gd name="connsiteY22" fmla="*/ 262624 h 838042"/>
                <a:gd name="connsiteX23" fmla="*/ 61937 w 1033465"/>
                <a:gd name="connsiteY23" fmla="*/ 266434 h 838042"/>
                <a:gd name="connsiteX24" fmla="*/ 65747 w 1033465"/>
                <a:gd name="connsiteY24" fmla="*/ 272149 h 838042"/>
                <a:gd name="connsiteX25" fmla="*/ 82892 w 1033465"/>
                <a:gd name="connsiteY25" fmla="*/ 281674 h 838042"/>
                <a:gd name="connsiteX26" fmla="*/ 105752 w 1033465"/>
                <a:gd name="connsiteY26" fmla="*/ 283579 h 838042"/>
                <a:gd name="connsiteX27" fmla="*/ 126707 w 1033465"/>
                <a:gd name="connsiteY27" fmla="*/ 289294 h 838042"/>
                <a:gd name="connsiteX28" fmla="*/ 132422 w 1033465"/>
                <a:gd name="connsiteY28" fmla="*/ 291199 h 838042"/>
                <a:gd name="connsiteX29" fmla="*/ 138137 w 1033465"/>
                <a:gd name="connsiteY29" fmla="*/ 296914 h 838042"/>
                <a:gd name="connsiteX30" fmla="*/ 145757 w 1033465"/>
                <a:gd name="connsiteY30" fmla="*/ 298819 h 838042"/>
                <a:gd name="connsiteX31" fmla="*/ 168617 w 1033465"/>
                <a:gd name="connsiteY31" fmla="*/ 302629 h 838042"/>
                <a:gd name="connsiteX32" fmla="*/ 193382 w 1033465"/>
                <a:gd name="connsiteY32" fmla="*/ 308344 h 838042"/>
                <a:gd name="connsiteX33" fmla="*/ 210527 w 1033465"/>
                <a:gd name="connsiteY33" fmla="*/ 314059 h 838042"/>
                <a:gd name="connsiteX34" fmla="*/ 216242 w 1033465"/>
                <a:gd name="connsiteY34" fmla="*/ 315964 h 838042"/>
                <a:gd name="connsiteX35" fmla="*/ 231482 w 1033465"/>
                <a:gd name="connsiteY35" fmla="*/ 319774 h 838042"/>
                <a:gd name="connsiteX36" fmla="*/ 250532 w 1033465"/>
                <a:gd name="connsiteY36" fmla="*/ 325489 h 838042"/>
                <a:gd name="connsiteX37" fmla="*/ 256247 w 1033465"/>
                <a:gd name="connsiteY37" fmla="*/ 329299 h 838042"/>
                <a:gd name="connsiteX38" fmla="*/ 269582 w 1033465"/>
                <a:gd name="connsiteY38" fmla="*/ 344539 h 838042"/>
                <a:gd name="connsiteX39" fmla="*/ 275297 w 1033465"/>
                <a:gd name="connsiteY39" fmla="*/ 363589 h 838042"/>
                <a:gd name="connsiteX40" fmla="*/ 277202 w 1033465"/>
                <a:gd name="connsiteY40" fmla="*/ 369304 h 838042"/>
                <a:gd name="connsiteX41" fmla="*/ 279107 w 1033465"/>
                <a:gd name="connsiteY41" fmla="*/ 375019 h 838042"/>
                <a:gd name="connsiteX42" fmla="*/ 281012 w 1033465"/>
                <a:gd name="connsiteY42" fmla="*/ 399784 h 838042"/>
                <a:gd name="connsiteX43" fmla="*/ 282917 w 1033465"/>
                <a:gd name="connsiteY43" fmla="*/ 405499 h 838042"/>
                <a:gd name="connsiteX44" fmla="*/ 281012 w 1033465"/>
                <a:gd name="connsiteY44" fmla="*/ 424549 h 838042"/>
                <a:gd name="connsiteX45" fmla="*/ 279107 w 1033465"/>
                <a:gd name="connsiteY45" fmla="*/ 434074 h 838042"/>
                <a:gd name="connsiteX46" fmla="*/ 265772 w 1033465"/>
                <a:gd name="connsiteY46" fmla="*/ 447409 h 838042"/>
                <a:gd name="connsiteX47" fmla="*/ 254342 w 1033465"/>
                <a:gd name="connsiteY47" fmla="*/ 455029 h 838042"/>
                <a:gd name="connsiteX48" fmla="*/ 242912 w 1033465"/>
                <a:gd name="connsiteY48" fmla="*/ 458839 h 838042"/>
                <a:gd name="connsiteX49" fmla="*/ 128612 w 1033465"/>
                <a:gd name="connsiteY49" fmla="*/ 458839 h 838042"/>
                <a:gd name="connsiteX50" fmla="*/ 122897 w 1033465"/>
                <a:gd name="connsiteY50" fmla="*/ 460744 h 838042"/>
                <a:gd name="connsiteX51" fmla="*/ 107657 w 1033465"/>
                <a:gd name="connsiteY51" fmla="*/ 462649 h 838042"/>
                <a:gd name="connsiteX52" fmla="*/ 90512 w 1033465"/>
                <a:gd name="connsiteY52" fmla="*/ 468364 h 838042"/>
                <a:gd name="connsiteX53" fmla="*/ 84797 w 1033465"/>
                <a:gd name="connsiteY53" fmla="*/ 470269 h 838042"/>
                <a:gd name="connsiteX54" fmla="*/ 79082 w 1033465"/>
                <a:gd name="connsiteY54" fmla="*/ 474079 h 838042"/>
                <a:gd name="connsiteX55" fmla="*/ 67652 w 1033465"/>
                <a:gd name="connsiteY55" fmla="*/ 475984 h 838042"/>
                <a:gd name="connsiteX56" fmla="*/ 29552 w 1033465"/>
                <a:gd name="connsiteY56" fmla="*/ 477889 h 838042"/>
                <a:gd name="connsiteX57" fmla="*/ 18122 w 1033465"/>
                <a:gd name="connsiteY57" fmla="*/ 483604 h 838042"/>
                <a:gd name="connsiteX58" fmla="*/ 8597 w 1033465"/>
                <a:gd name="connsiteY58" fmla="*/ 493129 h 838042"/>
                <a:gd name="connsiteX59" fmla="*/ 6692 w 1033465"/>
                <a:gd name="connsiteY59" fmla="*/ 498844 h 838042"/>
                <a:gd name="connsiteX60" fmla="*/ 2882 w 1033465"/>
                <a:gd name="connsiteY60" fmla="*/ 504559 h 838042"/>
                <a:gd name="connsiteX61" fmla="*/ 14312 w 1033465"/>
                <a:gd name="connsiteY61" fmla="*/ 540754 h 838042"/>
                <a:gd name="connsiteX62" fmla="*/ 147662 w 1033465"/>
                <a:gd name="connsiteY62" fmla="*/ 540754 h 838042"/>
                <a:gd name="connsiteX63" fmla="*/ 155282 w 1033465"/>
                <a:gd name="connsiteY63" fmla="*/ 538849 h 838042"/>
                <a:gd name="connsiteX64" fmla="*/ 305777 w 1033465"/>
                <a:gd name="connsiteY64" fmla="*/ 533134 h 838042"/>
                <a:gd name="connsiteX65" fmla="*/ 321017 w 1033465"/>
                <a:gd name="connsiteY65" fmla="*/ 540754 h 838042"/>
                <a:gd name="connsiteX66" fmla="*/ 332447 w 1033465"/>
                <a:gd name="connsiteY66" fmla="*/ 546469 h 838042"/>
                <a:gd name="connsiteX67" fmla="*/ 336257 w 1033465"/>
                <a:gd name="connsiteY67" fmla="*/ 552184 h 838042"/>
                <a:gd name="connsiteX68" fmla="*/ 341972 w 1033465"/>
                <a:gd name="connsiteY68" fmla="*/ 554089 h 838042"/>
                <a:gd name="connsiteX69" fmla="*/ 353402 w 1033465"/>
                <a:gd name="connsiteY69" fmla="*/ 561709 h 838042"/>
                <a:gd name="connsiteX70" fmla="*/ 359117 w 1033465"/>
                <a:gd name="connsiteY70" fmla="*/ 565519 h 838042"/>
                <a:gd name="connsiteX71" fmla="*/ 362927 w 1033465"/>
                <a:gd name="connsiteY71" fmla="*/ 571234 h 838042"/>
                <a:gd name="connsiteX72" fmla="*/ 368642 w 1033465"/>
                <a:gd name="connsiteY72" fmla="*/ 582664 h 838042"/>
                <a:gd name="connsiteX73" fmla="*/ 364832 w 1033465"/>
                <a:gd name="connsiteY73" fmla="*/ 609334 h 838042"/>
                <a:gd name="connsiteX74" fmla="*/ 361022 w 1033465"/>
                <a:gd name="connsiteY74" fmla="*/ 615049 h 838042"/>
                <a:gd name="connsiteX75" fmla="*/ 359117 w 1033465"/>
                <a:gd name="connsiteY75" fmla="*/ 620764 h 838042"/>
                <a:gd name="connsiteX76" fmla="*/ 355307 w 1033465"/>
                <a:gd name="connsiteY76" fmla="*/ 626479 h 838042"/>
                <a:gd name="connsiteX77" fmla="*/ 353402 w 1033465"/>
                <a:gd name="connsiteY77" fmla="*/ 632194 h 838042"/>
                <a:gd name="connsiteX78" fmla="*/ 349592 w 1033465"/>
                <a:gd name="connsiteY78" fmla="*/ 637909 h 838042"/>
                <a:gd name="connsiteX79" fmla="*/ 332447 w 1033465"/>
                <a:gd name="connsiteY79" fmla="*/ 704584 h 838042"/>
                <a:gd name="connsiteX80" fmla="*/ 330542 w 1033465"/>
                <a:gd name="connsiteY80" fmla="*/ 756019 h 838042"/>
                <a:gd name="connsiteX81" fmla="*/ 332447 w 1033465"/>
                <a:gd name="connsiteY81" fmla="*/ 780784 h 838042"/>
                <a:gd name="connsiteX82" fmla="*/ 334352 w 1033465"/>
                <a:gd name="connsiteY82" fmla="*/ 786499 h 838042"/>
                <a:gd name="connsiteX83" fmla="*/ 338162 w 1033465"/>
                <a:gd name="connsiteY83" fmla="*/ 790309 h 838042"/>
                <a:gd name="connsiteX84" fmla="*/ 366737 w 1033465"/>
                <a:gd name="connsiteY84" fmla="*/ 836029 h 838042"/>
                <a:gd name="connsiteX85" fmla="*/ 389597 w 1033465"/>
                <a:gd name="connsiteY85" fmla="*/ 837934 h 838042"/>
                <a:gd name="connsiteX86" fmla="*/ 397407 w 1033465"/>
                <a:gd name="connsiteY86" fmla="*/ 833530 h 838042"/>
                <a:gd name="connsiteX87" fmla="*/ 402932 w 1033465"/>
                <a:gd name="connsiteY87" fmla="*/ 784594 h 838042"/>
                <a:gd name="connsiteX88" fmla="*/ 406742 w 1033465"/>
                <a:gd name="connsiteY88" fmla="*/ 727444 h 838042"/>
                <a:gd name="connsiteX89" fmla="*/ 423887 w 1033465"/>
                <a:gd name="connsiteY89" fmla="*/ 672199 h 838042"/>
                <a:gd name="connsiteX90" fmla="*/ 429602 w 1033465"/>
                <a:gd name="connsiteY90" fmla="*/ 658864 h 838042"/>
                <a:gd name="connsiteX91" fmla="*/ 444084 w 1033465"/>
                <a:gd name="connsiteY91" fmla="*/ 626947 h 838042"/>
                <a:gd name="connsiteX92" fmla="*/ 464289 w 1033465"/>
                <a:gd name="connsiteY92" fmla="*/ 600072 h 838042"/>
                <a:gd name="connsiteX93" fmla="*/ 523510 w 1033465"/>
                <a:gd name="connsiteY93" fmla="*/ 565123 h 838042"/>
                <a:gd name="connsiteX94" fmla="*/ 599348 w 1033465"/>
                <a:gd name="connsiteY94" fmla="*/ 550915 h 838042"/>
                <a:gd name="connsiteX95" fmla="*/ 707801 w 1033465"/>
                <a:gd name="connsiteY95" fmla="*/ 612819 h 838042"/>
                <a:gd name="connsiteX96" fmla="*/ 780122 w 1033465"/>
                <a:gd name="connsiteY96" fmla="*/ 656959 h 838042"/>
                <a:gd name="connsiteX97" fmla="*/ 804887 w 1033465"/>
                <a:gd name="connsiteY97" fmla="*/ 632194 h 838042"/>
                <a:gd name="connsiteX98" fmla="*/ 801077 w 1033465"/>
                <a:gd name="connsiteY98" fmla="*/ 601714 h 838042"/>
                <a:gd name="connsiteX99" fmla="*/ 762796 w 1033465"/>
                <a:gd name="connsiteY99" fmla="*/ 562523 h 838042"/>
                <a:gd name="connsiteX100" fmla="*/ 650582 w 1033465"/>
                <a:gd name="connsiteY100" fmla="*/ 479794 h 838042"/>
                <a:gd name="connsiteX101" fmla="*/ 646772 w 1033465"/>
                <a:gd name="connsiteY101" fmla="*/ 462649 h 838042"/>
                <a:gd name="connsiteX102" fmla="*/ 658202 w 1033465"/>
                <a:gd name="connsiteY102" fmla="*/ 426454 h 838042"/>
                <a:gd name="connsiteX103" fmla="*/ 726782 w 1033465"/>
                <a:gd name="connsiteY103" fmla="*/ 405499 h 838042"/>
                <a:gd name="connsiteX104" fmla="*/ 813738 w 1033465"/>
                <a:gd name="connsiteY104" fmla="*/ 406906 h 838042"/>
                <a:gd name="connsiteX105" fmla="*/ 906231 w 1033465"/>
                <a:gd name="connsiteY105" fmla="*/ 417646 h 838042"/>
                <a:gd name="connsiteX106" fmla="*/ 1002290 w 1033465"/>
                <a:gd name="connsiteY106" fmla="*/ 426835 h 838042"/>
                <a:gd name="connsiteX107" fmla="*/ 1032449 w 1033465"/>
                <a:gd name="connsiteY107" fmla="*/ 402711 h 838042"/>
                <a:gd name="connsiteX108" fmla="*/ 1020514 w 1033465"/>
                <a:gd name="connsiteY108" fmla="*/ 377797 h 838042"/>
                <a:gd name="connsiteX109" fmla="*/ 964889 w 1033465"/>
                <a:gd name="connsiteY109" fmla="*/ 358029 h 838042"/>
                <a:gd name="connsiteX110" fmla="*/ 827747 w 1033465"/>
                <a:gd name="connsiteY110" fmla="*/ 357874 h 838042"/>
                <a:gd name="connsiteX111" fmla="*/ 755811 w 1033465"/>
                <a:gd name="connsiteY111" fmla="*/ 361702 h 838042"/>
                <a:gd name="connsiteX112" fmla="*/ 671537 w 1033465"/>
                <a:gd name="connsiteY112" fmla="*/ 369304 h 838042"/>
                <a:gd name="connsiteX113" fmla="*/ 644867 w 1033465"/>
                <a:gd name="connsiteY113" fmla="*/ 338824 h 838042"/>
                <a:gd name="connsiteX114" fmla="*/ 676403 w 1033465"/>
                <a:gd name="connsiteY114" fmla="*/ 304962 h 838042"/>
                <a:gd name="connsiteX115" fmla="*/ 707732 w 1033465"/>
                <a:gd name="connsiteY115" fmla="*/ 283579 h 838042"/>
                <a:gd name="connsiteX116" fmla="*/ 743927 w 1033465"/>
                <a:gd name="connsiteY116" fmla="*/ 251194 h 838042"/>
                <a:gd name="connsiteX117" fmla="*/ 783019 w 1033465"/>
                <a:gd name="connsiteY117" fmla="*/ 213846 h 838042"/>
                <a:gd name="connsiteX118" fmla="*/ 746401 w 1033465"/>
                <a:gd name="connsiteY118" fmla="*/ 201789 h 838042"/>
                <a:gd name="connsiteX119" fmla="*/ 694397 w 1033465"/>
                <a:gd name="connsiteY119" fmla="*/ 226429 h 838042"/>
                <a:gd name="connsiteX120" fmla="*/ 656678 w 1033465"/>
                <a:gd name="connsiteY120" fmla="*/ 257626 h 838042"/>
                <a:gd name="connsiteX121" fmla="*/ 616001 w 1033465"/>
                <a:gd name="connsiteY121" fmla="*/ 286712 h 838042"/>
                <a:gd name="connsiteX122" fmla="*/ 564857 w 1033465"/>
                <a:gd name="connsiteY122" fmla="*/ 287389 h 838042"/>
                <a:gd name="connsiteX123" fmla="*/ 530567 w 1033465"/>
                <a:gd name="connsiteY123" fmla="*/ 274054 h 838042"/>
                <a:gd name="connsiteX124" fmla="*/ 507707 w 1033465"/>
                <a:gd name="connsiteY124" fmla="*/ 235954 h 838042"/>
                <a:gd name="connsiteX125" fmla="*/ 509612 w 1033465"/>
                <a:gd name="connsiteY125" fmla="*/ 171184 h 838042"/>
                <a:gd name="connsiteX126" fmla="*/ 508314 w 1033465"/>
                <a:gd name="connsiteY126" fmla="*/ 73485 h 838042"/>
                <a:gd name="connsiteX127" fmla="*/ 454116 w 1033465"/>
                <a:gd name="connsiteY127" fmla="*/ 11248 h 838042"/>
                <a:gd name="connsiteX128" fmla="*/ 442470 w 1033465"/>
                <a:gd name="connsiteY128" fmla="*/ 75864 h 838042"/>
                <a:gd name="connsiteX129" fmla="*/ 439226 w 1033465"/>
                <a:gd name="connsiteY129" fmla="*/ 132660 h 838042"/>
                <a:gd name="connsiteX130" fmla="*/ 436054 w 1033465"/>
                <a:gd name="connsiteY13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41947 w 1033465"/>
                <a:gd name="connsiteY10" fmla="*/ 232144 h 838042"/>
                <a:gd name="connsiteX11" fmla="*/ 119087 w 1033465"/>
                <a:gd name="connsiteY11" fmla="*/ 226429 h 838042"/>
                <a:gd name="connsiteX12" fmla="*/ 113372 w 1033465"/>
                <a:gd name="connsiteY12" fmla="*/ 220714 h 838042"/>
                <a:gd name="connsiteX13" fmla="*/ 103847 w 1033465"/>
                <a:gd name="connsiteY13" fmla="*/ 203569 h 838042"/>
                <a:gd name="connsiteX14" fmla="*/ 86702 w 1033465"/>
                <a:gd name="connsiteY14" fmla="*/ 195949 h 838042"/>
                <a:gd name="connsiteX15" fmla="*/ 80987 w 1033465"/>
                <a:gd name="connsiteY15" fmla="*/ 194044 h 838042"/>
                <a:gd name="connsiteX16" fmla="*/ 61937 w 1033465"/>
                <a:gd name="connsiteY16" fmla="*/ 197854 h 838042"/>
                <a:gd name="connsiteX17" fmla="*/ 56222 w 1033465"/>
                <a:gd name="connsiteY17" fmla="*/ 201664 h 838042"/>
                <a:gd name="connsiteX18" fmla="*/ 52412 w 1033465"/>
                <a:gd name="connsiteY18" fmla="*/ 207379 h 838042"/>
                <a:gd name="connsiteX19" fmla="*/ 48602 w 1033465"/>
                <a:gd name="connsiteY19" fmla="*/ 218809 h 838042"/>
                <a:gd name="connsiteX20" fmla="*/ 52412 w 1033465"/>
                <a:gd name="connsiteY20" fmla="*/ 256909 h 838042"/>
                <a:gd name="connsiteX21" fmla="*/ 56222 w 1033465"/>
                <a:gd name="connsiteY21" fmla="*/ 262624 h 838042"/>
                <a:gd name="connsiteX22" fmla="*/ 61937 w 1033465"/>
                <a:gd name="connsiteY22" fmla="*/ 266434 h 838042"/>
                <a:gd name="connsiteX23" fmla="*/ 65747 w 1033465"/>
                <a:gd name="connsiteY23" fmla="*/ 272149 h 838042"/>
                <a:gd name="connsiteX24" fmla="*/ 82892 w 1033465"/>
                <a:gd name="connsiteY24" fmla="*/ 281674 h 838042"/>
                <a:gd name="connsiteX25" fmla="*/ 105752 w 1033465"/>
                <a:gd name="connsiteY25" fmla="*/ 283579 h 838042"/>
                <a:gd name="connsiteX26" fmla="*/ 126707 w 1033465"/>
                <a:gd name="connsiteY26" fmla="*/ 289294 h 838042"/>
                <a:gd name="connsiteX27" fmla="*/ 132422 w 1033465"/>
                <a:gd name="connsiteY27" fmla="*/ 291199 h 838042"/>
                <a:gd name="connsiteX28" fmla="*/ 138137 w 1033465"/>
                <a:gd name="connsiteY28" fmla="*/ 296914 h 838042"/>
                <a:gd name="connsiteX29" fmla="*/ 145757 w 1033465"/>
                <a:gd name="connsiteY29" fmla="*/ 298819 h 838042"/>
                <a:gd name="connsiteX30" fmla="*/ 168617 w 1033465"/>
                <a:gd name="connsiteY30" fmla="*/ 302629 h 838042"/>
                <a:gd name="connsiteX31" fmla="*/ 193382 w 1033465"/>
                <a:gd name="connsiteY31" fmla="*/ 308344 h 838042"/>
                <a:gd name="connsiteX32" fmla="*/ 210527 w 1033465"/>
                <a:gd name="connsiteY32" fmla="*/ 314059 h 838042"/>
                <a:gd name="connsiteX33" fmla="*/ 216242 w 1033465"/>
                <a:gd name="connsiteY33" fmla="*/ 315964 h 838042"/>
                <a:gd name="connsiteX34" fmla="*/ 231482 w 1033465"/>
                <a:gd name="connsiteY34" fmla="*/ 319774 h 838042"/>
                <a:gd name="connsiteX35" fmla="*/ 250532 w 1033465"/>
                <a:gd name="connsiteY35" fmla="*/ 325489 h 838042"/>
                <a:gd name="connsiteX36" fmla="*/ 256247 w 1033465"/>
                <a:gd name="connsiteY36" fmla="*/ 329299 h 838042"/>
                <a:gd name="connsiteX37" fmla="*/ 269582 w 1033465"/>
                <a:gd name="connsiteY37" fmla="*/ 344539 h 838042"/>
                <a:gd name="connsiteX38" fmla="*/ 275297 w 1033465"/>
                <a:gd name="connsiteY38" fmla="*/ 363589 h 838042"/>
                <a:gd name="connsiteX39" fmla="*/ 277202 w 1033465"/>
                <a:gd name="connsiteY39" fmla="*/ 369304 h 838042"/>
                <a:gd name="connsiteX40" fmla="*/ 279107 w 1033465"/>
                <a:gd name="connsiteY40" fmla="*/ 375019 h 838042"/>
                <a:gd name="connsiteX41" fmla="*/ 281012 w 1033465"/>
                <a:gd name="connsiteY41" fmla="*/ 399784 h 838042"/>
                <a:gd name="connsiteX42" fmla="*/ 282917 w 1033465"/>
                <a:gd name="connsiteY42" fmla="*/ 405499 h 838042"/>
                <a:gd name="connsiteX43" fmla="*/ 281012 w 1033465"/>
                <a:gd name="connsiteY43" fmla="*/ 424549 h 838042"/>
                <a:gd name="connsiteX44" fmla="*/ 279107 w 1033465"/>
                <a:gd name="connsiteY44" fmla="*/ 434074 h 838042"/>
                <a:gd name="connsiteX45" fmla="*/ 265772 w 1033465"/>
                <a:gd name="connsiteY45" fmla="*/ 447409 h 838042"/>
                <a:gd name="connsiteX46" fmla="*/ 254342 w 1033465"/>
                <a:gd name="connsiteY46" fmla="*/ 455029 h 838042"/>
                <a:gd name="connsiteX47" fmla="*/ 242912 w 1033465"/>
                <a:gd name="connsiteY47" fmla="*/ 458839 h 838042"/>
                <a:gd name="connsiteX48" fmla="*/ 128612 w 1033465"/>
                <a:gd name="connsiteY48" fmla="*/ 458839 h 838042"/>
                <a:gd name="connsiteX49" fmla="*/ 122897 w 1033465"/>
                <a:gd name="connsiteY49" fmla="*/ 460744 h 838042"/>
                <a:gd name="connsiteX50" fmla="*/ 107657 w 1033465"/>
                <a:gd name="connsiteY50" fmla="*/ 462649 h 838042"/>
                <a:gd name="connsiteX51" fmla="*/ 90512 w 1033465"/>
                <a:gd name="connsiteY51" fmla="*/ 468364 h 838042"/>
                <a:gd name="connsiteX52" fmla="*/ 84797 w 1033465"/>
                <a:gd name="connsiteY52" fmla="*/ 470269 h 838042"/>
                <a:gd name="connsiteX53" fmla="*/ 79082 w 1033465"/>
                <a:gd name="connsiteY53" fmla="*/ 474079 h 838042"/>
                <a:gd name="connsiteX54" fmla="*/ 67652 w 1033465"/>
                <a:gd name="connsiteY54" fmla="*/ 475984 h 838042"/>
                <a:gd name="connsiteX55" fmla="*/ 29552 w 1033465"/>
                <a:gd name="connsiteY55" fmla="*/ 477889 h 838042"/>
                <a:gd name="connsiteX56" fmla="*/ 18122 w 1033465"/>
                <a:gd name="connsiteY56" fmla="*/ 483604 h 838042"/>
                <a:gd name="connsiteX57" fmla="*/ 8597 w 1033465"/>
                <a:gd name="connsiteY57" fmla="*/ 493129 h 838042"/>
                <a:gd name="connsiteX58" fmla="*/ 6692 w 1033465"/>
                <a:gd name="connsiteY58" fmla="*/ 498844 h 838042"/>
                <a:gd name="connsiteX59" fmla="*/ 2882 w 1033465"/>
                <a:gd name="connsiteY59" fmla="*/ 504559 h 838042"/>
                <a:gd name="connsiteX60" fmla="*/ 14312 w 1033465"/>
                <a:gd name="connsiteY60" fmla="*/ 540754 h 838042"/>
                <a:gd name="connsiteX61" fmla="*/ 147662 w 1033465"/>
                <a:gd name="connsiteY61" fmla="*/ 540754 h 838042"/>
                <a:gd name="connsiteX62" fmla="*/ 155282 w 1033465"/>
                <a:gd name="connsiteY62" fmla="*/ 538849 h 838042"/>
                <a:gd name="connsiteX63" fmla="*/ 305777 w 1033465"/>
                <a:gd name="connsiteY63" fmla="*/ 533134 h 838042"/>
                <a:gd name="connsiteX64" fmla="*/ 321017 w 1033465"/>
                <a:gd name="connsiteY64" fmla="*/ 540754 h 838042"/>
                <a:gd name="connsiteX65" fmla="*/ 332447 w 1033465"/>
                <a:gd name="connsiteY65" fmla="*/ 546469 h 838042"/>
                <a:gd name="connsiteX66" fmla="*/ 336257 w 1033465"/>
                <a:gd name="connsiteY66" fmla="*/ 552184 h 838042"/>
                <a:gd name="connsiteX67" fmla="*/ 341972 w 1033465"/>
                <a:gd name="connsiteY67" fmla="*/ 554089 h 838042"/>
                <a:gd name="connsiteX68" fmla="*/ 353402 w 1033465"/>
                <a:gd name="connsiteY68" fmla="*/ 561709 h 838042"/>
                <a:gd name="connsiteX69" fmla="*/ 359117 w 1033465"/>
                <a:gd name="connsiteY69" fmla="*/ 565519 h 838042"/>
                <a:gd name="connsiteX70" fmla="*/ 362927 w 1033465"/>
                <a:gd name="connsiteY70" fmla="*/ 571234 h 838042"/>
                <a:gd name="connsiteX71" fmla="*/ 368642 w 1033465"/>
                <a:gd name="connsiteY71" fmla="*/ 582664 h 838042"/>
                <a:gd name="connsiteX72" fmla="*/ 364832 w 1033465"/>
                <a:gd name="connsiteY72" fmla="*/ 609334 h 838042"/>
                <a:gd name="connsiteX73" fmla="*/ 361022 w 1033465"/>
                <a:gd name="connsiteY73" fmla="*/ 615049 h 838042"/>
                <a:gd name="connsiteX74" fmla="*/ 359117 w 1033465"/>
                <a:gd name="connsiteY74" fmla="*/ 620764 h 838042"/>
                <a:gd name="connsiteX75" fmla="*/ 355307 w 1033465"/>
                <a:gd name="connsiteY75" fmla="*/ 626479 h 838042"/>
                <a:gd name="connsiteX76" fmla="*/ 353402 w 1033465"/>
                <a:gd name="connsiteY76" fmla="*/ 632194 h 838042"/>
                <a:gd name="connsiteX77" fmla="*/ 349592 w 1033465"/>
                <a:gd name="connsiteY77" fmla="*/ 637909 h 838042"/>
                <a:gd name="connsiteX78" fmla="*/ 332447 w 1033465"/>
                <a:gd name="connsiteY78" fmla="*/ 704584 h 838042"/>
                <a:gd name="connsiteX79" fmla="*/ 330542 w 1033465"/>
                <a:gd name="connsiteY79" fmla="*/ 756019 h 838042"/>
                <a:gd name="connsiteX80" fmla="*/ 332447 w 1033465"/>
                <a:gd name="connsiteY80" fmla="*/ 780784 h 838042"/>
                <a:gd name="connsiteX81" fmla="*/ 334352 w 1033465"/>
                <a:gd name="connsiteY81" fmla="*/ 786499 h 838042"/>
                <a:gd name="connsiteX82" fmla="*/ 338162 w 1033465"/>
                <a:gd name="connsiteY82" fmla="*/ 790309 h 838042"/>
                <a:gd name="connsiteX83" fmla="*/ 366737 w 1033465"/>
                <a:gd name="connsiteY83" fmla="*/ 836029 h 838042"/>
                <a:gd name="connsiteX84" fmla="*/ 389597 w 1033465"/>
                <a:gd name="connsiteY84" fmla="*/ 837934 h 838042"/>
                <a:gd name="connsiteX85" fmla="*/ 397407 w 1033465"/>
                <a:gd name="connsiteY85" fmla="*/ 833530 h 838042"/>
                <a:gd name="connsiteX86" fmla="*/ 402932 w 1033465"/>
                <a:gd name="connsiteY86" fmla="*/ 784594 h 838042"/>
                <a:gd name="connsiteX87" fmla="*/ 406742 w 1033465"/>
                <a:gd name="connsiteY87" fmla="*/ 727444 h 838042"/>
                <a:gd name="connsiteX88" fmla="*/ 423887 w 1033465"/>
                <a:gd name="connsiteY88" fmla="*/ 672199 h 838042"/>
                <a:gd name="connsiteX89" fmla="*/ 429602 w 1033465"/>
                <a:gd name="connsiteY89" fmla="*/ 658864 h 838042"/>
                <a:gd name="connsiteX90" fmla="*/ 444084 w 1033465"/>
                <a:gd name="connsiteY90" fmla="*/ 626947 h 838042"/>
                <a:gd name="connsiteX91" fmla="*/ 464289 w 1033465"/>
                <a:gd name="connsiteY91" fmla="*/ 600072 h 838042"/>
                <a:gd name="connsiteX92" fmla="*/ 523510 w 1033465"/>
                <a:gd name="connsiteY92" fmla="*/ 565123 h 838042"/>
                <a:gd name="connsiteX93" fmla="*/ 599348 w 1033465"/>
                <a:gd name="connsiteY93" fmla="*/ 550915 h 838042"/>
                <a:gd name="connsiteX94" fmla="*/ 707801 w 1033465"/>
                <a:gd name="connsiteY94" fmla="*/ 612819 h 838042"/>
                <a:gd name="connsiteX95" fmla="*/ 780122 w 1033465"/>
                <a:gd name="connsiteY95" fmla="*/ 656959 h 838042"/>
                <a:gd name="connsiteX96" fmla="*/ 804887 w 1033465"/>
                <a:gd name="connsiteY96" fmla="*/ 632194 h 838042"/>
                <a:gd name="connsiteX97" fmla="*/ 801077 w 1033465"/>
                <a:gd name="connsiteY97" fmla="*/ 601714 h 838042"/>
                <a:gd name="connsiteX98" fmla="*/ 762796 w 1033465"/>
                <a:gd name="connsiteY98" fmla="*/ 562523 h 838042"/>
                <a:gd name="connsiteX99" fmla="*/ 650582 w 1033465"/>
                <a:gd name="connsiteY99" fmla="*/ 479794 h 838042"/>
                <a:gd name="connsiteX100" fmla="*/ 646772 w 1033465"/>
                <a:gd name="connsiteY100" fmla="*/ 462649 h 838042"/>
                <a:gd name="connsiteX101" fmla="*/ 658202 w 1033465"/>
                <a:gd name="connsiteY101" fmla="*/ 426454 h 838042"/>
                <a:gd name="connsiteX102" fmla="*/ 726782 w 1033465"/>
                <a:gd name="connsiteY102" fmla="*/ 405499 h 838042"/>
                <a:gd name="connsiteX103" fmla="*/ 813738 w 1033465"/>
                <a:gd name="connsiteY103" fmla="*/ 406906 h 838042"/>
                <a:gd name="connsiteX104" fmla="*/ 906231 w 1033465"/>
                <a:gd name="connsiteY104" fmla="*/ 417646 h 838042"/>
                <a:gd name="connsiteX105" fmla="*/ 1002290 w 1033465"/>
                <a:gd name="connsiteY105" fmla="*/ 426835 h 838042"/>
                <a:gd name="connsiteX106" fmla="*/ 1032449 w 1033465"/>
                <a:gd name="connsiteY106" fmla="*/ 402711 h 838042"/>
                <a:gd name="connsiteX107" fmla="*/ 1020514 w 1033465"/>
                <a:gd name="connsiteY107" fmla="*/ 377797 h 838042"/>
                <a:gd name="connsiteX108" fmla="*/ 964889 w 1033465"/>
                <a:gd name="connsiteY108" fmla="*/ 358029 h 838042"/>
                <a:gd name="connsiteX109" fmla="*/ 827747 w 1033465"/>
                <a:gd name="connsiteY109" fmla="*/ 357874 h 838042"/>
                <a:gd name="connsiteX110" fmla="*/ 755811 w 1033465"/>
                <a:gd name="connsiteY110" fmla="*/ 361702 h 838042"/>
                <a:gd name="connsiteX111" fmla="*/ 671537 w 1033465"/>
                <a:gd name="connsiteY111" fmla="*/ 369304 h 838042"/>
                <a:gd name="connsiteX112" fmla="*/ 644867 w 1033465"/>
                <a:gd name="connsiteY112" fmla="*/ 338824 h 838042"/>
                <a:gd name="connsiteX113" fmla="*/ 676403 w 1033465"/>
                <a:gd name="connsiteY113" fmla="*/ 304962 h 838042"/>
                <a:gd name="connsiteX114" fmla="*/ 707732 w 1033465"/>
                <a:gd name="connsiteY114" fmla="*/ 283579 h 838042"/>
                <a:gd name="connsiteX115" fmla="*/ 743927 w 1033465"/>
                <a:gd name="connsiteY115" fmla="*/ 251194 h 838042"/>
                <a:gd name="connsiteX116" fmla="*/ 783019 w 1033465"/>
                <a:gd name="connsiteY116" fmla="*/ 213846 h 838042"/>
                <a:gd name="connsiteX117" fmla="*/ 746401 w 1033465"/>
                <a:gd name="connsiteY117" fmla="*/ 201789 h 838042"/>
                <a:gd name="connsiteX118" fmla="*/ 694397 w 1033465"/>
                <a:gd name="connsiteY118" fmla="*/ 226429 h 838042"/>
                <a:gd name="connsiteX119" fmla="*/ 656678 w 1033465"/>
                <a:gd name="connsiteY119" fmla="*/ 257626 h 838042"/>
                <a:gd name="connsiteX120" fmla="*/ 616001 w 1033465"/>
                <a:gd name="connsiteY120" fmla="*/ 286712 h 838042"/>
                <a:gd name="connsiteX121" fmla="*/ 564857 w 1033465"/>
                <a:gd name="connsiteY121" fmla="*/ 287389 h 838042"/>
                <a:gd name="connsiteX122" fmla="*/ 530567 w 1033465"/>
                <a:gd name="connsiteY122" fmla="*/ 274054 h 838042"/>
                <a:gd name="connsiteX123" fmla="*/ 507707 w 1033465"/>
                <a:gd name="connsiteY123" fmla="*/ 235954 h 838042"/>
                <a:gd name="connsiteX124" fmla="*/ 509612 w 1033465"/>
                <a:gd name="connsiteY124" fmla="*/ 171184 h 838042"/>
                <a:gd name="connsiteX125" fmla="*/ 508314 w 1033465"/>
                <a:gd name="connsiteY125" fmla="*/ 73485 h 838042"/>
                <a:gd name="connsiteX126" fmla="*/ 454116 w 1033465"/>
                <a:gd name="connsiteY126" fmla="*/ 11248 h 838042"/>
                <a:gd name="connsiteX127" fmla="*/ 442470 w 1033465"/>
                <a:gd name="connsiteY127" fmla="*/ 75864 h 838042"/>
                <a:gd name="connsiteX128" fmla="*/ 439226 w 1033465"/>
                <a:gd name="connsiteY128" fmla="*/ 132660 h 838042"/>
                <a:gd name="connsiteX129" fmla="*/ 436054 w 1033465"/>
                <a:gd name="connsiteY129"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47662 w 1033465"/>
                <a:gd name="connsiteY9" fmla="*/ 235954 h 838042"/>
                <a:gd name="connsiteX10" fmla="*/ 119087 w 1033465"/>
                <a:gd name="connsiteY10" fmla="*/ 226429 h 838042"/>
                <a:gd name="connsiteX11" fmla="*/ 113372 w 1033465"/>
                <a:gd name="connsiteY11" fmla="*/ 220714 h 838042"/>
                <a:gd name="connsiteX12" fmla="*/ 103847 w 1033465"/>
                <a:gd name="connsiteY12" fmla="*/ 203569 h 838042"/>
                <a:gd name="connsiteX13" fmla="*/ 86702 w 1033465"/>
                <a:gd name="connsiteY13" fmla="*/ 195949 h 838042"/>
                <a:gd name="connsiteX14" fmla="*/ 80987 w 1033465"/>
                <a:gd name="connsiteY14" fmla="*/ 194044 h 838042"/>
                <a:gd name="connsiteX15" fmla="*/ 61937 w 1033465"/>
                <a:gd name="connsiteY15" fmla="*/ 197854 h 838042"/>
                <a:gd name="connsiteX16" fmla="*/ 56222 w 1033465"/>
                <a:gd name="connsiteY16" fmla="*/ 201664 h 838042"/>
                <a:gd name="connsiteX17" fmla="*/ 52412 w 1033465"/>
                <a:gd name="connsiteY17" fmla="*/ 207379 h 838042"/>
                <a:gd name="connsiteX18" fmla="*/ 48602 w 1033465"/>
                <a:gd name="connsiteY18" fmla="*/ 218809 h 838042"/>
                <a:gd name="connsiteX19" fmla="*/ 52412 w 1033465"/>
                <a:gd name="connsiteY19" fmla="*/ 256909 h 838042"/>
                <a:gd name="connsiteX20" fmla="*/ 56222 w 1033465"/>
                <a:gd name="connsiteY20" fmla="*/ 262624 h 838042"/>
                <a:gd name="connsiteX21" fmla="*/ 61937 w 1033465"/>
                <a:gd name="connsiteY21" fmla="*/ 266434 h 838042"/>
                <a:gd name="connsiteX22" fmla="*/ 65747 w 1033465"/>
                <a:gd name="connsiteY22" fmla="*/ 272149 h 838042"/>
                <a:gd name="connsiteX23" fmla="*/ 82892 w 1033465"/>
                <a:gd name="connsiteY23" fmla="*/ 281674 h 838042"/>
                <a:gd name="connsiteX24" fmla="*/ 105752 w 1033465"/>
                <a:gd name="connsiteY24" fmla="*/ 283579 h 838042"/>
                <a:gd name="connsiteX25" fmla="*/ 126707 w 1033465"/>
                <a:gd name="connsiteY25" fmla="*/ 289294 h 838042"/>
                <a:gd name="connsiteX26" fmla="*/ 132422 w 1033465"/>
                <a:gd name="connsiteY26" fmla="*/ 291199 h 838042"/>
                <a:gd name="connsiteX27" fmla="*/ 138137 w 1033465"/>
                <a:gd name="connsiteY27" fmla="*/ 296914 h 838042"/>
                <a:gd name="connsiteX28" fmla="*/ 145757 w 1033465"/>
                <a:gd name="connsiteY28" fmla="*/ 298819 h 838042"/>
                <a:gd name="connsiteX29" fmla="*/ 168617 w 1033465"/>
                <a:gd name="connsiteY29" fmla="*/ 302629 h 838042"/>
                <a:gd name="connsiteX30" fmla="*/ 193382 w 1033465"/>
                <a:gd name="connsiteY30" fmla="*/ 308344 h 838042"/>
                <a:gd name="connsiteX31" fmla="*/ 210527 w 1033465"/>
                <a:gd name="connsiteY31" fmla="*/ 314059 h 838042"/>
                <a:gd name="connsiteX32" fmla="*/ 216242 w 1033465"/>
                <a:gd name="connsiteY32" fmla="*/ 315964 h 838042"/>
                <a:gd name="connsiteX33" fmla="*/ 231482 w 1033465"/>
                <a:gd name="connsiteY33" fmla="*/ 319774 h 838042"/>
                <a:gd name="connsiteX34" fmla="*/ 250532 w 1033465"/>
                <a:gd name="connsiteY34" fmla="*/ 325489 h 838042"/>
                <a:gd name="connsiteX35" fmla="*/ 256247 w 1033465"/>
                <a:gd name="connsiteY35" fmla="*/ 329299 h 838042"/>
                <a:gd name="connsiteX36" fmla="*/ 269582 w 1033465"/>
                <a:gd name="connsiteY36" fmla="*/ 344539 h 838042"/>
                <a:gd name="connsiteX37" fmla="*/ 275297 w 1033465"/>
                <a:gd name="connsiteY37" fmla="*/ 363589 h 838042"/>
                <a:gd name="connsiteX38" fmla="*/ 277202 w 1033465"/>
                <a:gd name="connsiteY38" fmla="*/ 369304 h 838042"/>
                <a:gd name="connsiteX39" fmla="*/ 279107 w 1033465"/>
                <a:gd name="connsiteY39" fmla="*/ 375019 h 838042"/>
                <a:gd name="connsiteX40" fmla="*/ 281012 w 1033465"/>
                <a:gd name="connsiteY40" fmla="*/ 399784 h 838042"/>
                <a:gd name="connsiteX41" fmla="*/ 282917 w 1033465"/>
                <a:gd name="connsiteY41" fmla="*/ 405499 h 838042"/>
                <a:gd name="connsiteX42" fmla="*/ 281012 w 1033465"/>
                <a:gd name="connsiteY42" fmla="*/ 424549 h 838042"/>
                <a:gd name="connsiteX43" fmla="*/ 279107 w 1033465"/>
                <a:gd name="connsiteY43" fmla="*/ 434074 h 838042"/>
                <a:gd name="connsiteX44" fmla="*/ 265772 w 1033465"/>
                <a:gd name="connsiteY44" fmla="*/ 447409 h 838042"/>
                <a:gd name="connsiteX45" fmla="*/ 254342 w 1033465"/>
                <a:gd name="connsiteY45" fmla="*/ 455029 h 838042"/>
                <a:gd name="connsiteX46" fmla="*/ 242912 w 1033465"/>
                <a:gd name="connsiteY46" fmla="*/ 458839 h 838042"/>
                <a:gd name="connsiteX47" fmla="*/ 128612 w 1033465"/>
                <a:gd name="connsiteY47" fmla="*/ 458839 h 838042"/>
                <a:gd name="connsiteX48" fmla="*/ 122897 w 1033465"/>
                <a:gd name="connsiteY48" fmla="*/ 460744 h 838042"/>
                <a:gd name="connsiteX49" fmla="*/ 107657 w 1033465"/>
                <a:gd name="connsiteY49" fmla="*/ 462649 h 838042"/>
                <a:gd name="connsiteX50" fmla="*/ 90512 w 1033465"/>
                <a:gd name="connsiteY50" fmla="*/ 468364 h 838042"/>
                <a:gd name="connsiteX51" fmla="*/ 84797 w 1033465"/>
                <a:gd name="connsiteY51" fmla="*/ 470269 h 838042"/>
                <a:gd name="connsiteX52" fmla="*/ 79082 w 1033465"/>
                <a:gd name="connsiteY52" fmla="*/ 474079 h 838042"/>
                <a:gd name="connsiteX53" fmla="*/ 67652 w 1033465"/>
                <a:gd name="connsiteY53" fmla="*/ 475984 h 838042"/>
                <a:gd name="connsiteX54" fmla="*/ 29552 w 1033465"/>
                <a:gd name="connsiteY54" fmla="*/ 477889 h 838042"/>
                <a:gd name="connsiteX55" fmla="*/ 18122 w 1033465"/>
                <a:gd name="connsiteY55" fmla="*/ 483604 h 838042"/>
                <a:gd name="connsiteX56" fmla="*/ 8597 w 1033465"/>
                <a:gd name="connsiteY56" fmla="*/ 493129 h 838042"/>
                <a:gd name="connsiteX57" fmla="*/ 6692 w 1033465"/>
                <a:gd name="connsiteY57" fmla="*/ 498844 h 838042"/>
                <a:gd name="connsiteX58" fmla="*/ 2882 w 1033465"/>
                <a:gd name="connsiteY58" fmla="*/ 504559 h 838042"/>
                <a:gd name="connsiteX59" fmla="*/ 14312 w 1033465"/>
                <a:gd name="connsiteY59" fmla="*/ 540754 h 838042"/>
                <a:gd name="connsiteX60" fmla="*/ 147662 w 1033465"/>
                <a:gd name="connsiteY60" fmla="*/ 540754 h 838042"/>
                <a:gd name="connsiteX61" fmla="*/ 155282 w 1033465"/>
                <a:gd name="connsiteY61" fmla="*/ 538849 h 838042"/>
                <a:gd name="connsiteX62" fmla="*/ 305777 w 1033465"/>
                <a:gd name="connsiteY62" fmla="*/ 533134 h 838042"/>
                <a:gd name="connsiteX63" fmla="*/ 321017 w 1033465"/>
                <a:gd name="connsiteY63" fmla="*/ 540754 h 838042"/>
                <a:gd name="connsiteX64" fmla="*/ 332447 w 1033465"/>
                <a:gd name="connsiteY64" fmla="*/ 546469 h 838042"/>
                <a:gd name="connsiteX65" fmla="*/ 336257 w 1033465"/>
                <a:gd name="connsiteY65" fmla="*/ 552184 h 838042"/>
                <a:gd name="connsiteX66" fmla="*/ 341972 w 1033465"/>
                <a:gd name="connsiteY66" fmla="*/ 554089 h 838042"/>
                <a:gd name="connsiteX67" fmla="*/ 353402 w 1033465"/>
                <a:gd name="connsiteY67" fmla="*/ 561709 h 838042"/>
                <a:gd name="connsiteX68" fmla="*/ 359117 w 1033465"/>
                <a:gd name="connsiteY68" fmla="*/ 565519 h 838042"/>
                <a:gd name="connsiteX69" fmla="*/ 362927 w 1033465"/>
                <a:gd name="connsiteY69" fmla="*/ 571234 h 838042"/>
                <a:gd name="connsiteX70" fmla="*/ 368642 w 1033465"/>
                <a:gd name="connsiteY70" fmla="*/ 582664 h 838042"/>
                <a:gd name="connsiteX71" fmla="*/ 364832 w 1033465"/>
                <a:gd name="connsiteY71" fmla="*/ 609334 h 838042"/>
                <a:gd name="connsiteX72" fmla="*/ 361022 w 1033465"/>
                <a:gd name="connsiteY72" fmla="*/ 615049 h 838042"/>
                <a:gd name="connsiteX73" fmla="*/ 359117 w 1033465"/>
                <a:gd name="connsiteY73" fmla="*/ 620764 h 838042"/>
                <a:gd name="connsiteX74" fmla="*/ 355307 w 1033465"/>
                <a:gd name="connsiteY74" fmla="*/ 626479 h 838042"/>
                <a:gd name="connsiteX75" fmla="*/ 353402 w 1033465"/>
                <a:gd name="connsiteY75" fmla="*/ 632194 h 838042"/>
                <a:gd name="connsiteX76" fmla="*/ 349592 w 1033465"/>
                <a:gd name="connsiteY76" fmla="*/ 637909 h 838042"/>
                <a:gd name="connsiteX77" fmla="*/ 332447 w 1033465"/>
                <a:gd name="connsiteY77" fmla="*/ 704584 h 838042"/>
                <a:gd name="connsiteX78" fmla="*/ 330542 w 1033465"/>
                <a:gd name="connsiteY78" fmla="*/ 756019 h 838042"/>
                <a:gd name="connsiteX79" fmla="*/ 332447 w 1033465"/>
                <a:gd name="connsiteY79" fmla="*/ 780784 h 838042"/>
                <a:gd name="connsiteX80" fmla="*/ 334352 w 1033465"/>
                <a:gd name="connsiteY80" fmla="*/ 786499 h 838042"/>
                <a:gd name="connsiteX81" fmla="*/ 338162 w 1033465"/>
                <a:gd name="connsiteY81" fmla="*/ 790309 h 838042"/>
                <a:gd name="connsiteX82" fmla="*/ 366737 w 1033465"/>
                <a:gd name="connsiteY82" fmla="*/ 836029 h 838042"/>
                <a:gd name="connsiteX83" fmla="*/ 389597 w 1033465"/>
                <a:gd name="connsiteY83" fmla="*/ 837934 h 838042"/>
                <a:gd name="connsiteX84" fmla="*/ 397407 w 1033465"/>
                <a:gd name="connsiteY84" fmla="*/ 833530 h 838042"/>
                <a:gd name="connsiteX85" fmla="*/ 402932 w 1033465"/>
                <a:gd name="connsiteY85" fmla="*/ 784594 h 838042"/>
                <a:gd name="connsiteX86" fmla="*/ 406742 w 1033465"/>
                <a:gd name="connsiteY86" fmla="*/ 727444 h 838042"/>
                <a:gd name="connsiteX87" fmla="*/ 423887 w 1033465"/>
                <a:gd name="connsiteY87" fmla="*/ 672199 h 838042"/>
                <a:gd name="connsiteX88" fmla="*/ 429602 w 1033465"/>
                <a:gd name="connsiteY88" fmla="*/ 658864 h 838042"/>
                <a:gd name="connsiteX89" fmla="*/ 444084 w 1033465"/>
                <a:gd name="connsiteY89" fmla="*/ 626947 h 838042"/>
                <a:gd name="connsiteX90" fmla="*/ 464289 w 1033465"/>
                <a:gd name="connsiteY90" fmla="*/ 600072 h 838042"/>
                <a:gd name="connsiteX91" fmla="*/ 523510 w 1033465"/>
                <a:gd name="connsiteY91" fmla="*/ 565123 h 838042"/>
                <a:gd name="connsiteX92" fmla="*/ 599348 w 1033465"/>
                <a:gd name="connsiteY92" fmla="*/ 550915 h 838042"/>
                <a:gd name="connsiteX93" fmla="*/ 707801 w 1033465"/>
                <a:gd name="connsiteY93" fmla="*/ 612819 h 838042"/>
                <a:gd name="connsiteX94" fmla="*/ 780122 w 1033465"/>
                <a:gd name="connsiteY94" fmla="*/ 656959 h 838042"/>
                <a:gd name="connsiteX95" fmla="*/ 804887 w 1033465"/>
                <a:gd name="connsiteY95" fmla="*/ 632194 h 838042"/>
                <a:gd name="connsiteX96" fmla="*/ 801077 w 1033465"/>
                <a:gd name="connsiteY96" fmla="*/ 601714 h 838042"/>
                <a:gd name="connsiteX97" fmla="*/ 762796 w 1033465"/>
                <a:gd name="connsiteY97" fmla="*/ 562523 h 838042"/>
                <a:gd name="connsiteX98" fmla="*/ 650582 w 1033465"/>
                <a:gd name="connsiteY98" fmla="*/ 479794 h 838042"/>
                <a:gd name="connsiteX99" fmla="*/ 646772 w 1033465"/>
                <a:gd name="connsiteY99" fmla="*/ 462649 h 838042"/>
                <a:gd name="connsiteX100" fmla="*/ 658202 w 1033465"/>
                <a:gd name="connsiteY100" fmla="*/ 426454 h 838042"/>
                <a:gd name="connsiteX101" fmla="*/ 726782 w 1033465"/>
                <a:gd name="connsiteY101" fmla="*/ 405499 h 838042"/>
                <a:gd name="connsiteX102" fmla="*/ 813738 w 1033465"/>
                <a:gd name="connsiteY102" fmla="*/ 406906 h 838042"/>
                <a:gd name="connsiteX103" fmla="*/ 906231 w 1033465"/>
                <a:gd name="connsiteY103" fmla="*/ 417646 h 838042"/>
                <a:gd name="connsiteX104" fmla="*/ 1002290 w 1033465"/>
                <a:gd name="connsiteY104" fmla="*/ 426835 h 838042"/>
                <a:gd name="connsiteX105" fmla="*/ 1032449 w 1033465"/>
                <a:gd name="connsiteY105" fmla="*/ 402711 h 838042"/>
                <a:gd name="connsiteX106" fmla="*/ 1020514 w 1033465"/>
                <a:gd name="connsiteY106" fmla="*/ 377797 h 838042"/>
                <a:gd name="connsiteX107" fmla="*/ 964889 w 1033465"/>
                <a:gd name="connsiteY107" fmla="*/ 358029 h 838042"/>
                <a:gd name="connsiteX108" fmla="*/ 827747 w 1033465"/>
                <a:gd name="connsiteY108" fmla="*/ 357874 h 838042"/>
                <a:gd name="connsiteX109" fmla="*/ 755811 w 1033465"/>
                <a:gd name="connsiteY109" fmla="*/ 361702 h 838042"/>
                <a:gd name="connsiteX110" fmla="*/ 671537 w 1033465"/>
                <a:gd name="connsiteY110" fmla="*/ 369304 h 838042"/>
                <a:gd name="connsiteX111" fmla="*/ 644867 w 1033465"/>
                <a:gd name="connsiteY111" fmla="*/ 338824 h 838042"/>
                <a:gd name="connsiteX112" fmla="*/ 676403 w 1033465"/>
                <a:gd name="connsiteY112" fmla="*/ 304962 h 838042"/>
                <a:gd name="connsiteX113" fmla="*/ 707732 w 1033465"/>
                <a:gd name="connsiteY113" fmla="*/ 283579 h 838042"/>
                <a:gd name="connsiteX114" fmla="*/ 743927 w 1033465"/>
                <a:gd name="connsiteY114" fmla="*/ 251194 h 838042"/>
                <a:gd name="connsiteX115" fmla="*/ 783019 w 1033465"/>
                <a:gd name="connsiteY115" fmla="*/ 213846 h 838042"/>
                <a:gd name="connsiteX116" fmla="*/ 746401 w 1033465"/>
                <a:gd name="connsiteY116" fmla="*/ 201789 h 838042"/>
                <a:gd name="connsiteX117" fmla="*/ 694397 w 1033465"/>
                <a:gd name="connsiteY117" fmla="*/ 226429 h 838042"/>
                <a:gd name="connsiteX118" fmla="*/ 656678 w 1033465"/>
                <a:gd name="connsiteY118" fmla="*/ 257626 h 838042"/>
                <a:gd name="connsiteX119" fmla="*/ 616001 w 1033465"/>
                <a:gd name="connsiteY119" fmla="*/ 286712 h 838042"/>
                <a:gd name="connsiteX120" fmla="*/ 564857 w 1033465"/>
                <a:gd name="connsiteY120" fmla="*/ 287389 h 838042"/>
                <a:gd name="connsiteX121" fmla="*/ 530567 w 1033465"/>
                <a:gd name="connsiteY121" fmla="*/ 274054 h 838042"/>
                <a:gd name="connsiteX122" fmla="*/ 507707 w 1033465"/>
                <a:gd name="connsiteY122" fmla="*/ 235954 h 838042"/>
                <a:gd name="connsiteX123" fmla="*/ 509612 w 1033465"/>
                <a:gd name="connsiteY123" fmla="*/ 171184 h 838042"/>
                <a:gd name="connsiteX124" fmla="*/ 508314 w 1033465"/>
                <a:gd name="connsiteY124" fmla="*/ 73485 h 838042"/>
                <a:gd name="connsiteX125" fmla="*/ 454116 w 1033465"/>
                <a:gd name="connsiteY125" fmla="*/ 11248 h 838042"/>
                <a:gd name="connsiteX126" fmla="*/ 442470 w 1033465"/>
                <a:gd name="connsiteY126" fmla="*/ 75864 h 838042"/>
                <a:gd name="connsiteX127" fmla="*/ 439226 w 1033465"/>
                <a:gd name="connsiteY127" fmla="*/ 132660 h 838042"/>
                <a:gd name="connsiteX128" fmla="*/ 436054 w 1033465"/>
                <a:gd name="connsiteY128"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19087 w 1033465"/>
                <a:gd name="connsiteY9" fmla="*/ 226429 h 838042"/>
                <a:gd name="connsiteX10" fmla="*/ 113372 w 1033465"/>
                <a:gd name="connsiteY10" fmla="*/ 220714 h 838042"/>
                <a:gd name="connsiteX11" fmla="*/ 103847 w 1033465"/>
                <a:gd name="connsiteY11" fmla="*/ 203569 h 838042"/>
                <a:gd name="connsiteX12" fmla="*/ 86702 w 1033465"/>
                <a:gd name="connsiteY12" fmla="*/ 195949 h 838042"/>
                <a:gd name="connsiteX13" fmla="*/ 80987 w 1033465"/>
                <a:gd name="connsiteY13" fmla="*/ 194044 h 838042"/>
                <a:gd name="connsiteX14" fmla="*/ 61937 w 1033465"/>
                <a:gd name="connsiteY14" fmla="*/ 197854 h 838042"/>
                <a:gd name="connsiteX15" fmla="*/ 56222 w 1033465"/>
                <a:gd name="connsiteY15" fmla="*/ 201664 h 838042"/>
                <a:gd name="connsiteX16" fmla="*/ 52412 w 1033465"/>
                <a:gd name="connsiteY16" fmla="*/ 207379 h 838042"/>
                <a:gd name="connsiteX17" fmla="*/ 48602 w 1033465"/>
                <a:gd name="connsiteY17" fmla="*/ 218809 h 838042"/>
                <a:gd name="connsiteX18" fmla="*/ 52412 w 1033465"/>
                <a:gd name="connsiteY18" fmla="*/ 256909 h 838042"/>
                <a:gd name="connsiteX19" fmla="*/ 56222 w 1033465"/>
                <a:gd name="connsiteY19" fmla="*/ 262624 h 838042"/>
                <a:gd name="connsiteX20" fmla="*/ 61937 w 1033465"/>
                <a:gd name="connsiteY20" fmla="*/ 266434 h 838042"/>
                <a:gd name="connsiteX21" fmla="*/ 65747 w 1033465"/>
                <a:gd name="connsiteY21" fmla="*/ 272149 h 838042"/>
                <a:gd name="connsiteX22" fmla="*/ 82892 w 1033465"/>
                <a:gd name="connsiteY22" fmla="*/ 281674 h 838042"/>
                <a:gd name="connsiteX23" fmla="*/ 105752 w 1033465"/>
                <a:gd name="connsiteY23" fmla="*/ 283579 h 838042"/>
                <a:gd name="connsiteX24" fmla="*/ 126707 w 1033465"/>
                <a:gd name="connsiteY24" fmla="*/ 289294 h 838042"/>
                <a:gd name="connsiteX25" fmla="*/ 132422 w 1033465"/>
                <a:gd name="connsiteY25" fmla="*/ 291199 h 838042"/>
                <a:gd name="connsiteX26" fmla="*/ 138137 w 1033465"/>
                <a:gd name="connsiteY26" fmla="*/ 296914 h 838042"/>
                <a:gd name="connsiteX27" fmla="*/ 145757 w 1033465"/>
                <a:gd name="connsiteY27" fmla="*/ 298819 h 838042"/>
                <a:gd name="connsiteX28" fmla="*/ 168617 w 1033465"/>
                <a:gd name="connsiteY28" fmla="*/ 302629 h 838042"/>
                <a:gd name="connsiteX29" fmla="*/ 193382 w 1033465"/>
                <a:gd name="connsiteY29" fmla="*/ 308344 h 838042"/>
                <a:gd name="connsiteX30" fmla="*/ 210527 w 1033465"/>
                <a:gd name="connsiteY30" fmla="*/ 314059 h 838042"/>
                <a:gd name="connsiteX31" fmla="*/ 216242 w 1033465"/>
                <a:gd name="connsiteY31" fmla="*/ 315964 h 838042"/>
                <a:gd name="connsiteX32" fmla="*/ 231482 w 1033465"/>
                <a:gd name="connsiteY32" fmla="*/ 319774 h 838042"/>
                <a:gd name="connsiteX33" fmla="*/ 250532 w 1033465"/>
                <a:gd name="connsiteY33" fmla="*/ 325489 h 838042"/>
                <a:gd name="connsiteX34" fmla="*/ 256247 w 1033465"/>
                <a:gd name="connsiteY34" fmla="*/ 329299 h 838042"/>
                <a:gd name="connsiteX35" fmla="*/ 269582 w 1033465"/>
                <a:gd name="connsiteY35" fmla="*/ 344539 h 838042"/>
                <a:gd name="connsiteX36" fmla="*/ 275297 w 1033465"/>
                <a:gd name="connsiteY36" fmla="*/ 363589 h 838042"/>
                <a:gd name="connsiteX37" fmla="*/ 277202 w 1033465"/>
                <a:gd name="connsiteY37" fmla="*/ 369304 h 838042"/>
                <a:gd name="connsiteX38" fmla="*/ 279107 w 1033465"/>
                <a:gd name="connsiteY38" fmla="*/ 375019 h 838042"/>
                <a:gd name="connsiteX39" fmla="*/ 281012 w 1033465"/>
                <a:gd name="connsiteY39" fmla="*/ 399784 h 838042"/>
                <a:gd name="connsiteX40" fmla="*/ 282917 w 1033465"/>
                <a:gd name="connsiteY40" fmla="*/ 405499 h 838042"/>
                <a:gd name="connsiteX41" fmla="*/ 281012 w 1033465"/>
                <a:gd name="connsiteY41" fmla="*/ 424549 h 838042"/>
                <a:gd name="connsiteX42" fmla="*/ 279107 w 1033465"/>
                <a:gd name="connsiteY42" fmla="*/ 434074 h 838042"/>
                <a:gd name="connsiteX43" fmla="*/ 265772 w 1033465"/>
                <a:gd name="connsiteY43" fmla="*/ 447409 h 838042"/>
                <a:gd name="connsiteX44" fmla="*/ 254342 w 1033465"/>
                <a:gd name="connsiteY44" fmla="*/ 455029 h 838042"/>
                <a:gd name="connsiteX45" fmla="*/ 242912 w 1033465"/>
                <a:gd name="connsiteY45" fmla="*/ 458839 h 838042"/>
                <a:gd name="connsiteX46" fmla="*/ 128612 w 1033465"/>
                <a:gd name="connsiteY46" fmla="*/ 458839 h 838042"/>
                <a:gd name="connsiteX47" fmla="*/ 122897 w 1033465"/>
                <a:gd name="connsiteY47" fmla="*/ 460744 h 838042"/>
                <a:gd name="connsiteX48" fmla="*/ 107657 w 1033465"/>
                <a:gd name="connsiteY48" fmla="*/ 462649 h 838042"/>
                <a:gd name="connsiteX49" fmla="*/ 90512 w 1033465"/>
                <a:gd name="connsiteY49" fmla="*/ 468364 h 838042"/>
                <a:gd name="connsiteX50" fmla="*/ 84797 w 1033465"/>
                <a:gd name="connsiteY50" fmla="*/ 470269 h 838042"/>
                <a:gd name="connsiteX51" fmla="*/ 79082 w 1033465"/>
                <a:gd name="connsiteY51" fmla="*/ 474079 h 838042"/>
                <a:gd name="connsiteX52" fmla="*/ 67652 w 1033465"/>
                <a:gd name="connsiteY52" fmla="*/ 475984 h 838042"/>
                <a:gd name="connsiteX53" fmla="*/ 29552 w 1033465"/>
                <a:gd name="connsiteY53" fmla="*/ 477889 h 838042"/>
                <a:gd name="connsiteX54" fmla="*/ 18122 w 1033465"/>
                <a:gd name="connsiteY54" fmla="*/ 483604 h 838042"/>
                <a:gd name="connsiteX55" fmla="*/ 8597 w 1033465"/>
                <a:gd name="connsiteY55" fmla="*/ 493129 h 838042"/>
                <a:gd name="connsiteX56" fmla="*/ 6692 w 1033465"/>
                <a:gd name="connsiteY56" fmla="*/ 498844 h 838042"/>
                <a:gd name="connsiteX57" fmla="*/ 2882 w 1033465"/>
                <a:gd name="connsiteY57" fmla="*/ 504559 h 838042"/>
                <a:gd name="connsiteX58" fmla="*/ 14312 w 1033465"/>
                <a:gd name="connsiteY58" fmla="*/ 540754 h 838042"/>
                <a:gd name="connsiteX59" fmla="*/ 147662 w 1033465"/>
                <a:gd name="connsiteY59" fmla="*/ 540754 h 838042"/>
                <a:gd name="connsiteX60" fmla="*/ 155282 w 1033465"/>
                <a:gd name="connsiteY60" fmla="*/ 538849 h 838042"/>
                <a:gd name="connsiteX61" fmla="*/ 305777 w 1033465"/>
                <a:gd name="connsiteY61" fmla="*/ 533134 h 838042"/>
                <a:gd name="connsiteX62" fmla="*/ 321017 w 1033465"/>
                <a:gd name="connsiteY62" fmla="*/ 540754 h 838042"/>
                <a:gd name="connsiteX63" fmla="*/ 332447 w 1033465"/>
                <a:gd name="connsiteY63" fmla="*/ 546469 h 838042"/>
                <a:gd name="connsiteX64" fmla="*/ 336257 w 1033465"/>
                <a:gd name="connsiteY64" fmla="*/ 552184 h 838042"/>
                <a:gd name="connsiteX65" fmla="*/ 341972 w 1033465"/>
                <a:gd name="connsiteY65" fmla="*/ 554089 h 838042"/>
                <a:gd name="connsiteX66" fmla="*/ 353402 w 1033465"/>
                <a:gd name="connsiteY66" fmla="*/ 561709 h 838042"/>
                <a:gd name="connsiteX67" fmla="*/ 359117 w 1033465"/>
                <a:gd name="connsiteY67" fmla="*/ 565519 h 838042"/>
                <a:gd name="connsiteX68" fmla="*/ 362927 w 1033465"/>
                <a:gd name="connsiteY68" fmla="*/ 571234 h 838042"/>
                <a:gd name="connsiteX69" fmla="*/ 368642 w 1033465"/>
                <a:gd name="connsiteY69" fmla="*/ 582664 h 838042"/>
                <a:gd name="connsiteX70" fmla="*/ 364832 w 1033465"/>
                <a:gd name="connsiteY70" fmla="*/ 609334 h 838042"/>
                <a:gd name="connsiteX71" fmla="*/ 361022 w 1033465"/>
                <a:gd name="connsiteY71" fmla="*/ 615049 h 838042"/>
                <a:gd name="connsiteX72" fmla="*/ 359117 w 1033465"/>
                <a:gd name="connsiteY72" fmla="*/ 620764 h 838042"/>
                <a:gd name="connsiteX73" fmla="*/ 355307 w 1033465"/>
                <a:gd name="connsiteY73" fmla="*/ 626479 h 838042"/>
                <a:gd name="connsiteX74" fmla="*/ 353402 w 1033465"/>
                <a:gd name="connsiteY74" fmla="*/ 632194 h 838042"/>
                <a:gd name="connsiteX75" fmla="*/ 349592 w 1033465"/>
                <a:gd name="connsiteY75" fmla="*/ 637909 h 838042"/>
                <a:gd name="connsiteX76" fmla="*/ 332447 w 1033465"/>
                <a:gd name="connsiteY76" fmla="*/ 704584 h 838042"/>
                <a:gd name="connsiteX77" fmla="*/ 330542 w 1033465"/>
                <a:gd name="connsiteY77" fmla="*/ 756019 h 838042"/>
                <a:gd name="connsiteX78" fmla="*/ 332447 w 1033465"/>
                <a:gd name="connsiteY78" fmla="*/ 780784 h 838042"/>
                <a:gd name="connsiteX79" fmla="*/ 334352 w 1033465"/>
                <a:gd name="connsiteY79" fmla="*/ 786499 h 838042"/>
                <a:gd name="connsiteX80" fmla="*/ 338162 w 1033465"/>
                <a:gd name="connsiteY80" fmla="*/ 790309 h 838042"/>
                <a:gd name="connsiteX81" fmla="*/ 366737 w 1033465"/>
                <a:gd name="connsiteY81" fmla="*/ 836029 h 838042"/>
                <a:gd name="connsiteX82" fmla="*/ 389597 w 1033465"/>
                <a:gd name="connsiteY82" fmla="*/ 837934 h 838042"/>
                <a:gd name="connsiteX83" fmla="*/ 397407 w 1033465"/>
                <a:gd name="connsiteY83" fmla="*/ 833530 h 838042"/>
                <a:gd name="connsiteX84" fmla="*/ 402932 w 1033465"/>
                <a:gd name="connsiteY84" fmla="*/ 784594 h 838042"/>
                <a:gd name="connsiteX85" fmla="*/ 406742 w 1033465"/>
                <a:gd name="connsiteY85" fmla="*/ 727444 h 838042"/>
                <a:gd name="connsiteX86" fmla="*/ 423887 w 1033465"/>
                <a:gd name="connsiteY86" fmla="*/ 672199 h 838042"/>
                <a:gd name="connsiteX87" fmla="*/ 429602 w 1033465"/>
                <a:gd name="connsiteY87" fmla="*/ 658864 h 838042"/>
                <a:gd name="connsiteX88" fmla="*/ 444084 w 1033465"/>
                <a:gd name="connsiteY88" fmla="*/ 626947 h 838042"/>
                <a:gd name="connsiteX89" fmla="*/ 464289 w 1033465"/>
                <a:gd name="connsiteY89" fmla="*/ 600072 h 838042"/>
                <a:gd name="connsiteX90" fmla="*/ 523510 w 1033465"/>
                <a:gd name="connsiteY90" fmla="*/ 565123 h 838042"/>
                <a:gd name="connsiteX91" fmla="*/ 599348 w 1033465"/>
                <a:gd name="connsiteY91" fmla="*/ 550915 h 838042"/>
                <a:gd name="connsiteX92" fmla="*/ 707801 w 1033465"/>
                <a:gd name="connsiteY92" fmla="*/ 612819 h 838042"/>
                <a:gd name="connsiteX93" fmla="*/ 780122 w 1033465"/>
                <a:gd name="connsiteY93" fmla="*/ 656959 h 838042"/>
                <a:gd name="connsiteX94" fmla="*/ 804887 w 1033465"/>
                <a:gd name="connsiteY94" fmla="*/ 632194 h 838042"/>
                <a:gd name="connsiteX95" fmla="*/ 801077 w 1033465"/>
                <a:gd name="connsiteY95" fmla="*/ 601714 h 838042"/>
                <a:gd name="connsiteX96" fmla="*/ 762796 w 1033465"/>
                <a:gd name="connsiteY96" fmla="*/ 562523 h 838042"/>
                <a:gd name="connsiteX97" fmla="*/ 650582 w 1033465"/>
                <a:gd name="connsiteY97" fmla="*/ 479794 h 838042"/>
                <a:gd name="connsiteX98" fmla="*/ 646772 w 1033465"/>
                <a:gd name="connsiteY98" fmla="*/ 462649 h 838042"/>
                <a:gd name="connsiteX99" fmla="*/ 658202 w 1033465"/>
                <a:gd name="connsiteY99" fmla="*/ 426454 h 838042"/>
                <a:gd name="connsiteX100" fmla="*/ 726782 w 1033465"/>
                <a:gd name="connsiteY100" fmla="*/ 405499 h 838042"/>
                <a:gd name="connsiteX101" fmla="*/ 813738 w 1033465"/>
                <a:gd name="connsiteY101" fmla="*/ 406906 h 838042"/>
                <a:gd name="connsiteX102" fmla="*/ 906231 w 1033465"/>
                <a:gd name="connsiteY102" fmla="*/ 417646 h 838042"/>
                <a:gd name="connsiteX103" fmla="*/ 1002290 w 1033465"/>
                <a:gd name="connsiteY103" fmla="*/ 426835 h 838042"/>
                <a:gd name="connsiteX104" fmla="*/ 1032449 w 1033465"/>
                <a:gd name="connsiteY104" fmla="*/ 402711 h 838042"/>
                <a:gd name="connsiteX105" fmla="*/ 1020514 w 1033465"/>
                <a:gd name="connsiteY105" fmla="*/ 377797 h 838042"/>
                <a:gd name="connsiteX106" fmla="*/ 964889 w 1033465"/>
                <a:gd name="connsiteY106" fmla="*/ 358029 h 838042"/>
                <a:gd name="connsiteX107" fmla="*/ 827747 w 1033465"/>
                <a:gd name="connsiteY107" fmla="*/ 357874 h 838042"/>
                <a:gd name="connsiteX108" fmla="*/ 755811 w 1033465"/>
                <a:gd name="connsiteY108" fmla="*/ 361702 h 838042"/>
                <a:gd name="connsiteX109" fmla="*/ 671537 w 1033465"/>
                <a:gd name="connsiteY109" fmla="*/ 369304 h 838042"/>
                <a:gd name="connsiteX110" fmla="*/ 644867 w 1033465"/>
                <a:gd name="connsiteY110" fmla="*/ 338824 h 838042"/>
                <a:gd name="connsiteX111" fmla="*/ 676403 w 1033465"/>
                <a:gd name="connsiteY111" fmla="*/ 304962 h 838042"/>
                <a:gd name="connsiteX112" fmla="*/ 707732 w 1033465"/>
                <a:gd name="connsiteY112" fmla="*/ 283579 h 838042"/>
                <a:gd name="connsiteX113" fmla="*/ 743927 w 1033465"/>
                <a:gd name="connsiteY113" fmla="*/ 251194 h 838042"/>
                <a:gd name="connsiteX114" fmla="*/ 783019 w 1033465"/>
                <a:gd name="connsiteY114" fmla="*/ 213846 h 838042"/>
                <a:gd name="connsiteX115" fmla="*/ 746401 w 1033465"/>
                <a:gd name="connsiteY115" fmla="*/ 201789 h 838042"/>
                <a:gd name="connsiteX116" fmla="*/ 694397 w 1033465"/>
                <a:gd name="connsiteY116" fmla="*/ 226429 h 838042"/>
                <a:gd name="connsiteX117" fmla="*/ 656678 w 1033465"/>
                <a:gd name="connsiteY117" fmla="*/ 257626 h 838042"/>
                <a:gd name="connsiteX118" fmla="*/ 616001 w 1033465"/>
                <a:gd name="connsiteY118" fmla="*/ 286712 h 838042"/>
                <a:gd name="connsiteX119" fmla="*/ 564857 w 1033465"/>
                <a:gd name="connsiteY119" fmla="*/ 287389 h 838042"/>
                <a:gd name="connsiteX120" fmla="*/ 530567 w 1033465"/>
                <a:gd name="connsiteY120" fmla="*/ 274054 h 838042"/>
                <a:gd name="connsiteX121" fmla="*/ 507707 w 1033465"/>
                <a:gd name="connsiteY121" fmla="*/ 235954 h 838042"/>
                <a:gd name="connsiteX122" fmla="*/ 509612 w 1033465"/>
                <a:gd name="connsiteY122" fmla="*/ 171184 h 838042"/>
                <a:gd name="connsiteX123" fmla="*/ 508314 w 1033465"/>
                <a:gd name="connsiteY123" fmla="*/ 73485 h 838042"/>
                <a:gd name="connsiteX124" fmla="*/ 454116 w 1033465"/>
                <a:gd name="connsiteY124" fmla="*/ 11248 h 838042"/>
                <a:gd name="connsiteX125" fmla="*/ 442470 w 1033465"/>
                <a:gd name="connsiteY125" fmla="*/ 75864 h 838042"/>
                <a:gd name="connsiteX126" fmla="*/ 439226 w 1033465"/>
                <a:gd name="connsiteY126" fmla="*/ 132660 h 838042"/>
                <a:gd name="connsiteX127" fmla="*/ 436054 w 1033465"/>
                <a:gd name="connsiteY12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19087 w 1033465"/>
                <a:gd name="connsiteY9" fmla="*/ 226429 h 838042"/>
                <a:gd name="connsiteX10" fmla="*/ 103847 w 1033465"/>
                <a:gd name="connsiteY10" fmla="*/ 203569 h 838042"/>
                <a:gd name="connsiteX11" fmla="*/ 86702 w 1033465"/>
                <a:gd name="connsiteY11" fmla="*/ 195949 h 838042"/>
                <a:gd name="connsiteX12" fmla="*/ 80987 w 1033465"/>
                <a:gd name="connsiteY12" fmla="*/ 194044 h 838042"/>
                <a:gd name="connsiteX13" fmla="*/ 61937 w 1033465"/>
                <a:gd name="connsiteY13" fmla="*/ 197854 h 838042"/>
                <a:gd name="connsiteX14" fmla="*/ 56222 w 1033465"/>
                <a:gd name="connsiteY14" fmla="*/ 201664 h 838042"/>
                <a:gd name="connsiteX15" fmla="*/ 52412 w 1033465"/>
                <a:gd name="connsiteY15" fmla="*/ 207379 h 838042"/>
                <a:gd name="connsiteX16" fmla="*/ 48602 w 1033465"/>
                <a:gd name="connsiteY16" fmla="*/ 218809 h 838042"/>
                <a:gd name="connsiteX17" fmla="*/ 52412 w 1033465"/>
                <a:gd name="connsiteY17" fmla="*/ 256909 h 838042"/>
                <a:gd name="connsiteX18" fmla="*/ 56222 w 1033465"/>
                <a:gd name="connsiteY18" fmla="*/ 262624 h 838042"/>
                <a:gd name="connsiteX19" fmla="*/ 61937 w 1033465"/>
                <a:gd name="connsiteY19" fmla="*/ 266434 h 838042"/>
                <a:gd name="connsiteX20" fmla="*/ 65747 w 1033465"/>
                <a:gd name="connsiteY20" fmla="*/ 272149 h 838042"/>
                <a:gd name="connsiteX21" fmla="*/ 82892 w 1033465"/>
                <a:gd name="connsiteY21" fmla="*/ 281674 h 838042"/>
                <a:gd name="connsiteX22" fmla="*/ 105752 w 1033465"/>
                <a:gd name="connsiteY22" fmla="*/ 283579 h 838042"/>
                <a:gd name="connsiteX23" fmla="*/ 126707 w 1033465"/>
                <a:gd name="connsiteY23" fmla="*/ 289294 h 838042"/>
                <a:gd name="connsiteX24" fmla="*/ 132422 w 1033465"/>
                <a:gd name="connsiteY24" fmla="*/ 291199 h 838042"/>
                <a:gd name="connsiteX25" fmla="*/ 138137 w 1033465"/>
                <a:gd name="connsiteY25" fmla="*/ 296914 h 838042"/>
                <a:gd name="connsiteX26" fmla="*/ 145757 w 1033465"/>
                <a:gd name="connsiteY26" fmla="*/ 298819 h 838042"/>
                <a:gd name="connsiteX27" fmla="*/ 168617 w 1033465"/>
                <a:gd name="connsiteY27" fmla="*/ 302629 h 838042"/>
                <a:gd name="connsiteX28" fmla="*/ 193382 w 1033465"/>
                <a:gd name="connsiteY28" fmla="*/ 308344 h 838042"/>
                <a:gd name="connsiteX29" fmla="*/ 210527 w 1033465"/>
                <a:gd name="connsiteY29" fmla="*/ 314059 h 838042"/>
                <a:gd name="connsiteX30" fmla="*/ 216242 w 1033465"/>
                <a:gd name="connsiteY30" fmla="*/ 315964 h 838042"/>
                <a:gd name="connsiteX31" fmla="*/ 231482 w 1033465"/>
                <a:gd name="connsiteY31" fmla="*/ 319774 h 838042"/>
                <a:gd name="connsiteX32" fmla="*/ 250532 w 1033465"/>
                <a:gd name="connsiteY32" fmla="*/ 325489 h 838042"/>
                <a:gd name="connsiteX33" fmla="*/ 256247 w 1033465"/>
                <a:gd name="connsiteY33" fmla="*/ 329299 h 838042"/>
                <a:gd name="connsiteX34" fmla="*/ 269582 w 1033465"/>
                <a:gd name="connsiteY34" fmla="*/ 344539 h 838042"/>
                <a:gd name="connsiteX35" fmla="*/ 275297 w 1033465"/>
                <a:gd name="connsiteY35" fmla="*/ 363589 h 838042"/>
                <a:gd name="connsiteX36" fmla="*/ 277202 w 1033465"/>
                <a:gd name="connsiteY36" fmla="*/ 369304 h 838042"/>
                <a:gd name="connsiteX37" fmla="*/ 279107 w 1033465"/>
                <a:gd name="connsiteY37" fmla="*/ 375019 h 838042"/>
                <a:gd name="connsiteX38" fmla="*/ 281012 w 1033465"/>
                <a:gd name="connsiteY38" fmla="*/ 399784 h 838042"/>
                <a:gd name="connsiteX39" fmla="*/ 282917 w 1033465"/>
                <a:gd name="connsiteY39" fmla="*/ 405499 h 838042"/>
                <a:gd name="connsiteX40" fmla="*/ 281012 w 1033465"/>
                <a:gd name="connsiteY40" fmla="*/ 424549 h 838042"/>
                <a:gd name="connsiteX41" fmla="*/ 279107 w 1033465"/>
                <a:gd name="connsiteY41" fmla="*/ 434074 h 838042"/>
                <a:gd name="connsiteX42" fmla="*/ 265772 w 1033465"/>
                <a:gd name="connsiteY42" fmla="*/ 447409 h 838042"/>
                <a:gd name="connsiteX43" fmla="*/ 254342 w 1033465"/>
                <a:gd name="connsiteY43" fmla="*/ 455029 h 838042"/>
                <a:gd name="connsiteX44" fmla="*/ 242912 w 1033465"/>
                <a:gd name="connsiteY44" fmla="*/ 458839 h 838042"/>
                <a:gd name="connsiteX45" fmla="*/ 128612 w 1033465"/>
                <a:gd name="connsiteY45" fmla="*/ 458839 h 838042"/>
                <a:gd name="connsiteX46" fmla="*/ 122897 w 1033465"/>
                <a:gd name="connsiteY46" fmla="*/ 460744 h 838042"/>
                <a:gd name="connsiteX47" fmla="*/ 107657 w 1033465"/>
                <a:gd name="connsiteY47" fmla="*/ 462649 h 838042"/>
                <a:gd name="connsiteX48" fmla="*/ 90512 w 1033465"/>
                <a:gd name="connsiteY48" fmla="*/ 468364 h 838042"/>
                <a:gd name="connsiteX49" fmla="*/ 84797 w 1033465"/>
                <a:gd name="connsiteY49" fmla="*/ 470269 h 838042"/>
                <a:gd name="connsiteX50" fmla="*/ 79082 w 1033465"/>
                <a:gd name="connsiteY50" fmla="*/ 474079 h 838042"/>
                <a:gd name="connsiteX51" fmla="*/ 67652 w 1033465"/>
                <a:gd name="connsiteY51" fmla="*/ 475984 h 838042"/>
                <a:gd name="connsiteX52" fmla="*/ 29552 w 1033465"/>
                <a:gd name="connsiteY52" fmla="*/ 477889 h 838042"/>
                <a:gd name="connsiteX53" fmla="*/ 18122 w 1033465"/>
                <a:gd name="connsiteY53" fmla="*/ 483604 h 838042"/>
                <a:gd name="connsiteX54" fmla="*/ 8597 w 1033465"/>
                <a:gd name="connsiteY54" fmla="*/ 493129 h 838042"/>
                <a:gd name="connsiteX55" fmla="*/ 6692 w 1033465"/>
                <a:gd name="connsiteY55" fmla="*/ 498844 h 838042"/>
                <a:gd name="connsiteX56" fmla="*/ 2882 w 1033465"/>
                <a:gd name="connsiteY56" fmla="*/ 504559 h 838042"/>
                <a:gd name="connsiteX57" fmla="*/ 14312 w 1033465"/>
                <a:gd name="connsiteY57" fmla="*/ 540754 h 838042"/>
                <a:gd name="connsiteX58" fmla="*/ 147662 w 1033465"/>
                <a:gd name="connsiteY58" fmla="*/ 540754 h 838042"/>
                <a:gd name="connsiteX59" fmla="*/ 155282 w 1033465"/>
                <a:gd name="connsiteY59" fmla="*/ 538849 h 838042"/>
                <a:gd name="connsiteX60" fmla="*/ 305777 w 1033465"/>
                <a:gd name="connsiteY60" fmla="*/ 533134 h 838042"/>
                <a:gd name="connsiteX61" fmla="*/ 321017 w 1033465"/>
                <a:gd name="connsiteY61" fmla="*/ 540754 h 838042"/>
                <a:gd name="connsiteX62" fmla="*/ 332447 w 1033465"/>
                <a:gd name="connsiteY62" fmla="*/ 546469 h 838042"/>
                <a:gd name="connsiteX63" fmla="*/ 336257 w 1033465"/>
                <a:gd name="connsiteY63" fmla="*/ 552184 h 838042"/>
                <a:gd name="connsiteX64" fmla="*/ 341972 w 1033465"/>
                <a:gd name="connsiteY64" fmla="*/ 554089 h 838042"/>
                <a:gd name="connsiteX65" fmla="*/ 353402 w 1033465"/>
                <a:gd name="connsiteY65" fmla="*/ 561709 h 838042"/>
                <a:gd name="connsiteX66" fmla="*/ 359117 w 1033465"/>
                <a:gd name="connsiteY66" fmla="*/ 565519 h 838042"/>
                <a:gd name="connsiteX67" fmla="*/ 362927 w 1033465"/>
                <a:gd name="connsiteY67" fmla="*/ 571234 h 838042"/>
                <a:gd name="connsiteX68" fmla="*/ 368642 w 1033465"/>
                <a:gd name="connsiteY68" fmla="*/ 582664 h 838042"/>
                <a:gd name="connsiteX69" fmla="*/ 364832 w 1033465"/>
                <a:gd name="connsiteY69" fmla="*/ 609334 h 838042"/>
                <a:gd name="connsiteX70" fmla="*/ 361022 w 1033465"/>
                <a:gd name="connsiteY70" fmla="*/ 615049 h 838042"/>
                <a:gd name="connsiteX71" fmla="*/ 359117 w 1033465"/>
                <a:gd name="connsiteY71" fmla="*/ 620764 h 838042"/>
                <a:gd name="connsiteX72" fmla="*/ 355307 w 1033465"/>
                <a:gd name="connsiteY72" fmla="*/ 626479 h 838042"/>
                <a:gd name="connsiteX73" fmla="*/ 353402 w 1033465"/>
                <a:gd name="connsiteY73" fmla="*/ 632194 h 838042"/>
                <a:gd name="connsiteX74" fmla="*/ 349592 w 1033465"/>
                <a:gd name="connsiteY74" fmla="*/ 637909 h 838042"/>
                <a:gd name="connsiteX75" fmla="*/ 332447 w 1033465"/>
                <a:gd name="connsiteY75" fmla="*/ 704584 h 838042"/>
                <a:gd name="connsiteX76" fmla="*/ 330542 w 1033465"/>
                <a:gd name="connsiteY76" fmla="*/ 756019 h 838042"/>
                <a:gd name="connsiteX77" fmla="*/ 332447 w 1033465"/>
                <a:gd name="connsiteY77" fmla="*/ 780784 h 838042"/>
                <a:gd name="connsiteX78" fmla="*/ 334352 w 1033465"/>
                <a:gd name="connsiteY78" fmla="*/ 786499 h 838042"/>
                <a:gd name="connsiteX79" fmla="*/ 338162 w 1033465"/>
                <a:gd name="connsiteY79" fmla="*/ 790309 h 838042"/>
                <a:gd name="connsiteX80" fmla="*/ 366737 w 1033465"/>
                <a:gd name="connsiteY80" fmla="*/ 836029 h 838042"/>
                <a:gd name="connsiteX81" fmla="*/ 389597 w 1033465"/>
                <a:gd name="connsiteY81" fmla="*/ 837934 h 838042"/>
                <a:gd name="connsiteX82" fmla="*/ 397407 w 1033465"/>
                <a:gd name="connsiteY82" fmla="*/ 833530 h 838042"/>
                <a:gd name="connsiteX83" fmla="*/ 402932 w 1033465"/>
                <a:gd name="connsiteY83" fmla="*/ 784594 h 838042"/>
                <a:gd name="connsiteX84" fmla="*/ 406742 w 1033465"/>
                <a:gd name="connsiteY84" fmla="*/ 727444 h 838042"/>
                <a:gd name="connsiteX85" fmla="*/ 423887 w 1033465"/>
                <a:gd name="connsiteY85" fmla="*/ 672199 h 838042"/>
                <a:gd name="connsiteX86" fmla="*/ 429602 w 1033465"/>
                <a:gd name="connsiteY86" fmla="*/ 658864 h 838042"/>
                <a:gd name="connsiteX87" fmla="*/ 444084 w 1033465"/>
                <a:gd name="connsiteY87" fmla="*/ 626947 h 838042"/>
                <a:gd name="connsiteX88" fmla="*/ 464289 w 1033465"/>
                <a:gd name="connsiteY88" fmla="*/ 600072 h 838042"/>
                <a:gd name="connsiteX89" fmla="*/ 523510 w 1033465"/>
                <a:gd name="connsiteY89" fmla="*/ 565123 h 838042"/>
                <a:gd name="connsiteX90" fmla="*/ 599348 w 1033465"/>
                <a:gd name="connsiteY90" fmla="*/ 550915 h 838042"/>
                <a:gd name="connsiteX91" fmla="*/ 707801 w 1033465"/>
                <a:gd name="connsiteY91" fmla="*/ 612819 h 838042"/>
                <a:gd name="connsiteX92" fmla="*/ 780122 w 1033465"/>
                <a:gd name="connsiteY92" fmla="*/ 656959 h 838042"/>
                <a:gd name="connsiteX93" fmla="*/ 804887 w 1033465"/>
                <a:gd name="connsiteY93" fmla="*/ 632194 h 838042"/>
                <a:gd name="connsiteX94" fmla="*/ 801077 w 1033465"/>
                <a:gd name="connsiteY94" fmla="*/ 601714 h 838042"/>
                <a:gd name="connsiteX95" fmla="*/ 762796 w 1033465"/>
                <a:gd name="connsiteY95" fmla="*/ 562523 h 838042"/>
                <a:gd name="connsiteX96" fmla="*/ 650582 w 1033465"/>
                <a:gd name="connsiteY96" fmla="*/ 479794 h 838042"/>
                <a:gd name="connsiteX97" fmla="*/ 646772 w 1033465"/>
                <a:gd name="connsiteY97" fmla="*/ 462649 h 838042"/>
                <a:gd name="connsiteX98" fmla="*/ 658202 w 1033465"/>
                <a:gd name="connsiteY98" fmla="*/ 426454 h 838042"/>
                <a:gd name="connsiteX99" fmla="*/ 726782 w 1033465"/>
                <a:gd name="connsiteY99" fmla="*/ 405499 h 838042"/>
                <a:gd name="connsiteX100" fmla="*/ 813738 w 1033465"/>
                <a:gd name="connsiteY100" fmla="*/ 406906 h 838042"/>
                <a:gd name="connsiteX101" fmla="*/ 906231 w 1033465"/>
                <a:gd name="connsiteY101" fmla="*/ 417646 h 838042"/>
                <a:gd name="connsiteX102" fmla="*/ 1002290 w 1033465"/>
                <a:gd name="connsiteY102" fmla="*/ 426835 h 838042"/>
                <a:gd name="connsiteX103" fmla="*/ 1032449 w 1033465"/>
                <a:gd name="connsiteY103" fmla="*/ 402711 h 838042"/>
                <a:gd name="connsiteX104" fmla="*/ 1020514 w 1033465"/>
                <a:gd name="connsiteY104" fmla="*/ 377797 h 838042"/>
                <a:gd name="connsiteX105" fmla="*/ 964889 w 1033465"/>
                <a:gd name="connsiteY105" fmla="*/ 358029 h 838042"/>
                <a:gd name="connsiteX106" fmla="*/ 827747 w 1033465"/>
                <a:gd name="connsiteY106" fmla="*/ 357874 h 838042"/>
                <a:gd name="connsiteX107" fmla="*/ 755811 w 1033465"/>
                <a:gd name="connsiteY107" fmla="*/ 361702 h 838042"/>
                <a:gd name="connsiteX108" fmla="*/ 671537 w 1033465"/>
                <a:gd name="connsiteY108" fmla="*/ 369304 h 838042"/>
                <a:gd name="connsiteX109" fmla="*/ 644867 w 1033465"/>
                <a:gd name="connsiteY109" fmla="*/ 338824 h 838042"/>
                <a:gd name="connsiteX110" fmla="*/ 676403 w 1033465"/>
                <a:gd name="connsiteY110" fmla="*/ 304962 h 838042"/>
                <a:gd name="connsiteX111" fmla="*/ 707732 w 1033465"/>
                <a:gd name="connsiteY111" fmla="*/ 283579 h 838042"/>
                <a:gd name="connsiteX112" fmla="*/ 743927 w 1033465"/>
                <a:gd name="connsiteY112" fmla="*/ 251194 h 838042"/>
                <a:gd name="connsiteX113" fmla="*/ 783019 w 1033465"/>
                <a:gd name="connsiteY113" fmla="*/ 213846 h 838042"/>
                <a:gd name="connsiteX114" fmla="*/ 746401 w 1033465"/>
                <a:gd name="connsiteY114" fmla="*/ 201789 h 838042"/>
                <a:gd name="connsiteX115" fmla="*/ 694397 w 1033465"/>
                <a:gd name="connsiteY115" fmla="*/ 226429 h 838042"/>
                <a:gd name="connsiteX116" fmla="*/ 656678 w 1033465"/>
                <a:gd name="connsiteY116" fmla="*/ 257626 h 838042"/>
                <a:gd name="connsiteX117" fmla="*/ 616001 w 1033465"/>
                <a:gd name="connsiteY117" fmla="*/ 286712 h 838042"/>
                <a:gd name="connsiteX118" fmla="*/ 564857 w 1033465"/>
                <a:gd name="connsiteY118" fmla="*/ 287389 h 838042"/>
                <a:gd name="connsiteX119" fmla="*/ 530567 w 1033465"/>
                <a:gd name="connsiteY119" fmla="*/ 274054 h 838042"/>
                <a:gd name="connsiteX120" fmla="*/ 507707 w 1033465"/>
                <a:gd name="connsiteY120" fmla="*/ 235954 h 838042"/>
                <a:gd name="connsiteX121" fmla="*/ 509612 w 1033465"/>
                <a:gd name="connsiteY121" fmla="*/ 171184 h 838042"/>
                <a:gd name="connsiteX122" fmla="*/ 508314 w 1033465"/>
                <a:gd name="connsiteY122" fmla="*/ 73485 h 838042"/>
                <a:gd name="connsiteX123" fmla="*/ 454116 w 1033465"/>
                <a:gd name="connsiteY123" fmla="*/ 11248 h 838042"/>
                <a:gd name="connsiteX124" fmla="*/ 442470 w 1033465"/>
                <a:gd name="connsiteY124" fmla="*/ 75864 h 838042"/>
                <a:gd name="connsiteX125" fmla="*/ 439226 w 1033465"/>
                <a:gd name="connsiteY125" fmla="*/ 132660 h 838042"/>
                <a:gd name="connsiteX126" fmla="*/ 436054 w 1033465"/>
                <a:gd name="connsiteY12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19087 w 1033465"/>
                <a:gd name="connsiteY9" fmla="*/ 226429 h 838042"/>
                <a:gd name="connsiteX10" fmla="*/ 103847 w 1033465"/>
                <a:gd name="connsiteY10" fmla="*/ 203569 h 838042"/>
                <a:gd name="connsiteX11" fmla="*/ 86702 w 1033465"/>
                <a:gd name="connsiteY11" fmla="*/ 195949 h 838042"/>
                <a:gd name="connsiteX12" fmla="*/ 80987 w 1033465"/>
                <a:gd name="connsiteY12" fmla="*/ 194044 h 838042"/>
                <a:gd name="connsiteX13" fmla="*/ 61937 w 1033465"/>
                <a:gd name="connsiteY13" fmla="*/ 197854 h 838042"/>
                <a:gd name="connsiteX14" fmla="*/ 56222 w 1033465"/>
                <a:gd name="connsiteY14" fmla="*/ 201664 h 838042"/>
                <a:gd name="connsiteX15" fmla="*/ 52412 w 1033465"/>
                <a:gd name="connsiteY15" fmla="*/ 207379 h 838042"/>
                <a:gd name="connsiteX16" fmla="*/ 48602 w 1033465"/>
                <a:gd name="connsiteY16" fmla="*/ 218809 h 838042"/>
                <a:gd name="connsiteX17" fmla="*/ 52412 w 1033465"/>
                <a:gd name="connsiteY17" fmla="*/ 256909 h 838042"/>
                <a:gd name="connsiteX18" fmla="*/ 56222 w 1033465"/>
                <a:gd name="connsiteY18" fmla="*/ 262624 h 838042"/>
                <a:gd name="connsiteX19" fmla="*/ 61937 w 1033465"/>
                <a:gd name="connsiteY19" fmla="*/ 266434 h 838042"/>
                <a:gd name="connsiteX20" fmla="*/ 65747 w 1033465"/>
                <a:gd name="connsiteY20" fmla="*/ 272149 h 838042"/>
                <a:gd name="connsiteX21" fmla="*/ 82892 w 1033465"/>
                <a:gd name="connsiteY21" fmla="*/ 281674 h 838042"/>
                <a:gd name="connsiteX22" fmla="*/ 105752 w 1033465"/>
                <a:gd name="connsiteY22" fmla="*/ 283579 h 838042"/>
                <a:gd name="connsiteX23" fmla="*/ 126707 w 1033465"/>
                <a:gd name="connsiteY23" fmla="*/ 289294 h 838042"/>
                <a:gd name="connsiteX24" fmla="*/ 132422 w 1033465"/>
                <a:gd name="connsiteY24" fmla="*/ 291199 h 838042"/>
                <a:gd name="connsiteX25" fmla="*/ 138137 w 1033465"/>
                <a:gd name="connsiteY25" fmla="*/ 296914 h 838042"/>
                <a:gd name="connsiteX26" fmla="*/ 145757 w 1033465"/>
                <a:gd name="connsiteY26" fmla="*/ 298819 h 838042"/>
                <a:gd name="connsiteX27" fmla="*/ 168617 w 1033465"/>
                <a:gd name="connsiteY27" fmla="*/ 302629 h 838042"/>
                <a:gd name="connsiteX28" fmla="*/ 193382 w 1033465"/>
                <a:gd name="connsiteY28" fmla="*/ 308344 h 838042"/>
                <a:gd name="connsiteX29" fmla="*/ 210527 w 1033465"/>
                <a:gd name="connsiteY29" fmla="*/ 314059 h 838042"/>
                <a:gd name="connsiteX30" fmla="*/ 216242 w 1033465"/>
                <a:gd name="connsiteY30" fmla="*/ 315964 h 838042"/>
                <a:gd name="connsiteX31" fmla="*/ 231482 w 1033465"/>
                <a:gd name="connsiteY31" fmla="*/ 319774 h 838042"/>
                <a:gd name="connsiteX32" fmla="*/ 250532 w 1033465"/>
                <a:gd name="connsiteY32" fmla="*/ 325489 h 838042"/>
                <a:gd name="connsiteX33" fmla="*/ 256247 w 1033465"/>
                <a:gd name="connsiteY33" fmla="*/ 329299 h 838042"/>
                <a:gd name="connsiteX34" fmla="*/ 269582 w 1033465"/>
                <a:gd name="connsiteY34" fmla="*/ 344539 h 838042"/>
                <a:gd name="connsiteX35" fmla="*/ 275297 w 1033465"/>
                <a:gd name="connsiteY35" fmla="*/ 363589 h 838042"/>
                <a:gd name="connsiteX36" fmla="*/ 277202 w 1033465"/>
                <a:gd name="connsiteY36" fmla="*/ 369304 h 838042"/>
                <a:gd name="connsiteX37" fmla="*/ 279107 w 1033465"/>
                <a:gd name="connsiteY37" fmla="*/ 375019 h 838042"/>
                <a:gd name="connsiteX38" fmla="*/ 281012 w 1033465"/>
                <a:gd name="connsiteY38" fmla="*/ 399784 h 838042"/>
                <a:gd name="connsiteX39" fmla="*/ 282917 w 1033465"/>
                <a:gd name="connsiteY39" fmla="*/ 405499 h 838042"/>
                <a:gd name="connsiteX40" fmla="*/ 281012 w 1033465"/>
                <a:gd name="connsiteY40" fmla="*/ 424549 h 838042"/>
                <a:gd name="connsiteX41" fmla="*/ 279107 w 1033465"/>
                <a:gd name="connsiteY41" fmla="*/ 434074 h 838042"/>
                <a:gd name="connsiteX42" fmla="*/ 265772 w 1033465"/>
                <a:gd name="connsiteY42" fmla="*/ 447409 h 838042"/>
                <a:gd name="connsiteX43" fmla="*/ 254342 w 1033465"/>
                <a:gd name="connsiteY43" fmla="*/ 455029 h 838042"/>
                <a:gd name="connsiteX44" fmla="*/ 242912 w 1033465"/>
                <a:gd name="connsiteY44" fmla="*/ 458839 h 838042"/>
                <a:gd name="connsiteX45" fmla="*/ 128612 w 1033465"/>
                <a:gd name="connsiteY45" fmla="*/ 458839 h 838042"/>
                <a:gd name="connsiteX46" fmla="*/ 122897 w 1033465"/>
                <a:gd name="connsiteY46" fmla="*/ 460744 h 838042"/>
                <a:gd name="connsiteX47" fmla="*/ 107657 w 1033465"/>
                <a:gd name="connsiteY47" fmla="*/ 462649 h 838042"/>
                <a:gd name="connsiteX48" fmla="*/ 90512 w 1033465"/>
                <a:gd name="connsiteY48" fmla="*/ 468364 h 838042"/>
                <a:gd name="connsiteX49" fmla="*/ 84797 w 1033465"/>
                <a:gd name="connsiteY49" fmla="*/ 470269 h 838042"/>
                <a:gd name="connsiteX50" fmla="*/ 79082 w 1033465"/>
                <a:gd name="connsiteY50" fmla="*/ 474079 h 838042"/>
                <a:gd name="connsiteX51" fmla="*/ 67652 w 1033465"/>
                <a:gd name="connsiteY51" fmla="*/ 475984 h 838042"/>
                <a:gd name="connsiteX52" fmla="*/ 29552 w 1033465"/>
                <a:gd name="connsiteY52" fmla="*/ 477889 h 838042"/>
                <a:gd name="connsiteX53" fmla="*/ 18122 w 1033465"/>
                <a:gd name="connsiteY53" fmla="*/ 483604 h 838042"/>
                <a:gd name="connsiteX54" fmla="*/ 8597 w 1033465"/>
                <a:gd name="connsiteY54" fmla="*/ 493129 h 838042"/>
                <a:gd name="connsiteX55" fmla="*/ 6692 w 1033465"/>
                <a:gd name="connsiteY55" fmla="*/ 498844 h 838042"/>
                <a:gd name="connsiteX56" fmla="*/ 2882 w 1033465"/>
                <a:gd name="connsiteY56" fmla="*/ 504559 h 838042"/>
                <a:gd name="connsiteX57" fmla="*/ 14312 w 1033465"/>
                <a:gd name="connsiteY57" fmla="*/ 540754 h 838042"/>
                <a:gd name="connsiteX58" fmla="*/ 147662 w 1033465"/>
                <a:gd name="connsiteY58" fmla="*/ 540754 h 838042"/>
                <a:gd name="connsiteX59" fmla="*/ 155282 w 1033465"/>
                <a:gd name="connsiteY59" fmla="*/ 538849 h 838042"/>
                <a:gd name="connsiteX60" fmla="*/ 305777 w 1033465"/>
                <a:gd name="connsiteY60" fmla="*/ 533134 h 838042"/>
                <a:gd name="connsiteX61" fmla="*/ 321017 w 1033465"/>
                <a:gd name="connsiteY61" fmla="*/ 540754 h 838042"/>
                <a:gd name="connsiteX62" fmla="*/ 332447 w 1033465"/>
                <a:gd name="connsiteY62" fmla="*/ 546469 h 838042"/>
                <a:gd name="connsiteX63" fmla="*/ 336257 w 1033465"/>
                <a:gd name="connsiteY63" fmla="*/ 552184 h 838042"/>
                <a:gd name="connsiteX64" fmla="*/ 341972 w 1033465"/>
                <a:gd name="connsiteY64" fmla="*/ 554089 h 838042"/>
                <a:gd name="connsiteX65" fmla="*/ 353402 w 1033465"/>
                <a:gd name="connsiteY65" fmla="*/ 561709 h 838042"/>
                <a:gd name="connsiteX66" fmla="*/ 359117 w 1033465"/>
                <a:gd name="connsiteY66" fmla="*/ 565519 h 838042"/>
                <a:gd name="connsiteX67" fmla="*/ 362927 w 1033465"/>
                <a:gd name="connsiteY67" fmla="*/ 571234 h 838042"/>
                <a:gd name="connsiteX68" fmla="*/ 368642 w 1033465"/>
                <a:gd name="connsiteY68" fmla="*/ 582664 h 838042"/>
                <a:gd name="connsiteX69" fmla="*/ 364832 w 1033465"/>
                <a:gd name="connsiteY69" fmla="*/ 609334 h 838042"/>
                <a:gd name="connsiteX70" fmla="*/ 361022 w 1033465"/>
                <a:gd name="connsiteY70" fmla="*/ 615049 h 838042"/>
                <a:gd name="connsiteX71" fmla="*/ 359117 w 1033465"/>
                <a:gd name="connsiteY71" fmla="*/ 620764 h 838042"/>
                <a:gd name="connsiteX72" fmla="*/ 355307 w 1033465"/>
                <a:gd name="connsiteY72" fmla="*/ 626479 h 838042"/>
                <a:gd name="connsiteX73" fmla="*/ 353402 w 1033465"/>
                <a:gd name="connsiteY73" fmla="*/ 632194 h 838042"/>
                <a:gd name="connsiteX74" fmla="*/ 349592 w 1033465"/>
                <a:gd name="connsiteY74" fmla="*/ 637909 h 838042"/>
                <a:gd name="connsiteX75" fmla="*/ 332447 w 1033465"/>
                <a:gd name="connsiteY75" fmla="*/ 704584 h 838042"/>
                <a:gd name="connsiteX76" fmla="*/ 330542 w 1033465"/>
                <a:gd name="connsiteY76" fmla="*/ 756019 h 838042"/>
                <a:gd name="connsiteX77" fmla="*/ 332447 w 1033465"/>
                <a:gd name="connsiteY77" fmla="*/ 780784 h 838042"/>
                <a:gd name="connsiteX78" fmla="*/ 334352 w 1033465"/>
                <a:gd name="connsiteY78" fmla="*/ 786499 h 838042"/>
                <a:gd name="connsiteX79" fmla="*/ 338162 w 1033465"/>
                <a:gd name="connsiteY79" fmla="*/ 790309 h 838042"/>
                <a:gd name="connsiteX80" fmla="*/ 366737 w 1033465"/>
                <a:gd name="connsiteY80" fmla="*/ 836029 h 838042"/>
                <a:gd name="connsiteX81" fmla="*/ 389597 w 1033465"/>
                <a:gd name="connsiteY81" fmla="*/ 837934 h 838042"/>
                <a:gd name="connsiteX82" fmla="*/ 397407 w 1033465"/>
                <a:gd name="connsiteY82" fmla="*/ 833530 h 838042"/>
                <a:gd name="connsiteX83" fmla="*/ 402932 w 1033465"/>
                <a:gd name="connsiteY83" fmla="*/ 784594 h 838042"/>
                <a:gd name="connsiteX84" fmla="*/ 406742 w 1033465"/>
                <a:gd name="connsiteY84" fmla="*/ 727444 h 838042"/>
                <a:gd name="connsiteX85" fmla="*/ 423887 w 1033465"/>
                <a:gd name="connsiteY85" fmla="*/ 672199 h 838042"/>
                <a:gd name="connsiteX86" fmla="*/ 429602 w 1033465"/>
                <a:gd name="connsiteY86" fmla="*/ 658864 h 838042"/>
                <a:gd name="connsiteX87" fmla="*/ 444084 w 1033465"/>
                <a:gd name="connsiteY87" fmla="*/ 626947 h 838042"/>
                <a:gd name="connsiteX88" fmla="*/ 464289 w 1033465"/>
                <a:gd name="connsiteY88" fmla="*/ 600072 h 838042"/>
                <a:gd name="connsiteX89" fmla="*/ 523510 w 1033465"/>
                <a:gd name="connsiteY89" fmla="*/ 565123 h 838042"/>
                <a:gd name="connsiteX90" fmla="*/ 599348 w 1033465"/>
                <a:gd name="connsiteY90" fmla="*/ 550915 h 838042"/>
                <a:gd name="connsiteX91" fmla="*/ 707801 w 1033465"/>
                <a:gd name="connsiteY91" fmla="*/ 612819 h 838042"/>
                <a:gd name="connsiteX92" fmla="*/ 780122 w 1033465"/>
                <a:gd name="connsiteY92" fmla="*/ 656959 h 838042"/>
                <a:gd name="connsiteX93" fmla="*/ 804887 w 1033465"/>
                <a:gd name="connsiteY93" fmla="*/ 632194 h 838042"/>
                <a:gd name="connsiteX94" fmla="*/ 801077 w 1033465"/>
                <a:gd name="connsiteY94" fmla="*/ 601714 h 838042"/>
                <a:gd name="connsiteX95" fmla="*/ 762796 w 1033465"/>
                <a:gd name="connsiteY95" fmla="*/ 562523 h 838042"/>
                <a:gd name="connsiteX96" fmla="*/ 650582 w 1033465"/>
                <a:gd name="connsiteY96" fmla="*/ 479794 h 838042"/>
                <a:gd name="connsiteX97" fmla="*/ 646772 w 1033465"/>
                <a:gd name="connsiteY97" fmla="*/ 462649 h 838042"/>
                <a:gd name="connsiteX98" fmla="*/ 658202 w 1033465"/>
                <a:gd name="connsiteY98" fmla="*/ 426454 h 838042"/>
                <a:gd name="connsiteX99" fmla="*/ 726782 w 1033465"/>
                <a:gd name="connsiteY99" fmla="*/ 405499 h 838042"/>
                <a:gd name="connsiteX100" fmla="*/ 813738 w 1033465"/>
                <a:gd name="connsiteY100" fmla="*/ 406906 h 838042"/>
                <a:gd name="connsiteX101" fmla="*/ 906231 w 1033465"/>
                <a:gd name="connsiteY101" fmla="*/ 417646 h 838042"/>
                <a:gd name="connsiteX102" fmla="*/ 1002290 w 1033465"/>
                <a:gd name="connsiteY102" fmla="*/ 426835 h 838042"/>
                <a:gd name="connsiteX103" fmla="*/ 1032449 w 1033465"/>
                <a:gd name="connsiteY103" fmla="*/ 402711 h 838042"/>
                <a:gd name="connsiteX104" fmla="*/ 1020514 w 1033465"/>
                <a:gd name="connsiteY104" fmla="*/ 377797 h 838042"/>
                <a:gd name="connsiteX105" fmla="*/ 964889 w 1033465"/>
                <a:gd name="connsiteY105" fmla="*/ 358029 h 838042"/>
                <a:gd name="connsiteX106" fmla="*/ 827747 w 1033465"/>
                <a:gd name="connsiteY106" fmla="*/ 357874 h 838042"/>
                <a:gd name="connsiteX107" fmla="*/ 755811 w 1033465"/>
                <a:gd name="connsiteY107" fmla="*/ 361702 h 838042"/>
                <a:gd name="connsiteX108" fmla="*/ 671537 w 1033465"/>
                <a:gd name="connsiteY108" fmla="*/ 369304 h 838042"/>
                <a:gd name="connsiteX109" fmla="*/ 644867 w 1033465"/>
                <a:gd name="connsiteY109" fmla="*/ 338824 h 838042"/>
                <a:gd name="connsiteX110" fmla="*/ 676403 w 1033465"/>
                <a:gd name="connsiteY110" fmla="*/ 304962 h 838042"/>
                <a:gd name="connsiteX111" fmla="*/ 707732 w 1033465"/>
                <a:gd name="connsiteY111" fmla="*/ 283579 h 838042"/>
                <a:gd name="connsiteX112" fmla="*/ 743927 w 1033465"/>
                <a:gd name="connsiteY112" fmla="*/ 251194 h 838042"/>
                <a:gd name="connsiteX113" fmla="*/ 783019 w 1033465"/>
                <a:gd name="connsiteY113" fmla="*/ 213846 h 838042"/>
                <a:gd name="connsiteX114" fmla="*/ 746401 w 1033465"/>
                <a:gd name="connsiteY114" fmla="*/ 201789 h 838042"/>
                <a:gd name="connsiteX115" fmla="*/ 694397 w 1033465"/>
                <a:gd name="connsiteY115" fmla="*/ 226429 h 838042"/>
                <a:gd name="connsiteX116" fmla="*/ 656678 w 1033465"/>
                <a:gd name="connsiteY116" fmla="*/ 257626 h 838042"/>
                <a:gd name="connsiteX117" fmla="*/ 616001 w 1033465"/>
                <a:gd name="connsiteY117" fmla="*/ 286712 h 838042"/>
                <a:gd name="connsiteX118" fmla="*/ 564857 w 1033465"/>
                <a:gd name="connsiteY118" fmla="*/ 287389 h 838042"/>
                <a:gd name="connsiteX119" fmla="*/ 530567 w 1033465"/>
                <a:gd name="connsiteY119" fmla="*/ 274054 h 838042"/>
                <a:gd name="connsiteX120" fmla="*/ 507707 w 1033465"/>
                <a:gd name="connsiteY120" fmla="*/ 235954 h 838042"/>
                <a:gd name="connsiteX121" fmla="*/ 509612 w 1033465"/>
                <a:gd name="connsiteY121" fmla="*/ 171184 h 838042"/>
                <a:gd name="connsiteX122" fmla="*/ 508314 w 1033465"/>
                <a:gd name="connsiteY122" fmla="*/ 73485 h 838042"/>
                <a:gd name="connsiteX123" fmla="*/ 454116 w 1033465"/>
                <a:gd name="connsiteY123" fmla="*/ 11248 h 838042"/>
                <a:gd name="connsiteX124" fmla="*/ 442470 w 1033465"/>
                <a:gd name="connsiteY124" fmla="*/ 75864 h 838042"/>
                <a:gd name="connsiteX125" fmla="*/ 439226 w 1033465"/>
                <a:gd name="connsiteY125" fmla="*/ 132660 h 838042"/>
                <a:gd name="connsiteX126" fmla="*/ 436054 w 1033465"/>
                <a:gd name="connsiteY12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19087 w 1033465"/>
                <a:gd name="connsiteY9" fmla="*/ 226429 h 838042"/>
                <a:gd name="connsiteX10" fmla="*/ 103847 w 1033465"/>
                <a:gd name="connsiteY10" fmla="*/ 203569 h 838042"/>
                <a:gd name="connsiteX11" fmla="*/ 86702 w 1033465"/>
                <a:gd name="connsiteY11" fmla="*/ 195949 h 838042"/>
                <a:gd name="connsiteX12" fmla="*/ 80987 w 1033465"/>
                <a:gd name="connsiteY12" fmla="*/ 194044 h 838042"/>
                <a:gd name="connsiteX13" fmla="*/ 61937 w 1033465"/>
                <a:gd name="connsiteY13" fmla="*/ 197854 h 838042"/>
                <a:gd name="connsiteX14" fmla="*/ 56222 w 1033465"/>
                <a:gd name="connsiteY14" fmla="*/ 201664 h 838042"/>
                <a:gd name="connsiteX15" fmla="*/ 52412 w 1033465"/>
                <a:gd name="connsiteY15" fmla="*/ 207379 h 838042"/>
                <a:gd name="connsiteX16" fmla="*/ 48602 w 1033465"/>
                <a:gd name="connsiteY16" fmla="*/ 218809 h 838042"/>
                <a:gd name="connsiteX17" fmla="*/ 52412 w 1033465"/>
                <a:gd name="connsiteY17" fmla="*/ 256909 h 838042"/>
                <a:gd name="connsiteX18" fmla="*/ 56222 w 1033465"/>
                <a:gd name="connsiteY18" fmla="*/ 262624 h 838042"/>
                <a:gd name="connsiteX19" fmla="*/ 61937 w 1033465"/>
                <a:gd name="connsiteY19" fmla="*/ 266434 h 838042"/>
                <a:gd name="connsiteX20" fmla="*/ 65747 w 1033465"/>
                <a:gd name="connsiteY20" fmla="*/ 272149 h 838042"/>
                <a:gd name="connsiteX21" fmla="*/ 82892 w 1033465"/>
                <a:gd name="connsiteY21" fmla="*/ 281674 h 838042"/>
                <a:gd name="connsiteX22" fmla="*/ 105752 w 1033465"/>
                <a:gd name="connsiteY22" fmla="*/ 283579 h 838042"/>
                <a:gd name="connsiteX23" fmla="*/ 126707 w 1033465"/>
                <a:gd name="connsiteY23" fmla="*/ 289294 h 838042"/>
                <a:gd name="connsiteX24" fmla="*/ 132422 w 1033465"/>
                <a:gd name="connsiteY24" fmla="*/ 291199 h 838042"/>
                <a:gd name="connsiteX25" fmla="*/ 138137 w 1033465"/>
                <a:gd name="connsiteY25" fmla="*/ 296914 h 838042"/>
                <a:gd name="connsiteX26" fmla="*/ 145757 w 1033465"/>
                <a:gd name="connsiteY26" fmla="*/ 298819 h 838042"/>
                <a:gd name="connsiteX27" fmla="*/ 168617 w 1033465"/>
                <a:gd name="connsiteY27" fmla="*/ 302629 h 838042"/>
                <a:gd name="connsiteX28" fmla="*/ 193382 w 1033465"/>
                <a:gd name="connsiteY28" fmla="*/ 308344 h 838042"/>
                <a:gd name="connsiteX29" fmla="*/ 210527 w 1033465"/>
                <a:gd name="connsiteY29" fmla="*/ 314059 h 838042"/>
                <a:gd name="connsiteX30" fmla="*/ 216242 w 1033465"/>
                <a:gd name="connsiteY30" fmla="*/ 315964 h 838042"/>
                <a:gd name="connsiteX31" fmla="*/ 231482 w 1033465"/>
                <a:gd name="connsiteY31" fmla="*/ 319774 h 838042"/>
                <a:gd name="connsiteX32" fmla="*/ 250532 w 1033465"/>
                <a:gd name="connsiteY32" fmla="*/ 325489 h 838042"/>
                <a:gd name="connsiteX33" fmla="*/ 256247 w 1033465"/>
                <a:gd name="connsiteY33" fmla="*/ 329299 h 838042"/>
                <a:gd name="connsiteX34" fmla="*/ 269582 w 1033465"/>
                <a:gd name="connsiteY34" fmla="*/ 344539 h 838042"/>
                <a:gd name="connsiteX35" fmla="*/ 275297 w 1033465"/>
                <a:gd name="connsiteY35" fmla="*/ 363589 h 838042"/>
                <a:gd name="connsiteX36" fmla="*/ 277202 w 1033465"/>
                <a:gd name="connsiteY36" fmla="*/ 369304 h 838042"/>
                <a:gd name="connsiteX37" fmla="*/ 279107 w 1033465"/>
                <a:gd name="connsiteY37" fmla="*/ 375019 h 838042"/>
                <a:gd name="connsiteX38" fmla="*/ 281012 w 1033465"/>
                <a:gd name="connsiteY38" fmla="*/ 399784 h 838042"/>
                <a:gd name="connsiteX39" fmla="*/ 282917 w 1033465"/>
                <a:gd name="connsiteY39" fmla="*/ 405499 h 838042"/>
                <a:gd name="connsiteX40" fmla="*/ 281012 w 1033465"/>
                <a:gd name="connsiteY40" fmla="*/ 424549 h 838042"/>
                <a:gd name="connsiteX41" fmla="*/ 279107 w 1033465"/>
                <a:gd name="connsiteY41" fmla="*/ 434074 h 838042"/>
                <a:gd name="connsiteX42" fmla="*/ 265772 w 1033465"/>
                <a:gd name="connsiteY42" fmla="*/ 447409 h 838042"/>
                <a:gd name="connsiteX43" fmla="*/ 254342 w 1033465"/>
                <a:gd name="connsiteY43" fmla="*/ 455029 h 838042"/>
                <a:gd name="connsiteX44" fmla="*/ 242912 w 1033465"/>
                <a:gd name="connsiteY44" fmla="*/ 458839 h 838042"/>
                <a:gd name="connsiteX45" fmla="*/ 128612 w 1033465"/>
                <a:gd name="connsiteY45" fmla="*/ 458839 h 838042"/>
                <a:gd name="connsiteX46" fmla="*/ 122897 w 1033465"/>
                <a:gd name="connsiteY46" fmla="*/ 460744 h 838042"/>
                <a:gd name="connsiteX47" fmla="*/ 107657 w 1033465"/>
                <a:gd name="connsiteY47" fmla="*/ 462649 h 838042"/>
                <a:gd name="connsiteX48" fmla="*/ 90512 w 1033465"/>
                <a:gd name="connsiteY48" fmla="*/ 468364 h 838042"/>
                <a:gd name="connsiteX49" fmla="*/ 84797 w 1033465"/>
                <a:gd name="connsiteY49" fmla="*/ 470269 h 838042"/>
                <a:gd name="connsiteX50" fmla="*/ 79082 w 1033465"/>
                <a:gd name="connsiteY50" fmla="*/ 474079 h 838042"/>
                <a:gd name="connsiteX51" fmla="*/ 67652 w 1033465"/>
                <a:gd name="connsiteY51" fmla="*/ 475984 h 838042"/>
                <a:gd name="connsiteX52" fmla="*/ 29552 w 1033465"/>
                <a:gd name="connsiteY52" fmla="*/ 477889 h 838042"/>
                <a:gd name="connsiteX53" fmla="*/ 18122 w 1033465"/>
                <a:gd name="connsiteY53" fmla="*/ 483604 h 838042"/>
                <a:gd name="connsiteX54" fmla="*/ 8597 w 1033465"/>
                <a:gd name="connsiteY54" fmla="*/ 493129 h 838042"/>
                <a:gd name="connsiteX55" fmla="*/ 6692 w 1033465"/>
                <a:gd name="connsiteY55" fmla="*/ 498844 h 838042"/>
                <a:gd name="connsiteX56" fmla="*/ 2882 w 1033465"/>
                <a:gd name="connsiteY56" fmla="*/ 504559 h 838042"/>
                <a:gd name="connsiteX57" fmla="*/ 14312 w 1033465"/>
                <a:gd name="connsiteY57" fmla="*/ 540754 h 838042"/>
                <a:gd name="connsiteX58" fmla="*/ 147662 w 1033465"/>
                <a:gd name="connsiteY58" fmla="*/ 540754 h 838042"/>
                <a:gd name="connsiteX59" fmla="*/ 155282 w 1033465"/>
                <a:gd name="connsiteY59" fmla="*/ 538849 h 838042"/>
                <a:gd name="connsiteX60" fmla="*/ 305777 w 1033465"/>
                <a:gd name="connsiteY60" fmla="*/ 533134 h 838042"/>
                <a:gd name="connsiteX61" fmla="*/ 321017 w 1033465"/>
                <a:gd name="connsiteY61" fmla="*/ 540754 h 838042"/>
                <a:gd name="connsiteX62" fmla="*/ 332447 w 1033465"/>
                <a:gd name="connsiteY62" fmla="*/ 546469 h 838042"/>
                <a:gd name="connsiteX63" fmla="*/ 336257 w 1033465"/>
                <a:gd name="connsiteY63" fmla="*/ 552184 h 838042"/>
                <a:gd name="connsiteX64" fmla="*/ 341972 w 1033465"/>
                <a:gd name="connsiteY64" fmla="*/ 554089 h 838042"/>
                <a:gd name="connsiteX65" fmla="*/ 353402 w 1033465"/>
                <a:gd name="connsiteY65" fmla="*/ 561709 h 838042"/>
                <a:gd name="connsiteX66" fmla="*/ 359117 w 1033465"/>
                <a:gd name="connsiteY66" fmla="*/ 565519 h 838042"/>
                <a:gd name="connsiteX67" fmla="*/ 362927 w 1033465"/>
                <a:gd name="connsiteY67" fmla="*/ 571234 h 838042"/>
                <a:gd name="connsiteX68" fmla="*/ 368642 w 1033465"/>
                <a:gd name="connsiteY68" fmla="*/ 582664 h 838042"/>
                <a:gd name="connsiteX69" fmla="*/ 364832 w 1033465"/>
                <a:gd name="connsiteY69" fmla="*/ 609334 h 838042"/>
                <a:gd name="connsiteX70" fmla="*/ 361022 w 1033465"/>
                <a:gd name="connsiteY70" fmla="*/ 615049 h 838042"/>
                <a:gd name="connsiteX71" fmla="*/ 359117 w 1033465"/>
                <a:gd name="connsiteY71" fmla="*/ 620764 h 838042"/>
                <a:gd name="connsiteX72" fmla="*/ 355307 w 1033465"/>
                <a:gd name="connsiteY72" fmla="*/ 626479 h 838042"/>
                <a:gd name="connsiteX73" fmla="*/ 353402 w 1033465"/>
                <a:gd name="connsiteY73" fmla="*/ 632194 h 838042"/>
                <a:gd name="connsiteX74" fmla="*/ 349592 w 1033465"/>
                <a:gd name="connsiteY74" fmla="*/ 637909 h 838042"/>
                <a:gd name="connsiteX75" fmla="*/ 332447 w 1033465"/>
                <a:gd name="connsiteY75" fmla="*/ 704584 h 838042"/>
                <a:gd name="connsiteX76" fmla="*/ 330542 w 1033465"/>
                <a:gd name="connsiteY76" fmla="*/ 756019 h 838042"/>
                <a:gd name="connsiteX77" fmla="*/ 332447 w 1033465"/>
                <a:gd name="connsiteY77" fmla="*/ 780784 h 838042"/>
                <a:gd name="connsiteX78" fmla="*/ 334352 w 1033465"/>
                <a:gd name="connsiteY78" fmla="*/ 786499 h 838042"/>
                <a:gd name="connsiteX79" fmla="*/ 338162 w 1033465"/>
                <a:gd name="connsiteY79" fmla="*/ 790309 h 838042"/>
                <a:gd name="connsiteX80" fmla="*/ 366737 w 1033465"/>
                <a:gd name="connsiteY80" fmla="*/ 836029 h 838042"/>
                <a:gd name="connsiteX81" fmla="*/ 389597 w 1033465"/>
                <a:gd name="connsiteY81" fmla="*/ 837934 h 838042"/>
                <a:gd name="connsiteX82" fmla="*/ 397407 w 1033465"/>
                <a:gd name="connsiteY82" fmla="*/ 833530 h 838042"/>
                <a:gd name="connsiteX83" fmla="*/ 402932 w 1033465"/>
                <a:gd name="connsiteY83" fmla="*/ 784594 h 838042"/>
                <a:gd name="connsiteX84" fmla="*/ 406742 w 1033465"/>
                <a:gd name="connsiteY84" fmla="*/ 727444 h 838042"/>
                <a:gd name="connsiteX85" fmla="*/ 423887 w 1033465"/>
                <a:gd name="connsiteY85" fmla="*/ 672199 h 838042"/>
                <a:gd name="connsiteX86" fmla="*/ 429602 w 1033465"/>
                <a:gd name="connsiteY86" fmla="*/ 658864 h 838042"/>
                <a:gd name="connsiteX87" fmla="*/ 444084 w 1033465"/>
                <a:gd name="connsiteY87" fmla="*/ 626947 h 838042"/>
                <a:gd name="connsiteX88" fmla="*/ 464289 w 1033465"/>
                <a:gd name="connsiteY88" fmla="*/ 600072 h 838042"/>
                <a:gd name="connsiteX89" fmla="*/ 523510 w 1033465"/>
                <a:gd name="connsiteY89" fmla="*/ 565123 h 838042"/>
                <a:gd name="connsiteX90" fmla="*/ 599348 w 1033465"/>
                <a:gd name="connsiteY90" fmla="*/ 550915 h 838042"/>
                <a:gd name="connsiteX91" fmla="*/ 707801 w 1033465"/>
                <a:gd name="connsiteY91" fmla="*/ 612819 h 838042"/>
                <a:gd name="connsiteX92" fmla="*/ 780122 w 1033465"/>
                <a:gd name="connsiteY92" fmla="*/ 656959 h 838042"/>
                <a:gd name="connsiteX93" fmla="*/ 804887 w 1033465"/>
                <a:gd name="connsiteY93" fmla="*/ 632194 h 838042"/>
                <a:gd name="connsiteX94" fmla="*/ 801077 w 1033465"/>
                <a:gd name="connsiteY94" fmla="*/ 601714 h 838042"/>
                <a:gd name="connsiteX95" fmla="*/ 762796 w 1033465"/>
                <a:gd name="connsiteY95" fmla="*/ 562523 h 838042"/>
                <a:gd name="connsiteX96" fmla="*/ 650582 w 1033465"/>
                <a:gd name="connsiteY96" fmla="*/ 479794 h 838042"/>
                <a:gd name="connsiteX97" fmla="*/ 646772 w 1033465"/>
                <a:gd name="connsiteY97" fmla="*/ 462649 h 838042"/>
                <a:gd name="connsiteX98" fmla="*/ 658202 w 1033465"/>
                <a:gd name="connsiteY98" fmla="*/ 426454 h 838042"/>
                <a:gd name="connsiteX99" fmla="*/ 726782 w 1033465"/>
                <a:gd name="connsiteY99" fmla="*/ 405499 h 838042"/>
                <a:gd name="connsiteX100" fmla="*/ 813738 w 1033465"/>
                <a:gd name="connsiteY100" fmla="*/ 406906 h 838042"/>
                <a:gd name="connsiteX101" fmla="*/ 906231 w 1033465"/>
                <a:gd name="connsiteY101" fmla="*/ 417646 h 838042"/>
                <a:gd name="connsiteX102" fmla="*/ 1002290 w 1033465"/>
                <a:gd name="connsiteY102" fmla="*/ 426835 h 838042"/>
                <a:gd name="connsiteX103" fmla="*/ 1032449 w 1033465"/>
                <a:gd name="connsiteY103" fmla="*/ 402711 h 838042"/>
                <a:gd name="connsiteX104" fmla="*/ 1020514 w 1033465"/>
                <a:gd name="connsiteY104" fmla="*/ 377797 h 838042"/>
                <a:gd name="connsiteX105" fmla="*/ 964889 w 1033465"/>
                <a:gd name="connsiteY105" fmla="*/ 358029 h 838042"/>
                <a:gd name="connsiteX106" fmla="*/ 827747 w 1033465"/>
                <a:gd name="connsiteY106" fmla="*/ 357874 h 838042"/>
                <a:gd name="connsiteX107" fmla="*/ 755811 w 1033465"/>
                <a:gd name="connsiteY107" fmla="*/ 361702 h 838042"/>
                <a:gd name="connsiteX108" fmla="*/ 671537 w 1033465"/>
                <a:gd name="connsiteY108" fmla="*/ 369304 h 838042"/>
                <a:gd name="connsiteX109" fmla="*/ 644867 w 1033465"/>
                <a:gd name="connsiteY109" fmla="*/ 338824 h 838042"/>
                <a:gd name="connsiteX110" fmla="*/ 676403 w 1033465"/>
                <a:gd name="connsiteY110" fmla="*/ 304962 h 838042"/>
                <a:gd name="connsiteX111" fmla="*/ 707732 w 1033465"/>
                <a:gd name="connsiteY111" fmla="*/ 283579 h 838042"/>
                <a:gd name="connsiteX112" fmla="*/ 743927 w 1033465"/>
                <a:gd name="connsiteY112" fmla="*/ 251194 h 838042"/>
                <a:gd name="connsiteX113" fmla="*/ 783019 w 1033465"/>
                <a:gd name="connsiteY113" fmla="*/ 213846 h 838042"/>
                <a:gd name="connsiteX114" fmla="*/ 746401 w 1033465"/>
                <a:gd name="connsiteY114" fmla="*/ 201789 h 838042"/>
                <a:gd name="connsiteX115" fmla="*/ 694397 w 1033465"/>
                <a:gd name="connsiteY115" fmla="*/ 226429 h 838042"/>
                <a:gd name="connsiteX116" fmla="*/ 656678 w 1033465"/>
                <a:gd name="connsiteY116" fmla="*/ 257626 h 838042"/>
                <a:gd name="connsiteX117" fmla="*/ 616001 w 1033465"/>
                <a:gd name="connsiteY117" fmla="*/ 286712 h 838042"/>
                <a:gd name="connsiteX118" fmla="*/ 564857 w 1033465"/>
                <a:gd name="connsiteY118" fmla="*/ 287389 h 838042"/>
                <a:gd name="connsiteX119" fmla="*/ 530567 w 1033465"/>
                <a:gd name="connsiteY119" fmla="*/ 274054 h 838042"/>
                <a:gd name="connsiteX120" fmla="*/ 507707 w 1033465"/>
                <a:gd name="connsiteY120" fmla="*/ 235954 h 838042"/>
                <a:gd name="connsiteX121" fmla="*/ 509612 w 1033465"/>
                <a:gd name="connsiteY121" fmla="*/ 171184 h 838042"/>
                <a:gd name="connsiteX122" fmla="*/ 508314 w 1033465"/>
                <a:gd name="connsiteY122" fmla="*/ 73485 h 838042"/>
                <a:gd name="connsiteX123" fmla="*/ 454116 w 1033465"/>
                <a:gd name="connsiteY123" fmla="*/ 11248 h 838042"/>
                <a:gd name="connsiteX124" fmla="*/ 442470 w 1033465"/>
                <a:gd name="connsiteY124" fmla="*/ 75864 h 838042"/>
                <a:gd name="connsiteX125" fmla="*/ 439226 w 1033465"/>
                <a:gd name="connsiteY125" fmla="*/ 132660 h 838042"/>
                <a:gd name="connsiteX126" fmla="*/ 436054 w 1033465"/>
                <a:gd name="connsiteY12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19087 w 1033465"/>
                <a:gd name="connsiteY9" fmla="*/ 226429 h 838042"/>
                <a:gd name="connsiteX10" fmla="*/ 103847 w 1033465"/>
                <a:gd name="connsiteY10" fmla="*/ 203569 h 838042"/>
                <a:gd name="connsiteX11" fmla="*/ 86702 w 1033465"/>
                <a:gd name="connsiteY11" fmla="*/ 195949 h 838042"/>
                <a:gd name="connsiteX12" fmla="*/ 80987 w 1033465"/>
                <a:gd name="connsiteY12" fmla="*/ 194044 h 838042"/>
                <a:gd name="connsiteX13" fmla="*/ 61937 w 1033465"/>
                <a:gd name="connsiteY13" fmla="*/ 197854 h 838042"/>
                <a:gd name="connsiteX14" fmla="*/ 56222 w 1033465"/>
                <a:gd name="connsiteY14" fmla="*/ 201664 h 838042"/>
                <a:gd name="connsiteX15" fmla="*/ 52412 w 1033465"/>
                <a:gd name="connsiteY15" fmla="*/ 207379 h 838042"/>
                <a:gd name="connsiteX16" fmla="*/ 48602 w 1033465"/>
                <a:gd name="connsiteY16" fmla="*/ 218809 h 838042"/>
                <a:gd name="connsiteX17" fmla="*/ 52412 w 1033465"/>
                <a:gd name="connsiteY17" fmla="*/ 256909 h 838042"/>
                <a:gd name="connsiteX18" fmla="*/ 56222 w 1033465"/>
                <a:gd name="connsiteY18" fmla="*/ 262624 h 838042"/>
                <a:gd name="connsiteX19" fmla="*/ 61937 w 1033465"/>
                <a:gd name="connsiteY19" fmla="*/ 266434 h 838042"/>
                <a:gd name="connsiteX20" fmla="*/ 65747 w 1033465"/>
                <a:gd name="connsiteY20" fmla="*/ 272149 h 838042"/>
                <a:gd name="connsiteX21" fmla="*/ 82892 w 1033465"/>
                <a:gd name="connsiteY21" fmla="*/ 281674 h 838042"/>
                <a:gd name="connsiteX22" fmla="*/ 105752 w 1033465"/>
                <a:gd name="connsiteY22" fmla="*/ 283579 h 838042"/>
                <a:gd name="connsiteX23" fmla="*/ 126707 w 1033465"/>
                <a:gd name="connsiteY23" fmla="*/ 289294 h 838042"/>
                <a:gd name="connsiteX24" fmla="*/ 132422 w 1033465"/>
                <a:gd name="connsiteY24" fmla="*/ 291199 h 838042"/>
                <a:gd name="connsiteX25" fmla="*/ 138137 w 1033465"/>
                <a:gd name="connsiteY25" fmla="*/ 296914 h 838042"/>
                <a:gd name="connsiteX26" fmla="*/ 145757 w 1033465"/>
                <a:gd name="connsiteY26" fmla="*/ 298819 h 838042"/>
                <a:gd name="connsiteX27" fmla="*/ 168617 w 1033465"/>
                <a:gd name="connsiteY27" fmla="*/ 302629 h 838042"/>
                <a:gd name="connsiteX28" fmla="*/ 193382 w 1033465"/>
                <a:gd name="connsiteY28" fmla="*/ 308344 h 838042"/>
                <a:gd name="connsiteX29" fmla="*/ 210527 w 1033465"/>
                <a:gd name="connsiteY29" fmla="*/ 314059 h 838042"/>
                <a:gd name="connsiteX30" fmla="*/ 216242 w 1033465"/>
                <a:gd name="connsiteY30" fmla="*/ 315964 h 838042"/>
                <a:gd name="connsiteX31" fmla="*/ 231482 w 1033465"/>
                <a:gd name="connsiteY31" fmla="*/ 319774 h 838042"/>
                <a:gd name="connsiteX32" fmla="*/ 250532 w 1033465"/>
                <a:gd name="connsiteY32" fmla="*/ 325489 h 838042"/>
                <a:gd name="connsiteX33" fmla="*/ 256247 w 1033465"/>
                <a:gd name="connsiteY33" fmla="*/ 329299 h 838042"/>
                <a:gd name="connsiteX34" fmla="*/ 269582 w 1033465"/>
                <a:gd name="connsiteY34" fmla="*/ 344539 h 838042"/>
                <a:gd name="connsiteX35" fmla="*/ 275297 w 1033465"/>
                <a:gd name="connsiteY35" fmla="*/ 363589 h 838042"/>
                <a:gd name="connsiteX36" fmla="*/ 277202 w 1033465"/>
                <a:gd name="connsiteY36" fmla="*/ 369304 h 838042"/>
                <a:gd name="connsiteX37" fmla="*/ 279107 w 1033465"/>
                <a:gd name="connsiteY37" fmla="*/ 375019 h 838042"/>
                <a:gd name="connsiteX38" fmla="*/ 281012 w 1033465"/>
                <a:gd name="connsiteY38" fmla="*/ 399784 h 838042"/>
                <a:gd name="connsiteX39" fmla="*/ 282917 w 1033465"/>
                <a:gd name="connsiteY39" fmla="*/ 405499 h 838042"/>
                <a:gd name="connsiteX40" fmla="*/ 281012 w 1033465"/>
                <a:gd name="connsiteY40" fmla="*/ 424549 h 838042"/>
                <a:gd name="connsiteX41" fmla="*/ 279107 w 1033465"/>
                <a:gd name="connsiteY41" fmla="*/ 434074 h 838042"/>
                <a:gd name="connsiteX42" fmla="*/ 265772 w 1033465"/>
                <a:gd name="connsiteY42" fmla="*/ 447409 h 838042"/>
                <a:gd name="connsiteX43" fmla="*/ 254342 w 1033465"/>
                <a:gd name="connsiteY43" fmla="*/ 455029 h 838042"/>
                <a:gd name="connsiteX44" fmla="*/ 242912 w 1033465"/>
                <a:gd name="connsiteY44" fmla="*/ 458839 h 838042"/>
                <a:gd name="connsiteX45" fmla="*/ 128612 w 1033465"/>
                <a:gd name="connsiteY45" fmla="*/ 458839 h 838042"/>
                <a:gd name="connsiteX46" fmla="*/ 122897 w 1033465"/>
                <a:gd name="connsiteY46" fmla="*/ 460744 h 838042"/>
                <a:gd name="connsiteX47" fmla="*/ 107657 w 1033465"/>
                <a:gd name="connsiteY47" fmla="*/ 462649 h 838042"/>
                <a:gd name="connsiteX48" fmla="*/ 90512 w 1033465"/>
                <a:gd name="connsiteY48" fmla="*/ 468364 h 838042"/>
                <a:gd name="connsiteX49" fmla="*/ 84797 w 1033465"/>
                <a:gd name="connsiteY49" fmla="*/ 470269 h 838042"/>
                <a:gd name="connsiteX50" fmla="*/ 79082 w 1033465"/>
                <a:gd name="connsiteY50" fmla="*/ 474079 h 838042"/>
                <a:gd name="connsiteX51" fmla="*/ 67652 w 1033465"/>
                <a:gd name="connsiteY51" fmla="*/ 475984 h 838042"/>
                <a:gd name="connsiteX52" fmla="*/ 29552 w 1033465"/>
                <a:gd name="connsiteY52" fmla="*/ 477889 h 838042"/>
                <a:gd name="connsiteX53" fmla="*/ 18122 w 1033465"/>
                <a:gd name="connsiteY53" fmla="*/ 483604 h 838042"/>
                <a:gd name="connsiteX54" fmla="*/ 8597 w 1033465"/>
                <a:gd name="connsiteY54" fmla="*/ 493129 h 838042"/>
                <a:gd name="connsiteX55" fmla="*/ 6692 w 1033465"/>
                <a:gd name="connsiteY55" fmla="*/ 498844 h 838042"/>
                <a:gd name="connsiteX56" fmla="*/ 2882 w 1033465"/>
                <a:gd name="connsiteY56" fmla="*/ 504559 h 838042"/>
                <a:gd name="connsiteX57" fmla="*/ 14312 w 1033465"/>
                <a:gd name="connsiteY57" fmla="*/ 540754 h 838042"/>
                <a:gd name="connsiteX58" fmla="*/ 147662 w 1033465"/>
                <a:gd name="connsiteY58" fmla="*/ 540754 h 838042"/>
                <a:gd name="connsiteX59" fmla="*/ 155282 w 1033465"/>
                <a:gd name="connsiteY59" fmla="*/ 538849 h 838042"/>
                <a:gd name="connsiteX60" fmla="*/ 305777 w 1033465"/>
                <a:gd name="connsiteY60" fmla="*/ 533134 h 838042"/>
                <a:gd name="connsiteX61" fmla="*/ 321017 w 1033465"/>
                <a:gd name="connsiteY61" fmla="*/ 540754 h 838042"/>
                <a:gd name="connsiteX62" fmla="*/ 332447 w 1033465"/>
                <a:gd name="connsiteY62" fmla="*/ 546469 h 838042"/>
                <a:gd name="connsiteX63" fmla="*/ 336257 w 1033465"/>
                <a:gd name="connsiteY63" fmla="*/ 552184 h 838042"/>
                <a:gd name="connsiteX64" fmla="*/ 341972 w 1033465"/>
                <a:gd name="connsiteY64" fmla="*/ 554089 h 838042"/>
                <a:gd name="connsiteX65" fmla="*/ 353402 w 1033465"/>
                <a:gd name="connsiteY65" fmla="*/ 561709 h 838042"/>
                <a:gd name="connsiteX66" fmla="*/ 359117 w 1033465"/>
                <a:gd name="connsiteY66" fmla="*/ 565519 h 838042"/>
                <a:gd name="connsiteX67" fmla="*/ 362927 w 1033465"/>
                <a:gd name="connsiteY67" fmla="*/ 571234 h 838042"/>
                <a:gd name="connsiteX68" fmla="*/ 368642 w 1033465"/>
                <a:gd name="connsiteY68" fmla="*/ 582664 h 838042"/>
                <a:gd name="connsiteX69" fmla="*/ 364832 w 1033465"/>
                <a:gd name="connsiteY69" fmla="*/ 609334 h 838042"/>
                <a:gd name="connsiteX70" fmla="*/ 361022 w 1033465"/>
                <a:gd name="connsiteY70" fmla="*/ 615049 h 838042"/>
                <a:gd name="connsiteX71" fmla="*/ 359117 w 1033465"/>
                <a:gd name="connsiteY71" fmla="*/ 620764 h 838042"/>
                <a:gd name="connsiteX72" fmla="*/ 355307 w 1033465"/>
                <a:gd name="connsiteY72" fmla="*/ 626479 h 838042"/>
                <a:gd name="connsiteX73" fmla="*/ 353402 w 1033465"/>
                <a:gd name="connsiteY73" fmla="*/ 632194 h 838042"/>
                <a:gd name="connsiteX74" fmla="*/ 349592 w 1033465"/>
                <a:gd name="connsiteY74" fmla="*/ 637909 h 838042"/>
                <a:gd name="connsiteX75" fmla="*/ 332447 w 1033465"/>
                <a:gd name="connsiteY75" fmla="*/ 704584 h 838042"/>
                <a:gd name="connsiteX76" fmla="*/ 330542 w 1033465"/>
                <a:gd name="connsiteY76" fmla="*/ 756019 h 838042"/>
                <a:gd name="connsiteX77" fmla="*/ 332447 w 1033465"/>
                <a:gd name="connsiteY77" fmla="*/ 780784 h 838042"/>
                <a:gd name="connsiteX78" fmla="*/ 334352 w 1033465"/>
                <a:gd name="connsiteY78" fmla="*/ 786499 h 838042"/>
                <a:gd name="connsiteX79" fmla="*/ 338162 w 1033465"/>
                <a:gd name="connsiteY79" fmla="*/ 790309 h 838042"/>
                <a:gd name="connsiteX80" fmla="*/ 366737 w 1033465"/>
                <a:gd name="connsiteY80" fmla="*/ 836029 h 838042"/>
                <a:gd name="connsiteX81" fmla="*/ 389597 w 1033465"/>
                <a:gd name="connsiteY81" fmla="*/ 837934 h 838042"/>
                <a:gd name="connsiteX82" fmla="*/ 397407 w 1033465"/>
                <a:gd name="connsiteY82" fmla="*/ 833530 h 838042"/>
                <a:gd name="connsiteX83" fmla="*/ 402932 w 1033465"/>
                <a:gd name="connsiteY83" fmla="*/ 784594 h 838042"/>
                <a:gd name="connsiteX84" fmla="*/ 406742 w 1033465"/>
                <a:gd name="connsiteY84" fmla="*/ 727444 h 838042"/>
                <a:gd name="connsiteX85" fmla="*/ 423887 w 1033465"/>
                <a:gd name="connsiteY85" fmla="*/ 672199 h 838042"/>
                <a:gd name="connsiteX86" fmla="*/ 429602 w 1033465"/>
                <a:gd name="connsiteY86" fmla="*/ 658864 h 838042"/>
                <a:gd name="connsiteX87" fmla="*/ 444084 w 1033465"/>
                <a:gd name="connsiteY87" fmla="*/ 626947 h 838042"/>
                <a:gd name="connsiteX88" fmla="*/ 464289 w 1033465"/>
                <a:gd name="connsiteY88" fmla="*/ 600072 h 838042"/>
                <a:gd name="connsiteX89" fmla="*/ 523510 w 1033465"/>
                <a:gd name="connsiteY89" fmla="*/ 565123 h 838042"/>
                <a:gd name="connsiteX90" fmla="*/ 599348 w 1033465"/>
                <a:gd name="connsiteY90" fmla="*/ 550915 h 838042"/>
                <a:gd name="connsiteX91" fmla="*/ 707801 w 1033465"/>
                <a:gd name="connsiteY91" fmla="*/ 612819 h 838042"/>
                <a:gd name="connsiteX92" fmla="*/ 780122 w 1033465"/>
                <a:gd name="connsiteY92" fmla="*/ 656959 h 838042"/>
                <a:gd name="connsiteX93" fmla="*/ 804887 w 1033465"/>
                <a:gd name="connsiteY93" fmla="*/ 632194 h 838042"/>
                <a:gd name="connsiteX94" fmla="*/ 801077 w 1033465"/>
                <a:gd name="connsiteY94" fmla="*/ 601714 h 838042"/>
                <a:gd name="connsiteX95" fmla="*/ 762796 w 1033465"/>
                <a:gd name="connsiteY95" fmla="*/ 562523 h 838042"/>
                <a:gd name="connsiteX96" fmla="*/ 650582 w 1033465"/>
                <a:gd name="connsiteY96" fmla="*/ 479794 h 838042"/>
                <a:gd name="connsiteX97" fmla="*/ 646772 w 1033465"/>
                <a:gd name="connsiteY97" fmla="*/ 462649 h 838042"/>
                <a:gd name="connsiteX98" fmla="*/ 658202 w 1033465"/>
                <a:gd name="connsiteY98" fmla="*/ 426454 h 838042"/>
                <a:gd name="connsiteX99" fmla="*/ 726782 w 1033465"/>
                <a:gd name="connsiteY99" fmla="*/ 405499 h 838042"/>
                <a:gd name="connsiteX100" fmla="*/ 813738 w 1033465"/>
                <a:gd name="connsiteY100" fmla="*/ 406906 h 838042"/>
                <a:gd name="connsiteX101" fmla="*/ 906231 w 1033465"/>
                <a:gd name="connsiteY101" fmla="*/ 417646 h 838042"/>
                <a:gd name="connsiteX102" fmla="*/ 1002290 w 1033465"/>
                <a:gd name="connsiteY102" fmla="*/ 426835 h 838042"/>
                <a:gd name="connsiteX103" fmla="*/ 1032449 w 1033465"/>
                <a:gd name="connsiteY103" fmla="*/ 402711 h 838042"/>
                <a:gd name="connsiteX104" fmla="*/ 1020514 w 1033465"/>
                <a:gd name="connsiteY104" fmla="*/ 377797 h 838042"/>
                <a:gd name="connsiteX105" fmla="*/ 964889 w 1033465"/>
                <a:gd name="connsiteY105" fmla="*/ 358029 h 838042"/>
                <a:gd name="connsiteX106" fmla="*/ 827747 w 1033465"/>
                <a:gd name="connsiteY106" fmla="*/ 357874 h 838042"/>
                <a:gd name="connsiteX107" fmla="*/ 755811 w 1033465"/>
                <a:gd name="connsiteY107" fmla="*/ 361702 h 838042"/>
                <a:gd name="connsiteX108" fmla="*/ 671537 w 1033465"/>
                <a:gd name="connsiteY108" fmla="*/ 369304 h 838042"/>
                <a:gd name="connsiteX109" fmla="*/ 644867 w 1033465"/>
                <a:gd name="connsiteY109" fmla="*/ 338824 h 838042"/>
                <a:gd name="connsiteX110" fmla="*/ 676403 w 1033465"/>
                <a:gd name="connsiteY110" fmla="*/ 304962 h 838042"/>
                <a:gd name="connsiteX111" fmla="*/ 707732 w 1033465"/>
                <a:gd name="connsiteY111" fmla="*/ 283579 h 838042"/>
                <a:gd name="connsiteX112" fmla="*/ 743927 w 1033465"/>
                <a:gd name="connsiteY112" fmla="*/ 251194 h 838042"/>
                <a:gd name="connsiteX113" fmla="*/ 783019 w 1033465"/>
                <a:gd name="connsiteY113" fmla="*/ 213846 h 838042"/>
                <a:gd name="connsiteX114" fmla="*/ 746401 w 1033465"/>
                <a:gd name="connsiteY114" fmla="*/ 201789 h 838042"/>
                <a:gd name="connsiteX115" fmla="*/ 694397 w 1033465"/>
                <a:gd name="connsiteY115" fmla="*/ 226429 h 838042"/>
                <a:gd name="connsiteX116" fmla="*/ 656678 w 1033465"/>
                <a:gd name="connsiteY116" fmla="*/ 257626 h 838042"/>
                <a:gd name="connsiteX117" fmla="*/ 616001 w 1033465"/>
                <a:gd name="connsiteY117" fmla="*/ 286712 h 838042"/>
                <a:gd name="connsiteX118" fmla="*/ 564857 w 1033465"/>
                <a:gd name="connsiteY118" fmla="*/ 287389 h 838042"/>
                <a:gd name="connsiteX119" fmla="*/ 530567 w 1033465"/>
                <a:gd name="connsiteY119" fmla="*/ 274054 h 838042"/>
                <a:gd name="connsiteX120" fmla="*/ 507707 w 1033465"/>
                <a:gd name="connsiteY120" fmla="*/ 235954 h 838042"/>
                <a:gd name="connsiteX121" fmla="*/ 509612 w 1033465"/>
                <a:gd name="connsiteY121" fmla="*/ 171184 h 838042"/>
                <a:gd name="connsiteX122" fmla="*/ 508314 w 1033465"/>
                <a:gd name="connsiteY122" fmla="*/ 73485 h 838042"/>
                <a:gd name="connsiteX123" fmla="*/ 454116 w 1033465"/>
                <a:gd name="connsiteY123" fmla="*/ 11248 h 838042"/>
                <a:gd name="connsiteX124" fmla="*/ 442470 w 1033465"/>
                <a:gd name="connsiteY124" fmla="*/ 75864 h 838042"/>
                <a:gd name="connsiteX125" fmla="*/ 439226 w 1033465"/>
                <a:gd name="connsiteY125" fmla="*/ 132660 h 838042"/>
                <a:gd name="connsiteX126" fmla="*/ 436054 w 1033465"/>
                <a:gd name="connsiteY12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86702 w 1033465"/>
                <a:gd name="connsiteY11" fmla="*/ 195949 h 838042"/>
                <a:gd name="connsiteX12" fmla="*/ 80987 w 1033465"/>
                <a:gd name="connsiteY12" fmla="*/ 194044 h 838042"/>
                <a:gd name="connsiteX13" fmla="*/ 61937 w 1033465"/>
                <a:gd name="connsiteY13" fmla="*/ 197854 h 838042"/>
                <a:gd name="connsiteX14" fmla="*/ 56222 w 1033465"/>
                <a:gd name="connsiteY14" fmla="*/ 201664 h 838042"/>
                <a:gd name="connsiteX15" fmla="*/ 52412 w 1033465"/>
                <a:gd name="connsiteY15" fmla="*/ 207379 h 838042"/>
                <a:gd name="connsiteX16" fmla="*/ 48602 w 1033465"/>
                <a:gd name="connsiteY16" fmla="*/ 218809 h 838042"/>
                <a:gd name="connsiteX17" fmla="*/ 52412 w 1033465"/>
                <a:gd name="connsiteY17" fmla="*/ 256909 h 838042"/>
                <a:gd name="connsiteX18" fmla="*/ 56222 w 1033465"/>
                <a:gd name="connsiteY18" fmla="*/ 262624 h 838042"/>
                <a:gd name="connsiteX19" fmla="*/ 61937 w 1033465"/>
                <a:gd name="connsiteY19" fmla="*/ 266434 h 838042"/>
                <a:gd name="connsiteX20" fmla="*/ 65747 w 1033465"/>
                <a:gd name="connsiteY20" fmla="*/ 272149 h 838042"/>
                <a:gd name="connsiteX21" fmla="*/ 82892 w 1033465"/>
                <a:gd name="connsiteY21" fmla="*/ 281674 h 838042"/>
                <a:gd name="connsiteX22" fmla="*/ 105752 w 1033465"/>
                <a:gd name="connsiteY22" fmla="*/ 283579 h 838042"/>
                <a:gd name="connsiteX23" fmla="*/ 126707 w 1033465"/>
                <a:gd name="connsiteY23" fmla="*/ 289294 h 838042"/>
                <a:gd name="connsiteX24" fmla="*/ 132422 w 1033465"/>
                <a:gd name="connsiteY24" fmla="*/ 291199 h 838042"/>
                <a:gd name="connsiteX25" fmla="*/ 138137 w 1033465"/>
                <a:gd name="connsiteY25" fmla="*/ 296914 h 838042"/>
                <a:gd name="connsiteX26" fmla="*/ 145757 w 1033465"/>
                <a:gd name="connsiteY26" fmla="*/ 298819 h 838042"/>
                <a:gd name="connsiteX27" fmla="*/ 168617 w 1033465"/>
                <a:gd name="connsiteY27" fmla="*/ 302629 h 838042"/>
                <a:gd name="connsiteX28" fmla="*/ 193382 w 1033465"/>
                <a:gd name="connsiteY28" fmla="*/ 308344 h 838042"/>
                <a:gd name="connsiteX29" fmla="*/ 210527 w 1033465"/>
                <a:gd name="connsiteY29" fmla="*/ 314059 h 838042"/>
                <a:gd name="connsiteX30" fmla="*/ 216242 w 1033465"/>
                <a:gd name="connsiteY30" fmla="*/ 315964 h 838042"/>
                <a:gd name="connsiteX31" fmla="*/ 231482 w 1033465"/>
                <a:gd name="connsiteY31" fmla="*/ 319774 h 838042"/>
                <a:gd name="connsiteX32" fmla="*/ 250532 w 1033465"/>
                <a:gd name="connsiteY32" fmla="*/ 325489 h 838042"/>
                <a:gd name="connsiteX33" fmla="*/ 256247 w 1033465"/>
                <a:gd name="connsiteY33" fmla="*/ 329299 h 838042"/>
                <a:gd name="connsiteX34" fmla="*/ 269582 w 1033465"/>
                <a:gd name="connsiteY34" fmla="*/ 344539 h 838042"/>
                <a:gd name="connsiteX35" fmla="*/ 275297 w 1033465"/>
                <a:gd name="connsiteY35" fmla="*/ 363589 h 838042"/>
                <a:gd name="connsiteX36" fmla="*/ 277202 w 1033465"/>
                <a:gd name="connsiteY36" fmla="*/ 369304 h 838042"/>
                <a:gd name="connsiteX37" fmla="*/ 279107 w 1033465"/>
                <a:gd name="connsiteY37" fmla="*/ 375019 h 838042"/>
                <a:gd name="connsiteX38" fmla="*/ 281012 w 1033465"/>
                <a:gd name="connsiteY38" fmla="*/ 399784 h 838042"/>
                <a:gd name="connsiteX39" fmla="*/ 282917 w 1033465"/>
                <a:gd name="connsiteY39" fmla="*/ 405499 h 838042"/>
                <a:gd name="connsiteX40" fmla="*/ 281012 w 1033465"/>
                <a:gd name="connsiteY40" fmla="*/ 424549 h 838042"/>
                <a:gd name="connsiteX41" fmla="*/ 279107 w 1033465"/>
                <a:gd name="connsiteY41" fmla="*/ 434074 h 838042"/>
                <a:gd name="connsiteX42" fmla="*/ 265772 w 1033465"/>
                <a:gd name="connsiteY42" fmla="*/ 447409 h 838042"/>
                <a:gd name="connsiteX43" fmla="*/ 254342 w 1033465"/>
                <a:gd name="connsiteY43" fmla="*/ 455029 h 838042"/>
                <a:gd name="connsiteX44" fmla="*/ 242912 w 1033465"/>
                <a:gd name="connsiteY44" fmla="*/ 458839 h 838042"/>
                <a:gd name="connsiteX45" fmla="*/ 128612 w 1033465"/>
                <a:gd name="connsiteY45" fmla="*/ 458839 h 838042"/>
                <a:gd name="connsiteX46" fmla="*/ 122897 w 1033465"/>
                <a:gd name="connsiteY46" fmla="*/ 460744 h 838042"/>
                <a:gd name="connsiteX47" fmla="*/ 107657 w 1033465"/>
                <a:gd name="connsiteY47" fmla="*/ 462649 h 838042"/>
                <a:gd name="connsiteX48" fmla="*/ 90512 w 1033465"/>
                <a:gd name="connsiteY48" fmla="*/ 468364 h 838042"/>
                <a:gd name="connsiteX49" fmla="*/ 84797 w 1033465"/>
                <a:gd name="connsiteY49" fmla="*/ 470269 h 838042"/>
                <a:gd name="connsiteX50" fmla="*/ 79082 w 1033465"/>
                <a:gd name="connsiteY50" fmla="*/ 474079 h 838042"/>
                <a:gd name="connsiteX51" fmla="*/ 67652 w 1033465"/>
                <a:gd name="connsiteY51" fmla="*/ 475984 h 838042"/>
                <a:gd name="connsiteX52" fmla="*/ 29552 w 1033465"/>
                <a:gd name="connsiteY52" fmla="*/ 477889 h 838042"/>
                <a:gd name="connsiteX53" fmla="*/ 18122 w 1033465"/>
                <a:gd name="connsiteY53" fmla="*/ 483604 h 838042"/>
                <a:gd name="connsiteX54" fmla="*/ 8597 w 1033465"/>
                <a:gd name="connsiteY54" fmla="*/ 493129 h 838042"/>
                <a:gd name="connsiteX55" fmla="*/ 6692 w 1033465"/>
                <a:gd name="connsiteY55" fmla="*/ 498844 h 838042"/>
                <a:gd name="connsiteX56" fmla="*/ 2882 w 1033465"/>
                <a:gd name="connsiteY56" fmla="*/ 504559 h 838042"/>
                <a:gd name="connsiteX57" fmla="*/ 14312 w 1033465"/>
                <a:gd name="connsiteY57" fmla="*/ 540754 h 838042"/>
                <a:gd name="connsiteX58" fmla="*/ 147662 w 1033465"/>
                <a:gd name="connsiteY58" fmla="*/ 540754 h 838042"/>
                <a:gd name="connsiteX59" fmla="*/ 155282 w 1033465"/>
                <a:gd name="connsiteY59" fmla="*/ 538849 h 838042"/>
                <a:gd name="connsiteX60" fmla="*/ 305777 w 1033465"/>
                <a:gd name="connsiteY60" fmla="*/ 533134 h 838042"/>
                <a:gd name="connsiteX61" fmla="*/ 321017 w 1033465"/>
                <a:gd name="connsiteY61" fmla="*/ 540754 h 838042"/>
                <a:gd name="connsiteX62" fmla="*/ 332447 w 1033465"/>
                <a:gd name="connsiteY62" fmla="*/ 546469 h 838042"/>
                <a:gd name="connsiteX63" fmla="*/ 336257 w 1033465"/>
                <a:gd name="connsiteY63" fmla="*/ 552184 h 838042"/>
                <a:gd name="connsiteX64" fmla="*/ 341972 w 1033465"/>
                <a:gd name="connsiteY64" fmla="*/ 554089 h 838042"/>
                <a:gd name="connsiteX65" fmla="*/ 353402 w 1033465"/>
                <a:gd name="connsiteY65" fmla="*/ 561709 h 838042"/>
                <a:gd name="connsiteX66" fmla="*/ 359117 w 1033465"/>
                <a:gd name="connsiteY66" fmla="*/ 565519 h 838042"/>
                <a:gd name="connsiteX67" fmla="*/ 362927 w 1033465"/>
                <a:gd name="connsiteY67" fmla="*/ 571234 h 838042"/>
                <a:gd name="connsiteX68" fmla="*/ 368642 w 1033465"/>
                <a:gd name="connsiteY68" fmla="*/ 582664 h 838042"/>
                <a:gd name="connsiteX69" fmla="*/ 364832 w 1033465"/>
                <a:gd name="connsiteY69" fmla="*/ 609334 h 838042"/>
                <a:gd name="connsiteX70" fmla="*/ 361022 w 1033465"/>
                <a:gd name="connsiteY70" fmla="*/ 615049 h 838042"/>
                <a:gd name="connsiteX71" fmla="*/ 359117 w 1033465"/>
                <a:gd name="connsiteY71" fmla="*/ 620764 h 838042"/>
                <a:gd name="connsiteX72" fmla="*/ 355307 w 1033465"/>
                <a:gd name="connsiteY72" fmla="*/ 626479 h 838042"/>
                <a:gd name="connsiteX73" fmla="*/ 353402 w 1033465"/>
                <a:gd name="connsiteY73" fmla="*/ 632194 h 838042"/>
                <a:gd name="connsiteX74" fmla="*/ 349592 w 1033465"/>
                <a:gd name="connsiteY74" fmla="*/ 637909 h 838042"/>
                <a:gd name="connsiteX75" fmla="*/ 332447 w 1033465"/>
                <a:gd name="connsiteY75" fmla="*/ 704584 h 838042"/>
                <a:gd name="connsiteX76" fmla="*/ 330542 w 1033465"/>
                <a:gd name="connsiteY76" fmla="*/ 756019 h 838042"/>
                <a:gd name="connsiteX77" fmla="*/ 332447 w 1033465"/>
                <a:gd name="connsiteY77" fmla="*/ 780784 h 838042"/>
                <a:gd name="connsiteX78" fmla="*/ 334352 w 1033465"/>
                <a:gd name="connsiteY78" fmla="*/ 786499 h 838042"/>
                <a:gd name="connsiteX79" fmla="*/ 338162 w 1033465"/>
                <a:gd name="connsiteY79" fmla="*/ 790309 h 838042"/>
                <a:gd name="connsiteX80" fmla="*/ 366737 w 1033465"/>
                <a:gd name="connsiteY80" fmla="*/ 836029 h 838042"/>
                <a:gd name="connsiteX81" fmla="*/ 389597 w 1033465"/>
                <a:gd name="connsiteY81" fmla="*/ 837934 h 838042"/>
                <a:gd name="connsiteX82" fmla="*/ 397407 w 1033465"/>
                <a:gd name="connsiteY82" fmla="*/ 833530 h 838042"/>
                <a:gd name="connsiteX83" fmla="*/ 402932 w 1033465"/>
                <a:gd name="connsiteY83" fmla="*/ 784594 h 838042"/>
                <a:gd name="connsiteX84" fmla="*/ 406742 w 1033465"/>
                <a:gd name="connsiteY84" fmla="*/ 727444 h 838042"/>
                <a:gd name="connsiteX85" fmla="*/ 423887 w 1033465"/>
                <a:gd name="connsiteY85" fmla="*/ 672199 h 838042"/>
                <a:gd name="connsiteX86" fmla="*/ 429602 w 1033465"/>
                <a:gd name="connsiteY86" fmla="*/ 658864 h 838042"/>
                <a:gd name="connsiteX87" fmla="*/ 444084 w 1033465"/>
                <a:gd name="connsiteY87" fmla="*/ 626947 h 838042"/>
                <a:gd name="connsiteX88" fmla="*/ 464289 w 1033465"/>
                <a:gd name="connsiteY88" fmla="*/ 600072 h 838042"/>
                <a:gd name="connsiteX89" fmla="*/ 523510 w 1033465"/>
                <a:gd name="connsiteY89" fmla="*/ 565123 h 838042"/>
                <a:gd name="connsiteX90" fmla="*/ 599348 w 1033465"/>
                <a:gd name="connsiteY90" fmla="*/ 550915 h 838042"/>
                <a:gd name="connsiteX91" fmla="*/ 707801 w 1033465"/>
                <a:gd name="connsiteY91" fmla="*/ 612819 h 838042"/>
                <a:gd name="connsiteX92" fmla="*/ 780122 w 1033465"/>
                <a:gd name="connsiteY92" fmla="*/ 656959 h 838042"/>
                <a:gd name="connsiteX93" fmla="*/ 804887 w 1033465"/>
                <a:gd name="connsiteY93" fmla="*/ 632194 h 838042"/>
                <a:gd name="connsiteX94" fmla="*/ 801077 w 1033465"/>
                <a:gd name="connsiteY94" fmla="*/ 601714 h 838042"/>
                <a:gd name="connsiteX95" fmla="*/ 762796 w 1033465"/>
                <a:gd name="connsiteY95" fmla="*/ 562523 h 838042"/>
                <a:gd name="connsiteX96" fmla="*/ 650582 w 1033465"/>
                <a:gd name="connsiteY96" fmla="*/ 479794 h 838042"/>
                <a:gd name="connsiteX97" fmla="*/ 646772 w 1033465"/>
                <a:gd name="connsiteY97" fmla="*/ 462649 h 838042"/>
                <a:gd name="connsiteX98" fmla="*/ 658202 w 1033465"/>
                <a:gd name="connsiteY98" fmla="*/ 426454 h 838042"/>
                <a:gd name="connsiteX99" fmla="*/ 726782 w 1033465"/>
                <a:gd name="connsiteY99" fmla="*/ 405499 h 838042"/>
                <a:gd name="connsiteX100" fmla="*/ 813738 w 1033465"/>
                <a:gd name="connsiteY100" fmla="*/ 406906 h 838042"/>
                <a:gd name="connsiteX101" fmla="*/ 906231 w 1033465"/>
                <a:gd name="connsiteY101" fmla="*/ 417646 h 838042"/>
                <a:gd name="connsiteX102" fmla="*/ 1002290 w 1033465"/>
                <a:gd name="connsiteY102" fmla="*/ 426835 h 838042"/>
                <a:gd name="connsiteX103" fmla="*/ 1032449 w 1033465"/>
                <a:gd name="connsiteY103" fmla="*/ 402711 h 838042"/>
                <a:gd name="connsiteX104" fmla="*/ 1020514 w 1033465"/>
                <a:gd name="connsiteY104" fmla="*/ 377797 h 838042"/>
                <a:gd name="connsiteX105" fmla="*/ 964889 w 1033465"/>
                <a:gd name="connsiteY105" fmla="*/ 358029 h 838042"/>
                <a:gd name="connsiteX106" fmla="*/ 827747 w 1033465"/>
                <a:gd name="connsiteY106" fmla="*/ 357874 h 838042"/>
                <a:gd name="connsiteX107" fmla="*/ 755811 w 1033465"/>
                <a:gd name="connsiteY107" fmla="*/ 361702 h 838042"/>
                <a:gd name="connsiteX108" fmla="*/ 671537 w 1033465"/>
                <a:gd name="connsiteY108" fmla="*/ 369304 h 838042"/>
                <a:gd name="connsiteX109" fmla="*/ 644867 w 1033465"/>
                <a:gd name="connsiteY109" fmla="*/ 338824 h 838042"/>
                <a:gd name="connsiteX110" fmla="*/ 676403 w 1033465"/>
                <a:gd name="connsiteY110" fmla="*/ 304962 h 838042"/>
                <a:gd name="connsiteX111" fmla="*/ 707732 w 1033465"/>
                <a:gd name="connsiteY111" fmla="*/ 283579 h 838042"/>
                <a:gd name="connsiteX112" fmla="*/ 743927 w 1033465"/>
                <a:gd name="connsiteY112" fmla="*/ 251194 h 838042"/>
                <a:gd name="connsiteX113" fmla="*/ 783019 w 1033465"/>
                <a:gd name="connsiteY113" fmla="*/ 213846 h 838042"/>
                <a:gd name="connsiteX114" fmla="*/ 746401 w 1033465"/>
                <a:gd name="connsiteY114" fmla="*/ 201789 h 838042"/>
                <a:gd name="connsiteX115" fmla="*/ 694397 w 1033465"/>
                <a:gd name="connsiteY115" fmla="*/ 226429 h 838042"/>
                <a:gd name="connsiteX116" fmla="*/ 656678 w 1033465"/>
                <a:gd name="connsiteY116" fmla="*/ 257626 h 838042"/>
                <a:gd name="connsiteX117" fmla="*/ 616001 w 1033465"/>
                <a:gd name="connsiteY117" fmla="*/ 286712 h 838042"/>
                <a:gd name="connsiteX118" fmla="*/ 564857 w 1033465"/>
                <a:gd name="connsiteY118" fmla="*/ 287389 h 838042"/>
                <a:gd name="connsiteX119" fmla="*/ 530567 w 1033465"/>
                <a:gd name="connsiteY119" fmla="*/ 274054 h 838042"/>
                <a:gd name="connsiteX120" fmla="*/ 507707 w 1033465"/>
                <a:gd name="connsiteY120" fmla="*/ 235954 h 838042"/>
                <a:gd name="connsiteX121" fmla="*/ 509612 w 1033465"/>
                <a:gd name="connsiteY121" fmla="*/ 171184 h 838042"/>
                <a:gd name="connsiteX122" fmla="*/ 508314 w 1033465"/>
                <a:gd name="connsiteY122" fmla="*/ 73485 h 838042"/>
                <a:gd name="connsiteX123" fmla="*/ 454116 w 1033465"/>
                <a:gd name="connsiteY123" fmla="*/ 11248 h 838042"/>
                <a:gd name="connsiteX124" fmla="*/ 442470 w 1033465"/>
                <a:gd name="connsiteY124" fmla="*/ 75864 h 838042"/>
                <a:gd name="connsiteX125" fmla="*/ 439226 w 1033465"/>
                <a:gd name="connsiteY125" fmla="*/ 132660 h 838042"/>
                <a:gd name="connsiteX126" fmla="*/ 436054 w 1033465"/>
                <a:gd name="connsiteY12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86702 w 1033465"/>
                <a:gd name="connsiteY11" fmla="*/ 195949 h 838042"/>
                <a:gd name="connsiteX12" fmla="*/ 61937 w 1033465"/>
                <a:gd name="connsiteY12" fmla="*/ 197854 h 838042"/>
                <a:gd name="connsiteX13" fmla="*/ 56222 w 1033465"/>
                <a:gd name="connsiteY13" fmla="*/ 201664 h 838042"/>
                <a:gd name="connsiteX14" fmla="*/ 52412 w 1033465"/>
                <a:gd name="connsiteY14" fmla="*/ 207379 h 838042"/>
                <a:gd name="connsiteX15" fmla="*/ 48602 w 1033465"/>
                <a:gd name="connsiteY15" fmla="*/ 218809 h 838042"/>
                <a:gd name="connsiteX16" fmla="*/ 52412 w 1033465"/>
                <a:gd name="connsiteY16" fmla="*/ 256909 h 838042"/>
                <a:gd name="connsiteX17" fmla="*/ 56222 w 1033465"/>
                <a:gd name="connsiteY17" fmla="*/ 262624 h 838042"/>
                <a:gd name="connsiteX18" fmla="*/ 61937 w 1033465"/>
                <a:gd name="connsiteY18" fmla="*/ 266434 h 838042"/>
                <a:gd name="connsiteX19" fmla="*/ 65747 w 1033465"/>
                <a:gd name="connsiteY19" fmla="*/ 272149 h 838042"/>
                <a:gd name="connsiteX20" fmla="*/ 82892 w 1033465"/>
                <a:gd name="connsiteY20" fmla="*/ 281674 h 838042"/>
                <a:gd name="connsiteX21" fmla="*/ 105752 w 1033465"/>
                <a:gd name="connsiteY21" fmla="*/ 283579 h 838042"/>
                <a:gd name="connsiteX22" fmla="*/ 126707 w 1033465"/>
                <a:gd name="connsiteY22" fmla="*/ 289294 h 838042"/>
                <a:gd name="connsiteX23" fmla="*/ 132422 w 1033465"/>
                <a:gd name="connsiteY23" fmla="*/ 291199 h 838042"/>
                <a:gd name="connsiteX24" fmla="*/ 138137 w 1033465"/>
                <a:gd name="connsiteY24" fmla="*/ 296914 h 838042"/>
                <a:gd name="connsiteX25" fmla="*/ 145757 w 1033465"/>
                <a:gd name="connsiteY25" fmla="*/ 298819 h 838042"/>
                <a:gd name="connsiteX26" fmla="*/ 168617 w 1033465"/>
                <a:gd name="connsiteY26" fmla="*/ 302629 h 838042"/>
                <a:gd name="connsiteX27" fmla="*/ 193382 w 1033465"/>
                <a:gd name="connsiteY27" fmla="*/ 308344 h 838042"/>
                <a:gd name="connsiteX28" fmla="*/ 210527 w 1033465"/>
                <a:gd name="connsiteY28" fmla="*/ 314059 h 838042"/>
                <a:gd name="connsiteX29" fmla="*/ 216242 w 1033465"/>
                <a:gd name="connsiteY29" fmla="*/ 315964 h 838042"/>
                <a:gd name="connsiteX30" fmla="*/ 231482 w 1033465"/>
                <a:gd name="connsiteY30" fmla="*/ 319774 h 838042"/>
                <a:gd name="connsiteX31" fmla="*/ 250532 w 1033465"/>
                <a:gd name="connsiteY31" fmla="*/ 325489 h 838042"/>
                <a:gd name="connsiteX32" fmla="*/ 256247 w 1033465"/>
                <a:gd name="connsiteY32" fmla="*/ 329299 h 838042"/>
                <a:gd name="connsiteX33" fmla="*/ 269582 w 1033465"/>
                <a:gd name="connsiteY33" fmla="*/ 344539 h 838042"/>
                <a:gd name="connsiteX34" fmla="*/ 275297 w 1033465"/>
                <a:gd name="connsiteY34" fmla="*/ 363589 h 838042"/>
                <a:gd name="connsiteX35" fmla="*/ 277202 w 1033465"/>
                <a:gd name="connsiteY35" fmla="*/ 369304 h 838042"/>
                <a:gd name="connsiteX36" fmla="*/ 279107 w 1033465"/>
                <a:gd name="connsiteY36" fmla="*/ 375019 h 838042"/>
                <a:gd name="connsiteX37" fmla="*/ 281012 w 1033465"/>
                <a:gd name="connsiteY37" fmla="*/ 399784 h 838042"/>
                <a:gd name="connsiteX38" fmla="*/ 282917 w 1033465"/>
                <a:gd name="connsiteY38" fmla="*/ 405499 h 838042"/>
                <a:gd name="connsiteX39" fmla="*/ 281012 w 1033465"/>
                <a:gd name="connsiteY39" fmla="*/ 424549 h 838042"/>
                <a:gd name="connsiteX40" fmla="*/ 279107 w 1033465"/>
                <a:gd name="connsiteY40" fmla="*/ 434074 h 838042"/>
                <a:gd name="connsiteX41" fmla="*/ 265772 w 1033465"/>
                <a:gd name="connsiteY41" fmla="*/ 447409 h 838042"/>
                <a:gd name="connsiteX42" fmla="*/ 254342 w 1033465"/>
                <a:gd name="connsiteY42" fmla="*/ 455029 h 838042"/>
                <a:gd name="connsiteX43" fmla="*/ 242912 w 1033465"/>
                <a:gd name="connsiteY43" fmla="*/ 458839 h 838042"/>
                <a:gd name="connsiteX44" fmla="*/ 128612 w 1033465"/>
                <a:gd name="connsiteY44" fmla="*/ 458839 h 838042"/>
                <a:gd name="connsiteX45" fmla="*/ 122897 w 1033465"/>
                <a:gd name="connsiteY45" fmla="*/ 460744 h 838042"/>
                <a:gd name="connsiteX46" fmla="*/ 107657 w 1033465"/>
                <a:gd name="connsiteY46" fmla="*/ 462649 h 838042"/>
                <a:gd name="connsiteX47" fmla="*/ 90512 w 1033465"/>
                <a:gd name="connsiteY47" fmla="*/ 468364 h 838042"/>
                <a:gd name="connsiteX48" fmla="*/ 84797 w 1033465"/>
                <a:gd name="connsiteY48" fmla="*/ 470269 h 838042"/>
                <a:gd name="connsiteX49" fmla="*/ 79082 w 1033465"/>
                <a:gd name="connsiteY49" fmla="*/ 474079 h 838042"/>
                <a:gd name="connsiteX50" fmla="*/ 67652 w 1033465"/>
                <a:gd name="connsiteY50" fmla="*/ 475984 h 838042"/>
                <a:gd name="connsiteX51" fmla="*/ 29552 w 1033465"/>
                <a:gd name="connsiteY51" fmla="*/ 477889 h 838042"/>
                <a:gd name="connsiteX52" fmla="*/ 18122 w 1033465"/>
                <a:gd name="connsiteY52" fmla="*/ 483604 h 838042"/>
                <a:gd name="connsiteX53" fmla="*/ 8597 w 1033465"/>
                <a:gd name="connsiteY53" fmla="*/ 493129 h 838042"/>
                <a:gd name="connsiteX54" fmla="*/ 6692 w 1033465"/>
                <a:gd name="connsiteY54" fmla="*/ 498844 h 838042"/>
                <a:gd name="connsiteX55" fmla="*/ 2882 w 1033465"/>
                <a:gd name="connsiteY55" fmla="*/ 504559 h 838042"/>
                <a:gd name="connsiteX56" fmla="*/ 14312 w 1033465"/>
                <a:gd name="connsiteY56" fmla="*/ 540754 h 838042"/>
                <a:gd name="connsiteX57" fmla="*/ 147662 w 1033465"/>
                <a:gd name="connsiteY57" fmla="*/ 540754 h 838042"/>
                <a:gd name="connsiteX58" fmla="*/ 155282 w 1033465"/>
                <a:gd name="connsiteY58" fmla="*/ 538849 h 838042"/>
                <a:gd name="connsiteX59" fmla="*/ 305777 w 1033465"/>
                <a:gd name="connsiteY59" fmla="*/ 533134 h 838042"/>
                <a:gd name="connsiteX60" fmla="*/ 321017 w 1033465"/>
                <a:gd name="connsiteY60" fmla="*/ 540754 h 838042"/>
                <a:gd name="connsiteX61" fmla="*/ 332447 w 1033465"/>
                <a:gd name="connsiteY61" fmla="*/ 546469 h 838042"/>
                <a:gd name="connsiteX62" fmla="*/ 336257 w 1033465"/>
                <a:gd name="connsiteY62" fmla="*/ 552184 h 838042"/>
                <a:gd name="connsiteX63" fmla="*/ 341972 w 1033465"/>
                <a:gd name="connsiteY63" fmla="*/ 554089 h 838042"/>
                <a:gd name="connsiteX64" fmla="*/ 353402 w 1033465"/>
                <a:gd name="connsiteY64" fmla="*/ 561709 h 838042"/>
                <a:gd name="connsiteX65" fmla="*/ 359117 w 1033465"/>
                <a:gd name="connsiteY65" fmla="*/ 565519 h 838042"/>
                <a:gd name="connsiteX66" fmla="*/ 362927 w 1033465"/>
                <a:gd name="connsiteY66" fmla="*/ 571234 h 838042"/>
                <a:gd name="connsiteX67" fmla="*/ 368642 w 1033465"/>
                <a:gd name="connsiteY67" fmla="*/ 582664 h 838042"/>
                <a:gd name="connsiteX68" fmla="*/ 364832 w 1033465"/>
                <a:gd name="connsiteY68" fmla="*/ 609334 h 838042"/>
                <a:gd name="connsiteX69" fmla="*/ 361022 w 1033465"/>
                <a:gd name="connsiteY69" fmla="*/ 615049 h 838042"/>
                <a:gd name="connsiteX70" fmla="*/ 359117 w 1033465"/>
                <a:gd name="connsiteY70" fmla="*/ 620764 h 838042"/>
                <a:gd name="connsiteX71" fmla="*/ 355307 w 1033465"/>
                <a:gd name="connsiteY71" fmla="*/ 626479 h 838042"/>
                <a:gd name="connsiteX72" fmla="*/ 353402 w 1033465"/>
                <a:gd name="connsiteY72" fmla="*/ 632194 h 838042"/>
                <a:gd name="connsiteX73" fmla="*/ 349592 w 1033465"/>
                <a:gd name="connsiteY73" fmla="*/ 637909 h 838042"/>
                <a:gd name="connsiteX74" fmla="*/ 332447 w 1033465"/>
                <a:gd name="connsiteY74" fmla="*/ 704584 h 838042"/>
                <a:gd name="connsiteX75" fmla="*/ 330542 w 1033465"/>
                <a:gd name="connsiteY75" fmla="*/ 756019 h 838042"/>
                <a:gd name="connsiteX76" fmla="*/ 332447 w 1033465"/>
                <a:gd name="connsiteY76" fmla="*/ 780784 h 838042"/>
                <a:gd name="connsiteX77" fmla="*/ 334352 w 1033465"/>
                <a:gd name="connsiteY77" fmla="*/ 786499 h 838042"/>
                <a:gd name="connsiteX78" fmla="*/ 338162 w 1033465"/>
                <a:gd name="connsiteY78" fmla="*/ 790309 h 838042"/>
                <a:gd name="connsiteX79" fmla="*/ 366737 w 1033465"/>
                <a:gd name="connsiteY79" fmla="*/ 836029 h 838042"/>
                <a:gd name="connsiteX80" fmla="*/ 389597 w 1033465"/>
                <a:gd name="connsiteY80" fmla="*/ 837934 h 838042"/>
                <a:gd name="connsiteX81" fmla="*/ 397407 w 1033465"/>
                <a:gd name="connsiteY81" fmla="*/ 833530 h 838042"/>
                <a:gd name="connsiteX82" fmla="*/ 402932 w 1033465"/>
                <a:gd name="connsiteY82" fmla="*/ 784594 h 838042"/>
                <a:gd name="connsiteX83" fmla="*/ 406742 w 1033465"/>
                <a:gd name="connsiteY83" fmla="*/ 727444 h 838042"/>
                <a:gd name="connsiteX84" fmla="*/ 423887 w 1033465"/>
                <a:gd name="connsiteY84" fmla="*/ 672199 h 838042"/>
                <a:gd name="connsiteX85" fmla="*/ 429602 w 1033465"/>
                <a:gd name="connsiteY85" fmla="*/ 658864 h 838042"/>
                <a:gd name="connsiteX86" fmla="*/ 444084 w 1033465"/>
                <a:gd name="connsiteY86" fmla="*/ 626947 h 838042"/>
                <a:gd name="connsiteX87" fmla="*/ 464289 w 1033465"/>
                <a:gd name="connsiteY87" fmla="*/ 600072 h 838042"/>
                <a:gd name="connsiteX88" fmla="*/ 523510 w 1033465"/>
                <a:gd name="connsiteY88" fmla="*/ 565123 h 838042"/>
                <a:gd name="connsiteX89" fmla="*/ 599348 w 1033465"/>
                <a:gd name="connsiteY89" fmla="*/ 550915 h 838042"/>
                <a:gd name="connsiteX90" fmla="*/ 707801 w 1033465"/>
                <a:gd name="connsiteY90" fmla="*/ 612819 h 838042"/>
                <a:gd name="connsiteX91" fmla="*/ 780122 w 1033465"/>
                <a:gd name="connsiteY91" fmla="*/ 656959 h 838042"/>
                <a:gd name="connsiteX92" fmla="*/ 804887 w 1033465"/>
                <a:gd name="connsiteY92" fmla="*/ 632194 h 838042"/>
                <a:gd name="connsiteX93" fmla="*/ 801077 w 1033465"/>
                <a:gd name="connsiteY93" fmla="*/ 601714 h 838042"/>
                <a:gd name="connsiteX94" fmla="*/ 762796 w 1033465"/>
                <a:gd name="connsiteY94" fmla="*/ 562523 h 838042"/>
                <a:gd name="connsiteX95" fmla="*/ 650582 w 1033465"/>
                <a:gd name="connsiteY95" fmla="*/ 479794 h 838042"/>
                <a:gd name="connsiteX96" fmla="*/ 646772 w 1033465"/>
                <a:gd name="connsiteY96" fmla="*/ 462649 h 838042"/>
                <a:gd name="connsiteX97" fmla="*/ 658202 w 1033465"/>
                <a:gd name="connsiteY97" fmla="*/ 426454 h 838042"/>
                <a:gd name="connsiteX98" fmla="*/ 726782 w 1033465"/>
                <a:gd name="connsiteY98" fmla="*/ 405499 h 838042"/>
                <a:gd name="connsiteX99" fmla="*/ 813738 w 1033465"/>
                <a:gd name="connsiteY99" fmla="*/ 406906 h 838042"/>
                <a:gd name="connsiteX100" fmla="*/ 906231 w 1033465"/>
                <a:gd name="connsiteY100" fmla="*/ 417646 h 838042"/>
                <a:gd name="connsiteX101" fmla="*/ 1002290 w 1033465"/>
                <a:gd name="connsiteY101" fmla="*/ 426835 h 838042"/>
                <a:gd name="connsiteX102" fmla="*/ 1032449 w 1033465"/>
                <a:gd name="connsiteY102" fmla="*/ 402711 h 838042"/>
                <a:gd name="connsiteX103" fmla="*/ 1020514 w 1033465"/>
                <a:gd name="connsiteY103" fmla="*/ 377797 h 838042"/>
                <a:gd name="connsiteX104" fmla="*/ 964889 w 1033465"/>
                <a:gd name="connsiteY104" fmla="*/ 358029 h 838042"/>
                <a:gd name="connsiteX105" fmla="*/ 827747 w 1033465"/>
                <a:gd name="connsiteY105" fmla="*/ 357874 h 838042"/>
                <a:gd name="connsiteX106" fmla="*/ 755811 w 1033465"/>
                <a:gd name="connsiteY106" fmla="*/ 361702 h 838042"/>
                <a:gd name="connsiteX107" fmla="*/ 671537 w 1033465"/>
                <a:gd name="connsiteY107" fmla="*/ 369304 h 838042"/>
                <a:gd name="connsiteX108" fmla="*/ 644867 w 1033465"/>
                <a:gd name="connsiteY108" fmla="*/ 338824 h 838042"/>
                <a:gd name="connsiteX109" fmla="*/ 676403 w 1033465"/>
                <a:gd name="connsiteY109" fmla="*/ 304962 h 838042"/>
                <a:gd name="connsiteX110" fmla="*/ 707732 w 1033465"/>
                <a:gd name="connsiteY110" fmla="*/ 283579 h 838042"/>
                <a:gd name="connsiteX111" fmla="*/ 743927 w 1033465"/>
                <a:gd name="connsiteY111" fmla="*/ 251194 h 838042"/>
                <a:gd name="connsiteX112" fmla="*/ 783019 w 1033465"/>
                <a:gd name="connsiteY112" fmla="*/ 213846 h 838042"/>
                <a:gd name="connsiteX113" fmla="*/ 746401 w 1033465"/>
                <a:gd name="connsiteY113" fmla="*/ 201789 h 838042"/>
                <a:gd name="connsiteX114" fmla="*/ 694397 w 1033465"/>
                <a:gd name="connsiteY114" fmla="*/ 226429 h 838042"/>
                <a:gd name="connsiteX115" fmla="*/ 656678 w 1033465"/>
                <a:gd name="connsiteY115" fmla="*/ 257626 h 838042"/>
                <a:gd name="connsiteX116" fmla="*/ 616001 w 1033465"/>
                <a:gd name="connsiteY116" fmla="*/ 286712 h 838042"/>
                <a:gd name="connsiteX117" fmla="*/ 564857 w 1033465"/>
                <a:gd name="connsiteY117" fmla="*/ 287389 h 838042"/>
                <a:gd name="connsiteX118" fmla="*/ 530567 w 1033465"/>
                <a:gd name="connsiteY118" fmla="*/ 274054 h 838042"/>
                <a:gd name="connsiteX119" fmla="*/ 507707 w 1033465"/>
                <a:gd name="connsiteY119" fmla="*/ 235954 h 838042"/>
                <a:gd name="connsiteX120" fmla="*/ 509612 w 1033465"/>
                <a:gd name="connsiteY120" fmla="*/ 171184 h 838042"/>
                <a:gd name="connsiteX121" fmla="*/ 508314 w 1033465"/>
                <a:gd name="connsiteY121" fmla="*/ 73485 h 838042"/>
                <a:gd name="connsiteX122" fmla="*/ 454116 w 1033465"/>
                <a:gd name="connsiteY122" fmla="*/ 11248 h 838042"/>
                <a:gd name="connsiteX123" fmla="*/ 442470 w 1033465"/>
                <a:gd name="connsiteY123" fmla="*/ 75864 h 838042"/>
                <a:gd name="connsiteX124" fmla="*/ 439226 w 1033465"/>
                <a:gd name="connsiteY124" fmla="*/ 132660 h 838042"/>
                <a:gd name="connsiteX125" fmla="*/ 436054 w 1033465"/>
                <a:gd name="connsiteY12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6222 w 1033465"/>
                <a:gd name="connsiteY12" fmla="*/ 201664 h 838042"/>
                <a:gd name="connsiteX13" fmla="*/ 52412 w 1033465"/>
                <a:gd name="connsiteY13" fmla="*/ 207379 h 838042"/>
                <a:gd name="connsiteX14" fmla="*/ 48602 w 1033465"/>
                <a:gd name="connsiteY14" fmla="*/ 218809 h 838042"/>
                <a:gd name="connsiteX15" fmla="*/ 52412 w 1033465"/>
                <a:gd name="connsiteY15" fmla="*/ 256909 h 838042"/>
                <a:gd name="connsiteX16" fmla="*/ 56222 w 1033465"/>
                <a:gd name="connsiteY16" fmla="*/ 262624 h 838042"/>
                <a:gd name="connsiteX17" fmla="*/ 61937 w 1033465"/>
                <a:gd name="connsiteY17" fmla="*/ 266434 h 838042"/>
                <a:gd name="connsiteX18" fmla="*/ 65747 w 1033465"/>
                <a:gd name="connsiteY18" fmla="*/ 272149 h 838042"/>
                <a:gd name="connsiteX19" fmla="*/ 82892 w 1033465"/>
                <a:gd name="connsiteY19" fmla="*/ 281674 h 838042"/>
                <a:gd name="connsiteX20" fmla="*/ 105752 w 1033465"/>
                <a:gd name="connsiteY20" fmla="*/ 283579 h 838042"/>
                <a:gd name="connsiteX21" fmla="*/ 126707 w 1033465"/>
                <a:gd name="connsiteY21" fmla="*/ 289294 h 838042"/>
                <a:gd name="connsiteX22" fmla="*/ 132422 w 1033465"/>
                <a:gd name="connsiteY22" fmla="*/ 291199 h 838042"/>
                <a:gd name="connsiteX23" fmla="*/ 138137 w 1033465"/>
                <a:gd name="connsiteY23" fmla="*/ 296914 h 838042"/>
                <a:gd name="connsiteX24" fmla="*/ 145757 w 1033465"/>
                <a:gd name="connsiteY24" fmla="*/ 298819 h 838042"/>
                <a:gd name="connsiteX25" fmla="*/ 168617 w 1033465"/>
                <a:gd name="connsiteY25" fmla="*/ 302629 h 838042"/>
                <a:gd name="connsiteX26" fmla="*/ 193382 w 1033465"/>
                <a:gd name="connsiteY26" fmla="*/ 308344 h 838042"/>
                <a:gd name="connsiteX27" fmla="*/ 210527 w 1033465"/>
                <a:gd name="connsiteY27" fmla="*/ 314059 h 838042"/>
                <a:gd name="connsiteX28" fmla="*/ 216242 w 1033465"/>
                <a:gd name="connsiteY28" fmla="*/ 315964 h 838042"/>
                <a:gd name="connsiteX29" fmla="*/ 231482 w 1033465"/>
                <a:gd name="connsiteY29" fmla="*/ 319774 h 838042"/>
                <a:gd name="connsiteX30" fmla="*/ 250532 w 1033465"/>
                <a:gd name="connsiteY30" fmla="*/ 325489 h 838042"/>
                <a:gd name="connsiteX31" fmla="*/ 256247 w 1033465"/>
                <a:gd name="connsiteY31" fmla="*/ 329299 h 838042"/>
                <a:gd name="connsiteX32" fmla="*/ 269582 w 1033465"/>
                <a:gd name="connsiteY32" fmla="*/ 344539 h 838042"/>
                <a:gd name="connsiteX33" fmla="*/ 275297 w 1033465"/>
                <a:gd name="connsiteY33" fmla="*/ 363589 h 838042"/>
                <a:gd name="connsiteX34" fmla="*/ 277202 w 1033465"/>
                <a:gd name="connsiteY34" fmla="*/ 369304 h 838042"/>
                <a:gd name="connsiteX35" fmla="*/ 279107 w 1033465"/>
                <a:gd name="connsiteY35" fmla="*/ 375019 h 838042"/>
                <a:gd name="connsiteX36" fmla="*/ 281012 w 1033465"/>
                <a:gd name="connsiteY36" fmla="*/ 399784 h 838042"/>
                <a:gd name="connsiteX37" fmla="*/ 282917 w 1033465"/>
                <a:gd name="connsiteY37" fmla="*/ 405499 h 838042"/>
                <a:gd name="connsiteX38" fmla="*/ 281012 w 1033465"/>
                <a:gd name="connsiteY38" fmla="*/ 424549 h 838042"/>
                <a:gd name="connsiteX39" fmla="*/ 279107 w 1033465"/>
                <a:gd name="connsiteY39" fmla="*/ 434074 h 838042"/>
                <a:gd name="connsiteX40" fmla="*/ 265772 w 1033465"/>
                <a:gd name="connsiteY40" fmla="*/ 447409 h 838042"/>
                <a:gd name="connsiteX41" fmla="*/ 254342 w 1033465"/>
                <a:gd name="connsiteY41" fmla="*/ 455029 h 838042"/>
                <a:gd name="connsiteX42" fmla="*/ 242912 w 1033465"/>
                <a:gd name="connsiteY42" fmla="*/ 458839 h 838042"/>
                <a:gd name="connsiteX43" fmla="*/ 128612 w 1033465"/>
                <a:gd name="connsiteY43" fmla="*/ 458839 h 838042"/>
                <a:gd name="connsiteX44" fmla="*/ 122897 w 1033465"/>
                <a:gd name="connsiteY44" fmla="*/ 460744 h 838042"/>
                <a:gd name="connsiteX45" fmla="*/ 107657 w 1033465"/>
                <a:gd name="connsiteY45" fmla="*/ 462649 h 838042"/>
                <a:gd name="connsiteX46" fmla="*/ 90512 w 1033465"/>
                <a:gd name="connsiteY46" fmla="*/ 468364 h 838042"/>
                <a:gd name="connsiteX47" fmla="*/ 84797 w 1033465"/>
                <a:gd name="connsiteY47" fmla="*/ 470269 h 838042"/>
                <a:gd name="connsiteX48" fmla="*/ 79082 w 1033465"/>
                <a:gd name="connsiteY48" fmla="*/ 474079 h 838042"/>
                <a:gd name="connsiteX49" fmla="*/ 67652 w 1033465"/>
                <a:gd name="connsiteY49" fmla="*/ 475984 h 838042"/>
                <a:gd name="connsiteX50" fmla="*/ 29552 w 1033465"/>
                <a:gd name="connsiteY50" fmla="*/ 477889 h 838042"/>
                <a:gd name="connsiteX51" fmla="*/ 18122 w 1033465"/>
                <a:gd name="connsiteY51" fmla="*/ 483604 h 838042"/>
                <a:gd name="connsiteX52" fmla="*/ 8597 w 1033465"/>
                <a:gd name="connsiteY52" fmla="*/ 493129 h 838042"/>
                <a:gd name="connsiteX53" fmla="*/ 6692 w 1033465"/>
                <a:gd name="connsiteY53" fmla="*/ 498844 h 838042"/>
                <a:gd name="connsiteX54" fmla="*/ 2882 w 1033465"/>
                <a:gd name="connsiteY54" fmla="*/ 504559 h 838042"/>
                <a:gd name="connsiteX55" fmla="*/ 14312 w 1033465"/>
                <a:gd name="connsiteY55" fmla="*/ 540754 h 838042"/>
                <a:gd name="connsiteX56" fmla="*/ 147662 w 1033465"/>
                <a:gd name="connsiteY56" fmla="*/ 540754 h 838042"/>
                <a:gd name="connsiteX57" fmla="*/ 155282 w 1033465"/>
                <a:gd name="connsiteY57" fmla="*/ 538849 h 838042"/>
                <a:gd name="connsiteX58" fmla="*/ 305777 w 1033465"/>
                <a:gd name="connsiteY58" fmla="*/ 533134 h 838042"/>
                <a:gd name="connsiteX59" fmla="*/ 321017 w 1033465"/>
                <a:gd name="connsiteY59" fmla="*/ 540754 h 838042"/>
                <a:gd name="connsiteX60" fmla="*/ 332447 w 1033465"/>
                <a:gd name="connsiteY60" fmla="*/ 546469 h 838042"/>
                <a:gd name="connsiteX61" fmla="*/ 336257 w 1033465"/>
                <a:gd name="connsiteY61" fmla="*/ 552184 h 838042"/>
                <a:gd name="connsiteX62" fmla="*/ 341972 w 1033465"/>
                <a:gd name="connsiteY62" fmla="*/ 554089 h 838042"/>
                <a:gd name="connsiteX63" fmla="*/ 353402 w 1033465"/>
                <a:gd name="connsiteY63" fmla="*/ 561709 h 838042"/>
                <a:gd name="connsiteX64" fmla="*/ 359117 w 1033465"/>
                <a:gd name="connsiteY64" fmla="*/ 565519 h 838042"/>
                <a:gd name="connsiteX65" fmla="*/ 362927 w 1033465"/>
                <a:gd name="connsiteY65" fmla="*/ 571234 h 838042"/>
                <a:gd name="connsiteX66" fmla="*/ 368642 w 1033465"/>
                <a:gd name="connsiteY66" fmla="*/ 582664 h 838042"/>
                <a:gd name="connsiteX67" fmla="*/ 364832 w 1033465"/>
                <a:gd name="connsiteY67" fmla="*/ 609334 h 838042"/>
                <a:gd name="connsiteX68" fmla="*/ 361022 w 1033465"/>
                <a:gd name="connsiteY68" fmla="*/ 615049 h 838042"/>
                <a:gd name="connsiteX69" fmla="*/ 359117 w 1033465"/>
                <a:gd name="connsiteY69" fmla="*/ 620764 h 838042"/>
                <a:gd name="connsiteX70" fmla="*/ 355307 w 1033465"/>
                <a:gd name="connsiteY70" fmla="*/ 626479 h 838042"/>
                <a:gd name="connsiteX71" fmla="*/ 353402 w 1033465"/>
                <a:gd name="connsiteY71" fmla="*/ 632194 h 838042"/>
                <a:gd name="connsiteX72" fmla="*/ 349592 w 1033465"/>
                <a:gd name="connsiteY72" fmla="*/ 637909 h 838042"/>
                <a:gd name="connsiteX73" fmla="*/ 332447 w 1033465"/>
                <a:gd name="connsiteY73" fmla="*/ 704584 h 838042"/>
                <a:gd name="connsiteX74" fmla="*/ 330542 w 1033465"/>
                <a:gd name="connsiteY74" fmla="*/ 756019 h 838042"/>
                <a:gd name="connsiteX75" fmla="*/ 332447 w 1033465"/>
                <a:gd name="connsiteY75" fmla="*/ 780784 h 838042"/>
                <a:gd name="connsiteX76" fmla="*/ 334352 w 1033465"/>
                <a:gd name="connsiteY76" fmla="*/ 786499 h 838042"/>
                <a:gd name="connsiteX77" fmla="*/ 338162 w 1033465"/>
                <a:gd name="connsiteY77" fmla="*/ 790309 h 838042"/>
                <a:gd name="connsiteX78" fmla="*/ 366737 w 1033465"/>
                <a:gd name="connsiteY78" fmla="*/ 836029 h 838042"/>
                <a:gd name="connsiteX79" fmla="*/ 389597 w 1033465"/>
                <a:gd name="connsiteY79" fmla="*/ 837934 h 838042"/>
                <a:gd name="connsiteX80" fmla="*/ 397407 w 1033465"/>
                <a:gd name="connsiteY80" fmla="*/ 833530 h 838042"/>
                <a:gd name="connsiteX81" fmla="*/ 402932 w 1033465"/>
                <a:gd name="connsiteY81" fmla="*/ 784594 h 838042"/>
                <a:gd name="connsiteX82" fmla="*/ 406742 w 1033465"/>
                <a:gd name="connsiteY82" fmla="*/ 727444 h 838042"/>
                <a:gd name="connsiteX83" fmla="*/ 423887 w 1033465"/>
                <a:gd name="connsiteY83" fmla="*/ 672199 h 838042"/>
                <a:gd name="connsiteX84" fmla="*/ 429602 w 1033465"/>
                <a:gd name="connsiteY84" fmla="*/ 658864 h 838042"/>
                <a:gd name="connsiteX85" fmla="*/ 444084 w 1033465"/>
                <a:gd name="connsiteY85" fmla="*/ 626947 h 838042"/>
                <a:gd name="connsiteX86" fmla="*/ 464289 w 1033465"/>
                <a:gd name="connsiteY86" fmla="*/ 600072 h 838042"/>
                <a:gd name="connsiteX87" fmla="*/ 523510 w 1033465"/>
                <a:gd name="connsiteY87" fmla="*/ 565123 h 838042"/>
                <a:gd name="connsiteX88" fmla="*/ 599348 w 1033465"/>
                <a:gd name="connsiteY88" fmla="*/ 550915 h 838042"/>
                <a:gd name="connsiteX89" fmla="*/ 707801 w 1033465"/>
                <a:gd name="connsiteY89" fmla="*/ 612819 h 838042"/>
                <a:gd name="connsiteX90" fmla="*/ 780122 w 1033465"/>
                <a:gd name="connsiteY90" fmla="*/ 656959 h 838042"/>
                <a:gd name="connsiteX91" fmla="*/ 804887 w 1033465"/>
                <a:gd name="connsiteY91" fmla="*/ 632194 h 838042"/>
                <a:gd name="connsiteX92" fmla="*/ 801077 w 1033465"/>
                <a:gd name="connsiteY92" fmla="*/ 601714 h 838042"/>
                <a:gd name="connsiteX93" fmla="*/ 762796 w 1033465"/>
                <a:gd name="connsiteY93" fmla="*/ 562523 h 838042"/>
                <a:gd name="connsiteX94" fmla="*/ 650582 w 1033465"/>
                <a:gd name="connsiteY94" fmla="*/ 479794 h 838042"/>
                <a:gd name="connsiteX95" fmla="*/ 646772 w 1033465"/>
                <a:gd name="connsiteY95" fmla="*/ 462649 h 838042"/>
                <a:gd name="connsiteX96" fmla="*/ 658202 w 1033465"/>
                <a:gd name="connsiteY96" fmla="*/ 426454 h 838042"/>
                <a:gd name="connsiteX97" fmla="*/ 726782 w 1033465"/>
                <a:gd name="connsiteY97" fmla="*/ 405499 h 838042"/>
                <a:gd name="connsiteX98" fmla="*/ 813738 w 1033465"/>
                <a:gd name="connsiteY98" fmla="*/ 406906 h 838042"/>
                <a:gd name="connsiteX99" fmla="*/ 906231 w 1033465"/>
                <a:gd name="connsiteY99" fmla="*/ 417646 h 838042"/>
                <a:gd name="connsiteX100" fmla="*/ 1002290 w 1033465"/>
                <a:gd name="connsiteY100" fmla="*/ 426835 h 838042"/>
                <a:gd name="connsiteX101" fmla="*/ 1032449 w 1033465"/>
                <a:gd name="connsiteY101" fmla="*/ 402711 h 838042"/>
                <a:gd name="connsiteX102" fmla="*/ 1020514 w 1033465"/>
                <a:gd name="connsiteY102" fmla="*/ 377797 h 838042"/>
                <a:gd name="connsiteX103" fmla="*/ 964889 w 1033465"/>
                <a:gd name="connsiteY103" fmla="*/ 358029 h 838042"/>
                <a:gd name="connsiteX104" fmla="*/ 827747 w 1033465"/>
                <a:gd name="connsiteY104" fmla="*/ 357874 h 838042"/>
                <a:gd name="connsiteX105" fmla="*/ 755811 w 1033465"/>
                <a:gd name="connsiteY105" fmla="*/ 361702 h 838042"/>
                <a:gd name="connsiteX106" fmla="*/ 671537 w 1033465"/>
                <a:gd name="connsiteY106" fmla="*/ 369304 h 838042"/>
                <a:gd name="connsiteX107" fmla="*/ 644867 w 1033465"/>
                <a:gd name="connsiteY107" fmla="*/ 338824 h 838042"/>
                <a:gd name="connsiteX108" fmla="*/ 676403 w 1033465"/>
                <a:gd name="connsiteY108" fmla="*/ 304962 h 838042"/>
                <a:gd name="connsiteX109" fmla="*/ 707732 w 1033465"/>
                <a:gd name="connsiteY109" fmla="*/ 283579 h 838042"/>
                <a:gd name="connsiteX110" fmla="*/ 743927 w 1033465"/>
                <a:gd name="connsiteY110" fmla="*/ 251194 h 838042"/>
                <a:gd name="connsiteX111" fmla="*/ 783019 w 1033465"/>
                <a:gd name="connsiteY111" fmla="*/ 213846 h 838042"/>
                <a:gd name="connsiteX112" fmla="*/ 746401 w 1033465"/>
                <a:gd name="connsiteY112" fmla="*/ 201789 h 838042"/>
                <a:gd name="connsiteX113" fmla="*/ 694397 w 1033465"/>
                <a:gd name="connsiteY113" fmla="*/ 226429 h 838042"/>
                <a:gd name="connsiteX114" fmla="*/ 656678 w 1033465"/>
                <a:gd name="connsiteY114" fmla="*/ 257626 h 838042"/>
                <a:gd name="connsiteX115" fmla="*/ 616001 w 1033465"/>
                <a:gd name="connsiteY115" fmla="*/ 286712 h 838042"/>
                <a:gd name="connsiteX116" fmla="*/ 564857 w 1033465"/>
                <a:gd name="connsiteY116" fmla="*/ 287389 h 838042"/>
                <a:gd name="connsiteX117" fmla="*/ 530567 w 1033465"/>
                <a:gd name="connsiteY117" fmla="*/ 274054 h 838042"/>
                <a:gd name="connsiteX118" fmla="*/ 507707 w 1033465"/>
                <a:gd name="connsiteY118" fmla="*/ 235954 h 838042"/>
                <a:gd name="connsiteX119" fmla="*/ 509612 w 1033465"/>
                <a:gd name="connsiteY119" fmla="*/ 171184 h 838042"/>
                <a:gd name="connsiteX120" fmla="*/ 508314 w 1033465"/>
                <a:gd name="connsiteY120" fmla="*/ 73485 h 838042"/>
                <a:gd name="connsiteX121" fmla="*/ 454116 w 1033465"/>
                <a:gd name="connsiteY121" fmla="*/ 11248 h 838042"/>
                <a:gd name="connsiteX122" fmla="*/ 442470 w 1033465"/>
                <a:gd name="connsiteY122" fmla="*/ 75864 h 838042"/>
                <a:gd name="connsiteX123" fmla="*/ 439226 w 1033465"/>
                <a:gd name="connsiteY123" fmla="*/ 132660 h 838042"/>
                <a:gd name="connsiteX124" fmla="*/ 436054 w 1033465"/>
                <a:gd name="connsiteY12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6222 w 1033465"/>
                <a:gd name="connsiteY12" fmla="*/ 201664 h 838042"/>
                <a:gd name="connsiteX13" fmla="*/ 52412 w 1033465"/>
                <a:gd name="connsiteY13" fmla="*/ 207379 h 838042"/>
                <a:gd name="connsiteX14" fmla="*/ 52412 w 1033465"/>
                <a:gd name="connsiteY14" fmla="*/ 256909 h 838042"/>
                <a:gd name="connsiteX15" fmla="*/ 56222 w 1033465"/>
                <a:gd name="connsiteY15" fmla="*/ 262624 h 838042"/>
                <a:gd name="connsiteX16" fmla="*/ 61937 w 1033465"/>
                <a:gd name="connsiteY16" fmla="*/ 266434 h 838042"/>
                <a:gd name="connsiteX17" fmla="*/ 65747 w 1033465"/>
                <a:gd name="connsiteY17" fmla="*/ 272149 h 838042"/>
                <a:gd name="connsiteX18" fmla="*/ 82892 w 1033465"/>
                <a:gd name="connsiteY18" fmla="*/ 281674 h 838042"/>
                <a:gd name="connsiteX19" fmla="*/ 105752 w 1033465"/>
                <a:gd name="connsiteY19" fmla="*/ 283579 h 838042"/>
                <a:gd name="connsiteX20" fmla="*/ 126707 w 1033465"/>
                <a:gd name="connsiteY20" fmla="*/ 289294 h 838042"/>
                <a:gd name="connsiteX21" fmla="*/ 132422 w 1033465"/>
                <a:gd name="connsiteY21" fmla="*/ 291199 h 838042"/>
                <a:gd name="connsiteX22" fmla="*/ 138137 w 1033465"/>
                <a:gd name="connsiteY22" fmla="*/ 296914 h 838042"/>
                <a:gd name="connsiteX23" fmla="*/ 145757 w 1033465"/>
                <a:gd name="connsiteY23" fmla="*/ 298819 h 838042"/>
                <a:gd name="connsiteX24" fmla="*/ 168617 w 1033465"/>
                <a:gd name="connsiteY24" fmla="*/ 302629 h 838042"/>
                <a:gd name="connsiteX25" fmla="*/ 193382 w 1033465"/>
                <a:gd name="connsiteY25" fmla="*/ 308344 h 838042"/>
                <a:gd name="connsiteX26" fmla="*/ 210527 w 1033465"/>
                <a:gd name="connsiteY26" fmla="*/ 314059 h 838042"/>
                <a:gd name="connsiteX27" fmla="*/ 216242 w 1033465"/>
                <a:gd name="connsiteY27" fmla="*/ 315964 h 838042"/>
                <a:gd name="connsiteX28" fmla="*/ 231482 w 1033465"/>
                <a:gd name="connsiteY28" fmla="*/ 319774 h 838042"/>
                <a:gd name="connsiteX29" fmla="*/ 250532 w 1033465"/>
                <a:gd name="connsiteY29" fmla="*/ 325489 h 838042"/>
                <a:gd name="connsiteX30" fmla="*/ 256247 w 1033465"/>
                <a:gd name="connsiteY30" fmla="*/ 329299 h 838042"/>
                <a:gd name="connsiteX31" fmla="*/ 269582 w 1033465"/>
                <a:gd name="connsiteY31" fmla="*/ 344539 h 838042"/>
                <a:gd name="connsiteX32" fmla="*/ 275297 w 1033465"/>
                <a:gd name="connsiteY32" fmla="*/ 363589 h 838042"/>
                <a:gd name="connsiteX33" fmla="*/ 277202 w 1033465"/>
                <a:gd name="connsiteY33" fmla="*/ 369304 h 838042"/>
                <a:gd name="connsiteX34" fmla="*/ 279107 w 1033465"/>
                <a:gd name="connsiteY34" fmla="*/ 375019 h 838042"/>
                <a:gd name="connsiteX35" fmla="*/ 281012 w 1033465"/>
                <a:gd name="connsiteY35" fmla="*/ 399784 h 838042"/>
                <a:gd name="connsiteX36" fmla="*/ 282917 w 1033465"/>
                <a:gd name="connsiteY36" fmla="*/ 405499 h 838042"/>
                <a:gd name="connsiteX37" fmla="*/ 281012 w 1033465"/>
                <a:gd name="connsiteY37" fmla="*/ 424549 h 838042"/>
                <a:gd name="connsiteX38" fmla="*/ 279107 w 1033465"/>
                <a:gd name="connsiteY38" fmla="*/ 434074 h 838042"/>
                <a:gd name="connsiteX39" fmla="*/ 265772 w 1033465"/>
                <a:gd name="connsiteY39" fmla="*/ 447409 h 838042"/>
                <a:gd name="connsiteX40" fmla="*/ 254342 w 1033465"/>
                <a:gd name="connsiteY40" fmla="*/ 455029 h 838042"/>
                <a:gd name="connsiteX41" fmla="*/ 242912 w 1033465"/>
                <a:gd name="connsiteY41" fmla="*/ 458839 h 838042"/>
                <a:gd name="connsiteX42" fmla="*/ 128612 w 1033465"/>
                <a:gd name="connsiteY42" fmla="*/ 458839 h 838042"/>
                <a:gd name="connsiteX43" fmla="*/ 122897 w 1033465"/>
                <a:gd name="connsiteY43" fmla="*/ 460744 h 838042"/>
                <a:gd name="connsiteX44" fmla="*/ 107657 w 1033465"/>
                <a:gd name="connsiteY44" fmla="*/ 462649 h 838042"/>
                <a:gd name="connsiteX45" fmla="*/ 90512 w 1033465"/>
                <a:gd name="connsiteY45" fmla="*/ 468364 h 838042"/>
                <a:gd name="connsiteX46" fmla="*/ 84797 w 1033465"/>
                <a:gd name="connsiteY46" fmla="*/ 470269 h 838042"/>
                <a:gd name="connsiteX47" fmla="*/ 79082 w 1033465"/>
                <a:gd name="connsiteY47" fmla="*/ 474079 h 838042"/>
                <a:gd name="connsiteX48" fmla="*/ 67652 w 1033465"/>
                <a:gd name="connsiteY48" fmla="*/ 475984 h 838042"/>
                <a:gd name="connsiteX49" fmla="*/ 29552 w 1033465"/>
                <a:gd name="connsiteY49" fmla="*/ 477889 h 838042"/>
                <a:gd name="connsiteX50" fmla="*/ 18122 w 1033465"/>
                <a:gd name="connsiteY50" fmla="*/ 483604 h 838042"/>
                <a:gd name="connsiteX51" fmla="*/ 8597 w 1033465"/>
                <a:gd name="connsiteY51" fmla="*/ 493129 h 838042"/>
                <a:gd name="connsiteX52" fmla="*/ 6692 w 1033465"/>
                <a:gd name="connsiteY52" fmla="*/ 498844 h 838042"/>
                <a:gd name="connsiteX53" fmla="*/ 2882 w 1033465"/>
                <a:gd name="connsiteY53" fmla="*/ 504559 h 838042"/>
                <a:gd name="connsiteX54" fmla="*/ 14312 w 1033465"/>
                <a:gd name="connsiteY54" fmla="*/ 540754 h 838042"/>
                <a:gd name="connsiteX55" fmla="*/ 147662 w 1033465"/>
                <a:gd name="connsiteY55" fmla="*/ 540754 h 838042"/>
                <a:gd name="connsiteX56" fmla="*/ 155282 w 1033465"/>
                <a:gd name="connsiteY56" fmla="*/ 538849 h 838042"/>
                <a:gd name="connsiteX57" fmla="*/ 305777 w 1033465"/>
                <a:gd name="connsiteY57" fmla="*/ 533134 h 838042"/>
                <a:gd name="connsiteX58" fmla="*/ 321017 w 1033465"/>
                <a:gd name="connsiteY58" fmla="*/ 540754 h 838042"/>
                <a:gd name="connsiteX59" fmla="*/ 332447 w 1033465"/>
                <a:gd name="connsiteY59" fmla="*/ 546469 h 838042"/>
                <a:gd name="connsiteX60" fmla="*/ 336257 w 1033465"/>
                <a:gd name="connsiteY60" fmla="*/ 552184 h 838042"/>
                <a:gd name="connsiteX61" fmla="*/ 341972 w 1033465"/>
                <a:gd name="connsiteY61" fmla="*/ 554089 h 838042"/>
                <a:gd name="connsiteX62" fmla="*/ 353402 w 1033465"/>
                <a:gd name="connsiteY62" fmla="*/ 561709 h 838042"/>
                <a:gd name="connsiteX63" fmla="*/ 359117 w 1033465"/>
                <a:gd name="connsiteY63" fmla="*/ 565519 h 838042"/>
                <a:gd name="connsiteX64" fmla="*/ 362927 w 1033465"/>
                <a:gd name="connsiteY64" fmla="*/ 571234 h 838042"/>
                <a:gd name="connsiteX65" fmla="*/ 368642 w 1033465"/>
                <a:gd name="connsiteY65" fmla="*/ 582664 h 838042"/>
                <a:gd name="connsiteX66" fmla="*/ 364832 w 1033465"/>
                <a:gd name="connsiteY66" fmla="*/ 609334 h 838042"/>
                <a:gd name="connsiteX67" fmla="*/ 361022 w 1033465"/>
                <a:gd name="connsiteY67" fmla="*/ 615049 h 838042"/>
                <a:gd name="connsiteX68" fmla="*/ 359117 w 1033465"/>
                <a:gd name="connsiteY68" fmla="*/ 620764 h 838042"/>
                <a:gd name="connsiteX69" fmla="*/ 355307 w 1033465"/>
                <a:gd name="connsiteY69" fmla="*/ 626479 h 838042"/>
                <a:gd name="connsiteX70" fmla="*/ 353402 w 1033465"/>
                <a:gd name="connsiteY70" fmla="*/ 632194 h 838042"/>
                <a:gd name="connsiteX71" fmla="*/ 349592 w 1033465"/>
                <a:gd name="connsiteY71" fmla="*/ 637909 h 838042"/>
                <a:gd name="connsiteX72" fmla="*/ 332447 w 1033465"/>
                <a:gd name="connsiteY72" fmla="*/ 704584 h 838042"/>
                <a:gd name="connsiteX73" fmla="*/ 330542 w 1033465"/>
                <a:gd name="connsiteY73" fmla="*/ 756019 h 838042"/>
                <a:gd name="connsiteX74" fmla="*/ 332447 w 1033465"/>
                <a:gd name="connsiteY74" fmla="*/ 780784 h 838042"/>
                <a:gd name="connsiteX75" fmla="*/ 334352 w 1033465"/>
                <a:gd name="connsiteY75" fmla="*/ 786499 h 838042"/>
                <a:gd name="connsiteX76" fmla="*/ 338162 w 1033465"/>
                <a:gd name="connsiteY76" fmla="*/ 790309 h 838042"/>
                <a:gd name="connsiteX77" fmla="*/ 366737 w 1033465"/>
                <a:gd name="connsiteY77" fmla="*/ 836029 h 838042"/>
                <a:gd name="connsiteX78" fmla="*/ 389597 w 1033465"/>
                <a:gd name="connsiteY78" fmla="*/ 837934 h 838042"/>
                <a:gd name="connsiteX79" fmla="*/ 397407 w 1033465"/>
                <a:gd name="connsiteY79" fmla="*/ 833530 h 838042"/>
                <a:gd name="connsiteX80" fmla="*/ 402932 w 1033465"/>
                <a:gd name="connsiteY80" fmla="*/ 784594 h 838042"/>
                <a:gd name="connsiteX81" fmla="*/ 406742 w 1033465"/>
                <a:gd name="connsiteY81" fmla="*/ 727444 h 838042"/>
                <a:gd name="connsiteX82" fmla="*/ 423887 w 1033465"/>
                <a:gd name="connsiteY82" fmla="*/ 672199 h 838042"/>
                <a:gd name="connsiteX83" fmla="*/ 429602 w 1033465"/>
                <a:gd name="connsiteY83" fmla="*/ 658864 h 838042"/>
                <a:gd name="connsiteX84" fmla="*/ 444084 w 1033465"/>
                <a:gd name="connsiteY84" fmla="*/ 626947 h 838042"/>
                <a:gd name="connsiteX85" fmla="*/ 464289 w 1033465"/>
                <a:gd name="connsiteY85" fmla="*/ 600072 h 838042"/>
                <a:gd name="connsiteX86" fmla="*/ 523510 w 1033465"/>
                <a:gd name="connsiteY86" fmla="*/ 565123 h 838042"/>
                <a:gd name="connsiteX87" fmla="*/ 599348 w 1033465"/>
                <a:gd name="connsiteY87" fmla="*/ 550915 h 838042"/>
                <a:gd name="connsiteX88" fmla="*/ 707801 w 1033465"/>
                <a:gd name="connsiteY88" fmla="*/ 612819 h 838042"/>
                <a:gd name="connsiteX89" fmla="*/ 780122 w 1033465"/>
                <a:gd name="connsiteY89" fmla="*/ 656959 h 838042"/>
                <a:gd name="connsiteX90" fmla="*/ 804887 w 1033465"/>
                <a:gd name="connsiteY90" fmla="*/ 632194 h 838042"/>
                <a:gd name="connsiteX91" fmla="*/ 801077 w 1033465"/>
                <a:gd name="connsiteY91" fmla="*/ 601714 h 838042"/>
                <a:gd name="connsiteX92" fmla="*/ 762796 w 1033465"/>
                <a:gd name="connsiteY92" fmla="*/ 562523 h 838042"/>
                <a:gd name="connsiteX93" fmla="*/ 650582 w 1033465"/>
                <a:gd name="connsiteY93" fmla="*/ 479794 h 838042"/>
                <a:gd name="connsiteX94" fmla="*/ 646772 w 1033465"/>
                <a:gd name="connsiteY94" fmla="*/ 462649 h 838042"/>
                <a:gd name="connsiteX95" fmla="*/ 658202 w 1033465"/>
                <a:gd name="connsiteY95" fmla="*/ 426454 h 838042"/>
                <a:gd name="connsiteX96" fmla="*/ 726782 w 1033465"/>
                <a:gd name="connsiteY96" fmla="*/ 405499 h 838042"/>
                <a:gd name="connsiteX97" fmla="*/ 813738 w 1033465"/>
                <a:gd name="connsiteY97" fmla="*/ 406906 h 838042"/>
                <a:gd name="connsiteX98" fmla="*/ 906231 w 1033465"/>
                <a:gd name="connsiteY98" fmla="*/ 417646 h 838042"/>
                <a:gd name="connsiteX99" fmla="*/ 1002290 w 1033465"/>
                <a:gd name="connsiteY99" fmla="*/ 426835 h 838042"/>
                <a:gd name="connsiteX100" fmla="*/ 1032449 w 1033465"/>
                <a:gd name="connsiteY100" fmla="*/ 402711 h 838042"/>
                <a:gd name="connsiteX101" fmla="*/ 1020514 w 1033465"/>
                <a:gd name="connsiteY101" fmla="*/ 377797 h 838042"/>
                <a:gd name="connsiteX102" fmla="*/ 964889 w 1033465"/>
                <a:gd name="connsiteY102" fmla="*/ 358029 h 838042"/>
                <a:gd name="connsiteX103" fmla="*/ 827747 w 1033465"/>
                <a:gd name="connsiteY103" fmla="*/ 357874 h 838042"/>
                <a:gd name="connsiteX104" fmla="*/ 755811 w 1033465"/>
                <a:gd name="connsiteY104" fmla="*/ 361702 h 838042"/>
                <a:gd name="connsiteX105" fmla="*/ 671537 w 1033465"/>
                <a:gd name="connsiteY105" fmla="*/ 369304 h 838042"/>
                <a:gd name="connsiteX106" fmla="*/ 644867 w 1033465"/>
                <a:gd name="connsiteY106" fmla="*/ 338824 h 838042"/>
                <a:gd name="connsiteX107" fmla="*/ 676403 w 1033465"/>
                <a:gd name="connsiteY107" fmla="*/ 304962 h 838042"/>
                <a:gd name="connsiteX108" fmla="*/ 707732 w 1033465"/>
                <a:gd name="connsiteY108" fmla="*/ 283579 h 838042"/>
                <a:gd name="connsiteX109" fmla="*/ 743927 w 1033465"/>
                <a:gd name="connsiteY109" fmla="*/ 251194 h 838042"/>
                <a:gd name="connsiteX110" fmla="*/ 783019 w 1033465"/>
                <a:gd name="connsiteY110" fmla="*/ 213846 h 838042"/>
                <a:gd name="connsiteX111" fmla="*/ 746401 w 1033465"/>
                <a:gd name="connsiteY111" fmla="*/ 201789 h 838042"/>
                <a:gd name="connsiteX112" fmla="*/ 694397 w 1033465"/>
                <a:gd name="connsiteY112" fmla="*/ 226429 h 838042"/>
                <a:gd name="connsiteX113" fmla="*/ 656678 w 1033465"/>
                <a:gd name="connsiteY113" fmla="*/ 257626 h 838042"/>
                <a:gd name="connsiteX114" fmla="*/ 616001 w 1033465"/>
                <a:gd name="connsiteY114" fmla="*/ 286712 h 838042"/>
                <a:gd name="connsiteX115" fmla="*/ 564857 w 1033465"/>
                <a:gd name="connsiteY115" fmla="*/ 287389 h 838042"/>
                <a:gd name="connsiteX116" fmla="*/ 530567 w 1033465"/>
                <a:gd name="connsiteY116" fmla="*/ 274054 h 838042"/>
                <a:gd name="connsiteX117" fmla="*/ 507707 w 1033465"/>
                <a:gd name="connsiteY117" fmla="*/ 235954 h 838042"/>
                <a:gd name="connsiteX118" fmla="*/ 509612 w 1033465"/>
                <a:gd name="connsiteY118" fmla="*/ 171184 h 838042"/>
                <a:gd name="connsiteX119" fmla="*/ 508314 w 1033465"/>
                <a:gd name="connsiteY119" fmla="*/ 73485 h 838042"/>
                <a:gd name="connsiteX120" fmla="*/ 454116 w 1033465"/>
                <a:gd name="connsiteY120" fmla="*/ 11248 h 838042"/>
                <a:gd name="connsiteX121" fmla="*/ 442470 w 1033465"/>
                <a:gd name="connsiteY121" fmla="*/ 75864 h 838042"/>
                <a:gd name="connsiteX122" fmla="*/ 439226 w 1033465"/>
                <a:gd name="connsiteY122" fmla="*/ 132660 h 838042"/>
                <a:gd name="connsiteX123" fmla="*/ 436054 w 1033465"/>
                <a:gd name="connsiteY12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6222 w 1033465"/>
                <a:gd name="connsiteY12" fmla="*/ 201664 h 838042"/>
                <a:gd name="connsiteX13" fmla="*/ 52412 w 1033465"/>
                <a:gd name="connsiteY13" fmla="*/ 256909 h 838042"/>
                <a:gd name="connsiteX14" fmla="*/ 56222 w 1033465"/>
                <a:gd name="connsiteY14" fmla="*/ 262624 h 838042"/>
                <a:gd name="connsiteX15" fmla="*/ 61937 w 1033465"/>
                <a:gd name="connsiteY15" fmla="*/ 266434 h 838042"/>
                <a:gd name="connsiteX16" fmla="*/ 65747 w 1033465"/>
                <a:gd name="connsiteY16" fmla="*/ 272149 h 838042"/>
                <a:gd name="connsiteX17" fmla="*/ 82892 w 1033465"/>
                <a:gd name="connsiteY17" fmla="*/ 281674 h 838042"/>
                <a:gd name="connsiteX18" fmla="*/ 105752 w 1033465"/>
                <a:gd name="connsiteY18" fmla="*/ 283579 h 838042"/>
                <a:gd name="connsiteX19" fmla="*/ 126707 w 1033465"/>
                <a:gd name="connsiteY19" fmla="*/ 289294 h 838042"/>
                <a:gd name="connsiteX20" fmla="*/ 132422 w 1033465"/>
                <a:gd name="connsiteY20" fmla="*/ 291199 h 838042"/>
                <a:gd name="connsiteX21" fmla="*/ 138137 w 1033465"/>
                <a:gd name="connsiteY21" fmla="*/ 296914 h 838042"/>
                <a:gd name="connsiteX22" fmla="*/ 145757 w 1033465"/>
                <a:gd name="connsiteY22" fmla="*/ 298819 h 838042"/>
                <a:gd name="connsiteX23" fmla="*/ 168617 w 1033465"/>
                <a:gd name="connsiteY23" fmla="*/ 302629 h 838042"/>
                <a:gd name="connsiteX24" fmla="*/ 193382 w 1033465"/>
                <a:gd name="connsiteY24" fmla="*/ 308344 h 838042"/>
                <a:gd name="connsiteX25" fmla="*/ 210527 w 1033465"/>
                <a:gd name="connsiteY25" fmla="*/ 314059 h 838042"/>
                <a:gd name="connsiteX26" fmla="*/ 216242 w 1033465"/>
                <a:gd name="connsiteY26" fmla="*/ 315964 h 838042"/>
                <a:gd name="connsiteX27" fmla="*/ 231482 w 1033465"/>
                <a:gd name="connsiteY27" fmla="*/ 319774 h 838042"/>
                <a:gd name="connsiteX28" fmla="*/ 250532 w 1033465"/>
                <a:gd name="connsiteY28" fmla="*/ 325489 h 838042"/>
                <a:gd name="connsiteX29" fmla="*/ 256247 w 1033465"/>
                <a:gd name="connsiteY29" fmla="*/ 329299 h 838042"/>
                <a:gd name="connsiteX30" fmla="*/ 269582 w 1033465"/>
                <a:gd name="connsiteY30" fmla="*/ 344539 h 838042"/>
                <a:gd name="connsiteX31" fmla="*/ 275297 w 1033465"/>
                <a:gd name="connsiteY31" fmla="*/ 363589 h 838042"/>
                <a:gd name="connsiteX32" fmla="*/ 277202 w 1033465"/>
                <a:gd name="connsiteY32" fmla="*/ 369304 h 838042"/>
                <a:gd name="connsiteX33" fmla="*/ 279107 w 1033465"/>
                <a:gd name="connsiteY33" fmla="*/ 375019 h 838042"/>
                <a:gd name="connsiteX34" fmla="*/ 281012 w 1033465"/>
                <a:gd name="connsiteY34" fmla="*/ 399784 h 838042"/>
                <a:gd name="connsiteX35" fmla="*/ 282917 w 1033465"/>
                <a:gd name="connsiteY35" fmla="*/ 405499 h 838042"/>
                <a:gd name="connsiteX36" fmla="*/ 281012 w 1033465"/>
                <a:gd name="connsiteY36" fmla="*/ 424549 h 838042"/>
                <a:gd name="connsiteX37" fmla="*/ 279107 w 1033465"/>
                <a:gd name="connsiteY37" fmla="*/ 434074 h 838042"/>
                <a:gd name="connsiteX38" fmla="*/ 265772 w 1033465"/>
                <a:gd name="connsiteY38" fmla="*/ 447409 h 838042"/>
                <a:gd name="connsiteX39" fmla="*/ 254342 w 1033465"/>
                <a:gd name="connsiteY39" fmla="*/ 455029 h 838042"/>
                <a:gd name="connsiteX40" fmla="*/ 242912 w 1033465"/>
                <a:gd name="connsiteY40" fmla="*/ 458839 h 838042"/>
                <a:gd name="connsiteX41" fmla="*/ 128612 w 1033465"/>
                <a:gd name="connsiteY41" fmla="*/ 458839 h 838042"/>
                <a:gd name="connsiteX42" fmla="*/ 122897 w 1033465"/>
                <a:gd name="connsiteY42" fmla="*/ 460744 h 838042"/>
                <a:gd name="connsiteX43" fmla="*/ 107657 w 1033465"/>
                <a:gd name="connsiteY43" fmla="*/ 462649 h 838042"/>
                <a:gd name="connsiteX44" fmla="*/ 90512 w 1033465"/>
                <a:gd name="connsiteY44" fmla="*/ 468364 h 838042"/>
                <a:gd name="connsiteX45" fmla="*/ 84797 w 1033465"/>
                <a:gd name="connsiteY45" fmla="*/ 470269 h 838042"/>
                <a:gd name="connsiteX46" fmla="*/ 79082 w 1033465"/>
                <a:gd name="connsiteY46" fmla="*/ 474079 h 838042"/>
                <a:gd name="connsiteX47" fmla="*/ 67652 w 1033465"/>
                <a:gd name="connsiteY47" fmla="*/ 475984 h 838042"/>
                <a:gd name="connsiteX48" fmla="*/ 29552 w 1033465"/>
                <a:gd name="connsiteY48" fmla="*/ 477889 h 838042"/>
                <a:gd name="connsiteX49" fmla="*/ 18122 w 1033465"/>
                <a:gd name="connsiteY49" fmla="*/ 483604 h 838042"/>
                <a:gd name="connsiteX50" fmla="*/ 8597 w 1033465"/>
                <a:gd name="connsiteY50" fmla="*/ 493129 h 838042"/>
                <a:gd name="connsiteX51" fmla="*/ 6692 w 1033465"/>
                <a:gd name="connsiteY51" fmla="*/ 498844 h 838042"/>
                <a:gd name="connsiteX52" fmla="*/ 2882 w 1033465"/>
                <a:gd name="connsiteY52" fmla="*/ 504559 h 838042"/>
                <a:gd name="connsiteX53" fmla="*/ 14312 w 1033465"/>
                <a:gd name="connsiteY53" fmla="*/ 540754 h 838042"/>
                <a:gd name="connsiteX54" fmla="*/ 147662 w 1033465"/>
                <a:gd name="connsiteY54" fmla="*/ 540754 h 838042"/>
                <a:gd name="connsiteX55" fmla="*/ 155282 w 1033465"/>
                <a:gd name="connsiteY55" fmla="*/ 538849 h 838042"/>
                <a:gd name="connsiteX56" fmla="*/ 305777 w 1033465"/>
                <a:gd name="connsiteY56" fmla="*/ 533134 h 838042"/>
                <a:gd name="connsiteX57" fmla="*/ 321017 w 1033465"/>
                <a:gd name="connsiteY57" fmla="*/ 540754 h 838042"/>
                <a:gd name="connsiteX58" fmla="*/ 332447 w 1033465"/>
                <a:gd name="connsiteY58" fmla="*/ 546469 h 838042"/>
                <a:gd name="connsiteX59" fmla="*/ 336257 w 1033465"/>
                <a:gd name="connsiteY59" fmla="*/ 552184 h 838042"/>
                <a:gd name="connsiteX60" fmla="*/ 341972 w 1033465"/>
                <a:gd name="connsiteY60" fmla="*/ 554089 h 838042"/>
                <a:gd name="connsiteX61" fmla="*/ 353402 w 1033465"/>
                <a:gd name="connsiteY61" fmla="*/ 561709 h 838042"/>
                <a:gd name="connsiteX62" fmla="*/ 359117 w 1033465"/>
                <a:gd name="connsiteY62" fmla="*/ 565519 h 838042"/>
                <a:gd name="connsiteX63" fmla="*/ 362927 w 1033465"/>
                <a:gd name="connsiteY63" fmla="*/ 571234 h 838042"/>
                <a:gd name="connsiteX64" fmla="*/ 368642 w 1033465"/>
                <a:gd name="connsiteY64" fmla="*/ 582664 h 838042"/>
                <a:gd name="connsiteX65" fmla="*/ 364832 w 1033465"/>
                <a:gd name="connsiteY65" fmla="*/ 609334 h 838042"/>
                <a:gd name="connsiteX66" fmla="*/ 361022 w 1033465"/>
                <a:gd name="connsiteY66" fmla="*/ 615049 h 838042"/>
                <a:gd name="connsiteX67" fmla="*/ 359117 w 1033465"/>
                <a:gd name="connsiteY67" fmla="*/ 620764 h 838042"/>
                <a:gd name="connsiteX68" fmla="*/ 355307 w 1033465"/>
                <a:gd name="connsiteY68" fmla="*/ 626479 h 838042"/>
                <a:gd name="connsiteX69" fmla="*/ 353402 w 1033465"/>
                <a:gd name="connsiteY69" fmla="*/ 632194 h 838042"/>
                <a:gd name="connsiteX70" fmla="*/ 349592 w 1033465"/>
                <a:gd name="connsiteY70" fmla="*/ 637909 h 838042"/>
                <a:gd name="connsiteX71" fmla="*/ 332447 w 1033465"/>
                <a:gd name="connsiteY71" fmla="*/ 704584 h 838042"/>
                <a:gd name="connsiteX72" fmla="*/ 330542 w 1033465"/>
                <a:gd name="connsiteY72" fmla="*/ 756019 h 838042"/>
                <a:gd name="connsiteX73" fmla="*/ 332447 w 1033465"/>
                <a:gd name="connsiteY73" fmla="*/ 780784 h 838042"/>
                <a:gd name="connsiteX74" fmla="*/ 334352 w 1033465"/>
                <a:gd name="connsiteY74" fmla="*/ 786499 h 838042"/>
                <a:gd name="connsiteX75" fmla="*/ 338162 w 1033465"/>
                <a:gd name="connsiteY75" fmla="*/ 790309 h 838042"/>
                <a:gd name="connsiteX76" fmla="*/ 366737 w 1033465"/>
                <a:gd name="connsiteY76" fmla="*/ 836029 h 838042"/>
                <a:gd name="connsiteX77" fmla="*/ 389597 w 1033465"/>
                <a:gd name="connsiteY77" fmla="*/ 837934 h 838042"/>
                <a:gd name="connsiteX78" fmla="*/ 397407 w 1033465"/>
                <a:gd name="connsiteY78" fmla="*/ 833530 h 838042"/>
                <a:gd name="connsiteX79" fmla="*/ 402932 w 1033465"/>
                <a:gd name="connsiteY79" fmla="*/ 784594 h 838042"/>
                <a:gd name="connsiteX80" fmla="*/ 406742 w 1033465"/>
                <a:gd name="connsiteY80" fmla="*/ 727444 h 838042"/>
                <a:gd name="connsiteX81" fmla="*/ 423887 w 1033465"/>
                <a:gd name="connsiteY81" fmla="*/ 672199 h 838042"/>
                <a:gd name="connsiteX82" fmla="*/ 429602 w 1033465"/>
                <a:gd name="connsiteY82" fmla="*/ 658864 h 838042"/>
                <a:gd name="connsiteX83" fmla="*/ 444084 w 1033465"/>
                <a:gd name="connsiteY83" fmla="*/ 626947 h 838042"/>
                <a:gd name="connsiteX84" fmla="*/ 464289 w 1033465"/>
                <a:gd name="connsiteY84" fmla="*/ 600072 h 838042"/>
                <a:gd name="connsiteX85" fmla="*/ 523510 w 1033465"/>
                <a:gd name="connsiteY85" fmla="*/ 565123 h 838042"/>
                <a:gd name="connsiteX86" fmla="*/ 599348 w 1033465"/>
                <a:gd name="connsiteY86" fmla="*/ 550915 h 838042"/>
                <a:gd name="connsiteX87" fmla="*/ 707801 w 1033465"/>
                <a:gd name="connsiteY87" fmla="*/ 612819 h 838042"/>
                <a:gd name="connsiteX88" fmla="*/ 780122 w 1033465"/>
                <a:gd name="connsiteY88" fmla="*/ 656959 h 838042"/>
                <a:gd name="connsiteX89" fmla="*/ 804887 w 1033465"/>
                <a:gd name="connsiteY89" fmla="*/ 632194 h 838042"/>
                <a:gd name="connsiteX90" fmla="*/ 801077 w 1033465"/>
                <a:gd name="connsiteY90" fmla="*/ 601714 h 838042"/>
                <a:gd name="connsiteX91" fmla="*/ 762796 w 1033465"/>
                <a:gd name="connsiteY91" fmla="*/ 562523 h 838042"/>
                <a:gd name="connsiteX92" fmla="*/ 650582 w 1033465"/>
                <a:gd name="connsiteY92" fmla="*/ 479794 h 838042"/>
                <a:gd name="connsiteX93" fmla="*/ 646772 w 1033465"/>
                <a:gd name="connsiteY93" fmla="*/ 462649 h 838042"/>
                <a:gd name="connsiteX94" fmla="*/ 658202 w 1033465"/>
                <a:gd name="connsiteY94" fmla="*/ 426454 h 838042"/>
                <a:gd name="connsiteX95" fmla="*/ 726782 w 1033465"/>
                <a:gd name="connsiteY95" fmla="*/ 405499 h 838042"/>
                <a:gd name="connsiteX96" fmla="*/ 813738 w 1033465"/>
                <a:gd name="connsiteY96" fmla="*/ 406906 h 838042"/>
                <a:gd name="connsiteX97" fmla="*/ 906231 w 1033465"/>
                <a:gd name="connsiteY97" fmla="*/ 417646 h 838042"/>
                <a:gd name="connsiteX98" fmla="*/ 1002290 w 1033465"/>
                <a:gd name="connsiteY98" fmla="*/ 426835 h 838042"/>
                <a:gd name="connsiteX99" fmla="*/ 1032449 w 1033465"/>
                <a:gd name="connsiteY99" fmla="*/ 402711 h 838042"/>
                <a:gd name="connsiteX100" fmla="*/ 1020514 w 1033465"/>
                <a:gd name="connsiteY100" fmla="*/ 377797 h 838042"/>
                <a:gd name="connsiteX101" fmla="*/ 964889 w 1033465"/>
                <a:gd name="connsiteY101" fmla="*/ 358029 h 838042"/>
                <a:gd name="connsiteX102" fmla="*/ 827747 w 1033465"/>
                <a:gd name="connsiteY102" fmla="*/ 357874 h 838042"/>
                <a:gd name="connsiteX103" fmla="*/ 755811 w 1033465"/>
                <a:gd name="connsiteY103" fmla="*/ 361702 h 838042"/>
                <a:gd name="connsiteX104" fmla="*/ 671537 w 1033465"/>
                <a:gd name="connsiteY104" fmla="*/ 369304 h 838042"/>
                <a:gd name="connsiteX105" fmla="*/ 644867 w 1033465"/>
                <a:gd name="connsiteY105" fmla="*/ 338824 h 838042"/>
                <a:gd name="connsiteX106" fmla="*/ 676403 w 1033465"/>
                <a:gd name="connsiteY106" fmla="*/ 304962 h 838042"/>
                <a:gd name="connsiteX107" fmla="*/ 707732 w 1033465"/>
                <a:gd name="connsiteY107" fmla="*/ 283579 h 838042"/>
                <a:gd name="connsiteX108" fmla="*/ 743927 w 1033465"/>
                <a:gd name="connsiteY108" fmla="*/ 251194 h 838042"/>
                <a:gd name="connsiteX109" fmla="*/ 783019 w 1033465"/>
                <a:gd name="connsiteY109" fmla="*/ 213846 h 838042"/>
                <a:gd name="connsiteX110" fmla="*/ 746401 w 1033465"/>
                <a:gd name="connsiteY110" fmla="*/ 201789 h 838042"/>
                <a:gd name="connsiteX111" fmla="*/ 694397 w 1033465"/>
                <a:gd name="connsiteY111" fmla="*/ 226429 h 838042"/>
                <a:gd name="connsiteX112" fmla="*/ 656678 w 1033465"/>
                <a:gd name="connsiteY112" fmla="*/ 257626 h 838042"/>
                <a:gd name="connsiteX113" fmla="*/ 616001 w 1033465"/>
                <a:gd name="connsiteY113" fmla="*/ 286712 h 838042"/>
                <a:gd name="connsiteX114" fmla="*/ 564857 w 1033465"/>
                <a:gd name="connsiteY114" fmla="*/ 287389 h 838042"/>
                <a:gd name="connsiteX115" fmla="*/ 530567 w 1033465"/>
                <a:gd name="connsiteY115" fmla="*/ 274054 h 838042"/>
                <a:gd name="connsiteX116" fmla="*/ 507707 w 1033465"/>
                <a:gd name="connsiteY116" fmla="*/ 235954 h 838042"/>
                <a:gd name="connsiteX117" fmla="*/ 509612 w 1033465"/>
                <a:gd name="connsiteY117" fmla="*/ 171184 h 838042"/>
                <a:gd name="connsiteX118" fmla="*/ 508314 w 1033465"/>
                <a:gd name="connsiteY118" fmla="*/ 73485 h 838042"/>
                <a:gd name="connsiteX119" fmla="*/ 454116 w 1033465"/>
                <a:gd name="connsiteY119" fmla="*/ 11248 h 838042"/>
                <a:gd name="connsiteX120" fmla="*/ 442470 w 1033465"/>
                <a:gd name="connsiteY120" fmla="*/ 75864 h 838042"/>
                <a:gd name="connsiteX121" fmla="*/ 439226 w 1033465"/>
                <a:gd name="connsiteY121" fmla="*/ 132660 h 838042"/>
                <a:gd name="connsiteX122" fmla="*/ 436054 w 1033465"/>
                <a:gd name="connsiteY12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56222 w 1033465"/>
                <a:gd name="connsiteY13" fmla="*/ 262624 h 838042"/>
                <a:gd name="connsiteX14" fmla="*/ 61937 w 1033465"/>
                <a:gd name="connsiteY14" fmla="*/ 266434 h 838042"/>
                <a:gd name="connsiteX15" fmla="*/ 65747 w 1033465"/>
                <a:gd name="connsiteY15" fmla="*/ 272149 h 838042"/>
                <a:gd name="connsiteX16" fmla="*/ 82892 w 1033465"/>
                <a:gd name="connsiteY16" fmla="*/ 281674 h 838042"/>
                <a:gd name="connsiteX17" fmla="*/ 105752 w 1033465"/>
                <a:gd name="connsiteY17" fmla="*/ 283579 h 838042"/>
                <a:gd name="connsiteX18" fmla="*/ 126707 w 1033465"/>
                <a:gd name="connsiteY18" fmla="*/ 289294 h 838042"/>
                <a:gd name="connsiteX19" fmla="*/ 132422 w 1033465"/>
                <a:gd name="connsiteY19" fmla="*/ 291199 h 838042"/>
                <a:gd name="connsiteX20" fmla="*/ 138137 w 1033465"/>
                <a:gd name="connsiteY20" fmla="*/ 296914 h 838042"/>
                <a:gd name="connsiteX21" fmla="*/ 145757 w 1033465"/>
                <a:gd name="connsiteY21" fmla="*/ 298819 h 838042"/>
                <a:gd name="connsiteX22" fmla="*/ 168617 w 1033465"/>
                <a:gd name="connsiteY22" fmla="*/ 302629 h 838042"/>
                <a:gd name="connsiteX23" fmla="*/ 193382 w 1033465"/>
                <a:gd name="connsiteY23" fmla="*/ 308344 h 838042"/>
                <a:gd name="connsiteX24" fmla="*/ 210527 w 1033465"/>
                <a:gd name="connsiteY24" fmla="*/ 314059 h 838042"/>
                <a:gd name="connsiteX25" fmla="*/ 216242 w 1033465"/>
                <a:gd name="connsiteY25" fmla="*/ 315964 h 838042"/>
                <a:gd name="connsiteX26" fmla="*/ 231482 w 1033465"/>
                <a:gd name="connsiteY26" fmla="*/ 319774 h 838042"/>
                <a:gd name="connsiteX27" fmla="*/ 250532 w 1033465"/>
                <a:gd name="connsiteY27" fmla="*/ 325489 h 838042"/>
                <a:gd name="connsiteX28" fmla="*/ 256247 w 1033465"/>
                <a:gd name="connsiteY28" fmla="*/ 329299 h 838042"/>
                <a:gd name="connsiteX29" fmla="*/ 269582 w 1033465"/>
                <a:gd name="connsiteY29" fmla="*/ 344539 h 838042"/>
                <a:gd name="connsiteX30" fmla="*/ 275297 w 1033465"/>
                <a:gd name="connsiteY30" fmla="*/ 363589 h 838042"/>
                <a:gd name="connsiteX31" fmla="*/ 277202 w 1033465"/>
                <a:gd name="connsiteY31" fmla="*/ 369304 h 838042"/>
                <a:gd name="connsiteX32" fmla="*/ 279107 w 1033465"/>
                <a:gd name="connsiteY32" fmla="*/ 375019 h 838042"/>
                <a:gd name="connsiteX33" fmla="*/ 281012 w 1033465"/>
                <a:gd name="connsiteY33" fmla="*/ 399784 h 838042"/>
                <a:gd name="connsiteX34" fmla="*/ 282917 w 1033465"/>
                <a:gd name="connsiteY34" fmla="*/ 405499 h 838042"/>
                <a:gd name="connsiteX35" fmla="*/ 281012 w 1033465"/>
                <a:gd name="connsiteY35" fmla="*/ 424549 h 838042"/>
                <a:gd name="connsiteX36" fmla="*/ 279107 w 1033465"/>
                <a:gd name="connsiteY36" fmla="*/ 434074 h 838042"/>
                <a:gd name="connsiteX37" fmla="*/ 265772 w 1033465"/>
                <a:gd name="connsiteY37" fmla="*/ 447409 h 838042"/>
                <a:gd name="connsiteX38" fmla="*/ 254342 w 1033465"/>
                <a:gd name="connsiteY38" fmla="*/ 455029 h 838042"/>
                <a:gd name="connsiteX39" fmla="*/ 242912 w 1033465"/>
                <a:gd name="connsiteY39" fmla="*/ 458839 h 838042"/>
                <a:gd name="connsiteX40" fmla="*/ 128612 w 1033465"/>
                <a:gd name="connsiteY40" fmla="*/ 458839 h 838042"/>
                <a:gd name="connsiteX41" fmla="*/ 122897 w 1033465"/>
                <a:gd name="connsiteY41" fmla="*/ 460744 h 838042"/>
                <a:gd name="connsiteX42" fmla="*/ 107657 w 1033465"/>
                <a:gd name="connsiteY42" fmla="*/ 462649 h 838042"/>
                <a:gd name="connsiteX43" fmla="*/ 90512 w 1033465"/>
                <a:gd name="connsiteY43" fmla="*/ 468364 h 838042"/>
                <a:gd name="connsiteX44" fmla="*/ 84797 w 1033465"/>
                <a:gd name="connsiteY44" fmla="*/ 470269 h 838042"/>
                <a:gd name="connsiteX45" fmla="*/ 79082 w 1033465"/>
                <a:gd name="connsiteY45" fmla="*/ 474079 h 838042"/>
                <a:gd name="connsiteX46" fmla="*/ 67652 w 1033465"/>
                <a:gd name="connsiteY46" fmla="*/ 475984 h 838042"/>
                <a:gd name="connsiteX47" fmla="*/ 29552 w 1033465"/>
                <a:gd name="connsiteY47" fmla="*/ 477889 h 838042"/>
                <a:gd name="connsiteX48" fmla="*/ 18122 w 1033465"/>
                <a:gd name="connsiteY48" fmla="*/ 483604 h 838042"/>
                <a:gd name="connsiteX49" fmla="*/ 8597 w 1033465"/>
                <a:gd name="connsiteY49" fmla="*/ 493129 h 838042"/>
                <a:gd name="connsiteX50" fmla="*/ 6692 w 1033465"/>
                <a:gd name="connsiteY50" fmla="*/ 498844 h 838042"/>
                <a:gd name="connsiteX51" fmla="*/ 2882 w 1033465"/>
                <a:gd name="connsiteY51" fmla="*/ 504559 h 838042"/>
                <a:gd name="connsiteX52" fmla="*/ 14312 w 1033465"/>
                <a:gd name="connsiteY52" fmla="*/ 540754 h 838042"/>
                <a:gd name="connsiteX53" fmla="*/ 147662 w 1033465"/>
                <a:gd name="connsiteY53" fmla="*/ 540754 h 838042"/>
                <a:gd name="connsiteX54" fmla="*/ 155282 w 1033465"/>
                <a:gd name="connsiteY54" fmla="*/ 538849 h 838042"/>
                <a:gd name="connsiteX55" fmla="*/ 305777 w 1033465"/>
                <a:gd name="connsiteY55" fmla="*/ 533134 h 838042"/>
                <a:gd name="connsiteX56" fmla="*/ 321017 w 1033465"/>
                <a:gd name="connsiteY56" fmla="*/ 540754 h 838042"/>
                <a:gd name="connsiteX57" fmla="*/ 332447 w 1033465"/>
                <a:gd name="connsiteY57" fmla="*/ 546469 h 838042"/>
                <a:gd name="connsiteX58" fmla="*/ 336257 w 1033465"/>
                <a:gd name="connsiteY58" fmla="*/ 552184 h 838042"/>
                <a:gd name="connsiteX59" fmla="*/ 341972 w 1033465"/>
                <a:gd name="connsiteY59" fmla="*/ 554089 h 838042"/>
                <a:gd name="connsiteX60" fmla="*/ 353402 w 1033465"/>
                <a:gd name="connsiteY60" fmla="*/ 561709 h 838042"/>
                <a:gd name="connsiteX61" fmla="*/ 359117 w 1033465"/>
                <a:gd name="connsiteY61" fmla="*/ 565519 h 838042"/>
                <a:gd name="connsiteX62" fmla="*/ 362927 w 1033465"/>
                <a:gd name="connsiteY62" fmla="*/ 571234 h 838042"/>
                <a:gd name="connsiteX63" fmla="*/ 368642 w 1033465"/>
                <a:gd name="connsiteY63" fmla="*/ 582664 h 838042"/>
                <a:gd name="connsiteX64" fmla="*/ 364832 w 1033465"/>
                <a:gd name="connsiteY64" fmla="*/ 609334 h 838042"/>
                <a:gd name="connsiteX65" fmla="*/ 361022 w 1033465"/>
                <a:gd name="connsiteY65" fmla="*/ 615049 h 838042"/>
                <a:gd name="connsiteX66" fmla="*/ 359117 w 1033465"/>
                <a:gd name="connsiteY66" fmla="*/ 620764 h 838042"/>
                <a:gd name="connsiteX67" fmla="*/ 355307 w 1033465"/>
                <a:gd name="connsiteY67" fmla="*/ 626479 h 838042"/>
                <a:gd name="connsiteX68" fmla="*/ 353402 w 1033465"/>
                <a:gd name="connsiteY68" fmla="*/ 632194 h 838042"/>
                <a:gd name="connsiteX69" fmla="*/ 349592 w 1033465"/>
                <a:gd name="connsiteY69" fmla="*/ 637909 h 838042"/>
                <a:gd name="connsiteX70" fmla="*/ 332447 w 1033465"/>
                <a:gd name="connsiteY70" fmla="*/ 704584 h 838042"/>
                <a:gd name="connsiteX71" fmla="*/ 330542 w 1033465"/>
                <a:gd name="connsiteY71" fmla="*/ 756019 h 838042"/>
                <a:gd name="connsiteX72" fmla="*/ 332447 w 1033465"/>
                <a:gd name="connsiteY72" fmla="*/ 780784 h 838042"/>
                <a:gd name="connsiteX73" fmla="*/ 334352 w 1033465"/>
                <a:gd name="connsiteY73" fmla="*/ 786499 h 838042"/>
                <a:gd name="connsiteX74" fmla="*/ 338162 w 1033465"/>
                <a:gd name="connsiteY74" fmla="*/ 790309 h 838042"/>
                <a:gd name="connsiteX75" fmla="*/ 366737 w 1033465"/>
                <a:gd name="connsiteY75" fmla="*/ 836029 h 838042"/>
                <a:gd name="connsiteX76" fmla="*/ 389597 w 1033465"/>
                <a:gd name="connsiteY76" fmla="*/ 837934 h 838042"/>
                <a:gd name="connsiteX77" fmla="*/ 397407 w 1033465"/>
                <a:gd name="connsiteY77" fmla="*/ 833530 h 838042"/>
                <a:gd name="connsiteX78" fmla="*/ 402932 w 1033465"/>
                <a:gd name="connsiteY78" fmla="*/ 784594 h 838042"/>
                <a:gd name="connsiteX79" fmla="*/ 406742 w 1033465"/>
                <a:gd name="connsiteY79" fmla="*/ 727444 h 838042"/>
                <a:gd name="connsiteX80" fmla="*/ 423887 w 1033465"/>
                <a:gd name="connsiteY80" fmla="*/ 672199 h 838042"/>
                <a:gd name="connsiteX81" fmla="*/ 429602 w 1033465"/>
                <a:gd name="connsiteY81" fmla="*/ 658864 h 838042"/>
                <a:gd name="connsiteX82" fmla="*/ 444084 w 1033465"/>
                <a:gd name="connsiteY82" fmla="*/ 626947 h 838042"/>
                <a:gd name="connsiteX83" fmla="*/ 464289 w 1033465"/>
                <a:gd name="connsiteY83" fmla="*/ 600072 h 838042"/>
                <a:gd name="connsiteX84" fmla="*/ 523510 w 1033465"/>
                <a:gd name="connsiteY84" fmla="*/ 565123 h 838042"/>
                <a:gd name="connsiteX85" fmla="*/ 599348 w 1033465"/>
                <a:gd name="connsiteY85" fmla="*/ 550915 h 838042"/>
                <a:gd name="connsiteX86" fmla="*/ 707801 w 1033465"/>
                <a:gd name="connsiteY86" fmla="*/ 612819 h 838042"/>
                <a:gd name="connsiteX87" fmla="*/ 780122 w 1033465"/>
                <a:gd name="connsiteY87" fmla="*/ 656959 h 838042"/>
                <a:gd name="connsiteX88" fmla="*/ 804887 w 1033465"/>
                <a:gd name="connsiteY88" fmla="*/ 632194 h 838042"/>
                <a:gd name="connsiteX89" fmla="*/ 801077 w 1033465"/>
                <a:gd name="connsiteY89" fmla="*/ 601714 h 838042"/>
                <a:gd name="connsiteX90" fmla="*/ 762796 w 1033465"/>
                <a:gd name="connsiteY90" fmla="*/ 562523 h 838042"/>
                <a:gd name="connsiteX91" fmla="*/ 650582 w 1033465"/>
                <a:gd name="connsiteY91" fmla="*/ 479794 h 838042"/>
                <a:gd name="connsiteX92" fmla="*/ 646772 w 1033465"/>
                <a:gd name="connsiteY92" fmla="*/ 462649 h 838042"/>
                <a:gd name="connsiteX93" fmla="*/ 658202 w 1033465"/>
                <a:gd name="connsiteY93" fmla="*/ 426454 h 838042"/>
                <a:gd name="connsiteX94" fmla="*/ 726782 w 1033465"/>
                <a:gd name="connsiteY94" fmla="*/ 405499 h 838042"/>
                <a:gd name="connsiteX95" fmla="*/ 813738 w 1033465"/>
                <a:gd name="connsiteY95" fmla="*/ 406906 h 838042"/>
                <a:gd name="connsiteX96" fmla="*/ 906231 w 1033465"/>
                <a:gd name="connsiteY96" fmla="*/ 417646 h 838042"/>
                <a:gd name="connsiteX97" fmla="*/ 1002290 w 1033465"/>
                <a:gd name="connsiteY97" fmla="*/ 426835 h 838042"/>
                <a:gd name="connsiteX98" fmla="*/ 1032449 w 1033465"/>
                <a:gd name="connsiteY98" fmla="*/ 402711 h 838042"/>
                <a:gd name="connsiteX99" fmla="*/ 1020514 w 1033465"/>
                <a:gd name="connsiteY99" fmla="*/ 377797 h 838042"/>
                <a:gd name="connsiteX100" fmla="*/ 964889 w 1033465"/>
                <a:gd name="connsiteY100" fmla="*/ 358029 h 838042"/>
                <a:gd name="connsiteX101" fmla="*/ 827747 w 1033465"/>
                <a:gd name="connsiteY101" fmla="*/ 357874 h 838042"/>
                <a:gd name="connsiteX102" fmla="*/ 755811 w 1033465"/>
                <a:gd name="connsiteY102" fmla="*/ 361702 h 838042"/>
                <a:gd name="connsiteX103" fmla="*/ 671537 w 1033465"/>
                <a:gd name="connsiteY103" fmla="*/ 369304 h 838042"/>
                <a:gd name="connsiteX104" fmla="*/ 644867 w 1033465"/>
                <a:gd name="connsiteY104" fmla="*/ 338824 h 838042"/>
                <a:gd name="connsiteX105" fmla="*/ 676403 w 1033465"/>
                <a:gd name="connsiteY105" fmla="*/ 304962 h 838042"/>
                <a:gd name="connsiteX106" fmla="*/ 707732 w 1033465"/>
                <a:gd name="connsiteY106" fmla="*/ 283579 h 838042"/>
                <a:gd name="connsiteX107" fmla="*/ 743927 w 1033465"/>
                <a:gd name="connsiteY107" fmla="*/ 251194 h 838042"/>
                <a:gd name="connsiteX108" fmla="*/ 783019 w 1033465"/>
                <a:gd name="connsiteY108" fmla="*/ 213846 h 838042"/>
                <a:gd name="connsiteX109" fmla="*/ 746401 w 1033465"/>
                <a:gd name="connsiteY109" fmla="*/ 201789 h 838042"/>
                <a:gd name="connsiteX110" fmla="*/ 694397 w 1033465"/>
                <a:gd name="connsiteY110" fmla="*/ 226429 h 838042"/>
                <a:gd name="connsiteX111" fmla="*/ 656678 w 1033465"/>
                <a:gd name="connsiteY111" fmla="*/ 257626 h 838042"/>
                <a:gd name="connsiteX112" fmla="*/ 616001 w 1033465"/>
                <a:gd name="connsiteY112" fmla="*/ 286712 h 838042"/>
                <a:gd name="connsiteX113" fmla="*/ 564857 w 1033465"/>
                <a:gd name="connsiteY113" fmla="*/ 287389 h 838042"/>
                <a:gd name="connsiteX114" fmla="*/ 530567 w 1033465"/>
                <a:gd name="connsiteY114" fmla="*/ 274054 h 838042"/>
                <a:gd name="connsiteX115" fmla="*/ 507707 w 1033465"/>
                <a:gd name="connsiteY115" fmla="*/ 235954 h 838042"/>
                <a:gd name="connsiteX116" fmla="*/ 509612 w 1033465"/>
                <a:gd name="connsiteY116" fmla="*/ 171184 h 838042"/>
                <a:gd name="connsiteX117" fmla="*/ 508314 w 1033465"/>
                <a:gd name="connsiteY117" fmla="*/ 73485 h 838042"/>
                <a:gd name="connsiteX118" fmla="*/ 454116 w 1033465"/>
                <a:gd name="connsiteY118" fmla="*/ 11248 h 838042"/>
                <a:gd name="connsiteX119" fmla="*/ 442470 w 1033465"/>
                <a:gd name="connsiteY119" fmla="*/ 75864 h 838042"/>
                <a:gd name="connsiteX120" fmla="*/ 439226 w 1033465"/>
                <a:gd name="connsiteY120" fmla="*/ 132660 h 838042"/>
                <a:gd name="connsiteX121" fmla="*/ 436054 w 1033465"/>
                <a:gd name="connsiteY12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1937 w 1033465"/>
                <a:gd name="connsiteY14" fmla="*/ 266434 h 838042"/>
                <a:gd name="connsiteX15" fmla="*/ 65747 w 1033465"/>
                <a:gd name="connsiteY15" fmla="*/ 272149 h 838042"/>
                <a:gd name="connsiteX16" fmla="*/ 82892 w 1033465"/>
                <a:gd name="connsiteY16" fmla="*/ 281674 h 838042"/>
                <a:gd name="connsiteX17" fmla="*/ 105752 w 1033465"/>
                <a:gd name="connsiteY17" fmla="*/ 283579 h 838042"/>
                <a:gd name="connsiteX18" fmla="*/ 126707 w 1033465"/>
                <a:gd name="connsiteY18" fmla="*/ 289294 h 838042"/>
                <a:gd name="connsiteX19" fmla="*/ 132422 w 1033465"/>
                <a:gd name="connsiteY19" fmla="*/ 291199 h 838042"/>
                <a:gd name="connsiteX20" fmla="*/ 138137 w 1033465"/>
                <a:gd name="connsiteY20" fmla="*/ 296914 h 838042"/>
                <a:gd name="connsiteX21" fmla="*/ 145757 w 1033465"/>
                <a:gd name="connsiteY21" fmla="*/ 298819 h 838042"/>
                <a:gd name="connsiteX22" fmla="*/ 168617 w 1033465"/>
                <a:gd name="connsiteY22" fmla="*/ 302629 h 838042"/>
                <a:gd name="connsiteX23" fmla="*/ 193382 w 1033465"/>
                <a:gd name="connsiteY23" fmla="*/ 308344 h 838042"/>
                <a:gd name="connsiteX24" fmla="*/ 210527 w 1033465"/>
                <a:gd name="connsiteY24" fmla="*/ 314059 h 838042"/>
                <a:gd name="connsiteX25" fmla="*/ 216242 w 1033465"/>
                <a:gd name="connsiteY25" fmla="*/ 315964 h 838042"/>
                <a:gd name="connsiteX26" fmla="*/ 231482 w 1033465"/>
                <a:gd name="connsiteY26" fmla="*/ 319774 h 838042"/>
                <a:gd name="connsiteX27" fmla="*/ 250532 w 1033465"/>
                <a:gd name="connsiteY27" fmla="*/ 325489 h 838042"/>
                <a:gd name="connsiteX28" fmla="*/ 256247 w 1033465"/>
                <a:gd name="connsiteY28" fmla="*/ 329299 h 838042"/>
                <a:gd name="connsiteX29" fmla="*/ 269582 w 1033465"/>
                <a:gd name="connsiteY29" fmla="*/ 344539 h 838042"/>
                <a:gd name="connsiteX30" fmla="*/ 275297 w 1033465"/>
                <a:gd name="connsiteY30" fmla="*/ 363589 h 838042"/>
                <a:gd name="connsiteX31" fmla="*/ 277202 w 1033465"/>
                <a:gd name="connsiteY31" fmla="*/ 369304 h 838042"/>
                <a:gd name="connsiteX32" fmla="*/ 279107 w 1033465"/>
                <a:gd name="connsiteY32" fmla="*/ 375019 h 838042"/>
                <a:gd name="connsiteX33" fmla="*/ 281012 w 1033465"/>
                <a:gd name="connsiteY33" fmla="*/ 399784 h 838042"/>
                <a:gd name="connsiteX34" fmla="*/ 282917 w 1033465"/>
                <a:gd name="connsiteY34" fmla="*/ 405499 h 838042"/>
                <a:gd name="connsiteX35" fmla="*/ 281012 w 1033465"/>
                <a:gd name="connsiteY35" fmla="*/ 424549 h 838042"/>
                <a:gd name="connsiteX36" fmla="*/ 279107 w 1033465"/>
                <a:gd name="connsiteY36" fmla="*/ 434074 h 838042"/>
                <a:gd name="connsiteX37" fmla="*/ 265772 w 1033465"/>
                <a:gd name="connsiteY37" fmla="*/ 447409 h 838042"/>
                <a:gd name="connsiteX38" fmla="*/ 254342 w 1033465"/>
                <a:gd name="connsiteY38" fmla="*/ 455029 h 838042"/>
                <a:gd name="connsiteX39" fmla="*/ 242912 w 1033465"/>
                <a:gd name="connsiteY39" fmla="*/ 458839 h 838042"/>
                <a:gd name="connsiteX40" fmla="*/ 128612 w 1033465"/>
                <a:gd name="connsiteY40" fmla="*/ 458839 h 838042"/>
                <a:gd name="connsiteX41" fmla="*/ 122897 w 1033465"/>
                <a:gd name="connsiteY41" fmla="*/ 460744 h 838042"/>
                <a:gd name="connsiteX42" fmla="*/ 107657 w 1033465"/>
                <a:gd name="connsiteY42" fmla="*/ 462649 h 838042"/>
                <a:gd name="connsiteX43" fmla="*/ 90512 w 1033465"/>
                <a:gd name="connsiteY43" fmla="*/ 468364 h 838042"/>
                <a:gd name="connsiteX44" fmla="*/ 84797 w 1033465"/>
                <a:gd name="connsiteY44" fmla="*/ 470269 h 838042"/>
                <a:gd name="connsiteX45" fmla="*/ 79082 w 1033465"/>
                <a:gd name="connsiteY45" fmla="*/ 474079 h 838042"/>
                <a:gd name="connsiteX46" fmla="*/ 67652 w 1033465"/>
                <a:gd name="connsiteY46" fmla="*/ 475984 h 838042"/>
                <a:gd name="connsiteX47" fmla="*/ 29552 w 1033465"/>
                <a:gd name="connsiteY47" fmla="*/ 477889 h 838042"/>
                <a:gd name="connsiteX48" fmla="*/ 18122 w 1033465"/>
                <a:gd name="connsiteY48" fmla="*/ 483604 h 838042"/>
                <a:gd name="connsiteX49" fmla="*/ 8597 w 1033465"/>
                <a:gd name="connsiteY49" fmla="*/ 493129 h 838042"/>
                <a:gd name="connsiteX50" fmla="*/ 6692 w 1033465"/>
                <a:gd name="connsiteY50" fmla="*/ 498844 h 838042"/>
                <a:gd name="connsiteX51" fmla="*/ 2882 w 1033465"/>
                <a:gd name="connsiteY51" fmla="*/ 504559 h 838042"/>
                <a:gd name="connsiteX52" fmla="*/ 14312 w 1033465"/>
                <a:gd name="connsiteY52" fmla="*/ 540754 h 838042"/>
                <a:gd name="connsiteX53" fmla="*/ 147662 w 1033465"/>
                <a:gd name="connsiteY53" fmla="*/ 540754 h 838042"/>
                <a:gd name="connsiteX54" fmla="*/ 155282 w 1033465"/>
                <a:gd name="connsiteY54" fmla="*/ 538849 h 838042"/>
                <a:gd name="connsiteX55" fmla="*/ 305777 w 1033465"/>
                <a:gd name="connsiteY55" fmla="*/ 533134 h 838042"/>
                <a:gd name="connsiteX56" fmla="*/ 321017 w 1033465"/>
                <a:gd name="connsiteY56" fmla="*/ 540754 h 838042"/>
                <a:gd name="connsiteX57" fmla="*/ 332447 w 1033465"/>
                <a:gd name="connsiteY57" fmla="*/ 546469 h 838042"/>
                <a:gd name="connsiteX58" fmla="*/ 336257 w 1033465"/>
                <a:gd name="connsiteY58" fmla="*/ 552184 h 838042"/>
                <a:gd name="connsiteX59" fmla="*/ 341972 w 1033465"/>
                <a:gd name="connsiteY59" fmla="*/ 554089 h 838042"/>
                <a:gd name="connsiteX60" fmla="*/ 353402 w 1033465"/>
                <a:gd name="connsiteY60" fmla="*/ 561709 h 838042"/>
                <a:gd name="connsiteX61" fmla="*/ 359117 w 1033465"/>
                <a:gd name="connsiteY61" fmla="*/ 565519 h 838042"/>
                <a:gd name="connsiteX62" fmla="*/ 362927 w 1033465"/>
                <a:gd name="connsiteY62" fmla="*/ 571234 h 838042"/>
                <a:gd name="connsiteX63" fmla="*/ 368642 w 1033465"/>
                <a:gd name="connsiteY63" fmla="*/ 582664 h 838042"/>
                <a:gd name="connsiteX64" fmla="*/ 364832 w 1033465"/>
                <a:gd name="connsiteY64" fmla="*/ 609334 h 838042"/>
                <a:gd name="connsiteX65" fmla="*/ 361022 w 1033465"/>
                <a:gd name="connsiteY65" fmla="*/ 615049 h 838042"/>
                <a:gd name="connsiteX66" fmla="*/ 359117 w 1033465"/>
                <a:gd name="connsiteY66" fmla="*/ 620764 h 838042"/>
                <a:gd name="connsiteX67" fmla="*/ 355307 w 1033465"/>
                <a:gd name="connsiteY67" fmla="*/ 626479 h 838042"/>
                <a:gd name="connsiteX68" fmla="*/ 353402 w 1033465"/>
                <a:gd name="connsiteY68" fmla="*/ 632194 h 838042"/>
                <a:gd name="connsiteX69" fmla="*/ 349592 w 1033465"/>
                <a:gd name="connsiteY69" fmla="*/ 637909 h 838042"/>
                <a:gd name="connsiteX70" fmla="*/ 332447 w 1033465"/>
                <a:gd name="connsiteY70" fmla="*/ 704584 h 838042"/>
                <a:gd name="connsiteX71" fmla="*/ 330542 w 1033465"/>
                <a:gd name="connsiteY71" fmla="*/ 756019 h 838042"/>
                <a:gd name="connsiteX72" fmla="*/ 332447 w 1033465"/>
                <a:gd name="connsiteY72" fmla="*/ 780784 h 838042"/>
                <a:gd name="connsiteX73" fmla="*/ 334352 w 1033465"/>
                <a:gd name="connsiteY73" fmla="*/ 786499 h 838042"/>
                <a:gd name="connsiteX74" fmla="*/ 338162 w 1033465"/>
                <a:gd name="connsiteY74" fmla="*/ 790309 h 838042"/>
                <a:gd name="connsiteX75" fmla="*/ 366737 w 1033465"/>
                <a:gd name="connsiteY75" fmla="*/ 836029 h 838042"/>
                <a:gd name="connsiteX76" fmla="*/ 389597 w 1033465"/>
                <a:gd name="connsiteY76" fmla="*/ 837934 h 838042"/>
                <a:gd name="connsiteX77" fmla="*/ 397407 w 1033465"/>
                <a:gd name="connsiteY77" fmla="*/ 833530 h 838042"/>
                <a:gd name="connsiteX78" fmla="*/ 402932 w 1033465"/>
                <a:gd name="connsiteY78" fmla="*/ 784594 h 838042"/>
                <a:gd name="connsiteX79" fmla="*/ 406742 w 1033465"/>
                <a:gd name="connsiteY79" fmla="*/ 727444 h 838042"/>
                <a:gd name="connsiteX80" fmla="*/ 423887 w 1033465"/>
                <a:gd name="connsiteY80" fmla="*/ 672199 h 838042"/>
                <a:gd name="connsiteX81" fmla="*/ 429602 w 1033465"/>
                <a:gd name="connsiteY81" fmla="*/ 658864 h 838042"/>
                <a:gd name="connsiteX82" fmla="*/ 444084 w 1033465"/>
                <a:gd name="connsiteY82" fmla="*/ 626947 h 838042"/>
                <a:gd name="connsiteX83" fmla="*/ 464289 w 1033465"/>
                <a:gd name="connsiteY83" fmla="*/ 600072 h 838042"/>
                <a:gd name="connsiteX84" fmla="*/ 523510 w 1033465"/>
                <a:gd name="connsiteY84" fmla="*/ 565123 h 838042"/>
                <a:gd name="connsiteX85" fmla="*/ 599348 w 1033465"/>
                <a:gd name="connsiteY85" fmla="*/ 550915 h 838042"/>
                <a:gd name="connsiteX86" fmla="*/ 707801 w 1033465"/>
                <a:gd name="connsiteY86" fmla="*/ 612819 h 838042"/>
                <a:gd name="connsiteX87" fmla="*/ 780122 w 1033465"/>
                <a:gd name="connsiteY87" fmla="*/ 656959 h 838042"/>
                <a:gd name="connsiteX88" fmla="*/ 804887 w 1033465"/>
                <a:gd name="connsiteY88" fmla="*/ 632194 h 838042"/>
                <a:gd name="connsiteX89" fmla="*/ 801077 w 1033465"/>
                <a:gd name="connsiteY89" fmla="*/ 601714 h 838042"/>
                <a:gd name="connsiteX90" fmla="*/ 762796 w 1033465"/>
                <a:gd name="connsiteY90" fmla="*/ 562523 h 838042"/>
                <a:gd name="connsiteX91" fmla="*/ 650582 w 1033465"/>
                <a:gd name="connsiteY91" fmla="*/ 479794 h 838042"/>
                <a:gd name="connsiteX92" fmla="*/ 646772 w 1033465"/>
                <a:gd name="connsiteY92" fmla="*/ 462649 h 838042"/>
                <a:gd name="connsiteX93" fmla="*/ 658202 w 1033465"/>
                <a:gd name="connsiteY93" fmla="*/ 426454 h 838042"/>
                <a:gd name="connsiteX94" fmla="*/ 726782 w 1033465"/>
                <a:gd name="connsiteY94" fmla="*/ 405499 h 838042"/>
                <a:gd name="connsiteX95" fmla="*/ 813738 w 1033465"/>
                <a:gd name="connsiteY95" fmla="*/ 406906 h 838042"/>
                <a:gd name="connsiteX96" fmla="*/ 906231 w 1033465"/>
                <a:gd name="connsiteY96" fmla="*/ 417646 h 838042"/>
                <a:gd name="connsiteX97" fmla="*/ 1002290 w 1033465"/>
                <a:gd name="connsiteY97" fmla="*/ 426835 h 838042"/>
                <a:gd name="connsiteX98" fmla="*/ 1032449 w 1033465"/>
                <a:gd name="connsiteY98" fmla="*/ 402711 h 838042"/>
                <a:gd name="connsiteX99" fmla="*/ 1020514 w 1033465"/>
                <a:gd name="connsiteY99" fmla="*/ 377797 h 838042"/>
                <a:gd name="connsiteX100" fmla="*/ 964889 w 1033465"/>
                <a:gd name="connsiteY100" fmla="*/ 358029 h 838042"/>
                <a:gd name="connsiteX101" fmla="*/ 827747 w 1033465"/>
                <a:gd name="connsiteY101" fmla="*/ 357874 h 838042"/>
                <a:gd name="connsiteX102" fmla="*/ 755811 w 1033465"/>
                <a:gd name="connsiteY102" fmla="*/ 361702 h 838042"/>
                <a:gd name="connsiteX103" fmla="*/ 671537 w 1033465"/>
                <a:gd name="connsiteY103" fmla="*/ 369304 h 838042"/>
                <a:gd name="connsiteX104" fmla="*/ 644867 w 1033465"/>
                <a:gd name="connsiteY104" fmla="*/ 338824 h 838042"/>
                <a:gd name="connsiteX105" fmla="*/ 676403 w 1033465"/>
                <a:gd name="connsiteY105" fmla="*/ 304962 h 838042"/>
                <a:gd name="connsiteX106" fmla="*/ 707732 w 1033465"/>
                <a:gd name="connsiteY106" fmla="*/ 283579 h 838042"/>
                <a:gd name="connsiteX107" fmla="*/ 743927 w 1033465"/>
                <a:gd name="connsiteY107" fmla="*/ 251194 h 838042"/>
                <a:gd name="connsiteX108" fmla="*/ 783019 w 1033465"/>
                <a:gd name="connsiteY108" fmla="*/ 213846 h 838042"/>
                <a:gd name="connsiteX109" fmla="*/ 746401 w 1033465"/>
                <a:gd name="connsiteY109" fmla="*/ 201789 h 838042"/>
                <a:gd name="connsiteX110" fmla="*/ 694397 w 1033465"/>
                <a:gd name="connsiteY110" fmla="*/ 226429 h 838042"/>
                <a:gd name="connsiteX111" fmla="*/ 656678 w 1033465"/>
                <a:gd name="connsiteY111" fmla="*/ 257626 h 838042"/>
                <a:gd name="connsiteX112" fmla="*/ 616001 w 1033465"/>
                <a:gd name="connsiteY112" fmla="*/ 286712 h 838042"/>
                <a:gd name="connsiteX113" fmla="*/ 564857 w 1033465"/>
                <a:gd name="connsiteY113" fmla="*/ 287389 h 838042"/>
                <a:gd name="connsiteX114" fmla="*/ 530567 w 1033465"/>
                <a:gd name="connsiteY114" fmla="*/ 274054 h 838042"/>
                <a:gd name="connsiteX115" fmla="*/ 507707 w 1033465"/>
                <a:gd name="connsiteY115" fmla="*/ 235954 h 838042"/>
                <a:gd name="connsiteX116" fmla="*/ 509612 w 1033465"/>
                <a:gd name="connsiteY116" fmla="*/ 171184 h 838042"/>
                <a:gd name="connsiteX117" fmla="*/ 508314 w 1033465"/>
                <a:gd name="connsiteY117" fmla="*/ 73485 h 838042"/>
                <a:gd name="connsiteX118" fmla="*/ 454116 w 1033465"/>
                <a:gd name="connsiteY118" fmla="*/ 11248 h 838042"/>
                <a:gd name="connsiteX119" fmla="*/ 442470 w 1033465"/>
                <a:gd name="connsiteY119" fmla="*/ 75864 h 838042"/>
                <a:gd name="connsiteX120" fmla="*/ 439226 w 1033465"/>
                <a:gd name="connsiteY120" fmla="*/ 132660 h 838042"/>
                <a:gd name="connsiteX121" fmla="*/ 436054 w 1033465"/>
                <a:gd name="connsiteY12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05752 w 1033465"/>
                <a:gd name="connsiteY16" fmla="*/ 283579 h 838042"/>
                <a:gd name="connsiteX17" fmla="*/ 126707 w 1033465"/>
                <a:gd name="connsiteY17" fmla="*/ 289294 h 838042"/>
                <a:gd name="connsiteX18" fmla="*/ 132422 w 1033465"/>
                <a:gd name="connsiteY18" fmla="*/ 291199 h 838042"/>
                <a:gd name="connsiteX19" fmla="*/ 138137 w 1033465"/>
                <a:gd name="connsiteY19" fmla="*/ 296914 h 838042"/>
                <a:gd name="connsiteX20" fmla="*/ 145757 w 1033465"/>
                <a:gd name="connsiteY20" fmla="*/ 298819 h 838042"/>
                <a:gd name="connsiteX21" fmla="*/ 168617 w 1033465"/>
                <a:gd name="connsiteY21" fmla="*/ 302629 h 838042"/>
                <a:gd name="connsiteX22" fmla="*/ 193382 w 1033465"/>
                <a:gd name="connsiteY22" fmla="*/ 308344 h 838042"/>
                <a:gd name="connsiteX23" fmla="*/ 210527 w 1033465"/>
                <a:gd name="connsiteY23" fmla="*/ 314059 h 838042"/>
                <a:gd name="connsiteX24" fmla="*/ 216242 w 1033465"/>
                <a:gd name="connsiteY24" fmla="*/ 315964 h 838042"/>
                <a:gd name="connsiteX25" fmla="*/ 231482 w 1033465"/>
                <a:gd name="connsiteY25" fmla="*/ 319774 h 838042"/>
                <a:gd name="connsiteX26" fmla="*/ 250532 w 1033465"/>
                <a:gd name="connsiteY26" fmla="*/ 325489 h 838042"/>
                <a:gd name="connsiteX27" fmla="*/ 256247 w 1033465"/>
                <a:gd name="connsiteY27" fmla="*/ 329299 h 838042"/>
                <a:gd name="connsiteX28" fmla="*/ 269582 w 1033465"/>
                <a:gd name="connsiteY28" fmla="*/ 344539 h 838042"/>
                <a:gd name="connsiteX29" fmla="*/ 275297 w 1033465"/>
                <a:gd name="connsiteY29" fmla="*/ 363589 h 838042"/>
                <a:gd name="connsiteX30" fmla="*/ 277202 w 1033465"/>
                <a:gd name="connsiteY30" fmla="*/ 369304 h 838042"/>
                <a:gd name="connsiteX31" fmla="*/ 279107 w 1033465"/>
                <a:gd name="connsiteY31" fmla="*/ 375019 h 838042"/>
                <a:gd name="connsiteX32" fmla="*/ 281012 w 1033465"/>
                <a:gd name="connsiteY32" fmla="*/ 399784 h 838042"/>
                <a:gd name="connsiteX33" fmla="*/ 282917 w 1033465"/>
                <a:gd name="connsiteY33" fmla="*/ 405499 h 838042"/>
                <a:gd name="connsiteX34" fmla="*/ 281012 w 1033465"/>
                <a:gd name="connsiteY34" fmla="*/ 424549 h 838042"/>
                <a:gd name="connsiteX35" fmla="*/ 279107 w 1033465"/>
                <a:gd name="connsiteY35" fmla="*/ 434074 h 838042"/>
                <a:gd name="connsiteX36" fmla="*/ 265772 w 1033465"/>
                <a:gd name="connsiteY36" fmla="*/ 447409 h 838042"/>
                <a:gd name="connsiteX37" fmla="*/ 254342 w 1033465"/>
                <a:gd name="connsiteY37" fmla="*/ 455029 h 838042"/>
                <a:gd name="connsiteX38" fmla="*/ 242912 w 1033465"/>
                <a:gd name="connsiteY38" fmla="*/ 458839 h 838042"/>
                <a:gd name="connsiteX39" fmla="*/ 128612 w 1033465"/>
                <a:gd name="connsiteY39" fmla="*/ 458839 h 838042"/>
                <a:gd name="connsiteX40" fmla="*/ 122897 w 1033465"/>
                <a:gd name="connsiteY40" fmla="*/ 460744 h 838042"/>
                <a:gd name="connsiteX41" fmla="*/ 107657 w 1033465"/>
                <a:gd name="connsiteY41" fmla="*/ 462649 h 838042"/>
                <a:gd name="connsiteX42" fmla="*/ 90512 w 1033465"/>
                <a:gd name="connsiteY42" fmla="*/ 468364 h 838042"/>
                <a:gd name="connsiteX43" fmla="*/ 84797 w 1033465"/>
                <a:gd name="connsiteY43" fmla="*/ 470269 h 838042"/>
                <a:gd name="connsiteX44" fmla="*/ 79082 w 1033465"/>
                <a:gd name="connsiteY44" fmla="*/ 474079 h 838042"/>
                <a:gd name="connsiteX45" fmla="*/ 67652 w 1033465"/>
                <a:gd name="connsiteY45" fmla="*/ 475984 h 838042"/>
                <a:gd name="connsiteX46" fmla="*/ 29552 w 1033465"/>
                <a:gd name="connsiteY46" fmla="*/ 477889 h 838042"/>
                <a:gd name="connsiteX47" fmla="*/ 18122 w 1033465"/>
                <a:gd name="connsiteY47" fmla="*/ 483604 h 838042"/>
                <a:gd name="connsiteX48" fmla="*/ 8597 w 1033465"/>
                <a:gd name="connsiteY48" fmla="*/ 493129 h 838042"/>
                <a:gd name="connsiteX49" fmla="*/ 6692 w 1033465"/>
                <a:gd name="connsiteY49" fmla="*/ 498844 h 838042"/>
                <a:gd name="connsiteX50" fmla="*/ 2882 w 1033465"/>
                <a:gd name="connsiteY50" fmla="*/ 504559 h 838042"/>
                <a:gd name="connsiteX51" fmla="*/ 14312 w 1033465"/>
                <a:gd name="connsiteY51" fmla="*/ 540754 h 838042"/>
                <a:gd name="connsiteX52" fmla="*/ 147662 w 1033465"/>
                <a:gd name="connsiteY52" fmla="*/ 540754 h 838042"/>
                <a:gd name="connsiteX53" fmla="*/ 155282 w 1033465"/>
                <a:gd name="connsiteY53" fmla="*/ 538849 h 838042"/>
                <a:gd name="connsiteX54" fmla="*/ 305777 w 1033465"/>
                <a:gd name="connsiteY54" fmla="*/ 533134 h 838042"/>
                <a:gd name="connsiteX55" fmla="*/ 321017 w 1033465"/>
                <a:gd name="connsiteY55" fmla="*/ 540754 h 838042"/>
                <a:gd name="connsiteX56" fmla="*/ 332447 w 1033465"/>
                <a:gd name="connsiteY56" fmla="*/ 546469 h 838042"/>
                <a:gd name="connsiteX57" fmla="*/ 336257 w 1033465"/>
                <a:gd name="connsiteY57" fmla="*/ 552184 h 838042"/>
                <a:gd name="connsiteX58" fmla="*/ 341972 w 1033465"/>
                <a:gd name="connsiteY58" fmla="*/ 554089 h 838042"/>
                <a:gd name="connsiteX59" fmla="*/ 353402 w 1033465"/>
                <a:gd name="connsiteY59" fmla="*/ 561709 h 838042"/>
                <a:gd name="connsiteX60" fmla="*/ 359117 w 1033465"/>
                <a:gd name="connsiteY60" fmla="*/ 565519 h 838042"/>
                <a:gd name="connsiteX61" fmla="*/ 362927 w 1033465"/>
                <a:gd name="connsiteY61" fmla="*/ 571234 h 838042"/>
                <a:gd name="connsiteX62" fmla="*/ 368642 w 1033465"/>
                <a:gd name="connsiteY62" fmla="*/ 582664 h 838042"/>
                <a:gd name="connsiteX63" fmla="*/ 364832 w 1033465"/>
                <a:gd name="connsiteY63" fmla="*/ 609334 h 838042"/>
                <a:gd name="connsiteX64" fmla="*/ 361022 w 1033465"/>
                <a:gd name="connsiteY64" fmla="*/ 615049 h 838042"/>
                <a:gd name="connsiteX65" fmla="*/ 359117 w 1033465"/>
                <a:gd name="connsiteY65" fmla="*/ 620764 h 838042"/>
                <a:gd name="connsiteX66" fmla="*/ 355307 w 1033465"/>
                <a:gd name="connsiteY66" fmla="*/ 626479 h 838042"/>
                <a:gd name="connsiteX67" fmla="*/ 353402 w 1033465"/>
                <a:gd name="connsiteY67" fmla="*/ 632194 h 838042"/>
                <a:gd name="connsiteX68" fmla="*/ 349592 w 1033465"/>
                <a:gd name="connsiteY68" fmla="*/ 637909 h 838042"/>
                <a:gd name="connsiteX69" fmla="*/ 332447 w 1033465"/>
                <a:gd name="connsiteY69" fmla="*/ 704584 h 838042"/>
                <a:gd name="connsiteX70" fmla="*/ 330542 w 1033465"/>
                <a:gd name="connsiteY70" fmla="*/ 756019 h 838042"/>
                <a:gd name="connsiteX71" fmla="*/ 332447 w 1033465"/>
                <a:gd name="connsiteY71" fmla="*/ 780784 h 838042"/>
                <a:gd name="connsiteX72" fmla="*/ 334352 w 1033465"/>
                <a:gd name="connsiteY72" fmla="*/ 786499 h 838042"/>
                <a:gd name="connsiteX73" fmla="*/ 338162 w 1033465"/>
                <a:gd name="connsiteY73" fmla="*/ 790309 h 838042"/>
                <a:gd name="connsiteX74" fmla="*/ 366737 w 1033465"/>
                <a:gd name="connsiteY74" fmla="*/ 836029 h 838042"/>
                <a:gd name="connsiteX75" fmla="*/ 389597 w 1033465"/>
                <a:gd name="connsiteY75" fmla="*/ 837934 h 838042"/>
                <a:gd name="connsiteX76" fmla="*/ 397407 w 1033465"/>
                <a:gd name="connsiteY76" fmla="*/ 833530 h 838042"/>
                <a:gd name="connsiteX77" fmla="*/ 402932 w 1033465"/>
                <a:gd name="connsiteY77" fmla="*/ 784594 h 838042"/>
                <a:gd name="connsiteX78" fmla="*/ 406742 w 1033465"/>
                <a:gd name="connsiteY78" fmla="*/ 727444 h 838042"/>
                <a:gd name="connsiteX79" fmla="*/ 423887 w 1033465"/>
                <a:gd name="connsiteY79" fmla="*/ 672199 h 838042"/>
                <a:gd name="connsiteX80" fmla="*/ 429602 w 1033465"/>
                <a:gd name="connsiteY80" fmla="*/ 658864 h 838042"/>
                <a:gd name="connsiteX81" fmla="*/ 444084 w 1033465"/>
                <a:gd name="connsiteY81" fmla="*/ 626947 h 838042"/>
                <a:gd name="connsiteX82" fmla="*/ 464289 w 1033465"/>
                <a:gd name="connsiteY82" fmla="*/ 600072 h 838042"/>
                <a:gd name="connsiteX83" fmla="*/ 523510 w 1033465"/>
                <a:gd name="connsiteY83" fmla="*/ 565123 h 838042"/>
                <a:gd name="connsiteX84" fmla="*/ 599348 w 1033465"/>
                <a:gd name="connsiteY84" fmla="*/ 550915 h 838042"/>
                <a:gd name="connsiteX85" fmla="*/ 707801 w 1033465"/>
                <a:gd name="connsiteY85" fmla="*/ 612819 h 838042"/>
                <a:gd name="connsiteX86" fmla="*/ 780122 w 1033465"/>
                <a:gd name="connsiteY86" fmla="*/ 656959 h 838042"/>
                <a:gd name="connsiteX87" fmla="*/ 804887 w 1033465"/>
                <a:gd name="connsiteY87" fmla="*/ 632194 h 838042"/>
                <a:gd name="connsiteX88" fmla="*/ 801077 w 1033465"/>
                <a:gd name="connsiteY88" fmla="*/ 601714 h 838042"/>
                <a:gd name="connsiteX89" fmla="*/ 762796 w 1033465"/>
                <a:gd name="connsiteY89" fmla="*/ 562523 h 838042"/>
                <a:gd name="connsiteX90" fmla="*/ 650582 w 1033465"/>
                <a:gd name="connsiteY90" fmla="*/ 479794 h 838042"/>
                <a:gd name="connsiteX91" fmla="*/ 646772 w 1033465"/>
                <a:gd name="connsiteY91" fmla="*/ 462649 h 838042"/>
                <a:gd name="connsiteX92" fmla="*/ 658202 w 1033465"/>
                <a:gd name="connsiteY92" fmla="*/ 426454 h 838042"/>
                <a:gd name="connsiteX93" fmla="*/ 726782 w 1033465"/>
                <a:gd name="connsiteY93" fmla="*/ 405499 h 838042"/>
                <a:gd name="connsiteX94" fmla="*/ 813738 w 1033465"/>
                <a:gd name="connsiteY94" fmla="*/ 406906 h 838042"/>
                <a:gd name="connsiteX95" fmla="*/ 906231 w 1033465"/>
                <a:gd name="connsiteY95" fmla="*/ 417646 h 838042"/>
                <a:gd name="connsiteX96" fmla="*/ 1002290 w 1033465"/>
                <a:gd name="connsiteY96" fmla="*/ 426835 h 838042"/>
                <a:gd name="connsiteX97" fmla="*/ 1032449 w 1033465"/>
                <a:gd name="connsiteY97" fmla="*/ 402711 h 838042"/>
                <a:gd name="connsiteX98" fmla="*/ 1020514 w 1033465"/>
                <a:gd name="connsiteY98" fmla="*/ 377797 h 838042"/>
                <a:gd name="connsiteX99" fmla="*/ 964889 w 1033465"/>
                <a:gd name="connsiteY99" fmla="*/ 358029 h 838042"/>
                <a:gd name="connsiteX100" fmla="*/ 827747 w 1033465"/>
                <a:gd name="connsiteY100" fmla="*/ 357874 h 838042"/>
                <a:gd name="connsiteX101" fmla="*/ 755811 w 1033465"/>
                <a:gd name="connsiteY101" fmla="*/ 361702 h 838042"/>
                <a:gd name="connsiteX102" fmla="*/ 671537 w 1033465"/>
                <a:gd name="connsiteY102" fmla="*/ 369304 h 838042"/>
                <a:gd name="connsiteX103" fmla="*/ 644867 w 1033465"/>
                <a:gd name="connsiteY103" fmla="*/ 338824 h 838042"/>
                <a:gd name="connsiteX104" fmla="*/ 676403 w 1033465"/>
                <a:gd name="connsiteY104" fmla="*/ 304962 h 838042"/>
                <a:gd name="connsiteX105" fmla="*/ 707732 w 1033465"/>
                <a:gd name="connsiteY105" fmla="*/ 283579 h 838042"/>
                <a:gd name="connsiteX106" fmla="*/ 743927 w 1033465"/>
                <a:gd name="connsiteY106" fmla="*/ 251194 h 838042"/>
                <a:gd name="connsiteX107" fmla="*/ 783019 w 1033465"/>
                <a:gd name="connsiteY107" fmla="*/ 213846 h 838042"/>
                <a:gd name="connsiteX108" fmla="*/ 746401 w 1033465"/>
                <a:gd name="connsiteY108" fmla="*/ 201789 h 838042"/>
                <a:gd name="connsiteX109" fmla="*/ 694397 w 1033465"/>
                <a:gd name="connsiteY109" fmla="*/ 226429 h 838042"/>
                <a:gd name="connsiteX110" fmla="*/ 656678 w 1033465"/>
                <a:gd name="connsiteY110" fmla="*/ 257626 h 838042"/>
                <a:gd name="connsiteX111" fmla="*/ 616001 w 1033465"/>
                <a:gd name="connsiteY111" fmla="*/ 286712 h 838042"/>
                <a:gd name="connsiteX112" fmla="*/ 564857 w 1033465"/>
                <a:gd name="connsiteY112" fmla="*/ 287389 h 838042"/>
                <a:gd name="connsiteX113" fmla="*/ 530567 w 1033465"/>
                <a:gd name="connsiteY113" fmla="*/ 274054 h 838042"/>
                <a:gd name="connsiteX114" fmla="*/ 507707 w 1033465"/>
                <a:gd name="connsiteY114" fmla="*/ 235954 h 838042"/>
                <a:gd name="connsiteX115" fmla="*/ 509612 w 1033465"/>
                <a:gd name="connsiteY115" fmla="*/ 171184 h 838042"/>
                <a:gd name="connsiteX116" fmla="*/ 508314 w 1033465"/>
                <a:gd name="connsiteY116" fmla="*/ 73485 h 838042"/>
                <a:gd name="connsiteX117" fmla="*/ 454116 w 1033465"/>
                <a:gd name="connsiteY117" fmla="*/ 11248 h 838042"/>
                <a:gd name="connsiteX118" fmla="*/ 442470 w 1033465"/>
                <a:gd name="connsiteY118" fmla="*/ 75864 h 838042"/>
                <a:gd name="connsiteX119" fmla="*/ 439226 w 1033465"/>
                <a:gd name="connsiteY119" fmla="*/ 132660 h 838042"/>
                <a:gd name="connsiteX120" fmla="*/ 436054 w 1033465"/>
                <a:gd name="connsiteY12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38137 w 1033465"/>
                <a:gd name="connsiteY18" fmla="*/ 296914 h 838042"/>
                <a:gd name="connsiteX19" fmla="*/ 145757 w 1033465"/>
                <a:gd name="connsiteY19" fmla="*/ 298819 h 838042"/>
                <a:gd name="connsiteX20" fmla="*/ 168617 w 1033465"/>
                <a:gd name="connsiteY20" fmla="*/ 302629 h 838042"/>
                <a:gd name="connsiteX21" fmla="*/ 193382 w 1033465"/>
                <a:gd name="connsiteY21" fmla="*/ 308344 h 838042"/>
                <a:gd name="connsiteX22" fmla="*/ 210527 w 1033465"/>
                <a:gd name="connsiteY22" fmla="*/ 314059 h 838042"/>
                <a:gd name="connsiteX23" fmla="*/ 216242 w 1033465"/>
                <a:gd name="connsiteY23" fmla="*/ 315964 h 838042"/>
                <a:gd name="connsiteX24" fmla="*/ 231482 w 1033465"/>
                <a:gd name="connsiteY24" fmla="*/ 319774 h 838042"/>
                <a:gd name="connsiteX25" fmla="*/ 250532 w 1033465"/>
                <a:gd name="connsiteY25" fmla="*/ 325489 h 838042"/>
                <a:gd name="connsiteX26" fmla="*/ 256247 w 1033465"/>
                <a:gd name="connsiteY26" fmla="*/ 329299 h 838042"/>
                <a:gd name="connsiteX27" fmla="*/ 269582 w 1033465"/>
                <a:gd name="connsiteY27" fmla="*/ 344539 h 838042"/>
                <a:gd name="connsiteX28" fmla="*/ 275297 w 1033465"/>
                <a:gd name="connsiteY28" fmla="*/ 363589 h 838042"/>
                <a:gd name="connsiteX29" fmla="*/ 277202 w 1033465"/>
                <a:gd name="connsiteY29" fmla="*/ 369304 h 838042"/>
                <a:gd name="connsiteX30" fmla="*/ 279107 w 1033465"/>
                <a:gd name="connsiteY30" fmla="*/ 375019 h 838042"/>
                <a:gd name="connsiteX31" fmla="*/ 281012 w 1033465"/>
                <a:gd name="connsiteY31" fmla="*/ 399784 h 838042"/>
                <a:gd name="connsiteX32" fmla="*/ 282917 w 1033465"/>
                <a:gd name="connsiteY32" fmla="*/ 405499 h 838042"/>
                <a:gd name="connsiteX33" fmla="*/ 281012 w 1033465"/>
                <a:gd name="connsiteY33" fmla="*/ 424549 h 838042"/>
                <a:gd name="connsiteX34" fmla="*/ 279107 w 1033465"/>
                <a:gd name="connsiteY34" fmla="*/ 434074 h 838042"/>
                <a:gd name="connsiteX35" fmla="*/ 265772 w 1033465"/>
                <a:gd name="connsiteY35" fmla="*/ 447409 h 838042"/>
                <a:gd name="connsiteX36" fmla="*/ 254342 w 1033465"/>
                <a:gd name="connsiteY36" fmla="*/ 455029 h 838042"/>
                <a:gd name="connsiteX37" fmla="*/ 242912 w 1033465"/>
                <a:gd name="connsiteY37" fmla="*/ 458839 h 838042"/>
                <a:gd name="connsiteX38" fmla="*/ 128612 w 1033465"/>
                <a:gd name="connsiteY38" fmla="*/ 458839 h 838042"/>
                <a:gd name="connsiteX39" fmla="*/ 122897 w 1033465"/>
                <a:gd name="connsiteY39" fmla="*/ 460744 h 838042"/>
                <a:gd name="connsiteX40" fmla="*/ 107657 w 1033465"/>
                <a:gd name="connsiteY40" fmla="*/ 462649 h 838042"/>
                <a:gd name="connsiteX41" fmla="*/ 90512 w 1033465"/>
                <a:gd name="connsiteY41" fmla="*/ 468364 h 838042"/>
                <a:gd name="connsiteX42" fmla="*/ 84797 w 1033465"/>
                <a:gd name="connsiteY42" fmla="*/ 470269 h 838042"/>
                <a:gd name="connsiteX43" fmla="*/ 79082 w 1033465"/>
                <a:gd name="connsiteY43" fmla="*/ 474079 h 838042"/>
                <a:gd name="connsiteX44" fmla="*/ 67652 w 1033465"/>
                <a:gd name="connsiteY44" fmla="*/ 475984 h 838042"/>
                <a:gd name="connsiteX45" fmla="*/ 29552 w 1033465"/>
                <a:gd name="connsiteY45" fmla="*/ 477889 h 838042"/>
                <a:gd name="connsiteX46" fmla="*/ 18122 w 1033465"/>
                <a:gd name="connsiteY46" fmla="*/ 483604 h 838042"/>
                <a:gd name="connsiteX47" fmla="*/ 8597 w 1033465"/>
                <a:gd name="connsiteY47" fmla="*/ 493129 h 838042"/>
                <a:gd name="connsiteX48" fmla="*/ 6692 w 1033465"/>
                <a:gd name="connsiteY48" fmla="*/ 498844 h 838042"/>
                <a:gd name="connsiteX49" fmla="*/ 2882 w 1033465"/>
                <a:gd name="connsiteY49" fmla="*/ 504559 h 838042"/>
                <a:gd name="connsiteX50" fmla="*/ 14312 w 1033465"/>
                <a:gd name="connsiteY50" fmla="*/ 540754 h 838042"/>
                <a:gd name="connsiteX51" fmla="*/ 147662 w 1033465"/>
                <a:gd name="connsiteY51" fmla="*/ 540754 h 838042"/>
                <a:gd name="connsiteX52" fmla="*/ 155282 w 1033465"/>
                <a:gd name="connsiteY52" fmla="*/ 538849 h 838042"/>
                <a:gd name="connsiteX53" fmla="*/ 305777 w 1033465"/>
                <a:gd name="connsiteY53" fmla="*/ 533134 h 838042"/>
                <a:gd name="connsiteX54" fmla="*/ 321017 w 1033465"/>
                <a:gd name="connsiteY54" fmla="*/ 540754 h 838042"/>
                <a:gd name="connsiteX55" fmla="*/ 332447 w 1033465"/>
                <a:gd name="connsiteY55" fmla="*/ 546469 h 838042"/>
                <a:gd name="connsiteX56" fmla="*/ 336257 w 1033465"/>
                <a:gd name="connsiteY56" fmla="*/ 552184 h 838042"/>
                <a:gd name="connsiteX57" fmla="*/ 341972 w 1033465"/>
                <a:gd name="connsiteY57" fmla="*/ 554089 h 838042"/>
                <a:gd name="connsiteX58" fmla="*/ 353402 w 1033465"/>
                <a:gd name="connsiteY58" fmla="*/ 561709 h 838042"/>
                <a:gd name="connsiteX59" fmla="*/ 359117 w 1033465"/>
                <a:gd name="connsiteY59" fmla="*/ 565519 h 838042"/>
                <a:gd name="connsiteX60" fmla="*/ 362927 w 1033465"/>
                <a:gd name="connsiteY60" fmla="*/ 571234 h 838042"/>
                <a:gd name="connsiteX61" fmla="*/ 368642 w 1033465"/>
                <a:gd name="connsiteY61" fmla="*/ 582664 h 838042"/>
                <a:gd name="connsiteX62" fmla="*/ 364832 w 1033465"/>
                <a:gd name="connsiteY62" fmla="*/ 609334 h 838042"/>
                <a:gd name="connsiteX63" fmla="*/ 361022 w 1033465"/>
                <a:gd name="connsiteY63" fmla="*/ 615049 h 838042"/>
                <a:gd name="connsiteX64" fmla="*/ 359117 w 1033465"/>
                <a:gd name="connsiteY64" fmla="*/ 620764 h 838042"/>
                <a:gd name="connsiteX65" fmla="*/ 355307 w 1033465"/>
                <a:gd name="connsiteY65" fmla="*/ 626479 h 838042"/>
                <a:gd name="connsiteX66" fmla="*/ 353402 w 1033465"/>
                <a:gd name="connsiteY66" fmla="*/ 632194 h 838042"/>
                <a:gd name="connsiteX67" fmla="*/ 349592 w 1033465"/>
                <a:gd name="connsiteY67" fmla="*/ 637909 h 838042"/>
                <a:gd name="connsiteX68" fmla="*/ 332447 w 1033465"/>
                <a:gd name="connsiteY68" fmla="*/ 704584 h 838042"/>
                <a:gd name="connsiteX69" fmla="*/ 330542 w 1033465"/>
                <a:gd name="connsiteY69" fmla="*/ 756019 h 838042"/>
                <a:gd name="connsiteX70" fmla="*/ 332447 w 1033465"/>
                <a:gd name="connsiteY70" fmla="*/ 780784 h 838042"/>
                <a:gd name="connsiteX71" fmla="*/ 334352 w 1033465"/>
                <a:gd name="connsiteY71" fmla="*/ 786499 h 838042"/>
                <a:gd name="connsiteX72" fmla="*/ 338162 w 1033465"/>
                <a:gd name="connsiteY72" fmla="*/ 790309 h 838042"/>
                <a:gd name="connsiteX73" fmla="*/ 366737 w 1033465"/>
                <a:gd name="connsiteY73" fmla="*/ 836029 h 838042"/>
                <a:gd name="connsiteX74" fmla="*/ 389597 w 1033465"/>
                <a:gd name="connsiteY74" fmla="*/ 837934 h 838042"/>
                <a:gd name="connsiteX75" fmla="*/ 397407 w 1033465"/>
                <a:gd name="connsiteY75" fmla="*/ 833530 h 838042"/>
                <a:gd name="connsiteX76" fmla="*/ 402932 w 1033465"/>
                <a:gd name="connsiteY76" fmla="*/ 784594 h 838042"/>
                <a:gd name="connsiteX77" fmla="*/ 406742 w 1033465"/>
                <a:gd name="connsiteY77" fmla="*/ 727444 h 838042"/>
                <a:gd name="connsiteX78" fmla="*/ 423887 w 1033465"/>
                <a:gd name="connsiteY78" fmla="*/ 672199 h 838042"/>
                <a:gd name="connsiteX79" fmla="*/ 429602 w 1033465"/>
                <a:gd name="connsiteY79" fmla="*/ 658864 h 838042"/>
                <a:gd name="connsiteX80" fmla="*/ 444084 w 1033465"/>
                <a:gd name="connsiteY80" fmla="*/ 626947 h 838042"/>
                <a:gd name="connsiteX81" fmla="*/ 464289 w 1033465"/>
                <a:gd name="connsiteY81" fmla="*/ 600072 h 838042"/>
                <a:gd name="connsiteX82" fmla="*/ 523510 w 1033465"/>
                <a:gd name="connsiteY82" fmla="*/ 565123 h 838042"/>
                <a:gd name="connsiteX83" fmla="*/ 599348 w 1033465"/>
                <a:gd name="connsiteY83" fmla="*/ 550915 h 838042"/>
                <a:gd name="connsiteX84" fmla="*/ 707801 w 1033465"/>
                <a:gd name="connsiteY84" fmla="*/ 612819 h 838042"/>
                <a:gd name="connsiteX85" fmla="*/ 780122 w 1033465"/>
                <a:gd name="connsiteY85" fmla="*/ 656959 h 838042"/>
                <a:gd name="connsiteX86" fmla="*/ 804887 w 1033465"/>
                <a:gd name="connsiteY86" fmla="*/ 632194 h 838042"/>
                <a:gd name="connsiteX87" fmla="*/ 801077 w 1033465"/>
                <a:gd name="connsiteY87" fmla="*/ 601714 h 838042"/>
                <a:gd name="connsiteX88" fmla="*/ 762796 w 1033465"/>
                <a:gd name="connsiteY88" fmla="*/ 562523 h 838042"/>
                <a:gd name="connsiteX89" fmla="*/ 650582 w 1033465"/>
                <a:gd name="connsiteY89" fmla="*/ 479794 h 838042"/>
                <a:gd name="connsiteX90" fmla="*/ 646772 w 1033465"/>
                <a:gd name="connsiteY90" fmla="*/ 462649 h 838042"/>
                <a:gd name="connsiteX91" fmla="*/ 658202 w 1033465"/>
                <a:gd name="connsiteY91" fmla="*/ 426454 h 838042"/>
                <a:gd name="connsiteX92" fmla="*/ 726782 w 1033465"/>
                <a:gd name="connsiteY92" fmla="*/ 405499 h 838042"/>
                <a:gd name="connsiteX93" fmla="*/ 813738 w 1033465"/>
                <a:gd name="connsiteY93" fmla="*/ 406906 h 838042"/>
                <a:gd name="connsiteX94" fmla="*/ 906231 w 1033465"/>
                <a:gd name="connsiteY94" fmla="*/ 417646 h 838042"/>
                <a:gd name="connsiteX95" fmla="*/ 1002290 w 1033465"/>
                <a:gd name="connsiteY95" fmla="*/ 426835 h 838042"/>
                <a:gd name="connsiteX96" fmla="*/ 1032449 w 1033465"/>
                <a:gd name="connsiteY96" fmla="*/ 402711 h 838042"/>
                <a:gd name="connsiteX97" fmla="*/ 1020514 w 1033465"/>
                <a:gd name="connsiteY97" fmla="*/ 377797 h 838042"/>
                <a:gd name="connsiteX98" fmla="*/ 964889 w 1033465"/>
                <a:gd name="connsiteY98" fmla="*/ 358029 h 838042"/>
                <a:gd name="connsiteX99" fmla="*/ 827747 w 1033465"/>
                <a:gd name="connsiteY99" fmla="*/ 357874 h 838042"/>
                <a:gd name="connsiteX100" fmla="*/ 755811 w 1033465"/>
                <a:gd name="connsiteY100" fmla="*/ 361702 h 838042"/>
                <a:gd name="connsiteX101" fmla="*/ 671537 w 1033465"/>
                <a:gd name="connsiteY101" fmla="*/ 369304 h 838042"/>
                <a:gd name="connsiteX102" fmla="*/ 644867 w 1033465"/>
                <a:gd name="connsiteY102" fmla="*/ 338824 h 838042"/>
                <a:gd name="connsiteX103" fmla="*/ 676403 w 1033465"/>
                <a:gd name="connsiteY103" fmla="*/ 304962 h 838042"/>
                <a:gd name="connsiteX104" fmla="*/ 707732 w 1033465"/>
                <a:gd name="connsiteY104" fmla="*/ 283579 h 838042"/>
                <a:gd name="connsiteX105" fmla="*/ 743927 w 1033465"/>
                <a:gd name="connsiteY105" fmla="*/ 251194 h 838042"/>
                <a:gd name="connsiteX106" fmla="*/ 783019 w 1033465"/>
                <a:gd name="connsiteY106" fmla="*/ 213846 h 838042"/>
                <a:gd name="connsiteX107" fmla="*/ 746401 w 1033465"/>
                <a:gd name="connsiteY107" fmla="*/ 201789 h 838042"/>
                <a:gd name="connsiteX108" fmla="*/ 694397 w 1033465"/>
                <a:gd name="connsiteY108" fmla="*/ 226429 h 838042"/>
                <a:gd name="connsiteX109" fmla="*/ 656678 w 1033465"/>
                <a:gd name="connsiteY109" fmla="*/ 257626 h 838042"/>
                <a:gd name="connsiteX110" fmla="*/ 616001 w 1033465"/>
                <a:gd name="connsiteY110" fmla="*/ 286712 h 838042"/>
                <a:gd name="connsiteX111" fmla="*/ 564857 w 1033465"/>
                <a:gd name="connsiteY111" fmla="*/ 287389 h 838042"/>
                <a:gd name="connsiteX112" fmla="*/ 530567 w 1033465"/>
                <a:gd name="connsiteY112" fmla="*/ 274054 h 838042"/>
                <a:gd name="connsiteX113" fmla="*/ 507707 w 1033465"/>
                <a:gd name="connsiteY113" fmla="*/ 235954 h 838042"/>
                <a:gd name="connsiteX114" fmla="*/ 509612 w 1033465"/>
                <a:gd name="connsiteY114" fmla="*/ 171184 h 838042"/>
                <a:gd name="connsiteX115" fmla="*/ 508314 w 1033465"/>
                <a:gd name="connsiteY115" fmla="*/ 73485 h 838042"/>
                <a:gd name="connsiteX116" fmla="*/ 454116 w 1033465"/>
                <a:gd name="connsiteY116" fmla="*/ 11248 h 838042"/>
                <a:gd name="connsiteX117" fmla="*/ 442470 w 1033465"/>
                <a:gd name="connsiteY117" fmla="*/ 75864 h 838042"/>
                <a:gd name="connsiteX118" fmla="*/ 439226 w 1033465"/>
                <a:gd name="connsiteY118" fmla="*/ 132660 h 838042"/>
                <a:gd name="connsiteX119" fmla="*/ 436054 w 1033465"/>
                <a:gd name="connsiteY119"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38137 w 1033465"/>
                <a:gd name="connsiteY18" fmla="*/ 296914 h 838042"/>
                <a:gd name="connsiteX19" fmla="*/ 168617 w 1033465"/>
                <a:gd name="connsiteY19" fmla="*/ 302629 h 838042"/>
                <a:gd name="connsiteX20" fmla="*/ 193382 w 1033465"/>
                <a:gd name="connsiteY20" fmla="*/ 308344 h 838042"/>
                <a:gd name="connsiteX21" fmla="*/ 210527 w 1033465"/>
                <a:gd name="connsiteY21" fmla="*/ 314059 h 838042"/>
                <a:gd name="connsiteX22" fmla="*/ 216242 w 1033465"/>
                <a:gd name="connsiteY22" fmla="*/ 315964 h 838042"/>
                <a:gd name="connsiteX23" fmla="*/ 231482 w 1033465"/>
                <a:gd name="connsiteY23" fmla="*/ 319774 h 838042"/>
                <a:gd name="connsiteX24" fmla="*/ 250532 w 1033465"/>
                <a:gd name="connsiteY24" fmla="*/ 325489 h 838042"/>
                <a:gd name="connsiteX25" fmla="*/ 256247 w 1033465"/>
                <a:gd name="connsiteY25" fmla="*/ 329299 h 838042"/>
                <a:gd name="connsiteX26" fmla="*/ 269582 w 1033465"/>
                <a:gd name="connsiteY26" fmla="*/ 344539 h 838042"/>
                <a:gd name="connsiteX27" fmla="*/ 275297 w 1033465"/>
                <a:gd name="connsiteY27" fmla="*/ 363589 h 838042"/>
                <a:gd name="connsiteX28" fmla="*/ 277202 w 1033465"/>
                <a:gd name="connsiteY28" fmla="*/ 369304 h 838042"/>
                <a:gd name="connsiteX29" fmla="*/ 279107 w 1033465"/>
                <a:gd name="connsiteY29" fmla="*/ 375019 h 838042"/>
                <a:gd name="connsiteX30" fmla="*/ 281012 w 1033465"/>
                <a:gd name="connsiteY30" fmla="*/ 399784 h 838042"/>
                <a:gd name="connsiteX31" fmla="*/ 282917 w 1033465"/>
                <a:gd name="connsiteY31" fmla="*/ 405499 h 838042"/>
                <a:gd name="connsiteX32" fmla="*/ 281012 w 1033465"/>
                <a:gd name="connsiteY32" fmla="*/ 424549 h 838042"/>
                <a:gd name="connsiteX33" fmla="*/ 279107 w 1033465"/>
                <a:gd name="connsiteY33" fmla="*/ 434074 h 838042"/>
                <a:gd name="connsiteX34" fmla="*/ 265772 w 1033465"/>
                <a:gd name="connsiteY34" fmla="*/ 447409 h 838042"/>
                <a:gd name="connsiteX35" fmla="*/ 254342 w 1033465"/>
                <a:gd name="connsiteY35" fmla="*/ 455029 h 838042"/>
                <a:gd name="connsiteX36" fmla="*/ 242912 w 1033465"/>
                <a:gd name="connsiteY36" fmla="*/ 458839 h 838042"/>
                <a:gd name="connsiteX37" fmla="*/ 128612 w 1033465"/>
                <a:gd name="connsiteY37" fmla="*/ 458839 h 838042"/>
                <a:gd name="connsiteX38" fmla="*/ 122897 w 1033465"/>
                <a:gd name="connsiteY38" fmla="*/ 460744 h 838042"/>
                <a:gd name="connsiteX39" fmla="*/ 107657 w 1033465"/>
                <a:gd name="connsiteY39" fmla="*/ 462649 h 838042"/>
                <a:gd name="connsiteX40" fmla="*/ 90512 w 1033465"/>
                <a:gd name="connsiteY40" fmla="*/ 468364 h 838042"/>
                <a:gd name="connsiteX41" fmla="*/ 84797 w 1033465"/>
                <a:gd name="connsiteY41" fmla="*/ 470269 h 838042"/>
                <a:gd name="connsiteX42" fmla="*/ 79082 w 1033465"/>
                <a:gd name="connsiteY42" fmla="*/ 474079 h 838042"/>
                <a:gd name="connsiteX43" fmla="*/ 67652 w 1033465"/>
                <a:gd name="connsiteY43" fmla="*/ 475984 h 838042"/>
                <a:gd name="connsiteX44" fmla="*/ 29552 w 1033465"/>
                <a:gd name="connsiteY44" fmla="*/ 477889 h 838042"/>
                <a:gd name="connsiteX45" fmla="*/ 18122 w 1033465"/>
                <a:gd name="connsiteY45" fmla="*/ 483604 h 838042"/>
                <a:gd name="connsiteX46" fmla="*/ 8597 w 1033465"/>
                <a:gd name="connsiteY46" fmla="*/ 493129 h 838042"/>
                <a:gd name="connsiteX47" fmla="*/ 6692 w 1033465"/>
                <a:gd name="connsiteY47" fmla="*/ 498844 h 838042"/>
                <a:gd name="connsiteX48" fmla="*/ 2882 w 1033465"/>
                <a:gd name="connsiteY48" fmla="*/ 504559 h 838042"/>
                <a:gd name="connsiteX49" fmla="*/ 14312 w 1033465"/>
                <a:gd name="connsiteY49" fmla="*/ 540754 h 838042"/>
                <a:gd name="connsiteX50" fmla="*/ 147662 w 1033465"/>
                <a:gd name="connsiteY50" fmla="*/ 540754 h 838042"/>
                <a:gd name="connsiteX51" fmla="*/ 155282 w 1033465"/>
                <a:gd name="connsiteY51" fmla="*/ 538849 h 838042"/>
                <a:gd name="connsiteX52" fmla="*/ 305777 w 1033465"/>
                <a:gd name="connsiteY52" fmla="*/ 533134 h 838042"/>
                <a:gd name="connsiteX53" fmla="*/ 321017 w 1033465"/>
                <a:gd name="connsiteY53" fmla="*/ 540754 h 838042"/>
                <a:gd name="connsiteX54" fmla="*/ 332447 w 1033465"/>
                <a:gd name="connsiteY54" fmla="*/ 546469 h 838042"/>
                <a:gd name="connsiteX55" fmla="*/ 336257 w 1033465"/>
                <a:gd name="connsiteY55" fmla="*/ 552184 h 838042"/>
                <a:gd name="connsiteX56" fmla="*/ 341972 w 1033465"/>
                <a:gd name="connsiteY56" fmla="*/ 554089 h 838042"/>
                <a:gd name="connsiteX57" fmla="*/ 353402 w 1033465"/>
                <a:gd name="connsiteY57" fmla="*/ 561709 h 838042"/>
                <a:gd name="connsiteX58" fmla="*/ 359117 w 1033465"/>
                <a:gd name="connsiteY58" fmla="*/ 565519 h 838042"/>
                <a:gd name="connsiteX59" fmla="*/ 362927 w 1033465"/>
                <a:gd name="connsiteY59" fmla="*/ 571234 h 838042"/>
                <a:gd name="connsiteX60" fmla="*/ 368642 w 1033465"/>
                <a:gd name="connsiteY60" fmla="*/ 582664 h 838042"/>
                <a:gd name="connsiteX61" fmla="*/ 364832 w 1033465"/>
                <a:gd name="connsiteY61" fmla="*/ 609334 h 838042"/>
                <a:gd name="connsiteX62" fmla="*/ 361022 w 1033465"/>
                <a:gd name="connsiteY62" fmla="*/ 615049 h 838042"/>
                <a:gd name="connsiteX63" fmla="*/ 359117 w 1033465"/>
                <a:gd name="connsiteY63" fmla="*/ 620764 h 838042"/>
                <a:gd name="connsiteX64" fmla="*/ 355307 w 1033465"/>
                <a:gd name="connsiteY64" fmla="*/ 626479 h 838042"/>
                <a:gd name="connsiteX65" fmla="*/ 353402 w 1033465"/>
                <a:gd name="connsiteY65" fmla="*/ 632194 h 838042"/>
                <a:gd name="connsiteX66" fmla="*/ 349592 w 1033465"/>
                <a:gd name="connsiteY66" fmla="*/ 637909 h 838042"/>
                <a:gd name="connsiteX67" fmla="*/ 332447 w 1033465"/>
                <a:gd name="connsiteY67" fmla="*/ 704584 h 838042"/>
                <a:gd name="connsiteX68" fmla="*/ 330542 w 1033465"/>
                <a:gd name="connsiteY68" fmla="*/ 756019 h 838042"/>
                <a:gd name="connsiteX69" fmla="*/ 332447 w 1033465"/>
                <a:gd name="connsiteY69" fmla="*/ 780784 h 838042"/>
                <a:gd name="connsiteX70" fmla="*/ 334352 w 1033465"/>
                <a:gd name="connsiteY70" fmla="*/ 786499 h 838042"/>
                <a:gd name="connsiteX71" fmla="*/ 338162 w 1033465"/>
                <a:gd name="connsiteY71" fmla="*/ 790309 h 838042"/>
                <a:gd name="connsiteX72" fmla="*/ 366737 w 1033465"/>
                <a:gd name="connsiteY72" fmla="*/ 836029 h 838042"/>
                <a:gd name="connsiteX73" fmla="*/ 389597 w 1033465"/>
                <a:gd name="connsiteY73" fmla="*/ 837934 h 838042"/>
                <a:gd name="connsiteX74" fmla="*/ 397407 w 1033465"/>
                <a:gd name="connsiteY74" fmla="*/ 833530 h 838042"/>
                <a:gd name="connsiteX75" fmla="*/ 402932 w 1033465"/>
                <a:gd name="connsiteY75" fmla="*/ 784594 h 838042"/>
                <a:gd name="connsiteX76" fmla="*/ 406742 w 1033465"/>
                <a:gd name="connsiteY76" fmla="*/ 727444 h 838042"/>
                <a:gd name="connsiteX77" fmla="*/ 423887 w 1033465"/>
                <a:gd name="connsiteY77" fmla="*/ 672199 h 838042"/>
                <a:gd name="connsiteX78" fmla="*/ 429602 w 1033465"/>
                <a:gd name="connsiteY78" fmla="*/ 658864 h 838042"/>
                <a:gd name="connsiteX79" fmla="*/ 444084 w 1033465"/>
                <a:gd name="connsiteY79" fmla="*/ 626947 h 838042"/>
                <a:gd name="connsiteX80" fmla="*/ 464289 w 1033465"/>
                <a:gd name="connsiteY80" fmla="*/ 600072 h 838042"/>
                <a:gd name="connsiteX81" fmla="*/ 523510 w 1033465"/>
                <a:gd name="connsiteY81" fmla="*/ 565123 h 838042"/>
                <a:gd name="connsiteX82" fmla="*/ 599348 w 1033465"/>
                <a:gd name="connsiteY82" fmla="*/ 550915 h 838042"/>
                <a:gd name="connsiteX83" fmla="*/ 707801 w 1033465"/>
                <a:gd name="connsiteY83" fmla="*/ 612819 h 838042"/>
                <a:gd name="connsiteX84" fmla="*/ 780122 w 1033465"/>
                <a:gd name="connsiteY84" fmla="*/ 656959 h 838042"/>
                <a:gd name="connsiteX85" fmla="*/ 804887 w 1033465"/>
                <a:gd name="connsiteY85" fmla="*/ 632194 h 838042"/>
                <a:gd name="connsiteX86" fmla="*/ 801077 w 1033465"/>
                <a:gd name="connsiteY86" fmla="*/ 601714 h 838042"/>
                <a:gd name="connsiteX87" fmla="*/ 762796 w 1033465"/>
                <a:gd name="connsiteY87" fmla="*/ 562523 h 838042"/>
                <a:gd name="connsiteX88" fmla="*/ 650582 w 1033465"/>
                <a:gd name="connsiteY88" fmla="*/ 479794 h 838042"/>
                <a:gd name="connsiteX89" fmla="*/ 646772 w 1033465"/>
                <a:gd name="connsiteY89" fmla="*/ 462649 h 838042"/>
                <a:gd name="connsiteX90" fmla="*/ 658202 w 1033465"/>
                <a:gd name="connsiteY90" fmla="*/ 426454 h 838042"/>
                <a:gd name="connsiteX91" fmla="*/ 726782 w 1033465"/>
                <a:gd name="connsiteY91" fmla="*/ 405499 h 838042"/>
                <a:gd name="connsiteX92" fmla="*/ 813738 w 1033465"/>
                <a:gd name="connsiteY92" fmla="*/ 406906 h 838042"/>
                <a:gd name="connsiteX93" fmla="*/ 906231 w 1033465"/>
                <a:gd name="connsiteY93" fmla="*/ 417646 h 838042"/>
                <a:gd name="connsiteX94" fmla="*/ 1002290 w 1033465"/>
                <a:gd name="connsiteY94" fmla="*/ 426835 h 838042"/>
                <a:gd name="connsiteX95" fmla="*/ 1032449 w 1033465"/>
                <a:gd name="connsiteY95" fmla="*/ 402711 h 838042"/>
                <a:gd name="connsiteX96" fmla="*/ 1020514 w 1033465"/>
                <a:gd name="connsiteY96" fmla="*/ 377797 h 838042"/>
                <a:gd name="connsiteX97" fmla="*/ 964889 w 1033465"/>
                <a:gd name="connsiteY97" fmla="*/ 358029 h 838042"/>
                <a:gd name="connsiteX98" fmla="*/ 827747 w 1033465"/>
                <a:gd name="connsiteY98" fmla="*/ 357874 h 838042"/>
                <a:gd name="connsiteX99" fmla="*/ 755811 w 1033465"/>
                <a:gd name="connsiteY99" fmla="*/ 361702 h 838042"/>
                <a:gd name="connsiteX100" fmla="*/ 671537 w 1033465"/>
                <a:gd name="connsiteY100" fmla="*/ 369304 h 838042"/>
                <a:gd name="connsiteX101" fmla="*/ 644867 w 1033465"/>
                <a:gd name="connsiteY101" fmla="*/ 338824 h 838042"/>
                <a:gd name="connsiteX102" fmla="*/ 676403 w 1033465"/>
                <a:gd name="connsiteY102" fmla="*/ 304962 h 838042"/>
                <a:gd name="connsiteX103" fmla="*/ 707732 w 1033465"/>
                <a:gd name="connsiteY103" fmla="*/ 283579 h 838042"/>
                <a:gd name="connsiteX104" fmla="*/ 743927 w 1033465"/>
                <a:gd name="connsiteY104" fmla="*/ 251194 h 838042"/>
                <a:gd name="connsiteX105" fmla="*/ 783019 w 1033465"/>
                <a:gd name="connsiteY105" fmla="*/ 213846 h 838042"/>
                <a:gd name="connsiteX106" fmla="*/ 746401 w 1033465"/>
                <a:gd name="connsiteY106" fmla="*/ 201789 h 838042"/>
                <a:gd name="connsiteX107" fmla="*/ 694397 w 1033465"/>
                <a:gd name="connsiteY107" fmla="*/ 226429 h 838042"/>
                <a:gd name="connsiteX108" fmla="*/ 656678 w 1033465"/>
                <a:gd name="connsiteY108" fmla="*/ 257626 h 838042"/>
                <a:gd name="connsiteX109" fmla="*/ 616001 w 1033465"/>
                <a:gd name="connsiteY109" fmla="*/ 286712 h 838042"/>
                <a:gd name="connsiteX110" fmla="*/ 564857 w 1033465"/>
                <a:gd name="connsiteY110" fmla="*/ 287389 h 838042"/>
                <a:gd name="connsiteX111" fmla="*/ 530567 w 1033465"/>
                <a:gd name="connsiteY111" fmla="*/ 274054 h 838042"/>
                <a:gd name="connsiteX112" fmla="*/ 507707 w 1033465"/>
                <a:gd name="connsiteY112" fmla="*/ 235954 h 838042"/>
                <a:gd name="connsiteX113" fmla="*/ 509612 w 1033465"/>
                <a:gd name="connsiteY113" fmla="*/ 171184 h 838042"/>
                <a:gd name="connsiteX114" fmla="*/ 508314 w 1033465"/>
                <a:gd name="connsiteY114" fmla="*/ 73485 h 838042"/>
                <a:gd name="connsiteX115" fmla="*/ 454116 w 1033465"/>
                <a:gd name="connsiteY115" fmla="*/ 11248 h 838042"/>
                <a:gd name="connsiteX116" fmla="*/ 442470 w 1033465"/>
                <a:gd name="connsiteY116" fmla="*/ 75864 h 838042"/>
                <a:gd name="connsiteX117" fmla="*/ 439226 w 1033465"/>
                <a:gd name="connsiteY117" fmla="*/ 132660 h 838042"/>
                <a:gd name="connsiteX118" fmla="*/ 436054 w 1033465"/>
                <a:gd name="connsiteY118"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38137 w 1033465"/>
                <a:gd name="connsiteY18" fmla="*/ 296914 h 838042"/>
                <a:gd name="connsiteX19" fmla="*/ 193382 w 1033465"/>
                <a:gd name="connsiteY19" fmla="*/ 308344 h 838042"/>
                <a:gd name="connsiteX20" fmla="*/ 210527 w 1033465"/>
                <a:gd name="connsiteY20" fmla="*/ 314059 h 838042"/>
                <a:gd name="connsiteX21" fmla="*/ 216242 w 1033465"/>
                <a:gd name="connsiteY21" fmla="*/ 315964 h 838042"/>
                <a:gd name="connsiteX22" fmla="*/ 231482 w 1033465"/>
                <a:gd name="connsiteY22" fmla="*/ 319774 h 838042"/>
                <a:gd name="connsiteX23" fmla="*/ 250532 w 1033465"/>
                <a:gd name="connsiteY23" fmla="*/ 325489 h 838042"/>
                <a:gd name="connsiteX24" fmla="*/ 256247 w 1033465"/>
                <a:gd name="connsiteY24" fmla="*/ 329299 h 838042"/>
                <a:gd name="connsiteX25" fmla="*/ 269582 w 1033465"/>
                <a:gd name="connsiteY25" fmla="*/ 344539 h 838042"/>
                <a:gd name="connsiteX26" fmla="*/ 275297 w 1033465"/>
                <a:gd name="connsiteY26" fmla="*/ 363589 h 838042"/>
                <a:gd name="connsiteX27" fmla="*/ 277202 w 1033465"/>
                <a:gd name="connsiteY27" fmla="*/ 369304 h 838042"/>
                <a:gd name="connsiteX28" fmla="*/ 279107 w 1033465"/>
                <a:gd name="connsiteY28" fmla="*/ 375019 h 838042"/>
                <a:gd name="connsiteX29" fmla="*/ 281012 w 1033465"/>
                <a:gd name="connsiteY29" fmla="*/ 399784 h 838042"/>
                <a:gd name="connsiteX30" fmla="*/ 282917 w 1033465"/>
                <a:gd name="connsiteY30" fmla="*/ 405499 h 838042"/>
                <a:gd name="connsiteX31" fmla="*/ 281012 w 1033465"/>
                <a:gd name="connsiteY31" fmla="*/ 424549 h 838042"/>
                <a:gd name="connsiteX32" fmla="*/ 279107 w 1033465"/>
                <a:gd name="connsiteY32" fmla="*/ 434074 h 838042"/>
                <a:gd name="connsiteX33" fmla="*/ 265772 w 1033465"/>
                <a:gd name="connsiteY33" fmla="*/ 447409 h 838042"/>
                <a:gd name="connsiteX34" fmla="*/ 254342 w 1033465"/>
                <a:gd name="connsiteY34" fmla="*/ 455029 h 838042"/>
                <a:gd name="connsiteX35" fmla="*/ 242912 w 1033465"/>
                <a:gd name="connsiteY35" fmla="*/ 458839 h 838042"/>
                <a:gd name="connsiteX36" fmla="*/ 128612 w 1033465"/>
                <a:gd name="connsiteY36" fmla="*/ 458839 h 838042"/>
                <a:gd name="connsiteX37" fmla="*/ 122897 w 1033465"/>
                <a:gd name="connsiteY37" fmla="*/ 460744 h 838042"/>
                <a:gd name="connsiteX38" fmla="*/ 107657 w 1033465"/>
                <a:gd name="connsiteY38" fmla="*/ 462649 h 838042"/>
                <a:gd name="connsiteX39" fmla="*/ 90512 w 1033465"/>
                <a:gd name="connsiteY39" fmla="*/ 468364 h 838042"/>
                <a:gd name="connsiteX40" fmla="*/ 84797 w 1033465"/>
                <a:gd name="connsiteY40" fmla="*/ 470269 h 838042"/>
                <a:gd name="connsiteX41" fmla="*/ 79082 w 1033465"/>
                <a:gd name="connsiteY41" fmla="*/ 474079 h 838042"/>
                <a:gd name="connsiteX42" fmla="*/ 67652 w 1033465"/>
                <a:gd name="connsiteY42" fmla="*/ 475984 h 838042"/>
                <a:gd name="connsiteX43" fmla="*/ 29552 w 1033465"/>
                <a:gd name="connsiteY43" fmla="*/ 477889 h 838042"/>
                <a:gd name="connsiteX44" fmla="*/ 18122 w 1033465"/>
                <a:gd name="connsiteY44" fmla="*/ 483604 h 838042"/>
                <a:gd name="connsiteX45" fmla="*/ 8597 w 1033465"/>
                <a:gd name="connsiteY45" fmla="*/ 493129 h 838042"/>
                <a:gd name="connsiteX46" fmla="*/ 6692 w 1033465"/>
                <a:gd name="connsiteY46" fmla="*/ 498844 h 838042"/>
                <a:gd name="connsiteX47" fmla="*/ 2882 w 1033465"/>
                <a:gd name="connsiteY47" fmla="*/ 504559 h 838042"/>
                <a:gd name="connsiteX48" fmla="*/ 14312 w 1033465"/>
                <a:gd name="connsiteY48" fmla="*/ 540754 h 838042"/>
                <a:gd name="connsiteX49" fmla="*/ 147662 w 1033465"/>
                <a:gd name="connsiteY49" fmla="*/ 540754 h 838042"/>
                <a:gd name="connsiteX50" fmla="*/ 155282 w 1033465"/>
                <a:gd name="connsiteY50" fmla="*/ 538849 h 838042"/>
                <a:gd name="connsiteX51" fmla="*/ 305777 w 1033465"/>
                <a:gd name="connsiteY51" fmla="*/ 533134 h 838042"/>
                <a:gd name="connsiteX52" fmla="*/ 321017 w 1033465"/>
                <a:gd name="connsiteY52" fmla="*/ 540754 h 838042"/>
                <a:gd name="connsiteX53" fmla="*/ 332447 w 1033465"/>
                <a:gd name="connsiteY53" fmla="*/ 546469 h 838042"/>
                <a:gd name="connsiteX54" fmla="*/ 336257 w 1033465"/>
                <a:gd name="connsiteY54" fmla="*/ 552184 h 838042"/>
                <a:gd name="connsiteX55" fmla="*/ 341972 w 1033465"/>
                <a:gd name="connsiteY55" fmla="*/ 554089 h 838042"/>
                <a:gd name="connsiteX56" fmla="*/ 353402 w 1033465"/>
                <a:gd name="connsiteY56" fmla="*/ 561709 h 838042"/>
                <a:gd name="connsiteX57" fmla="*/ 359117 w 1033465"/>
                <a:gd name="connsiteY57" fmla="*/ 565519 h 838042"/>
                <a:gd name="connsiteX58" fmla="*/ 362927 w 1033465"/>
                <a:gd name="connsiteY58" fmla="*/ 571234 h 838042"/>
                <a:gd name="connsiteX59" fmla="*/ 368642 w 1033465"/>
                <a:gd name="connsiteY59" fmla="*/ 582664 h 838042"/>
                <a:gd name="connsiteX60" fmla="*/ 364832 w 1033465"/>
                <a:gd name="connsiteY60" fmla="*/ 609334 h 838042"/>
                <a:gd name="connsiteX61" fmla="*/ 361022 w 1033465"/>
                <a:gd name="connsiteY61" fmla="*/ 615049 h 838042"/>
                <a:gd name="connsiteX62" fmla="*/ 359117 w 1033465"/>
                <a:gd name="connsiteY62" fmla="*/ 620764 h 838042"/>
                <a:gd name="connsiteX63" fmla="*/ 355307 w 1033465"/>
                <a:gd name="connsiteY63" fmla="*/ 626479 h 838042"/>
                <a:gd name="connsiteX64" fmla="*/ 353402 w 1033465"/>
                <a:gd name="connsiteY64" fmla="*/ 632194 h 838042"/>
                <a:gd name="connsiteX65" fmla="*/ 349592 w 1033465"/>
                <a:gd name="connsiteY65" fmla="*/ 637909 h 838042"/>
                <a:gd name="connsiteX66" fmla="*/ 332447 w 1033465"/>
                <a:gd name="connsiteY66" fmla="*/ 704584 h 838042"/>
                <a:gd name="connsiteX67" fmla="*/ 330542 w 1033465"/>
                <a:gd name="connsiteY67" fmla="*/ 756019 h 838042"/>
                <a:gd name="connsiteX68" fmla="*/ 332447 w 1033465"/>
                <a:gd name="connsiteY68" fmla="*/ 780784 h 838042"/>
                <a:gd name="connsiteX69" fmla="*/ 334352 w 1033465"/>
                <a:gd name="connsiteY69" fmla="*/ 786499 h 838042"/>
                <a:gd name="connsiteX70" fmla="*/ 338162 w 1033465"/>
                <a:gd name="connsiteY70" fmla="*/ 790309 h 838042"/>
                <a:gd name="connsiteX71" fmla="*/ 366737 w 1033465"/>
                <a:gd name="connsiteY71" fmla="*/ 836029 h 838042"/>
                <a:gd name="connsiteX72" fmla="*/ 389597 w 1033465"/>
                <a:gd name="connsiteY72" fmla="*/ 837934 h 838042"/>
                <a:gd name="connsiteX73" fmla="*/ 397407 w 1033465"/>
                <a:gd name="connsiteY73" fmla="*/ 833530 h 838042"/>
                <a:gd name="connsiteX74" fmla="*/ 402932 w 1033465"/>
                <a:gd name="connsiteY74" fmla="*/ 784594 h 838042"/>
                <a:gd name="connsiteX75" fmla="*/ 406742 w 1033465"/>
                <a:gd name="connsiteY75" fmla="*/ 727444 h 838042"/>
                <a:gd name="connsiteX76" fmla="*/ 423887 w 1033465"/>
                <a:gd name="connsiteY76" fmla="*/ 672199 h 838042"/>
                <a:gd name="connsiteX77" fmla="*/ 429602 w 1033465"/>
                <a:gd name="connsiteY77" fmla="*/ 658864 h 838042"/>
                <a:gd name="connsiteX78" fmla="*/ 444084 w 1033465"/>
                <a:gd name="connsiteY78" fmla="*/ 626947 h 838042"/>
                <a:gd name="connsiteX79" fmla="*/ 464289 w 1033465"/>
                <a:gd name="connsiteY79" fmla="*/ 600072 h 838042"/>
                <a:gd name="connsiteX80" fmla="*/ 523510 w 1033465"/>
                <a:gd name="connsiteY80" fmla="*/ 565123 h 838042"/>
                <a:gd name="connsiteX81" fmla="*/ 599348 w 1033465"/>
                <a:gd name="connsiteY81" fmla="*/ 550915 h 838042"/>
                <a:gd name="connsiteX82" fmla="*/ 707801 w 1033465"/>
                <a:gd name="connsiteY82" fmla="*/ 612819 h 838042"/>
                <a:gd name="connsiteX83" fmla="*/ 780122 w 1033465"/>
                <a:gd name="connsiteY83" fmla="*/ 656959 h 838042"/>
                <a:gd name="connsiteX84" fmla="*/ 804887 w 1033465"/>
                <a:gd name="connsiteY84" fmla="*/ 632194 h 838042"/>
                <a:gd name="connsiteX85" fmla="*/ 801077 w 1033465"/>
                <a:gd name="connsiteY85" fmla="*/ 601714 h 838042"/>
                <a:gd name="connsiteX86" fmla="*/ 762796 w 1033465"/>
                <a:gd name="connsiteY86" fmla="*/ 562523 h 838042"/>
                <a:gd name="connsiteX87" fmla="*/ 650582 w 1033465"/>
                <a:gd name="connsiteY87" fmla="*/ 479794 h 838042"/>
                <a:gd name="connsiteX88" fmla="*/ 646772 w 1033465"/>
                <a:gd name="connsiteY88" fmla="*/ 462649 h 838042"/>
                <a:gd name="connsiteX89" fmla="*/ 658202 w 1033465"/>
                <a:gd name="connsiteY89" fmla="*/ 426454 h 838042"/>
                <a:gd name="connsiteX90" fmla="*/ 726782 w 1033465"/>
                <a:gd name="connsiteY90" fmla="*/ 405499 h 838042"/>
                <a:gd name="connsiteX91" fmla="*/ 813738 w 1033465"/>
                <a:gd name="connsiteY91" fmla="*/ 406906 h 838042"/>
                <a:gd name="connsiteX92" fmla="*/ 906231 w 1033465"/>
                <a:gd name="connsiteY92" fmla="*/ 417646 h 838042"/>
                <a:gd name="connsiteX93" fmla="*/ 1002290 w 1033465"/>
                <a:gd name="connsiteY93" fmla="*/ 426835 h 838042"/>
                <a:gd name="connsiteX94" fmla="*/ 1032449 w 1033465"/>
                <a:gd name="connsiteY94" fmla="*/ 402711 h 838042"/>
                <a:gd name="connsiteX95" fmla="*/ 1020514 w 1033465"/>
                <a:gd name="connsiteY95" fmla="*/ 377797 h 838042"/>
                <a:gd name="connsiteX96" fmla="*/ 964889 w 1033465"/>
                <a:gd name="connsiteY96" fmla="*/ 358029 h 838042"/>
                <a:gd name="connsiteX97" fmla="*/ 827747 w 1033465"/>
                <a:gd name="connsiteY97" fmla="*/ 357874 h 838042"/>
                <a:gd name="connsiteX98" fmla="*/ 755811 w 1033465"/>
                <a:gd name="connsiteY98" fmla="*/ 361702 h 838042"/>
                <a:gd name="connsiteX99" fmla="*/ 671537 w 1033465"/>
                <a:gd name="connsiteY99" fmla="*/ 369304 h 838042"/>
                <a:gd name="connsiteX100" fmla="*/ 644867 w 1033465"/>
                <a:gd name="connsiteY100" fmla="*/ 338824 h 838042"/>
                <a:gd name="connsiteX101" fmla="*/ 676403 w 1033465"/>
                <a:gd name="connsiteY101" fmla="*/ 304962 h 838042"/>
                <a:gd name="connsiteX102" fmla="*/ 707732 w 1033465"/>
                <a:gd name="connsiteY102" fmla="*/ 283579 h 838042"/>
                <a:gd name="connsiteX103" fmla="*/ 743927 w 1033465"/>
                <a:gd name="connsiteY103" fmla="*/ 251194 h 838042"/>
                <a:gd name="connsiteX104" fmla="*/ 783019 w 1033465"/>
                <a:gd name="connsiteY104" fmla="*/ 213846 h 838042"/>
                <a:gd name="connsiteX105" fmla="*/ 746401 w 1033465"/>
                <a:gd name="connsiteY105" fmla="*/ 201789 h 838042"/>
                <a:gd name="connsiteX106" fmla="*/ 694397 w 1033465"/>
                <a:gd name="connsiteY106" fmla="*/ 226429 h 838042"/>
                <a:gd name="connsiteX107" fmla="*/ 656678 w 1033465"/>
                <a:gd name="connsiteY107" fmla="*/ 257626 h 838042"/>
                <a:gd name="connsiteX108" fmla="*/ 616001 w 1033465"/>
                <a:gd name="connsiteY108" fmla="*/ 286712 h 838042"/>
                <a:gd name="connsiteX109" fmla="*/ 564857 w 1033465"/>
                <a:gd name="connsiteY109" fmla="*/ 287389 h 838042"/>
                <a:gd name="connsiteX110" fmla="*/ 530567 w 1033465"/>
                <a:gd name="connsiteY110" fmla="*/ 274054 h 838042"/>
                <a:gd name="connsiteX111" fmla="*/ 507707 w 1033465"/>
                <a:gd name="connsiteY111" fmla="*/ 235954 h 838042"/>
                <a:gd name="connsiteX112" fmla="*/ 509612 w 1033465"/>
                <a:gd name="connsiteY112" fmla="*/ 171184 h 838042"/>
                <a:gd name="connsiteX113" fmla="*/ 508314 w 1033465"/>
                <a:gd name="connsiteY113" fmla="*/ 73485 h 838042"/>
                <a:gd name="connsiteX114" fmla="*/ 454116 w 1033465"/>
                <a:gd name="connsiteY114" fmla="*/ 11248 h 838042"/>
                <a:gd name="connsiteX115" fmla="*/ 442470 w 1033465"/>
                <a:gd name="connsiteY115" fmla="*/ 75864 h 838042"/>
                <a:gd name="connsiteX116" fmla="*/ 439226 w 1033465"/>
                <a:gd name="connsiteY116" fmla="*/ 132660 h 838042"/>
                <a:gd name="connsiteX117" fmla="*/ 436054 w 1033465"/>
                <a:gd name="connsiteY11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31482 w 1033465"/>
                <a:gd name="connsiteY21" fmla="*/ 319774 h 838042"/>
                <a:gd name="connsiteX22" fmla="*/ 250532 w 1033465"/>
                <a:gd name="connsiteY22" fmla="*/ 325489 h 838042"/>
                <a:gd name="connsiteX23" fmla="*/ 256247 w 1033465"/>
                <a:gd name="connsiteY23" fmla="*/ 329299 h 838042"/>
                <a:gd name="connsiteX24" fmla="*/ 269582 w 1033465"/>
                <a:gd name="connsiteY24" fmla="*/ 344539 h 838042"/>
                <a:gd name="connsiteX25" fmla="*/ 275297 w 1033465"/>
                <a:gd name="connsiteY25" fmla="*/ 363589 h 838042"/>
                <a:gd name="connsiteX26" fmla="*/ 277202 w 1033465"/>
                <a:gd name="connsiteY26" fmla="*/ 369304 h 838042"/>
                <a:gd name="connsiteX27" fmla="*/ 279107 w 1033465"/>
                <a:gd name="connsiteY27" fmla="*/ 375019 h 838042"/>
                <a:gd name="connsiteX28" fmla="*/ 281012 w 1033465"/>
                <a:gd name="connsiteY28" fmla="*/ 399784 h 838042"/>
                <a:gd name="connsiteX29" fmla="*/ 282917 w 1033465"/>
                <a:gd name="connsiteY29" fmla="*/ 405499 h 838042"/>
                <a:gd name="connsiteX30" fmla="*/ 281012 w 1033465"/>
                <a:gd name="connsiteY30" fmla="*/ 424549 h 838042"/>
                <a:gd name="connsiteX31" fmla="*/ 279107 w 1033465"/>
                <a:gd name="connsiteY31" fmla="*/ 434074 h 838042"/>
                <a:gd name="connsiteX32" fmla="*/ 265772 w 1033465"/>
                <a:gd name="connsiteY32" fmla="*/ 447409 h 838042"/>
                <a:gd name="connsiteX33" fmla="*/ 254342 w 1033465"/>
                <a:gd name="connsiteY33" fmla="*/ 455029 h 838042"/>
                <a:gd name="connsiteX34" fmla="*/ 242912 w 1033465"/>
                <a:gd name="connsiteY34" fmla="*/ 458839 h 838042"/>
                <a:gd name="connsiteX35" fmla="*/ 128612 w 1033465"/>
                <a:gd name="connsiteY35" fmla="*/ 458839 h 838042"/>
                <a:gd name="connsiteX36" fmla="*/ 122897 w 1033465"/>
                <a:gd name="connsiteY36" fmla="*/ 460744 h 838042"/>
                <a:gd name="connsiteX37" fmla="*/ 107657 w 1033465"/>
                <a:gd name="connsiteY37" fmla="*/ 462649 h 838042"/>
                <a:gd name="connsiteX38" fmla="*/ 90512 w 1033465"/>
                <a:gd name="connsiteY38" fmla="*/ 468364 h 838042"/>
                <a:gd name="connsiteX39" fmla="*/ 84797 w 1033465"/>
                <a:gd name="connsiteY39" fmla="*/ 470269 h 838042"/>
                <a:gd name="connsiteX40" fmla="*/ 79082 w 1033465"/>
                <a:gd name="connsiteY40" fmla="*/ 474079 h 838042"/>
                <a:gd name="connsiteX41" fmla="*/ 67652 w 1033465"/>
                <a:gd name="connsiteY41" fmla="*/ 475984 h 838042"/>
                <a:gd name="connsiteX42" fmla="*/ 29552 w 1033465"/>
                <a:gd name="connsiteY42" fmla="*/ 477889 h 838042"/>
                <a:gd name="connsiteX43" fmla="*/ 18122 w 1033465"/>
                <a:gd name="connsiteY43" fmla="*/ 483604 h 838042"/>
                <a:gd name="connsiteX44" fmla="*/ 8597 w 1033465"/>
                <a:gd name="connsiteY44" fmla="*/ 493129 h 838042"/>
                <a:gd name="connsiteX45" fmla="*/ 6692 w 1033465"/>
                <a:gd name="connsiteY45" fmla="*/ 498844 h 838042"/>
                <a:gd name="connsiteX46" fmla="*/ 2882 w 1033465"/>
                <a:gd name="connsiteY46" fmla="*/ 504559 h 838042"/>
                <a:gd name="connsiteX47" fmla="*/ 14312 w 1033465"/>
                <a:gd name="connsiteY47" fmla="*/ 540754 h 838042"/>
                <a:gd name="connsiteX48" fmla="*/ 147662 w 1033465"/>
                <a:gd name="connsiteY48" fmla="*/ 540754 h 838042"/>
                <a:gd name="connsiteX49" fmla="*/ 155282 w 1033465"/>
                <a:gd name="connsiteY49" fmla="*/ 538849 h 838042"/>
                <a:gd name="connsiteX50" fmla="*/ 305777 w 1033465"/>
                <a:gd name="connsiteY50" fmla="*/ 533134 h 838042"/>
                <a:gd name="connsiteX51" fmla="*/ 321017 w 1033465"/>
                <a:gd name="connsiteY51" fmla="*/ 540754 h 838042"/>
                <a:gd name="connsiteX52" fmla="*/ 332447 w 1033465"/>
                <a:gd name="connsiteY52" fmla="*/ 546469 h 838042"/>
                <a:gd name="connsiteX53" fmla="*/ 336257 w 1033465"/>
                <a:gd name="connsiteY53" fmla="*/ 552184 h 838042"/>
                <a:gd name="connsiteX54" fmla="*/ 341972 w 1033465"/>
                <a:gd name="connsiteY54" fmla="*/ 554089 h 838042"/>
                <a:gd name="connsiteX55" fmla="*/ 353402 w 1033465"/>
                <a:gd name="connsiteY55" fmla="*/ 561709 h 838042"/>
                <a:gd name="connsiteX56" fmla="*/ 359117 w 1033465"/>
                <a:gd name="connsiteY56" fmla="*/ 565519 h 838042"/>
                <a:gd name="connsiteX57" fmla="*/ 362927 w 1033465"/>
                <a:gd name="connsiteY57" fmla="*/ 571234 h 838042"/>
                <a:gd name="connsiteX58" fmla="*/ 368642 w 1033465"/>
                <a:gd name="connsiteY58" fmla="*/ 582664 h 838042"/>
                <a:gd name="connsiteX59" fmla="*/ 364832 w 1033465"/>
                <a:gd name="connsiteY59" fmla="*/ 609334 h 838042"/>
                <a:gd name="connsiteX60" fmla="*/ 361022 w 1033465"/>
                <a:gd name="connsiteY60" fmla="*/ 615049 h 838042"/>
                <a:gd name="connsiteX61" fmla="*/ 359117 w 1033465"/>
                <a:gd name="connsiteY61" fmla="*/ 620764 h 838042"/>
                <a:gd name="connsiteX62" fmla="*/ 355307 w 1033465"/>
                <a:gd name="connsiteY62" fmla="*/ 626479 h 838042"/>
                <a:gd name="connsiteX63" fmla="*/ 353402 w 1033465"/>
                <a:gd name="connsiteY63" fmla="*/ 632194 h 838042"/>
                <a:gd name="connsiteX64" fmla="*/ 349592 w 1033465"/>
                <a:gd name="connsiteY64" fmla="*/ 637909 h 838042"/>
                <a:gd name="connsiteX65" fmla="*/ 332447 w 1033465"/>
                <a:gd name="connsiteY65" fmla="*/ 704584 h 838042"/>
                <a:gd name="connsiteX66" fmla="*/ 330542 w 1033465"/>
                <a:gd name="connsiteY66" fmla="*/ 756019 h 838042"/>
                <a:gd name="connsiteX67" fmla="*/ 332447 w 1033465"/>
                <a:gd name="connsiteY67" fmla="*/ 780784 h 838042"/>
                <a:gd name="connsiteX68" fmla="*/ 334352 w 1033465"/>
                <a:gd name="connsiteY68" fmla="*/ 786499 h 838042"/>
                <a:gd name="connsiteX69" fmla="*/ 338162 w 1033465"/>
                <a:gd name="connsiteY69" fmla="*/ 790309 h 838042"/>
                <a:gd name="connsiteX70" fmla="*/ 366737 w 1033465"/>
                <a:gd name="connsiteY70" fmla="*/ 836029 h 838042"/>
                <a:gd name="connsiteX71" fmla="*/ 389597 w 1033465"/>
                <a:gd name="connsiteY71" fmla="*/ 837934 h 838042"/>
                <a:gd name="connsiteX72" fmla="*/ 397407 w 1033465"/>
                <a:gd name="connsiteY72" fmla="*/ 833530 h 838042"/>
                <a:gd name="connsiteX73" fmla="*/ 402932 w 1033465"/>
                <a:gd name="connsiteY73" fmla="*/ 784594 h 838042"/>
                <a:gd name="connsiteX74" fmla="*/ 406742 w 1033465"/>
                <a:gd name="connsiteY74" fmla="*/ 727444 h 838042"/>
                <a:gd name="connsiteX75" fmla="*/ 423887 w 1033465"/>
                <a:gd name="connsiteY75" fmla="*/ 672199 h 838042"/>
                <a:gd name="connsiteX76" fmla="*/ 429602 w 1033465"/>
                <a:gd name="connsiteY76" fmla="*/ 658864 h 838042"/>
                <a:gd name="connsiteX77" fmla="*/ 444084 w 1033465"/>
                <a:gd name="connsiteY77" fmla="*/ 626947 h 838042"/>
                <a:gd name="connsiteX78" fmla="*/ 464289 w 1033465"/>
                <a:gd name="connsiteY78" fmla="*/ 600072 h 838042"/>
                <a:gd name="connsiteX79" fmla="*/ 523510 w 1033465"/>
                <a:gd name="connsiteY79" fmla="*/ 565123 h 838042"/>
                <a:gd name="connsiteX80" fmla="*/ 599348 w 1033465"/>
                <a:gd name="connsiteY80" fmla="*/ 550915 h 838042"/>
                <a:gd name="connsiteX81" fmla="*/ 707801 w 1033465"/>
                <a:gd name="connsiteY81" fmla="*/ 612819 h 838042"/>
                <a:gd name="connsiteX82" fmla="*/ 780122 w 1033465"/>
                <a:gd name="connsiteY82" fmla="*/ 656959 h 838042"/>
                <a:gd name="connsiteX83" fmla="*/ 804887 w 1033465"/>
                <a:gd name="connsiteY83" fmla="*/ 632194 h 838042"/>
                <a:gd name="connsiteX84" fmla="*/ 801077 w 1033465"/>
                <a:gd name="connsiteY84" fmla="*/ 601714 h 838042"/>
                <a:gd name="connsiteX85" fmla="*/ 762796 w 1033465"/>
                <a:gd name="connsiteY85" fmla="*/ 562523 h 838042"/>
                <a:gd name="connsiteX86" fmla="*/ 650582 w 1033465"/>
                <a:gd name="connsiteY86" fmla="*/ 479794 h 838042"/>
                <a:gd name="connsiteX87" fmla="*/ 646772 w 1033465"/>
                <a:gd name="connsiteY87" fmla="*/ 462649 h 838042"/>
                <a:gd name="connsiteX88" fmla="*/ 658202 w 1033465"/>
                <a:gd name="connsiteY88" fmla="*/ 426454 h 838042"/>
                <a:gd name="connsiteX89" fmla="*/ 726782 w 1033465"/>
                <a:gd name="connsiteY89" fmla="*/ 405499 h 838042"/>
                <a:gd name="connsiteX90" fmla="*/ 813738 w 1033465"/>
                <a:gd name="connsiteY90" fmla="*/ 406906 h 838042"/>
                <a:gd name="connsiteX91" fmla="*/ 906231 w 1033465"/>
                <a:gd name="connsiteY91" fmla="*/ 417646 h 838042"/>
                <a:gd name="connsiteX92" fmla="*/ 1002290 w 1033465"/>
                <a:gd name="connsiteY92" fmla="*/ 426835 h 838042"/>
                <a:gd name="connsiteX93" fmla="*/ 1032449 w 1033465"/>
                <a:gd name="connsiteY93" fmla="*/ 402711 h 838042"/>
                <a:gd name="connsiteX94" fmla="*/ 1020514 w 1033465"/>
                <a:gd name="connsiteY94" fmla="*/ 377797 h 838042"/>
                <a:gd name="connsiteX95" fmla="*/ 964889 w 1033465"/>
                <a:gd name="connsiteY95" fmla="*/ 358029 h 838042"/>
                <a:gd name="connsiteX96" fmla="*/ 827747 w 1033465"/>
                <a:gd name="connsiteY96" fmla="*/ 357874 h 838042"/>
                <a:gd name="connsiteX97" fmla="*/ 755811 w 1033465"/>
                <a:gd name="connsiteY97" fmla="*/ 361702 h 838042"/>
                <a:gd name="connsiteX98" fmla="*/ 671537 w 1033465"/>
                <a:gd name="connsiteY98" fmla="*/ 369304 h 838042"/>
                <a:gd name="connsiteX99" fmla="*/ 644867 w 1033465"/>
                <a:gd name="connsiteY99" fmla="*/ 338824 h 838042"/>
                <a:gd name="connsiteX100" fmla="*/ 676403 w 1033465"/>
                <a:gd name="connsiteY100" fmla="*/ 304962 h 838042"/>
                <a:gd name="connsiteX101" fmla="*/ 707732 w 1033465"/>
                <a:gd name="connsiteY101" fmla="*/ 283579 h 838042"/>
                <a:gd name="connsiteX102" fmla="*/ 743927 w 1033465"/>
                <a:gd name="connsiteY102" fmla="*/ 251194 h 838042"/>
                <a:gd name="connsiteX103" fmla="*/ 783019 w 1033465"/>
                <a:gd name="connsiteY103" fmla="*/ 213846 h 838042"/>
                <a:gd name="connsiteX104" fmla="*/ 746401 w 1033465"/>
                <a:gd name="connsiteY104" fmla="*/ 201789 h 838042"/>
                <a:gd name="connsiteX105" fmla="*/ 694397 w 1033465"/>
                <a:gd name="connsiteY105" fmla="*/ 226429 h 838042"/>
                <a:gd name="connsiteX106" fmla="*/ 656678 w 1033465"/>
                <a:gd name="connsiteY106" fmla="*/ 257626 h 838042"/>
                <a:gd name="connsiteX107" fmla="*/ 616001 w 1033465"/>
                <a:gd name="connsiteY107" fmla="*/ 286712 h 838042"/>
                <a:gd name="connsiteX108" fmla="*/ 564857 w 1033465"/>
                <a:gd name="connsiteY108" fmla="*/ 287389 h 838042"/>
                <a:gd name="connsiteX109" fmla="*/ 530567 w 1033465"/>
                <a:gd name="connsiteY109" fmla="*/ 274054 h 838042"/>
                <a:gd name="connsiteX110" fmla="*/ 507707 w 1033465"/>
                <a:gd name="connsiteY110" fmla="*/ 235954 h 838042"/>
                <a:gd name="connsiteX111" fmla="*/ 509612 w 1033465"/>
                <a:gd name="connsiteY111" fmla="*/ 171184 h 838042"/>
                <a:gd name="connsiteX112" fmla="*/ 508314 w 1033465"/>
                <a:gd name="connsiteY112" fmla="*/ 73485 h 838042"/>
                <a:gd name="connsiteX113" fmla="*/ 454116 w 1033465"/>
                <a:gd name="connsiteY113" fmla="*/ 11248 h 838042"/>
                <a:gd name="connsiteX114" fmla="*/ 442470 w 1033465"/>
                <a:gd name="connsiteY114" fmla="*/ 75864 h 838042"/>
                <a:gd name="connsiteX115" fmla="*/ 439226 w 1033465"/>
                <a:gd name="connsiteY115" fmla="*/ 132660 h 838042"/>
                <a:gd name="connsiteX116" fmla="*/ 436054 w 1033465"/>
                <a:gd name="connsiteY11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69582 w 1033465"/>
                <a:gd name="connsiteY23" fmla="*/ 344539 h 838042"/>
                <a:gd name="connsiteX24" fmla="*/ 275297 w 1033465"/>
                <a:gd name="connsiteY24" fmla="*/ 363589 h 838042"/>
                <a:gd name="connsiteX25" fmla="*/ 277202 w 1033465"/>
                <a:gd name="connsiteY25" fmla="*/ 369304 h 838042"/>
                <a:gd name="connsiteX26" fmla="*/ 279107 w 1033465"/>
                <a:gd name="connsiteY26" fmla="*/ 375019 h 838042"/>
                <a:gd name="connsiteX27" fmla="*/ 281012 w 1033465"/>
                <a:gd name="connsiteY27" fmla="*/ 399784 h 838042"/>
                <a:gd name="connsiteX28" fmla="*/ 282917 w 1033465"/>
                <a:gd name="connsiteY28" fmla="*/ 405499 h 838042"/>
                <a:gd name="connsiteX29" fmla="*/ 281012 w 1033465"/>
                <a:gd name="connsiteY29" fmla="*/ 424549 h 838042"/>
                <a:gd name="connsiteX30" fmla="*/ 279107 w 1033465"/>
                <a:gd name="connsiteY30" fmla="*/ 434074 h 838042"/>
                <a:gd name="connsiteX31" fmla="*/ 265772 w 1033465"/>
                <a:gd name="connsiteY31" fmla="*/ 447409 h 838042"/>
                <a:gd name="connsiteX32" fmla="*/ 254342 w 1033465"/>
                <a:gd name="connsiteY32" fmla="*/ 455029 h 838042"/>
                <a:gd name="connsiteX33" fmla="*/ 242912 w 1033465"/>
                <a:gd name="connsiteY33" fmla="*/ 458839 h 838042"/>
                <a:gd name="connsiteX34" fmla="*/ 128612 w 1033465"/>
                <a:gd name="connsiteY34" fmla="*/ 458839 h 838042"/>
                <a:gd name="connsiteX35" fmla="*/ 122897 w 1033465"/>
                <a:gd name="connsiteY35" fmla="*/ 460744 h 838042"/>
                <a:gd name="connsiteX36" fmla="*/ 107657 w 1033465"/>
                <a:gd name="connsiteY36" fmla="*/ 462649 h 838042"/>
                <a:gd name="connsiteX37" fmla="*/ 90512 w 1033465"/>
                <a:gd name="connsiteY37" fmla="*/ 468364 h 838042"/>
                <a:gd name="connsiteX38" fmla="*/ 84797 w 1033465"/>
                <a:gd name="connsiteY38" fmla="*/ 470269 h 838042"/>
                <a:gd name="connsiteX39" fmla="*/ 79082 w 1033465"/>
                <a:gd name="connsiteY39" fmla="*/ 474079 h 838042"/>
                <a:gd name="connsiteX40" fmla="*/ 67652 w 1033465"/>
                <a:gd name="connsiteY40" fmla="*/ 475984 h 838042"/>
                <a:gd name="connsiteX41" fmla="*/ 29552 w 1033465"/>
                <a:gd name="connsiteY41" fmla="*/ 477889 h 838042"/>
                <a:gd name="connsiteX42" fmla="*/ 18122 w 1033465"/>
                <a:gd name="connsiteY42" fmla="*/ 483604 h 838042"/>
                <a:gd name="connsiteX43" fmla="*/ 8597 w 1033465"/>
                <a:gd name="connsiteY43" fmla="*/ 493129 h 838042"/>
                <a:gd name="connsiteX44" fmla="*/ 6692 w 1033465"/>
                <a:gd name="connsiteY44" fmla="*/ 498844 h 838042"/>
                <a:gd name="connsiteX45" fmla="*/ 2882 w 1033465"/>
                <a:gd name="connsiteY45" fmla="*/ 504559 h 838042"/>
                <a:gd name="connsiteX46" fmla="*/ 14312 w 1033465"/>
                <a:gd name="connsiteY46" fmla="*/ 540754 h 838042"/>
                <a:gd name="connsiteX47" fmla="*/ 147662 w 1033465"/>
                <a:gd name="connsiteY47" fmla="*/ 540754 h 838042"/>
                <a:gd name="connsiteX48" fmla="*/ 155282 w 1033465"/>
                <a:gd name="connsiteY48" fmla="*/ 538849 h 838042"/>
                <a:gd name="connsiteX49" fmla="*/ 305777 w 1033465"/>
                <a:gd name="connsiteY49" fmla="*/ 533134 h 838042"/>
                <a:gd name="connsiteX50" fmla="*/ 321017 w 1033465"/>
                <a:gd name="connsiteY50" fmla="*/ 540754 h 838042"/>
                <a:gd name="connsiteX51" fmla="*/ 332447 w 1033465"/>
                <a:gd name="connsiteY51" fmla="*/ 546469 h 838042"/>
                <a:gd name="connsiteX52" fmla="*/ 336257 w 1033465"/>
                <a:gd name="connsiteY52" fmla="*/ 552184 h 838042"/>
                <a:gd name="connsiteX53" fmla="*/ 341972 w 1033465"/>
                <a:gd name="connsiteY53" fmla="*/ 554089 h 838042"/>
                <a:gd name="connsiteX54" fmla="*/ 353402 w 1033465"/>
                <a:gd name="connsiteY54" fmla="*/ 561709 h 838042"/>
                <a:gd name="connsiteX55" fmla="*/ 359117 w 1033465"/>
                <a:gd name="connsiteY55" fmla="*/ 565519 h 838042"/>
                <a:gd name="connsiteX56" fmla="*/ 362927 w 1033465"/>
                <a:gd name="connsiteY56" fmla="*/ 571234 h 838042"/>
                <a:gd name="connsiteX57" fmla="*/ 368642 w 1033465"/>
                <a:gd name="connsiteY57" fmla="*/ 582664 h 838042"/>
                <a:gd name="connsiteX58" fmla="*/ 364832 w 1033465"/>
                <a:gd name="connsiteY58" fmla="*/ 609334 h 838042"/>
                <a:gd name="connsiteX59" fmla="*/ 361022 w 1033465"/>
                <a:gd name="connsiteY59" fmla="*/ 615049 h 838042"/>
                <a:gd name="connsiteX60" fmla="*/ 359117 w 1033465"/>
                <a:gd name="connsiteY60" fmla="*/ 620764 h 838042"/>
                <a:gd name="connsiteX61" fmla="*/ 355307 w 1033465"/>
                <a:gd name="connsiteY61" fmla="*/ 626479 h 838042"/>
                <a:gd name="connsiteX62" fmla="*/ 353402 w 1033465"/>
                <a:gd name="connsiteY62" fmla="*/ 632194 h 838042"/>
                <a:gd name="connsiteX63" fmla="*/ 349592 w 1033465"/>
                <a:gd name="connsiteY63" fmla="*/ 637909 h 838042"/>
                <a:gd name="connsiteX64" fmla="*/ 332447 w 1033465"/>
                <a:gd name="connsiteY64" fmla="*/ 704584 h 838042"/>
                <a:gd name="connsiteX65" fmla="*/ 330542 w 1033465"/>
                <a:gd name="connsiteY65" fmla="*/ 756019 h 838042"/>
                <a:gd name="connsiteX66" fmla="*/ 332447 w 1033465"/>
                <a:gd name="connsiteY66" fmla="*/ 780784 h 838042"/>
                <a:gd name="connsiteX67" fmla="*/ 334352 w 1033465"/>
                <a:gd name="connsiteY67" fmla="*/ 786499 h 838042"/>
                <a:gd name="connsiteX68" fmla="*/ 338162 w 1033465"/>
                <a:gd name="connsiteY68" fmla="*/ 790309 h 838042"/>
                <a:gd name="connsiteX69" fmla="*/ 366737 w 1033465"/>
                <a:gd name="connsiteY69" fmla="*/ 836029 h 838042"/>
                <a:gd name="connsiteX70" fmla="*/ 389597 w 1033465"/>
                <a:gd name="connsiteY70" fmla="*/ 837934 h 838042"/>
                <a:gd name="connsiteX71" fmla="*/ 397407 w 1033465"/>
                <a:gd name="connsiteY71" fmla="*/ 833530 h 838042"/>
                <a:gd name="connsiteX72" fmla="*/ 402932 w 1033465"/>
                <a:gd name="connsiteY72" fmla="*/ 784594 h 838042"/>
                <a:gd name="connsiteX73" fmla="*/ 406742 w 1033465"/>
                <a:gd name="connsiteY73" fmla="*/ 727444 h 838042"/>
                <a:gd name="connsiteX74" fmla="*/ 423887 w 1033465"/>
                <a:gd name="connsiteY74" fmla="*/ 672199 h 838042"/>
                <a:gd name="connsiteX75" fmla="*/ 429602 w 1033465"/>
                <a:gd name="connsiteY75" fmla="*/ 658864 h 838042"/>
                <a:gd name="connsiteX76" fmla="*/ 444084 w 1033465"/>
                <a:gd name="connsiteY76" fmla="*/ 626947 h 838042"/>
                <a:gd name="connsiteX77" fmla="*/ 464289 w 1033465"/>
                <a:gd name="connsiteY77" fmla="*/ 600072 h 838042"/>
                <a:gd name="connsiteX78" fmla="*/ 523510 w 1033465"/>
                <a:gd name="connsiteY78" fmla="*/ 565123 h 838042"/>
                <a:gd name="connsiteX79" fmla="*/ 599348 w 1033465"/>
                <a:gd name="connsiteY79" fmla="*/ 550915 h 838042"/>
                <a:gd name="connsiteX80" fmla="*/ 707801 w 1033465"/>
                <a:gd name="connsiteY80" fmla="*/ 612819 h 838042"/>
                <a:gd name="connsiteX81" fmla="*/ 780122 w 1033465"/>
                <a:gd name="connsiteY81" fmla="*/ 656959 h 838042"/>
                <a:gd name="connsiteX82" fmla="*/ 804887 w 1033465"/>
                <a:gd name="connsiteY82" fmla="*/ 632194 h 838042"/>
                <a:gd name="connsiteX83" fmla="*/ 801077 w 1033465"/>
                <a:gd name="connsiteY83" fmla="*/ 601714 h 838042"/>
                <a:gd name="connsiteX84" fmla="*/ 762796 w 1033465"/>
                <a:gd name="connsiteY84" fmla="*/ 562523 h 838042"/>
                <a:gd name="connsiteX85" fmla="*/ 650582 w 1033465"/>
                <a:gd name="connsiteY85" fmla="*/ 479794 h 838042"/>
                <a:gd name="connsiteX86" fmla="*/ 646772 w 1033465"/>
                <a:gd name="connsiteY86" fmla="*/ 462649 h 838042"/>
                <a:gd name="connsiteX87" fmla="*/ 658202 w 1033465"/>
                <a:gd name="connsiteY87" fmla="*/ 426454 h 838042"/>
                <a:gd name="connsiteX88" fmla="*/ 726782 w 1033465"/>
                <a:gd name="connsiteY88" fmla="*/ 405499 h 838042"/>
                <a:gd name="connsiteX89" fmla="*/ 813738 w 1033465"/>
                <a:gd name="connsiteY89" fmla="*/ 406906 h 838042"/>
                <a:gd name="connsiteX90" fmla="*/ 906231 w 1033465"/>
                <a:gd name="connsiteY90" fmla="*/ 417646 h 838042"/>
                <a:gd name="connsiteX91" fmla="*/ 1002290 w 1033465"/>
                <a:gd name="connsiteY91" fmla="*/ 426835 h 838042"/>
                <a:gd name="connsiteX92" fmla="*/ 1032449 w 1033465"/>
                <a:gd name="connsiteY92" fmla="*/ 402711 h 838042"/>
                <a:gd name="connsiteX93" fmla="*/ 1020514 w 1033465"/>
                <a:gd name="connsiteY93" fmla="*/ 377797 h 838042"/>
                <a:gd name="connsiteX94" fmla="*/ 964889 w 1033465"/>
                <a:gd name="connsiteY94" fmla="*/ 358029 h 838042"/>
                <a:gd name="connsiteX95" fmla="*/ 827747 w 1033465"/>
                <a:gd name="connsiteY95" fmla="*/ 357874 h 838042"/>
                <a:gd name="connsiteX96" fmla="*/ 755811 w 1033465"/>
                <a:gd name="connsiteY96" fmla="*/ 361702 h 838042"/>
                <a:gd name="connsiteX97" fmla="*/ 671537 w 1033465"/>
                <a:gd name="connsiteY97" fmla="*/ 369304 h 838042"/>
                <a:gd name="connsiteX98" fmla="*/ 644867 w 1033465"/>
                <a:gd name="connsiteY98" fmla="*/ 338824 h 838042"/>
                <a:gd name="connsiteX99" fmla="*/ 676403 w 1033465"/>
                <a:gd name="connsiteY99" fmla="*/ 304962 h 838042"/>
                <a:gd name="connsiteX100" fmla="*/ 707732 w 1033465"/>
                <a:gd name="connsiteY100" fmla="*/ 283579 h 838042"/>
                <a:gd name="connsiteX101" fmla="*/ 743927 w 1033465"/>
                <a:gd name="connsiteY101" fmla="*/ 251194 h 838042"/>
                <a:gd name="connsiteX102" fmla="*/ 783019 w 1033465"/>
                <a:gd name="connsiteY102" fmla="*/ 213846 h 838042"/>
                <a:gd name="connsiteX103" fmla="*/ 746401 w 1033465"/>
                <a:gd name="connsiteY103" fmla="*/ 201789 h 838042"/>
                <a:gd name="connsiteX104" fmla="*/ 694397 w 1033465"/>
                <a:gd name="connsiteY104" fmla="*/ 226429 h 838042"/>
                <a:gd name="connsiteX105" fmla="*/ 656678 w 1033465"/>
                <a:gd name="connsiteY105" fmla="*/ 257626 h 838042"/>
                <a:gd name="connsiteX106" fmla="*/ 616001 w 1033465"/>
                <a:gd name="connsiteY106" fmla="*/ 286712 h 838042"/>
                <a:gd name="connsiteX107" fmla="*/ 564857 w 1033465"/>
                <a:gd name="connsiteY107" fmla="*/ 287389 h 838042"/>
                <a:gd name="connsiteX108" fmla="*/ 530567 w 1033465"/>
                <a:gd name="connsiteY108" fmla="*/ 274054 h 838042"/>
                <a:gd name="connsiteX109" fmla="*/ 507707 w 1033465"/>
                <a:gd name="connsiteY109" fmla="*/ 235954 h 838042"/>
                <a:gd name="connsiteX110" fmla="*/ 509612 w 1033465"/>
                <a:gd name="connsiteY110" fmla="*/ 171184 h 838042"/>
                <a:gd name="connsiteX111" fmla="*/ 508314 w 1033465"/>
                <a:gd name="connsiteY111" fmla="*/ 73485 h 838042"/>
                <a:gd name="connsiteX112" fmla="*/ 454116 w 1033465"/>
                <a:gd name="connsiteY112" fmla="*/ 11248 h 838042"/>
                <a:gd name="connsiteX113" fmla="*/ 442470 w 1033465"/>
                <a:gd name="connsiteY113" fmla="*/ 75864 h 838042"/>
                <a:gd name="connsiteX114" fmla="*/ 439226 w 1033465"/>
                <a:gd name="connsiteY114" fmla="*/ 132660 h 838042"/>
                <a:gd name="connsiteX115" fmla="*/ 436054 w 1033465"/>
                <a:gd name="connsiteY11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69582 w 1033465"/>
                <a:gd name="connsiteY23" fmla="*/ 344539 h 838042"/>
                <a:gd name="connsiteX24" fmla="*/ 275297 w 1033465"/>
                <a:gd name="connsiteY24" fmla="*/ 363589 h 838042"/>
                <a:gd name="connsiteX25" fmla="*/ 277202 w 1033465"/>
                <a:gd name="connsiteY25" fmla="*/ 369304 h 838042"/>
                <a:gd name="connsiteX26" fmla="*/ 281012 w 1033465"/>
                <a:gd name="connsiteY26" fmla="*/ 399784 h 838042"/>
                <a:gd name="connsiteX27" fmla="*/ 282917 w 1033465"/>
                <a:gd name="connsiteY27" fmla="*/ 405499 h 838042"/>
                <a:gd name="connsiteX28" fmla="*/ 281012 w 1033465"/>
                <a:gd name="connsiteY28" fmla="*/ 424549 h 838042"/>
                <a:gd name="connsiteX29" fmla="*/ 279107 w 1033465"/>
                <a:gd name="connsiteY29" fmla="*/ 434074 h 838042"/>
                <a:gd name="connsiteX30" fmla="*/ 265772 w 1033465"/>
                <a:gd name="connsiteY30" fmla="*/ 447409 h 838042"/>
                <a:gd name="connsiteX31" fmla="*/ 254342 w 1033465"/>
                <a:gd name="connsiteY31" fmla="*/ 455029 h 838042"/>
                <a:gd name="connsiteX32" fmla="*/ 242912 w 1033465"/>
                <a:gd name="connsiteY32" fmla="*/ 458839 h 838042"/>
                <a:gd name="connsiteX33" fmla="*/ 128612 w 1033465"/>
                <a:gd name="connsiteY33" fmla="*/ 458839 h 838042"/>
                <a:gd name="connsiteX34" fmla="*/ 122897 w 1033465"/>
                <a:gd name="connsiteY34" fmla="*/ 460744 h 838042"/>
                <a:gd name="connsiteX35" fmla="*/ 107657 w 1033465"/>
                <a:gd name="connsiteY35" fmla="*/ 462649 h 838042"/>
                <a:gd name="connsiteX36" fmla="*/ 90512 w 1033465"/>
                <a:gd name="connsiteY36" fmla="*/ 468364 h 838042"/>
                <a:gd name="connsiteX37" fmla="*/ 84797 w 1033465"/>
                <a:gd name="connsiteY37" fmla="*/ 470269 h 838042"/>
                <a:gd name="connsiteX38" fmla="*/ 79082 w 1033465"/>
                <a:gd name="connsiteY38" fmla="*/ 474079 h 838042"/>
                <a:gd name="connsiteX39" fmla="*/ 67652 w 1033465"/>
                <a:gd name="connsiteY39" fmla="*/ 475984 h 838042"/>
                <a:gd name="connsiteX40" fmla="*/ 29552 w 1033465"/>
                <a:gd name="connsiteY40" fmla="*/ 477889 h 838042"/>
                <a:gd name="connsiteX41" fmla="*/ 18122 w 1033465"/>
                <a:gd name="connsiteY41" fmla="*/ 483604 h 838042"/>
                <a:gd name="connsiteX42" fmla="*/ 8597 w 1033465"/>
                <a:gd name="connsiteY42" fmla="*/ 493129 h 838042"/>
                <a:gd name="connsiteX43" fmla="*/ 6692 w 1033465"/>
                <a:gd name="connsiteY43" fmla="*/ 498844 h 838042"/>
                <a:gd name="connsiteX44" fmla="*/ 2882 w 1033465"/>
                <a:gd name="connsiteY44" fmla="*/ 504559 h 838042"/>
                <a:gd name="connsiteX45" fmla="*/ 14312 w 1033465"/>
                <a:gd name="connsiteY45" fmla="*/ 540754 h 838042"/>
                <a:gd name="connsiteX46" fmla="*/ 147662 w 1033465"/>
                <a:gd name="connsiteY46" fmla="*/ 540754 h 838042"/>
                <a:gd name="connsiteX47" fmla="*/ 155282 w 1033465"/>
                <a:gd name="connsiteY47" fmla="*/ 538849 h 838042"/>
                <a:gd name="connsiteX48" fmla="*/ 305777 w 1033465"/>
                <a:gd name="connsiteY48" fmla="*/ 533134 h 838042"/>
                <a:gd name="connsiteX49" fmla="*/ 321017 w 1033465"/>
                <a:gd name="connsiteY49" fmla="*/ 540754 h 838042"/>
                <a:gd name="connsiteX50" fmla="*/ 332447 w 1033465"/>
                <a:gd name="connsiteY50" fmla="*/ 546469 h 838042"/>
                <a:gd name="connsiteX51" fmla="*/ 336257 w 1033465"/>
                <a:gd name="connsiteY51" fmla="*/ 552184 h 838042"/>
                <a:gd name="connsiteX52" fmla="*/ 341972 w 1033465"/>
                <a:gd name="connsiteY52" fmla="*/ 554089 h 838042"/>
                <a:gd name="connsiteX53" fmla="*/ 353402 w 1033465"/>
                <a:gd name="connsiteY53" fmla="*/ 561709 h 838042"/>
                <a:gd name="connsiteX54" fmla="*/ 359117 w 1033465"/>
                <a:gd name="connsiteY54" fmla="*/ 565519 h 838042"/>
                <a:gd name="connsiteX55" fmla="*/ 362927 w 1033465"/>
                <a:gd name="connsiteY55" fmla="*/ 571234 h 838042"/>
                <a:gd name="connsiteX56" fmla="*/ 368642 w 1033465"/>
                <a:gd name="connsiteY56" fmla="*/ 582664 h 838042"/>
                <a:gd name="connsiteX57" fmla="*/ 364832 w 1033465"/>
                <a:gd name="connsiteY57" fmla="*/ 609334 h 838042"/>
                <a:gd name="connsiteX58" fmla="*/ 361022 w 1033465"/>
                <a:gd name="connsiteY58" fmla="*/ 615049 h 838042"/>
                <a:gd name="connsiteX59" fmla="*/ 359117 w 1033465"/>
                <a:gd name="connsiteY59" fmla="*/ 620764 h 838042"/>
                <a:gd name="connsiteX60" fmla="*/ 355307 w 1033465"/>
                <a:gd name="connsiteY60" fmla="*/ 626479 h 838042"/>
                <a:gd name="connsiteX61" fmla="*/ 353402 w 1033465"/>
                <a:gd name="connsiteY61" fmla="*/ 632194 h 838042"/>
                <a:gd name="connsiteX62" fmla="*/ 349592 w 1033465"/>
                <a:gd name="connsiteY62" fmla="*/ 637909 h 838042"/>
                <a:gd name="connsiteX63" fmla="*/ 332447 w 1033465"/>
                <a:gd name="connsiteY63" fmla="*/ 704584 h 838042"/>
                <a:gd name="connsiteX64" fmla="*/ 330542 w 1033465"/>
                <a:gd name="connsiteY64" fmla="*/ 756019 h 838042"/>
                <a:gd name="connsiteX65" fmla="*/ 332447 w 1033465"/>
                <a:gd name="connsiteY65" fmla="*/ 780784 h 838042"/>
                <a:gd name="connsiteX66" fmla="*/ 334352 w 1033465"/>
                <a:gd name="connsiteY66" fmla="*/ 786499 h 838042"/>
                <a:gd name="connsiteX67" fmla="*/ 338162 w 1033465"/>
                <a:gd name="connsiteY67" fmla="*/ 790309 h 838042"/>
                <a:gd name="connsiteX68" fmla="*/ 366737 w 1033465"/>
                <a:gd name="connsiteY68" fmla="*/ 836029 h 838042"/>
                <a:gd name="connsiteX69" fmla="*/ 389597 w 1033465"/>
                <a:gd name="connsiteY69" fmla="*/ 837934 h 838042"/>
                <a:gd name="connsiteX70" fmla="*/ 397407 w 1033465"/>
                <a:gd name="connsiteY70" fmla="*/ 833530 h 838042"/>
                <a:gd name="connsiteX71" fmla="*/ 402932 w 1033465"/>
                <a:gd name="connsiteY71" fmla="*/ 784594 h 838042"/>
                <a:gd name="connsiteX72" fmla="*/ 406742 w 1033465"/>
                <a:gd name="connsiteY72" fmla="*/ 727444 h 838042"/>
                <a:gd name="connsiteX73" fmla="*/ 423887 w 1033465"/>
                <a:gd name="connsiteY73" fmla="*/ 672199 h 838042"/>
                <a:gd name="connsiteX74" fmla="*/ 429602 w 1033465"/>
                <a:gd name="connsiteY74" fmla="*/ 658864 h 838042"/>
                <a:gd name="connsiteX75" fmla="*/ 444084 w 1033465"/>
                <a:gd name="connsiteY75" fmla="*/ 626947 h 838042"/>
                <a:gd name="connsiteX76" fmla="*/ 464289 w 1033465"/>
                <a:gd name="connsiteY76" fmla="*/ 600072 h 838042"/>
                <a:gd name="connsiteX77" fmla="*/ 523510 w 1033465"/>
                <a:gd name="connsiteY77" fmla="*/ 565123 h 838042"/>
                <a:gd name="connsiteX78" fmla="*/ 599348 w 1033465"/>
                <a:gd name="connsiteY78" fmla="*/ 550915 h 838042"/>
                <a:gd name="connsiteX79" fmla="*/ 707801 w 1033465"/>
                <a:gd name="connsiteY79" fmla="*/ 612819 h 838042"/>
                <a:gd name="connsiteX80" fmla="*/ 780122 w 1033465"/>
                <a:gd name="connsiteY80" fmla="*/ 656959 h 838042"/>
                <a:gd name="connsiteX81" fmla="*/ 804887 w 1033465"/>
                <a:gd name="connsiteY81" fmla="*/ 632194 h 838042"/>
                <a:gd name="connsiteX82" fmla="*/ 801077 w 1033465"/>
                <a:gd name="connsiteY82" fmla="*/ 601714 h 838042"/>
                <a:gd name="connsiteX83" fmla="*/ 762796 w 1033465"/>
                <a:gd name="connsiteY83" fmla="*/ 562523 h 838042"/>
                <a:gd name="connsiteX84" fmla="*/ 650582 w 1033465"/>
                <a:gd name="connsiteY84" fmla="*/ 479794 h 838042"/>
                <a:gd name="connsiteX85" fmla="*/ 646772 w 1033465"/>
                <a:gd name="connsiteY85" fmla="*/ 462649 h 838042"/>
                <a:gd name="connsiteX86" fmla="*/ 658202 w 1033465"/>
                <a:gd name="connsiteY86" fmla="*/ 426454 h 838042"/>
                <a:gd name="connsiteX87" fmla="*/ 726782 w 1033465"/>
                <a:gd name="connsiteY87" fmla="*/ 405499 h 838042"/>
                <a:gd name="connsiteX88" fmla="*/ 813738 w 1033465"/>
                <a:gd name="connsiteY88" fmla="*/ 406906 h 838042"/>
                <a:gd name="connsiteX89" fmla="*/ 906231 w 1033465"/>
                <a:gd name="connsiteY89" fmla="*/ 417646 h 838042"/>
                <a:gd name="connsiteX90" fmla="*/ 1002290 w 1033465"/>
                <a:gd name="connsiteY90" fmla="*/ 426835 h 838042"/>
                <a:gd name="connsiteX91" fmla="*/ 1032449 w 1033465"/>
                <a:gd name="connsiteY91" fmla="*/ 402711 h 838042"/>
                <a:gd name="connsiteX92" fmla="*/ 1020514 w 1033465"/>
                <a:gd name="connsiteY92" fmla="*/ 377797 h 838042"/>
                <a:gd name="connsiteX93" fmla="*/ 964889 w 1033465"/>
                <a:gd name="connsiteY93" fmla="*/ 358029 h 838042"/>
                <a:gd name="connsiteX94" fmla="*/ 827747 w 1033465"/>
                <a:gd name="connsiteY94" fmla="*/ 357874 h 838042"/>
                <a:gd name="connsiteX95" fmla="*/ 755811 w 1033465"/>
                <a:gd name="connsiteY95" fmla="*/ 361702 h 838042"/>
                <a:gd name="connsiteX96" fmla="*/ 671537 w 1033465"/>
                <a:gd name="connsiteY96" fmla="*/ 369304 h 838042"/>
                <a:gd name="connsiteX97" fmla="*/ 644867 w 1033465"/>
                <a:gd name="connsiteY97" fmla="*/ 338824 h 838042"/>
                <a:gd name="connsiteX98" fmla="*/ 676403 w 1033465"/>
                <a:gd name="connsiteY98" fmla="*/ 304962 h 838042"/>
                <a:gd name="connsiteX99" fmla="*/ 707732 w 1033465"/>
                <a:gd name="connsiteY99" fmla="*/ 283579 h 838042"/>
                <a:gd name="connsiteX100" fmla="*/ 743927 w 1033465"/>
                <a:gd name="connsiteY100" fmla="*/ 251194 h 838042"/>
                <a:gd name="connsiteX101" fmla="*/ 783019 w 1033465"/>
                <a:gd name="connsiteY101" fmla="*/ 213846 h 838042"/>
                <a:gd name="connsiteX102" fmla="*/ 746401 w 1033465"/>
                <a:gd name="connsiteY102" fmla="*/ 201789 h 838042"/>
                <a:gd name="connsiteX103" fmla="*/ 694397 w 1033465"/>
                <a:gd name="connsiteY103" fmla="*/ 226429 h 838042"/>
                <a:gd name="connsiteX104" fmla="*/ 656678 w 1033465"/>
                <a:gd name="connsiteY104" fmla="*/ 257626 h 838042"/>
                <a:gd name="connsiteX105" fmla="*/ 616001 w 1033465"/>
                <a:gd name="connsiteY105" fmla="*/ 286712 h 838042"/>
                <a:gd name="connsiteX106" fmla="*/ 564857 w 1033465"/>
                <a:gd name="connsiteY106" fmla="*/ 287389 h 838042"/>
                <a:gd name="connsiteX107" fmla="*/ 530567 w 1033465"/>
                <a:gd name="connsiteY107" fmla="*/ 274054 h 838042"/>
                <a:gd name="connsiteX108" fmla="*/ 507707 w 1033465"/>
                <a:gd name="connsiteY108" fmla="*/ 235954 h 838042"/>
                <a:gd name="connsiteX109" fmla="*/ 509612 w 1033465"/>
                <a:gd name="connsiteY109" fmla="*/ 171184 h 838042"/>
                <a:gd name="connsiteX110" fmla="*/ 508314 w 1033465"/>
                <a:gd name="connsiteY110" fmla="*/ 73485 h 838042"/>
                <a:gd name="connsiteX111" fmla="*/ 454116 w 1033465"/>
                <a:gd name="connsiteY111" fmla="*/ 11248 h 838042"/>
                <a:gd name="connsiteX112" fmla="*/ 442470 w 1033465"/>
                <a:gd name="connsiteY112" fmla="*/ 75864 h 838042"/>
                <a:gd name="connsiteX113" fmla="*/ 439226 w 1033465"/>
                <a:gd name="connsiteY113" fmla="*/ 132660 h 838042"/>
                <a:gd name="connsiteX114" fmla="*/ 436054 w 1033465"/>
                <a:gd name="connsiteY11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69582 w 1033465"/>
                <a:gd name="connsiteY23" fmla="*/ 344539 h 838042"/>
                <a:gd name="connsiteX24" fmla="*/ 275297 w 1033465"/>
                <a:gd name="connsiteY24" fmla="*/ 363589 h 838042"/>
                <a:gd name="connsiteX25" fmla="*/ 281012 w 1033465"/>
                <a:gd name="connsiteY25" fmla="*/ 399784 h 838042"/>
                <a:gd name="connsiteX26" fmla="*/ 282917 w 1033465"/>
                <a:gd name="connsiteY26" fmla="*/ 405499 h 838042"/>
                <a:gd name="connsiteX27" fmla="*/ 281012 w 1033465"/>
                <a:gd name="connsiteY27" fmla="*/ 424549 h 838042"/>
                <a:gd name="connsiteX28" fmla="*/ 279107 w 1033465"/>
                <a:gd name="connsiteY28" fmla="*/ 434074 h 838042"/>
                <a:gd name="connsiteX29" fmla="*/ 265772 w 1033465"/>
                <a:gd name="connsiteY29" fmla="*/ 447409 h 838042"/>
                <a:gd name="connsiteX30" fmla="*/ 254342 w 1033465"/>
                <a:gd name="connsiteY30" fmla="*/ 455029 h 838042"/>
                <a:gd name="connsiteX31" fmla="*/ 242912 w 1033465"/>
                <a:gd name="connsiteY31" fmla="*/ 458839 h 838042"/>
                <a:gd name="connsiteX32" fmla="*/ 128612 w 1033465"/>
                <a:gd name="connsiteY32" fmla="*/ 458839 h 838042"/>
                <a:gd name="connsiteX33" fmla="*/ 122897 w 1033465"/>
                <a:gd name="connsiteY33" fmla="*/ 460744 h 838042"/>
                <a:gd name="connsiteX34" fmla="*/ 107657 w 1033465"/>
                <a:gd name="connsiteY34" fmla="*/ 462649 h 838042"/>
                <a:gd name="connsiteX35" fmla="*/ 90512 w 1033465"/>
                <a:gd name="connsiteY35" fmla="*/ 468364 h 838042"/>
                <a:gd name="connsiteX36" fmla="*/ 84797 w 1033465"/>
                <a:gd name="connsiteY36" fmla="*/ 470269 h 838042"/>
                <a:gd name="connsiteX37" fmla="*/ 79082 w 1033465"/>
                <a:gd name="connsiteY37" fmla="*/ 474079 h 838042"/>
                <a:gd name="connsiteX38" fmla="*/ 67652 w 1033465"/>
                <a:gd name="connsiteY38" fmla="*/ 475984 h 838042"/>
                <a:gd name="connsiteX39" fmla="*/ 29552 w 1033465"/>
                <a:gd name="connsiteY39" fmla="*/ 477889 h 838042"/>
                <a:gd name="connsiteX40" fmla="*/ 18122 w 1033465"/>
                <a:gd name="connsiteY40" fmla="*/ 483604 h 838042"/>
                <a:gd name="connsiteX41" fmla="*/ 8597 w 1033465"/>
                <a:gd name="connsiteY41" fmla="*/ 493129 h 838042"/>
                <a:gd name="connsiteX42" fmla="*/ 6692 w 1033465"/>
                <a:gd name="connsiteY42" fmla="*/ 498844 h 838042"/>
                <a:gd name="connsiteX43" fmla="*/ 2882 w 1033465"/>
                <a:gd name="connsiteY43" fmla="*/ 504559 h 838042"/>
                <a:gd name="connsiteX44" fmla="*/ 14312 w 1033465"/>
                <a:gd name="connsiteY44" fmla="*/ 540754 h 838042"/>
                <a:gd name="connsiteX45" fmla="*/ 147662 w 1033465"/>
                <a:gd name="connsiteY45" fmla="*/ 540754 h 838042"/>
                <a:gd name="connsiteX46" fmla="*/ 155282 w 1033465"/>
                <a:gd name="connsiteY46" fmla="*/ 538849 h 838042"/>
                <a:gd name="connsiteX47" fmla="*/ 305777 w 1033465"/>
                <a:gd name="connsiteY47" fmla="*/ 533134 h 838042"/>
                <a:gd name="connsiteX48" fmla="*/ 321017 w 1033465"/>
                <a:gd name="connsiteY48" fmla="*/ 540754 h 838042"/>
                <a:gd name="connsiteX49" fmla="*/ 332447 w 1033465"/>
                <a:gd name="connsiteY49" fmla="*/ 546469 h 838042"/>
                <a:gd name="connsiteX50" fmla="*/ 336257 w 1033465"/>
                <a:gd name="connsiteY50" fmla="*/ 552184 h 838042"/>
                <a:gd name="connsiteX51" fmla="*/ 341972 w 1033465"/>
                <a:gd name="connsiteY51" fmla="*/ 554089 h 838042"/>
                <a:gd name="connsiteX52" fmla="*/ 353402 w 1033465"/>
                <a:gd name="connsiteY52" fmla="*/ 561709 h 838042"/>
                <a:gd name="connsiteX53" fmla="*/ 359117 w 1033465"/>
                <a:gd name="connsiteY53" fmla="*/ 565519 h 838042"/>
                <a:gd name="connsiteX54" fmla="*/ 362927 w 1033465"/>
                <a:gd name="connsiteY54" fmla="*/ 571234 h 838042"/>
                <a:gd name="connsiteX55" fmla="*/ 368642 w 1033465"/>
                <a:gd name="connsiteY55" fmla="*/ 582664 h 838042"/>
                <a:gd name="connsiteX56" fmla="*/ 364832 w 1033465"/>
                <a:gd name="connsiteY56" fmla="*/ 609334 h 838042"/>
                <a:gd name="connsiteX57" fmla="*/ 361022 w 1033465"/>
                <a:gd name="connsiteY57" fmla="*/ 615049 h 838042"/>
                <a:gd name="connsiteX58" fmla="*/ 359117 w 1033465"/>
                <a:gd name="connsiteY58" fmla="*/ 620764 h 838042"/>
                <a:gd name="connsiteX59" fmla="*/ 355307 w 1033465"/>
                <a:gd name="connsiteY59" fmla="*/ 626479 h 838042"/>
                <a:gd name="connsiteX60" fmla="*/ 353402 w 1033465"/>
                <a:gd name="connsiteY60" fmla="*/ 632194 h 838042"/>
                <a:gd name="connsiteX61" fmla="*/ 349592 w 1033465"/>
                <a:gd name="connsiteY61" fmla="*/ 637909 h 838042"/>
                <a:gd name="connsiteX62" fmla="*/ 332447 w 1033465"/>
                <a:gd name="connsiteY62" fmla="*/ 704584 h 838042"/>
                <a:gd name="connsiteX63" fmla="*/ 330542 w 1033465"/>
                <a:gd name="connsiteY63" fmla="*/ 756019 h 838042"/>
                <a:gd name="connsiteX64" fmla="*/ 332447 w 1033465"/>
                <a:gd name="connsiteY64" fmla="*/ 780784 h 838042"/>
                <a:gd name="connsiteX65" fmla="*/ 334352 w 1033465"/>
                <a:gd name="connsiteY65" fmla="*/ 786499 h 838042"/>
                <a:gd name="connsiteX66" fmla="*/ 338162 w 1033465"/>
                <a:gd name="connsiteY66" fmla="*/ 790309 h 838042"/>
                <a:gd name="connsiteX67" fmla="*/ 366737 w 1033465"/>
                <a:gd name="connsiteY67" fmla="*/ 836029 h 838042"/>
                <a:gd name="connsiteX68" fmla="*/ 389597 w 1033465"/>
                <a:gd name="connsiteY68" fmla="*/ 837934 h 838042"/>
                <a:gd name="connsiteX69" fmla="*/ 397407 w 1033465"/>
                <a:gd name="connsiteY69" fmla="*/ 833530 h 838042"/>
                <a:gd name="connsiteX70" fmla="*/ 402932 w 1033465"/>
                <a:gd name="connsiteY70" fmla="*/ 784594 h 838042"/>
                <a:gd name="connsiteX71" fmla="*/ 406742 w 1033465"/>
                <a:gd name="connsiteY71" fmla="*/ 727444 h 838042"/>
                <a:gd name="connsiteX72" fmla="*/ 423887 w 1033465"/>
                <a:gd name="connsiteY72" fmla="*/ 672199 h 838042"/>
                <a:gd name="connsiteX73" fmla="*/ 429602 w 1033465"/>
                <a:gd name="connsiteY73" fmla="*/ 658864 h 838042"/>
                <a:gd name="connsiteX74" fmla="*/ 444084 w 1033465"/>
                <a:gd name="connsiteY74" fmla="*/ 626947 h 838042"/>
                <a:gd name="connsiteX75" fmla="*/ 464289 w 1033465"/>
                <a:gd name="connsiteY75" fmla="*/ 600072 h 838042"/>
                <a:gd name="connsiteX76" fmla="*/ 523510 w 1033465"/>
                <a:gd name="connsiteY76" fmla="*/ 565123 h 838042"/>
                <a:gd name="connsiteX77" fmla="*/ 599348 w 1033465"/>
                <a:gd name="connsiteY77" fmla="*/ 550915 h 838042"/>
                <a:gd name="connsiteX78" fmla="*/ 707801 w 1033465"/>
                <a:gd name="connsiteY78" fmla="*/ 612819 h 838042"/>
                <a:gd name="connsiteX79" fmla="*/ 780122 w 1033465"/>
                <a:gd name="connsiteY79" fmla="*/ 656959 h 838042"/>
                <a:gd name="connsiteX80" fmla="*/ 804887 w 1033465"/>
                <a:gd name="connsiteY80" fmla="*/ 632194 h 838042"/>
                <a:gd name="connsiteX81" fmla="*/ 801077 w 1033465"/>
                <a:gd name="connsiteY81" fmla="*/ 601714 h 838042"/>
                <a:gd name="connsiteX82" fmla="*/ 762796 w 1033465"/>
                <a:gd name="connsiteY82" fmla="*/ 562523 h 838042"/>
                <a:gd name="connsiteX83" fmla="*/ 650582 w 1033465"/>
                <a:gd name="connsiteY83" fmla="*/ 479794 h 838042"/>
                <a:gd name="connsiteX84" fmla="*/ 646772 w 1033465"/>
                <a:gd name="connsiteY84" fmla="*/ 462649 h 838042"/>
                <a:gd name="connsiteX85" fmla="*/ 658202 w 1033465"/>
                <a:gd name="connsiteY85" fmla="*/ 426454 h 838042"/>
                <a:gd name="connsiteX86" fmla="*/ 726782 w 1033465"/>
                <a:gd name="connsiteY86" fmla="*/ 405499 h 838042"/>
                <a:gd name="connsiteX87" fmla="*/ 813738 w 1033465"/>
                <a:gd name="connsiteY87" fmla="*/ 406906 h 838042"/>
                <a:gd name="connsiteX88" fmla="*/ 906231 w 1033465"/>
                <a:gd name="connsiteY88" fmla="*/ 417646 h 838042"/>
                <a:gd name="connsiteX89" fmla="*/ 1002290 w 1033465"/>
                <a:gd name="connsiteY89" fmla="*/ 426835 h 838042"/>
                <a:gd name="connsiteX90" fmla="*/ 1032449 w 1033465"/>
                <a:gd name="connsiteY90" fmla="*/ 402711 h 838042"/>
                <a:gd name="connsiteX91" fmla="*/ 1020514 w 1033465"/>
                <a:gd name="connsiteY91" fmla="*/ 377797 h 838042"/>
                <a:gd name="connsiteX92" fmla="*/ 964889 w 1033465"/>
                <a:gd name="connsiteY92" fmla="*/ 358029 h 838042"/>
                <a:gd name="connsiteX93" fmla="*/ 827747 w 1033465"/>
                <a:gd name="connsiteY93" fmla="*/ 357874 h 838042"/>
                <a:gd name="connsiteX94" fmla="*/ 755811 w 1033465"/>
                <a:gd name="connsiteY94" fmla="*/ 361702 h 838042"/>
                <a:gd name="connsiteX95" fmla="*/ 671537 w 1033465"/>
                <a:gd name="connsiteY95" fmla="*/ 369304 h 838042"/>
                <a:gd name="connsiteX96" fmla="*/ 644867 w 1033465"/>
                <a:gd name="connsiteY96" fmla="*/ 338824 h 838042"/>
                <a:gd name="connsiteX97" fmla="*/ 676403 w 1033465"/>
                <a:gd name="connsiteY97" fmla="*/ 304962 h 838042"/>
                <a:gd name="connsiteX98" fmla="*/ 707732 w 1033465"/>
                <a:gd name="connsiteY98" fmla="*/ 283579 h 838042"/>
                <a:gd name="connsiteX99" fmla="*/ 743927 w 1033465"/>
                <a:gd name="connsiteY99" fmla="*/ 251194 h 838042"/>
                <a:gd name="connsiteX100" fmla="*/ 783019 w 1033465"/>
                <a:gd name="connsiteY100" fmla="*/ 213846 h 838042"/>
                <a:gd name="connsiteX101" fmla="*/ 746401 w 1033465"/>
                <a:gd name="connsiteY101" fmla="*/ 201789 h 838042"/>
                <a:gd name="connsiteX102" fmla="*/ 694397 w 1033465"/>
                <a:gd name="connsiteY102" fmla="*/ 226429 h 838042"/>
                <a:gd name="connsiteX103" fmla="*/ 656678 w 1033465"/>
                <a:gd name="connsiteY103" fmla="*/ 257626 h 838042"/>
                <a:gd name="connsiteX104" fmla="*/ 616001 w 1033465"/>
                <a:gd name="connsiteY104" fmla="*/ 286712 h 838042"/>
                <a:gd name="connsiteX105" fmla="*/ 564857 w 1033465"/>
                <a:gd name="connsiteY105" fmla="*/ 287389 h 838042"/>
                <a:gd name="connsiteX106" fmla="*/ 530567 w 1033465"/>
                <a:gd name="connsiteY106" fmla="*/ 274054 h 838042"/>
                <a:gd name="connsiteX107" fmla="*/ 507707 w 1033465"/>
                <a:gd name="connsiteY107" fmla="*/ 235954 h 838042"/>
                <a:gd name="connsiteX108" fmla="*/ 509612 w 1033465"/>
                <a:gd name="connsiteY108" fmla="*/ 171184 h 838042"/>
                <a:gd name="connsiteX109" fmla="*/ 508314 w 1033465"/>
                <a:gd name="connsiteY109" fmla="*/ 73485 h 838042"/>
                <a:gd name="connsiteX110" fmla="*/ 454116 w 1033465"/>
                <a:gd name="connsiteY110" fmla="*/ 11248 h 838042"/>
                <a:gd name="connsiteX111" fmla="*/ 442470 w 1033465"/>
                <a:gd name="connsiteY111" fmla="*/ 75864 h 838042"/>
                <a:gd name="connsiteX112" fmla="*/ 439226 w 1033465"/>
                <a:gd name="connsiteY112" fmla="*/ 132660 h 838042"/>
                <a:gd name="connsiteX113" fmla="*/ 436054 w 1033465"/>
                <a:gd name="connsiteY11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69582 w 1033465"/>
                <a:gd name="connsiteY23" fmla="*/ 344539 h 838042"/>
                <a:gd name="connsiteX24" fmla="*/ 281012 w 1033465"/>
                <a:gd name="connsiteY24" fmla="*/ 399784 h 838042"/>
                <a:gd name="connsiteX25" fmla="*/ 282917 w 1033465"/>
                <a:gd name="connsiteY25" fmla="*/ 405499 h 838042"/>
                <a:gd name="connsiteX26" fmla="*/ 281012 w 1033465"/>
                <a:gd name="connsiteY26" fmla="*/ 424549 h 838042"/>
                <a:gd name="connsiteX27" fmla="*/ 279107 w 1033465"/>
                <a:gd name="connsiteY27" fmla="*/ 434074 h 838042"/>
                <a:gd name="connsiteX28" fmla="*/ 265772 w 1033465"/>
                <a:gd name="connsiteY28" fmla="*/ 447409 h 838042"/>
                <a:gd name="connsiteX29" fmla="*/ 254342 w 1033465"/>
                <a:gd name="connsiteY29" fmla="*/ 455029 h 838042"/>
                <a:gd name="connsiteX30" fmla="*/ 242912 w 1033465"/>
                <a:gd name="connsiteY30" fmla="*/ 458839 h 838042"/>
                <a:gd name="connsiteX31" fmla="*/ 128612 w 1033465"/>
                <a:gd name="connsiteY31" fmla="*/ 458839 h 838042"/>
                <a:gd name="connsiteX32" fmla="*/ 122897 w 1033465"/>
                <a:gd name="connsiteY32" fmla="*/ 460744 h 838042"/>
                <a:gd name="connsiteX33" fmla="*/ 107657 w 1033465"/>
                <a:gd name="connsiteY33" fmla="*/ 462649 h 838042"/>
                <a:gd name="connsiteX34" fmla="*/ 90512 w 1033465"/>
                <a:gd name="connsiteY34" fmla="*/ 468364 h 838042"/>
                <a:gd name="connsiteX35" fmla="*/ 84797 w 1033465"/>
                <a:gd name="connsiteY35" fmla="*/ 470269 h 838042"/>
                <a:gd name="connsiteX36" fmla="*/ 79082 w 1033465"/>
                <a:gd name="connsiteY36" fmla="*/ 474079 h 838042"/>
                <a:gd name="connsiteX37" fmla="*/ 67652 w 1033465"/>
                <a:gd name="connsiteY37" fmla="*/ 475984 h 838042"/>
                <a:gd name="connsiteX38" fmla="*/ 29552 w 1033465"/>
                <a:gd name="connsiteY38" fmla="*/ 477889 h 838042"/>
                <a:gd name="connsiteX39" fmla="*/ 18122 w 1033465"/>
                <a:gd name="connsiteY39" fmla="*/ 483604 h 838042"/>
                <a:gd name="connsiteX40" fmla="*/ 8597 w 1033465"/>
                <a:gd name="connsiteY40" fmla="*/ 493129 h 838042"/>
                <a:gd name="connsiteX41" fmla="*/ 6692 w 1033465"/>
                <a:gd name="connsiteY41" fmla="*/ 498844 h 838042"/>
                <a:gd name="connsiteX42" fmla="*/ 2882 w 1033465"/>
                <a:gd name="connsiteY42" fmla="*/ 504559 h 838042"/>
                <a:gd name="connsiteX43" fmla="*/ 14312 w 1033465"/>
                <a:gd name="connsiteY43" fmla="*/ 540754 h 838042"/>
                <a:gd name="connsiteX44" fmla="*/ 147662 w 1033465"/>
                <a:gd name="connsiteY44" fmla="*/ 540754 h 838042"/>
                <a:gd name="connsiteX45" fmla="*/ 155282 w 1033465"/>
                <a:gd name="connsiteY45" fmla="*/ 538849 h 838042"/>
                <a:gd name="connsiteX46" fmla="*/ 305777 w 1033465"/>
                <a:gd name="connsiteY46" fmla="*/ 533134 h 838042"/>
                <a:gd name="connsiteX47" fmla="*/ 321017 w 1033465"/>
                <a:gd name="connsiteY47" fmla="*/ 540754 h 838042"/>
                <a:gd name="connsiteX48" fmla="*/ 332447 w 1033465"/>
                <a:gd name="connsiteY48" fmla="*/ 546469 h 838042"/>
                <a:gd name="connsiteX49" fmla="*/ 336257 w 1033465"/>
                <a:gd name="connsiteY49" fmla="*/ 552184 h 838042"/>
                <a:gd name="connsiteX50" fmla="*/ 341972 w 1033465"/>
                <a:gd name="connsiteY50" fmla="*/ 554089 h 838042"/>
                <a:gd name="connsiteX51" fmla="*/ 353402 w 1033465"/>
                <a:gd name="connsiteY51" fmla="*/ 561709 h 838042"/>
                <a:gd name="connsiteX52" fmla="*/ 359117 w 1033465"/>
                <a:gd name="connsiteY52" fmla="*/ 565519 h 838042"/>
                <a:gd name="connsiteX53" fmla="*/ 362927 w 1033465"/>
                <a:gd name="connsiteY53" fmla="*/ 571234 h 838042"/>
                <a:gd name="connsiteX54" fmla="*/ 368642 w 1033465"/>
                <a:gd name="connsiteY54" fmla="*/ 582664 h 838042"/>
                <a:gd name="connsiteX55" fmla="*/ 364832 w 1033465"/>
                <a:gd name="connsiteY55" fmla="*/ 609334 h 838042"/>
                <a:gd name="connsiteX56" fmla="*/ 361022 w 1033465"/>
                <a:gd name="connsiteY56" fmla="*/ 615049 h 838042"/>
                <a:gd name="connsiteX57" fmla="*/ 359117 w 1033465"/>
                <a:gd name="connsiteY57" fmla="*/ 620764 h 838042"/>
                <a:gd name="connsiteX58" fmla="*/ 355307 w 1033465"/>
                <a:gd name="connsiteY58" fmla="*/ 626479 h 838042"/>
                <a:gd name="connsiteX59" fmla="*/ 353402 w 1033465"/>
                <a:gd name="connsiteY59" fmla="*/ 632194 h 838042"/>
                <a:gd name="connsiteX60" fmla="*/ 349592 w 1033465"/>
                <a:gd name="connsiteY60" fmla="*/ 637909 h 838042"/>
                <a:gd name="connsiteX61" fmla="*/ 332447 w 1033465"/>
                <a:gd name="connsiteY61" fmla="*/ 704584 h 838042"/>
                <a:gd name="connsiteX62" fmla="*/ 330542 w 1033465"/>
                <a:gd name="connsiteY62" fmla="*/ 756019 h 838042"/>
                <a:gd name="connsiteX63" fmla="*/ 332447 w 1033465"/>
                <a:gd name="connsiteY63" fmla="*/ 780784 h 838042"/>
                <a:gd name="connsiteX64" fmla="*/ 334352 w 1033465"/>
                <a:gd name="connsiteY64" fmla="*/ 786499 h 838042"/>
                <a:gd name="connsiteX65" fmla="*/ 338162 w 1033465"/>
                <a:gd name="connsiteY65" fmla="*/ 790309 h 838042"/>
                <a:gd name="connsiteX66" fmla="*/ 366737 w 1033465"/>
                <a:gd name="connsiteY66" fmla="*/ 836029 h 838042"/>
                <a:gd name="connsiteX67" fmla="*/ 389597 w 1033465"/>
                <a:gd name="connsiteY67" fmla="*/ 837934 h 838042"/>
                <a:gd name="connsiteX68" fmla="*/ 397407 w 1033465"/>
                <a:gd name="connsiteY68" fmla="*/ 833530 h 838042"/>
                <a:gd name="connsiteX69" fmla="*/ 402932 w 1033465"/>
                <a:gd name="connsiteY69" fmla="*/ 784594 h 838042"/>
                <a:gd name="connsiteX70" fmla="*/ 406742 w 1033465"/>
                <a:gd name="connsiteY70" fmla="*/ 727444 h 838042"/>
                <a:gd name="connsiteX71" fmla="*/ 423887 w 1033465"/>
                <a:gd name="connsiteY71" fmla="*/ 672199 h 838042"/>
                <a:gd name="connsiteX72" fmla="*/ 429602 w 1033465"/>
                <a:gd name="connsiteY72" fmla="*/ 658864 h 838042"/>
                <a:gd name="connsiteX73" fmla="*/ 444084 w 1033465"/>
                <a:gd name="connsiteY73" fmla="*/ 626947 h 838042"/>
                <a:gd name="connsiteX74" fmla="*/ 464289 w 1033465"/>
                <a:gd name="connsiteY74" fmla="*/ 600072 h 838042"/>
                <a:gd name="connsiteX75" fmla="*/ 523510 w 1033465"/>
                <a:gd name="connsiteY75" fmla="*/ 565123 h 838042"/>
                <a:gd name="connsiteX76" fmla="*/ 599348 w 1033465"/>
                <a:gd name="connsiteY76" fmla="*/ 550915 h 838042"/>
                <a:gd name="connsiteX77" fmla="*/ 707801 w 1033465"/>
                <a:gd name="connsiteY77" fmla="*/ 612819 h 838042"/>
                <a:gd name="connsiteX78" fmla="*/ 780122 w 1033465"/>
                <a:gd name="connsiteY78" fmla="*/ 656959 h 838042"/>
                <a:gd name="connsiteX79" fmla="*/ 804887 w 1033465"/>
                <a:gd name="connsiteY79" fmla="*/ 632194 h 838042"/>
                <a:gd name="connsiteX80" fmla="*/ 801077 w 1033465"/>
                <a:gd name="connsiteY80" fmla="*/ 601714 h 838042"/>
                <a:gd name="connsiteX81" fmla="*/ 762796 w 1033465"/>
                <a:gd name="connsiteY81" fmla="*/ 562523 h 838042"/>
                <a:gd name="connsiteX82" fmla="*/ 650582 w 1033465"/>
                <a:gd name="connsiteY82" fmla="*/ 479794 h 838042"/>
                <a:gd name="connsiteX83" fmla="*/ 646772 w 1033465"/>
                <a:gd name="connsiteY83" fmla="*/ 462649 h 838042"/>
                <a:gd name="connsiteX84" fmla="*/ 658202 w 1033465"/>
                <a:gd name="connsiteY84" fmla="*/ 426454 h 838042"/>
                <a:gd name="connsiteX85" fmla="*/ 726782 w 1033465"/>
                <a:gd name="connsiteY85" fmla="*/ 405499 h 838042"/>
                <a:gd name="connsiteX86" fmla="*/ 813738 w 1033465"/>
                <a:gd name="connsiteY86" fmla="*/ 406906 h 838042"/>
                <a:gd name="connsiteX87" fmla="*/ 906231 w 1033465"/>
                <a:gd name="connsiteY87" fmla="*/ 417646 h 838042"/>
                <a:gd name="connsiteX88" fmla="*/ 1002290 w 1033465"/>
                <a:gd name="connsiteY88" fmla="*/ 426835 h 838042"/>
                <a:gd name="connsiteX89" fmla="*/ 1032449 w 1033465"/>
                <a:gd name="connsiteY89" fmla="*/ 402711 h 838042"/>
                <a:gd name="connsiteX90" fmla="*/ 1020514 w 1033465"/>
                <a:gd name="connsiteY90" fmla="*/ 377797 h 838042"/>
                <a:gd name="connsiteX91" fmla="*/ 964889 w 1033465"/>
                <a:gd name="connsiteY91" fmla="*/ 358029 h 838042"/>
                <a:gd name="connsiteX92" fmla="*/ 827747 w 1033465"/>
                <a:gd name="connsiteY92" fmla="*/ 357874 h 838042"/>
                <a:gd name="connsiteX93" fmla="*/ 755811 w 1033465"/>
                <a:gd name="connsiteY93" fmla="*/ 361702 h 838042"/>
                <a:gd name="connsiteX94" fmla="*/ 671537 w 1033465"/>
                <a:gd name="connsiteY94" fmla="*/ 369304 h 838042"/>
                <a:gd name="connsiteX95" fmla="*/ 644867 w 1033465"/>
                <a:gd name="connsiteY95" fmla="*/ 338824 h 838042"/>
                <a:gd name="connsiteX96" fmla="*/ 676403 w 1033465"/>
                <a:gd name="connsiteY96" fmla="*/ 304962 h 838042"/>
                <a:gd name="connsiteX97" fmla="*/ 707732 w 1033465"/>
                <a:gd name="connsiteY97" fmla="*/ 283579 h 838042"/>
                <a:gd name="connsiteX98" fmla="*/ 743927 w 1033465"/>
                <a:gd name="connsiteY98" fmla="*/ 251194 h 838042"/>
                <a:gd name="connsiteX99" fmla="*/ 783019 w 1033465"/>
                <a:gd name="connsiteY99" fmla="*/ 213846 h 838042"/>
                <a:gd name="connsiteX100" fmla="*/ 746401 w 1033465"/>
                <a:gd name="connsiteY100" fmla="*/ 201789 h 838042"/>
                <a:gd name="connsiteX101" fmla="*/ 694397 w 1033465"/>
                <a:gd name="connsiteY101" fmla="*/ 226429 h 838042"/>
                <a:gd name="connsiteX102" fmla="*/ 656678 w 1033465"/>
                <a:gd name="connsiteY102" fmla="*/ 257626 h 838042"/>
                <a:gd name="connsiteX103" fmla="*/ 616001 w 1033465"/>
                <a:gd name="connsiteY103" fmla="*/ 286712 h 838042"/>
                <a:gd name="connsiteX104" fmla="*/ 564857 w 1033465"/>
                <a:gd name="connsiteY104" fmla="*/ 287389 h 838042"/>
                <a:gd name="connsiteX105" fmla="*/ 530567 w 1033465"/>
                <a:gd name="connsiteY105" fmla="*/ 274054 h 838042"/>
                <a:gd name="connsiteX106" fmla="*/ 507707 w 1033465"/>
                <a:gd name="connsiteY106" fmla="*/ 235954 h 838042"/>
                <a:gd name="connsiteX107" fmla="*/ 509612 w 1033465"/>
                <a:gd name="connsiteY107" fmla="*/ 171184 h 838042"/>
                <a:gd name="connsiteX108" fmla="*/ 508314 w 1033465"/>
                <a:gd name="connsiteY108" fmla="*/ 73485 h 838042"/>
                <a:gd name="connsiteX109" fmla="*/ 454116 w 1033465"/>
                <a:gd name="connsiteY109" fmla="*/ 11248 h 838042"/>
                <a:gd name="connsiteX110" fmla="*/ 442470 w 1033465"/>
                <a:gd name="connsiteY110" fmla="*/ 75864 h 838042"/>
                <a:gd name="connsiteX111" fmla="*/ 439226 w 1033465"/>
                <a:gd name="connsiteY111" fmla="*/ 132660 h 838042"/>
                <a:gd name="connsiteX112" fmla="*/ 436054 w 1033465"/>
                <a:gd name="connsiteY11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81012 w 1033465"/>
                <a:gd name="connsiteY23" fmla="*/ 399784 h 838042"/>
                <a:gd name="connsiteX24" fmla="*/ 282917 w 1033465"/>
                <a:gd name="connsiteY24" fmla="*/ 405499 h 838042"/>
                <a:gd name="connsiteX25" fmla="*/ 281012 w 1033465"/>
                <a:gd name="connsiteY25" fmla="*/ 424549 h 838042"/>
                <a:gd name="connsiteX26" fmla="*/ 279107 w 1033465"/>
                <a:gd name="connsiteY26" fmla="*/ 434074 h 838042"/>
                <a:gd name="connsiteX27" fmla="*/ 265772 w 1033465"/>
                <a:gd name="connsiteY27" fmla="*/ 447409 h 838042"/>
                <a:gd name="connsiteX28" fmla="*/ 254342 w 1033465"/>
                <a:gd name="connsiteY28" fmla="*/ 455029 h 838042"/>
                <a:gd name="connsiteX29" fmla="*/ 242912 w 1033465"/>
                <a:gd name="connsiteY29" fmla="*/ 458839 h 838042"/>
                <a:gd name="connsiteX30" fmla="*/ 128612 w 1033465"/>
                <a:gd name="connsiteY30" fmla="*/ 458839 h 838042"/>
                <a:gd name="connsiteX31" fmla="*/ 122897 w 1033465"/>
                <a:gd name="connsiteY31" fmla="*/ 460744 h 838042"/>
                <a:gd name="connsiteX32" fmla="*/ 107657 w 1033465"/>
                <a:gd name="connsiteY32" fmla="*/ 462649 h 838042"/>
                <a:gd name="connsiteX33" fmla="*/ 90512 w 1033465"/>
                <a:gd name="connsiteY33" fmla="*/ 468364 h 838042"/>
                <a:gd name="connsiteX34" fmla="*/ 84797 w 1033465"/>
                <a:gd name="connsiteY34" fmla="*/ 470269 h 838042"/>
                <a:gd name="connsiteX35" fmla="*/ 79082 w 1033465"/>
                <a:gd name="connsiteY35" fmla="*/ 474079 h 838042"/>
                <a:gd name="connsiteX36" fmla="*/ 67652 w 1033465"/>
                <a:gd name="connsiteY36" fmla="*/ 475984 h 838042"/>
                <a:gd name="connsiteX37" fmla="*/ 29552 w 1033465"/>
                <a:gd name="connsiteY37" fmla="*/ 477889 h 838042"/>
                <a:gd name="connsiteX38" fmla="*/ 18122 w 1033465"/>
                <a:gd name="connsiteY38" fmla="*/ 483604 h 838042"/>
                <a:gd name="connsiteX39" fmla="*/ 8597 w 1033465"/>
                <a:gd name="connsiteY39" fmla="*/ 493129 h 838042"/>
                <a:gd name="connsiteX40" fmla="*/ 6692 w 1033465"/>
                <a:gd name="connsiteY40" fmla="*/ 498844 h 838042"/>
                <a:gd name="connsiteX41" fmla="*/ 2882 w 1033465"/>
                <a:gd name="connsiteY41" fmla="*/ 504559 h 838042"/>
                <a:gd name="connsiteX42" fmla="*/ 14312 w 1033465"/>
                <a:gd name="connsiteY42" fmla="*/ 540754 h 838042"/>
                <a:gd name="connsiteX43" fmla="*/ 147662 w 1033465"/>
                <a:gd name="connsiteY43" fmla="*/ 540754 h 838042"/>
                <a:gd name="connsiteX44" fmla="*/ 155282 w 1033465"/>
                <a:gd name="connsiteY44" fmla="*/ 538849 h 838042"/>
                <a:gd name="connsiteX45" fmla="*/ 305777 w 1033465"/>
                <a:gd name="connsiteY45" fmla="*/ 533134 h 838042"/>
                <a:gd name="connsiteX46" fmla="*/ 321017 w 1033465"/>
                <a:gd name="connsiteY46" fmla="*/ 540754 h 838042"/>
                <a:gd name="connsiteX47" fmla="*/ 332447 w 1033465"/>
                <a:gd name="connsiteY47" fmla="*/ 546469 h 838042"/>
                <a:gd name="connsiteX48" fmla="*/ 336257 w 1033465"/>
                <a:gd name="connsiteY48" fmla="*/ 552184 h 838042"/>
                <a:gd name="connsiteX49" fmla="*/ 341972 w 1033465"/>
                <a:gd name="connsiteY49" fmla="*/ 554089 h 838042"/>
                <a:gd name="connsiteX50" fmla="*/ 353402 w 1033465"/>
                <a:gd name="connsiteY50" fmla="*/ 561709 h 838042"/>
                <a:gd name="connsiteX51" fmla="*/ 359117 w 1033465"/>
                <a:gd name="connsiteY51" fmla="*/ 565519 h 838042"/>
                <a:gd name="connsiteX52" fmla="*/ 362927 w 1033465"/>
                <a:gd name="connsiteY52" fmla="*/ 571234 h 838042"/>
                <a:gd name="connsiteX53" fmla="*/ 368642 w 1033465"/>
                <a:gd name="connsiteY53" fmla="*/ 582664 h 838042"/>
                <a:gd name="connsiteX54" fmla="*/ 364832 w 1033465"/>
                <a:gd name="connsiteY54" fmla="*/ 609334 h 838042"/>
                <a:gd name="connsiteX55" fmla="*/ 361022 w 1033465"/>
                <a:gd name="connsiteY55" fmla="*/ 615049 h 838042"/>
                <a:gd name="connsiteX56" fmla="*/ 359117 w 1033465"/>
                <a:gd name="connsiteY56" fmla="*/ 620764 h 838042"/>
                <a:gd name="connsiteX57" fmla="*/ 355307 w 1033465"/>
                <a:gd name="connsiteY57" fmla="*/ 626479 h 838042"/>
                <a:gd name="connsiteX58" fmla="*/ 353402 w 1033465"/>
                <a:gd name="connsiteY58" fmla="*/ 632194 h 838042"/>
                <a:gd name="connsiteX59" fmla="*/ 349592 w 1033465"/>
                <a:gd name="connsiteY59" fmla="*/ 637909 h 838042"/>
                <a:gd name="connsiteX60" fmla="*/ 332447 w 1033465"/>
                <a:gd name="connsiteY60" fmla="*/ 704584 h 838042"/>
                <a:gd name="connsiteX61" fmla="*/ 330542 w 1033465"/>
                <a:gd name="connsiteY61" fmla="*/ 756019 h 838042"/>
                <a:gd name="connsiteX62" fmla="*/ 332447 w 1033465"/>
                <a:gd name="connsiteY62" fmla="*/ 780784 h 838042"/>
                <a:gd name="connsiteX63" fmla="*/ 334352 w 1033465"/>
                <a:gd name="connsiteY63" fmla="*/ 786499 h 838042"/>
                <a:gd name="connsiteX64" fmla="*/ 338162 w 1033465"/>
                <a:gd name="connsiteY64" fmla="*/ 790309 h 838042"/>
                <a:gd name="connsiteX65" fmla="*/ 366737 w 1033465"/>
                <a:gd name="connsiteY65" fmla="*/ 836029 h 838042"/>
                <a:gd name="connsiteX66" fmla="*/ 389597 w 1033465"/>
                <a:gd name="connsiteY66" fmla="*/ 837934 h 838042"/>
                <a:gd name="connsiteX67" fmla="*/ 397407 w 1033465"/>
                <a:gd name="connsiteY67" fmla="*/ 833530 h 838042"/>
                <a:gd name="connsiteX68" fmla="*/ 402932 w 1033465"/>
                <a:gd name="connsiteY68" fmla="*/ 784594 h 838042"/>
                <a:gd name="connsiteX69" fmla="*/ 406742 w 1033465"/>
                <a:gd name="connsiteY69" fmla="*/ 727444 h 838042"/>
                <a:gd name="connsiteX70" fmla="*/ 423887 w 1033465"/>
                <a:gd name="connsiteY70" fmla="*/ 672199 h 838042"/>
                <a:gd name="connsiteX71" fmla="*/ 429602 w 1033465"/>
                <a:gd name="connsiteY71" fmla="*/ 658864 h 838042"/>
                <a:gd name="connsiteX72" fmla="*/ 444084 w 1033465"/>
                <a:gd name="connsiteY72" fmla="*/ 626947 h 838042"/>
                <a:gd name="connsiteX73" fmla="*/ 464289 w 1033465"/>
                <a:gd name="connsiteY73" fmla="*/ 600072 h 838042"/>
                <a:gd name="connsiteX74" fmla="*/ 523510 w 1033465"/>
                <a:gd name="connsiteY74" fmla="*/ 565123 h 838042"/>
                <a:gd name="connsiteX75" fmla="*/ 599348 w 1033465"/>
                <a:gd name="connsiteY75" fmla="*/ 550915 h 838042"/>
                <a:gd name="connsiteX76" fmla="*/ 707801 w 1033465"/>
                <a:gd name="connsiteY76" fmla="*/ 612819 h 838042"/>
                <a:gd name="connsiteX77" fmla="*/ 780122 w 1033465"/>
                <a:gd name="connsiteY77" fmla="*/ 656959 h 838042"/>
                <a:gd name="connsiteX78" fmla="*/ 804887 w 1033465"/>
                <a:gd name="connsiteY78" fmla="*/ 632194 h 838042"/>
                <a:gd name="connsiteX79" fmla="*/ 801077 w 1033465"/>
                <a:gd name="connsiteY79" fmla="*/ 601714 h 838042"/>
                <a:gd name="connsiteX80" fmla="*/ 762796 w 1033465"/>
                <a:gd name="connsiteY80" fmla="*/ 562523 h 838042"/>
                <a:gd name="connsiteX81" fmla="*/ 650582 w 1033465"/>
                <a:gd name="connsiteY81" fmla="*/ 479794 h 838042"/>
                <a:gd name="connsiteX82" fmla="*/ 646772 w 1033465"/>
                <a:gd name="connsiteY82" fmla="*/ 462649 h 838042"/>
                <a:gd name="connsiteX83" fmla="*/ 658202 w 1033465"/>
                <a:gd name="connsiteY83" fmla="*/ 426454 h 838042"/>
                <a:gd name="connsiteX84" fmla="*/ 726782 w 1033465"/>
                <a:gd name="connsiteY84" fmla="*/ 405499 h 838042"/>
                <a:gd name="connsiteX85" fmla="*/ 813738 w 1033465"/>
                <a:gd name="connsiteY85" fmla="*/ 406906 h 838042"/>
                <a:gd name="connsiteX86" fmla="*/ 906231 w 1033465"/>
                <a:gd name="connsiteY86" fmla="*/ 417646 h 838042"/>
                <a:gd name="connsiteX87" fmla="*/ 1002290 w 1033465"/>
                <a:gd name="connsiteY87" fmla="*/ 426835 h 838042"/>
                <a:gd name="connsiteX88" fmla="*/ 1032449 w 1033465"/>
                <a:gd name="connsiteY88" fmla="*/ 402711 h 838042"/>
                <a:gd name="connsiteX89" fmla="*/ 1020514 w 1033465"/>
                <a:gd name="connsiteY89" fmla="*/ 377797 h 838042"/>
                <a:gd name="connsiteX90" fmla="*/ 964889 w 1033465"/>
                <a:gd name="connsiteY90" fmla="*/ 358029 h 838042"/>
                <a:gd name="connsiteX91" fmla="*/ 827747 w 1033465"/>
                <a:gd name="connsiteY91" fmla="*/ 357874 h 838042"/>
                <a:gd name="connsiteX92" fmla="*/ 755811 w 1033465"/>
                <a:gd name="connsiteY92" fmla="*/ 361702 h 838042"/>
                <a:gd name="connsiteX93" fmla="*/ 671537 w 1033465"/>
                <a:gd name="connsiteY93" fmla="*/ 369304 h 838042"/>
                <a:gd name="connsiteX94" fmla="*/ 644867 w 1033465"/>
                <a:gd name="connsiteY94" fmla="*/ 338824 h 838042"/>
                <a:gd name="connsiteX95" fmla="*/ 676403 w 1033465"/>
                <a:gd name="connsiteY95" fmla="*/ 304962 h 838042"/>
                <a:gd name="connsiteX96" fmla="*/ 707732 w 1033465"/>
                <a:gd name="connsiteY96" fmla="*/ 283579 h 838042"/>
                <a:gd name="connsiteX97" fmla="*/ 743927 w 1033465"/>
                <a:gd name="connsiteY97" fmla="*/ 251194 h 838042"/>
                <a:gd name="connsiteX98" fmla="*/ 783019 w 1033465"/>
                <a:gd name="connsiteY98" fmla="*/ 213846 h 838042"/>
                <a:gd name="connsiteX99" fmla="*/ 746401 w 1033465"/>
                <a:gd name="connsiteY99" fmla="*/ 201789 h 838042"/>
                <a:gd name="connsiteX100" fmla="*/ 694397 w 1033465"/>
                <a:gd name="connsiteY100" fmla="*/ 226429 h 838042"/>
                <a:gd name="connsiteX101" fmla="*/ 656678 w 1033465"/>
                <a:gd name="connsiteY101" fmla="*/ 257626 h 838042"/>
                <a:gd name="connsiteX102" fmla="*/ 616001 w 1033465"/>
                <a:gd name="connsiteY102" fmla="*/ 286712 h 838042"/>
                <a:gd name="connsiteX103" fmla="*/ 564857 w 1033465"/>
                <a:gd name="connsiteY103" fmla="*/ 287389 h 838042"/>
                <a:gd name="connsiteX104" fmla="*/ 530567 w 1033465"/>
                <a:gd name="connsiteY104" fmla="*/ 274054 h 838042"/>
                <a:gd name="connsiteX105" fmla="*/ 507707 w 1033465"/>
                <a:gd name="connsiteY105" fmla="*/ 235954 h 838042"/>
                <a:gd name="connsiteX106" fmla="*/ 509612 w 1033465"/>
                <a:gd name="connsiteY106" fmla="*/ 171184 h 838042"/>
                <a:gd name="connsiteX107" fmla="*/ 508314 w 1033465"/>
                <a:gd name="connsiteY107" fmla="*/ 73485 h 838042"/>
                <a:gd name="connsiteX108" fmla="*/ 454116 w 1033465"/>
                <a:gd name="connsiteY108" fmla="*/ 11248 h 838042"/>
                <a:gd name="connsiteX109" fmla="*/ 442470 w 1033465"/>
                <a:gd name="connsiteY109" fmla="*/ 75864 h 838042"/>
                <a:gd name="connsiteX110" fmla="*/ 439226 w 1033465"/>
                <a:gd name="connsiteY110" fmla="*/ 132660 h 838042"/>
                <a:gd name="connsiteX111" fmla="*/ 436054 w 1033465"/>
                <a:gd name="connsiteY11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81012 w 1033465"/>
                <a:gd name="connsiteY23" fmla="*/ 399784 h 838042"/>
                <a:gd name="connsiteX24" fmla="*/ 282917 w 1033465"/>
                <a:gd name="connsiteY24" fmla="*/ 405499 h 838042"/>
                <a:gd name="connsiteX25" fmla="*/ 279107 w 1033465"/>
                <a:gd name="connsiteY25" fmla="*/ 434074 h 838042"/>
                <a:gd name="connsiteX26" fmla="*/ 265772 w 1033465"/>
                <a:gd name="connsiteY26" fmla="*/ 447409 h 838042"/>
                <a:gd name="connsiteX27" fmla="*/ 254342 w 1033465"/>
                <a:gd name="connsiteY27" fmla="*/ 455029 h 838042"/>
                <a:gd name="connsiteX28" fmla="*/ 242912 w 1033465"/>
                <a:gd name="connsiteY28" fmla="*/ 458839 h 838042"/>
                <a:gd name="connsiteX29" fmla="*/ 128612 w 1033465"/>
                <a:gd name="connsiteY29" fmla="*/ 458839 h 838042"/>
                <a:gd name="connsiteX30" fmla="*/ 122897 w 1033465"/>
                <a:gd name="connsiteY30" fmla="*/ 460744 h 838042"/>
                <a:gd name="connsiteX31" fmla="*/ 107657 w 1033465"/>
                <a:gd name="connsiteY31" fmla="*/ 462649 h 838042"/>
                <a:gd name="connsiteX32" fmla="*/ 90512 w 1033465"/>
                <a:gd name="connsiteY32" fmla="*/ 468364 h 838042"/>
                <a:gd name="connsiteX33" fmla="*/ 84797 w 1033465"/>
                <a:gd name="connsiteY33" fmla="*/ 470269 h 838042"/>
                <a:gd name="connsiteX34" fmla="*/ 79082 w 1033465"/>
                <a:gd name="connsiteY34" fmla="*/ 474079 h 838042"/>
                <a:gd name="connsiteX35" fmla="*/ 67652 w 1033465"/>
                <a:gd name="connsiteY35" fmla="*/ 475984 h 838042"/>
                <a:gd name="connsiteX36" fmla="*/ 29552 w 1033465"/>
                <a:gd name="connsiteY36" fmla="*/ 477889 h 838042"/>
                <a:gd name="connsiteX37" fmla="*/ 18122 w 1033465"/>
                <a:gd name="connsiteY37" fmla="*/ 483604 h 838042"/>
                <a:gd name="connsiteX38" fmla="*/ 8597 w 1033465"/>
                <a:gd name="connsiteY38" fmla="*/ 493129 h 838042"/>
                <a:gd name="connsiteX39" fmla="*/ 6692 w 1033465"/>
                <a:gd name="connsiteY39" fmla="*/ 498844 h 838042"/>
                <a:gd name="connsiteX40" fmla="*/ 2882 w 1033465"/>
                <a:gd name="connsiteY40" fmla="*/ 504559 h 838042"/>
                <a:gd name="connsiteX41" fmla="*/ 14312 w 1033465"/>
                <a:gd name="connsiteY41" fmla="*/ 540754 h 838042"/>
                <a:gd name="connsiteX42" fmla="*/ 147662 w 1033465"/>
                <a:gd name="connsiteY42" fmla="*/ 540754 h 838042"/>
                <a:gd name="connsiteX43" fmla="*/ 155282 w 1033465"/>
                <a:gd name="connsiteY43" fmla="*/ 538849 h 838042"/>
                <a:gd name="connsiteX44" fmla="*/ 305777 w 1033465"/>
                <a:gd name="connsiteY44" fmla="*/ 533134 h 838042"/>
                <a:gd name="connsiteX45" fmla="*/ 321017 w 1033465"/>
                <a:gd name="connsiteY45" fmla="*/ 540754 h 838042"/>
                <a:gd name="connsiteX46" fmla="*/ 332447 w 1033465"/>
                <a:gd name="connsiteY46" fmla="*/ 546469 h 838042"/>
                <a:gd name="connsiteX47" fmla="*/ 336257 w 1033465"/>
                <a:gd name="connsiteY47" fmla="*/ 552184 h 838042"/>
                <a:gd name="connsiteX48" fmla="*/ 341972 w 1033465"/>
                <a:gd name="connsiteY48" fmla="*/ 554089 h 838042"/>
                <a:gd name="connsiteX49" fmla="*/ 353402 w 1033465"/>
                <a:gd name="connsiteY49" fmla="*/ 561709 h 838042"/>
                <a:gd name="connsiteX50" fmla="*/ 359117 w 1033465"/>
                <a:gd name="connsiteY50" fmla="*/ 565519 h 838042"/>
                <a:gd name="connsiteX51" fmla="*/ 362927 w 1033465"/>
                <a:gd name="connsiteY51" fmla="*/ 571234 h 838042"/>
                <a:gd name="connsiteX52" fmla="*/ 368642 w 1033465"/>
                <a:gd name="connsiteY52" fmla="*/ 582664 h 838042"/>
                <a:gd name="connsiteX53" fmla="*/ 364832 w 1033465"/>
                <a:gd name="connsiteY53" fmla="*/ 609334 h 838042"/>
                <a:gd name="connsiteX54" fmla="*/ 361022 w 1033465"/>
                <a:gd name="connsiteY54" fmla="*/ 615049 h 838042"/>
                <a:gd name="connsiteX55" fmla="*/ 359117 w 1033465"/>
                <a:gd name="connsiteY55" fmla="*/ 620764 h 838042"/>
                <a:gd name="connsiteX56" fmla="*/ 355307 w 1033465"/>
                <a:gd name="connsiteY56" fmla="*/ 626479 h 838042"/>
                <a:gd name="connsiteX57" fmla="*/ 353402 w 1033465"/>
                <a:gd name="connsiteY57" fmla="*/ 632194 h 838042"/>
                <a:gd name="connsiteX58" fmla="*/ 349592 w 1033465"/>
                <a:gd name="connsiteY58" fmla="*/ 637909 h 838042"/>
                <a:gd name="connsiteX59" fmla="*/ 332447 w 1033465"/>
                <a:gd name="connsiteY59" fmla="*/ 704584 h 838042"/>
                <a:gd name="connsiteX60" fmla="*/ 330542 w 1033465"/>
                <a:gd name="connsiteY60" fmla="*/ 756019 h 838042"/>
                <a:gd name="connsiteX61" fmla="*/ 332447 w 1033465"/>
                <a:gd name="connsiteY61" fmla="*/ 780784 h 838042"/>
                <a:gd name="connsiteX62" fmla="*/ 334352 w 1033465"/>
                <a:gd name="connsiteY62" fmla="*/ 786499 h 838042"/>
                <a:gd name="connsiteX63" fmla="*/ 338162 w 1033465"/>
                <a:gd name="connsiteY63" fmla="*/ 790309 h 838042"/>
                <a:gd name="connsiteX64" fmla="*/ 366737 w 1033465"/>
                <a:gd name="connsiteY64" fmla="*/ 836029 h 838042"/>
                <a:gd name="connsiteX65" fmla="*/ 389597 w 1033465"/>
                <a:gd name="connsiteY65" fmla="*/ 837934 h 838042"/>
                <a:gd name="connsiteX66" fmla="*/ 397407 w 1033465"/>
                <a:gd name="connsiteY66" fmla="*/ 833530 h 838042"/>
                <a:gd name="connsiteX67" fmla="*/ 402932 w 1033465"/>
                <a:gd name="connsiteY67" fmla="*/ 784594 h 838042"/>
                <a:gd name="connsiteX68" fmla="*/ 406742 w 1033465"/>
                <a:gd name="connsiteY68" fmla="*/ 727444 h 838042"/>
                <a:gd name="connsiteX69" fmla="*/ 423887 w 1033465"/>
                <a:gd name="connsiteY69" fmla="*/ 672199 h 838042"/>
                <a:gd name="connsiteX70" fmla="*/ 429602 w 1033465"/>
                <a:gd name="connsiteY70" fmla="*/ 658864 h 838042"/>
                <a:gd name="connsiteX71" fmla="*/ 444084 w 1033465"/>
                <a:gd name="connsiteY71" fmla="*/ 626947 h 838042"/>
                <a:gd name="connsiteX72" fmla="*/ 464289 w 1033465"/>
                <a:gd name="connsiteY72" fmla="*/ 600072 h 838042"/>
                <a:gd name="connsiteX73" fmla="*/ 523510 w 1033465"/>
                <a:gd name="connsiteY73" fmla="*/ 565123 h 838042"/>
                <a:gd name="connsiteX74" fmla="*/ 599348 w 1033465"/>
                <a:gd name="connsiteY74" fmla="*/ 550915 h 838042"/>
                <a:gd name="connsiteX75" fmla="*/ 707801 w 1033465"/>
                <a:gd name="connsiteY75" fmla="*/ 612819 h 838042"/>
                <a:gd name="connsiteX76" fmla="*/ 780122 w 1033465"/>
                <a:gd name="connsiteY76" fmla="*/ 656959 h 838042"/>
                <a:gd name="connsiteX77" fmla="*/ 804887 w 1033465"/>
                <a:gd name="connsiteY77" fmla="*/ 632194 h 838042"/>
                <a:gd name="connsiteX78" fmla="*/ 801077 w 1033465"/>
                <a:gd name="connsiteY78" fmla="*/ 601714 h 838042"/>
                <a:gd name="connsiteX79" fmla="*/ 762796 w 1033465"/>
                <a:gd name="connsiteY79" fmla="*/ 562523 h 838042"/>
                <a:gd name="connsiteX80" fmla="*/ 650582 w 1033465"/>
                <a:gd name="connsiteY80" fmla="*/ 479794 h 838042"/>
                <a:gd name="connsiteX81" fmla="*/ 646772 w 1033465"/>
                <a:gd name="connsiteY81" fmla="*/ 462649 h 838042"/>
                <a:gd name="connsiteX82" fmla="*/ 658202 w 1033465"/>
                <a:gd name="connsiteY82" fmla="*/ 426454 h 838042"/>
                <a:gd name="connsiteX83" fmla="*/ 726782 w 1033465"/>
                <a:gd name="connsiteY83" fmla="*/ 405499 h 838042"/>
                <a:gd name="connsiteX84" fmla="*/ 813738 w 1033465"/>
                <a:gd name="connsiteY84" fmla="*/ 406906 h 838042"/>
                <a:gd name="connsiteX85" fmla="*/ 906231 w 1033465"/>
                <a:gd name="connsiteY85" fmla="*/ 417646 h 838042"/>
                <a:gd name="connsiteX86" fmla="*/ 1002290 w 1033465"/>
                <a:gd name="connsiteY86" fmla="*/ 426835 h 838042"/>
                <a:gd name="connsiteX87" fmla="*/ 1032449 w 1033465"/>
                <a:gd name="connsiteY87" fmla="*/ 402711 h 838042"/>
                <a:gd name="connsiteX88" fmla="*/ 1020514 w 1033465"/>
                <a:gd name="connsiteY88" fmla="*/ 377797 h 838042"/>
                <a:gd name="connsiteX89" fmla="*/ 964889 w 1033465"/>
                <a:gd name="connsiteY89" fmla="*/ 358029 h 838042"/>
                <a:gd name="connsiteX90" fmla="*/ 827747 w 1033465"/>
                <a:gd name="connsiteY90" fmla="*/ 357874 h 838042"/>
                <a:gd name="connsiteX91" fmla="*/ 755811 w 1033465"/>
                <a:gd name="connsiteY91" fmla="*/ 361702 h 838042"/>
                <a:gd name="connsiteX92" fmla="*/ 671537 w 1033465"/>
                <a:gd name="connsiteY92" fmla="*/ 369304 h 838042"/>
                <a:gd name="connsiteX93" fmla="*/ 644867 w 1033465"/>
                <a:gd name="connsiteY93" fmla="*/ 338824 h 838042"/>
                <a:gd name="connsiteX94" fmla="*/ 676403 w 1033465"/>
                <a:gd name="connsiteY94" fmla="*/ 304962 h 838042"/>
                <a:gd name="connsiteX95" fmla="*/ 707732 w 1033465"/>
                <a:gd name="connsiteY95" fmla="*/ 283579 h 838042"/>
                <a:gd name="connsiteX96" fmla="*/ 743927 w 1033465"/>
                <a:gd name="connsiteY96" fmla="*/ 251194 h 838042"/>
                <a:gd name="connsiteX97" fmla="*/ 783019 w 1033465"/>
                <a:gd name="connsiteY97" fmla="*/ 213846 h 838042"/>
                <a:gd name="connsiteX98" fmla="*/ 746401 w 1033465"/>
                <a:gd name="connsiteY98" fmla="*/ 201789 h 838042"/>
                <a:gd name="connsiteX99" fmla="*/ 694397 w 1033465"/>
                <a:gd name="connsiteY99" fmla="*/ 226429 h 838042"/>
                <a:gd name="connsiteX100" fmla="*/ 656678 w 1033465"/>
                <a:gd name="connsiteY100" fmla="*/ 257626 h 838042"/>
                <a:gd name="connsiteX101" fmla="*/ 616001 w 1033465"/>
                <a:gd name="connsiteY101" fmla="*/ 286712 h 838042"/>
                <a:gd name="connsiteX102" fmla="*/ 564857 w 1033465"/>
                <a:gd name="connsiteY102" fmla="*/ 287389 h 838042"/>
                <a:gd name="connsiteX103" fmla="*/ 530567 w 1033465"/>
                <a:gd name="connsiteY103" fmla="*/ 274054 h 838042"/>
                <a:gd name="connsiteX104" fmla="*/ 507707 w 1033465"/>
                <a:gd name="connsiteY104" fmla="*/ 235954 h 838042"/>
                <a:gd name="connsiteX105" fmla="*/ 509612 w 1033465"/>
                <a:gd name="connsiteY105" fmla="*/ 171184 h 838042"/>
                <a:gd name="connsiteX106" fmla="*/ 508314 w 1033465"/>
                <a:gd name="connsiteY106" fmla="*/ 73485 h 838042"/>
                <a:gd name="connsiteX107" fmla="*/ 454116 w 1033465"/>
                <a:gd name="connsiteY107" fmla="*/ 11248 h 838042"/>
                <a:gd name="connsiteX108" fmla="*/ 442470 w 1033465"/>
                <a:gd name="connsiteY108" fmla="*/ 75864 h 838042"/>
                <a:gd name="connsiteX109" fmla="*/ 439226 w 1033465"/>
                <a:gd name="connsiteY109" fmla="*/ 132660 h 838042"/>
                <a:gd name="connsiteX110" fmla="*/ 436054 w 1033465"/>
                <a:gd name="connsiteY11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81012 w 1033465"/>
                <a:gd name="connsiteY23" fmla="*/ 399784 h 838042"/>
                <a:gd name="connsiteX24" fmla="*/ 282917 w 1033465"/>
                <a:gd name="connsiteY24" fmla="*/ 405499 h 838042"/>
                <a:gd name="connsiteX25" fmla="*/ 265772 w 1033465"/>
                <a:gd name="connsiteY25" fmla="*/ 447409 h 838042"/>
                <a:gd name="connsiteX26" fmla="*/ 254342 w 1033465"/>
                <a:gd name="connsiteY26" fmla="*/ 455029 h 838042"/>
                <a:gd name="connsiteX27" fmla="*/ 242912 w 1033465"/>
                <a:gd name="connsiteY27" fmla="*/ 458839 h 838042"/>
                <a:gd name="connsiteX28" fmla="*/ 128612 w 1033465"/>
                <a:gd name="connsiteY28" fmla="*/ 458839 h 838042"/>
                <a:gd name="connsiteX29" fmla="*/ 122897 w 1033465"/>
                <a:gd name="connsiteY29" fmla="*/ 460744 h 838042"/>
                <a:gd name="connsiteX30" fmla="*/ 107657 w 1033465"/>
                <a:gd name="connsiteY30" fmla="*/ 462649 h 838042"/>
                <a:gd name="connsiteX31" fmla="*/ 90512 w 1033465"/>
                <a:gd name="connsiteY31" fmla="*/ 468364 h 838042"/>
                <a:gd name="connsiteX32" fmla="*/ 84797 w 1033465"/>
                <a:gd name="connsiteY32" fmla="*/ 470269 h 838042"/>
                <a:gd name="connsiteX33" fmla="*/ 79082 w 1033465"/>
                <a:gd name="connsiteY33" fmla="*/ 474079 h 838042"/>
                <a:gd name="connsiteX34" fmla="*/ 67652 w 1033465"/>
                <a:gd name="connsiteY34" fmla="*/ 475984 h 838042"/>
                <a:gd name="connsiteX35" fmla="*/ 29552 w 1033465"/>
                <a:gd name="connsiteY35" fmla="*/ 477889 h 838042"/>
                <a:gd name="connsiteX36" fmla="*/ 18122 w 1033465"/>
                <a:gd name="connsiteY36" fmla="*/ 483604 h 838042"/>
                <a:gd name="connsiteX37" fmla="*/ 8597 w 1033465"/>
                <a:gd name="connsiteY37" fmla="*/ 493129 h 838042"/>
                <a:gd name="connsiteX38" fmla="*/ 6692 w 1033465"/>
                <a:gd name="connsiteY38" fmla="*/ 498844 h 838042"/>
                <a:gd name="connsiteX39" fmla="*/ 2882 w 1033465"/>
                <a:gd name="connsiteY39" fmla="*/ 504559 h 838042"/>
                <a:gd name="connsiteX40" fmla="*/ 14312 w 1033465"/>
                <a:gd name="connsiteY40" fmla="*/ 540754 h 838042"/>
                <a:gd name="connsiteX41" fmla="*/ 147662 w 1033465"/>
                <a:gd name="connsiteY41" fmla="*/ 540754 h 838042"/>
                <a:gd name="connsiteX42" fmla="*/ 155282 w 1033465"/>
                <a:gd name="connsiteY42" fmla="*/ 538849 h 838042"/>
                <a:gd name="connsiteX43" fmla="*/ 305777 w 1033465"/>
                <a:gd name="connsiteY43" fmla="*/ 533134 h 838042"/>
                <a:gd name="connsiteX44" fmla="*/ 321017 w 1033465"/>
                <a:gd name="connsiteY44" fmla="*/ 540754 h 838042"/>
                <a:gd name="connsiteX45" fmla="*/ 332447 w 1033465"/>
                <a:gd name="connsiteY45" fmla="*/ 546469 h 838042"/>
                <a:gd name="connsiteX46" fmla="*/ 336257 w 1033465"/>
                <a:gd name="connsiteY46" fmla="*/ 552184 h 838042"/>
                <a:gd name="connsiteX47" fmla="*/ 341972 w 1033465"/>
                <a:gd name="connsiteY47" fmla="*/ 554089 h 838042"/>
                <a:gd name="connsiteX48" fmla="*/ 353402 w 1033465"/>
                <a:gd name="connsiteY48" fmla="*/ 561709 h 838042"/>
                <a:gd name="connsiteX49" fmla="*/ 359117 w 1033465"/>
                <a:gd name="connsiteY49" fmla="*/ 565519 h 838042"/>
                <a:gd name="connsiteX50" fmla="*/ 362927 w 1033465"/>
                <a:gd name="connsiteY50" fmla="*/ 571234 h 838042"/>
                <a:gd name="connsiteX51" fmla="*/ 368642 w 1033465"/>
                <a:gd name="connsiteY51" fmla="*/ 582664 h 838042"/>
                <a:gd name="connsiteX52" fmla="*/ 364832 w 1033465"/>
                <a:gd name="connsiteY52" fmla="*/ 609334 h 838042"/>
                <a:gd name="connsiteX53" fmla="*/ 361022 w 1033465"/>
                <a:gd name="connsiteY53" fmla="*/ 615049 h 838042"/>
                <a:gd name="connsiteX54" fmla="*/ 359117 w 1033465"/>
                <a:gd name="connsiteY54" fmla="*/ 620764 h 838042"/>
                <a:gd name="connsiteX55" fmla="*/ 355307 w 1033465"/>
                <a:gd name="connsiteY55" fmla="*/ 626479 h 838042"/>
                <a:gd name="connsiteX56" fmla="*/ 353402 w 1033465"/>
                <a:gd name="connsiteY56" fmla="*/ 632194 h 838042"/>
                <a:gd name="connsiteX57" fmla="*/ 349592 w 1033465"/>
                <a:gd name="connsiteY57" fmla="*/ 637909 h 838042"/>
                <a:gd name="connsiteX58" fmla="*/ 332447 w 1033465"/>
                <a:gd name="connsiteY58" fmla="*/ 704584 h 838042"/>
                <a:gd name="connsiteX59" fmla="*/ 330542 w 1033465"/>
                <a:gd name="connsiteY59" fmla="*/ 756019 h 838042"/>
                <a:gd name="connsiteX60" fmla="*/ 332447 w 1033465"/>
                <a:gd name="connsiteY60" fmla="*/ 780784 h 838042"/>
                <a:gd name="connsiteX61" fmla="*/ 334352 w 1033465"/>
                <a:gd name="connsiteY61" fmla="*/ 786499 h 838042"/>
                <a:gd name="connsiteX62" fmla="*/ 338162 w 1033465"/>
                <a:gd name="connsiteY62" fmla="*/ 790309 h 838042"/>
                <a:gd name="connsiteX63" fmla="*/ 366737 w 1033465"/>
                <a:gd name="connsiteY63" fmla="*/ 836029 h 838042"/>
                <a:gd name="connsiteX64" fmla="*/ 389597 w 1033465"/>
                <a:gd name="connsiteY64" fmla="*/ 837934 h 838042"/>
                <a:gd name="connsiteX65" fmla="*/ 397407 w 1033465"/>
                <a:gd name="connsiteY65" fmla="*/ 833530 h 838042"/>
                <a:gd name="connsiteX66" fmla="*/ 402932 w 1033465"/>
                <a:gd name="connsiteY66" fmla="*/ 784594 h 838042"/>
                <a:gd name="connsiteX67" fmla="*/ 406742 w 1033465"/>
                <a:gd name="connsiteY67" fmla="*/ 727444 h 838042"/>
                <a:gd name="connsiteX68" fmla="*/ 423887 w 1033465"/>
                <a:gd name="connsiteY68" fmla="*/ 672199 h 838042"/>
                <a:gd name="connsiteX69" fmla="*/ 429602 w 1033465"/>
                <a:gd name="connsiteY69" fmla="*/ 658864 h 838042"/>
                <a:gd name="connsiteX70" fmla="*/ 444084 w 1033465"/>
                <a:gd name="connsiteY70" fmla="*/ 626947 h 838042"/>
                <a:gd name="connsiteX71" fmla="*/ 464289 w 1033465"/>
                <a:gd name="connsiteY71" fmla="*/ 600072 h 838042"/>
                <a:gd name="connsiteX72" fmla="*/ 523510 w 1033465"/>
                <a:gd name="connsiteY72" fmla="*/ 565123 h 838042"/>
                <a:gd name="connsiteX73" fmla="*/ 599348 w 1033465"/>
                <a:gd name="connsiteY73" fmla="*/ 550915 h 838042"/>
                <a:gd name="connsiteX74" fmla="*/ 707801 w 1033465"/>
                <a:gd name="connsiteY74" fmla="*/ 612819 h 838042"/>
                <a:gd name="connsiteX75" fmla="*/ 780122 w 1033465"/>
                <a:gd name="connsiteY75" fmla="*/ 656959 h 838042"/>
                <a:gd name="connsiteX76" fmla="*/ 804887 w 1033465"/>
                <a:gd name="connsiteY76" fmla="*/ 632194 h 838042"/>
                <a:gd name="connsiteX77" fmla="*/ 801077 w 1033465"/>
                <a:gd name="connsiteY77" fmla="*/ 601714 h 838042"/>
                <a:gd name="connsiteX78" fmla="*/ 762796 w 1033465"/>
                <a:gd name="connsiteY78" fmla="*/ 562523 h 838042"/>
                <a:gd name="connsiteX79" fmla="*/ 650582 w 1033465"/>
                <a:gd name="connsiteY79" fmla="*/ 479794 h 838042"/>
                <a:gd name="connsiteX80" fmla="*/ 646772 w 1033465"/>
                <a:gd name="connsiteY80" fmla="*/ 462649 h 838042"/>
                <a:gd name="connsiteX81" fmla="*/ 658202 w 1033465"/>
                <a:gd name="connsiteY81" fmla="*/ 426454 h 838042"/>
                <a:gd name="connsiteX82" fmla="*/ 726782 w 1033465"/>
                <a:gd name="connsiteY82" fmla="*/ 405499 h 838042"/>
                <a:gd name="connsiteX83" fmla="*/ 813738 w 1033465"/>
                <a:gd name="connsiteY83" fmla="*/ 406906 h 838042"/>
                <a:gd name="connsiteX84" fmla="*/ 906231 w 1033465"/>
                <a:gd name="connsiteY84" fmla="*/ 417646 h 838042"/>
                <a:gd name="connsiteX85" fmla="*/ 1002290 w 1033465"/>
                <a:gd name="connsiteY85" fmla="*/ 426835 h 838042"/>
                <a:gd name="connsiteX86" fmla="*/ 1032449 w 1033465"/>
                <a:gd name="connsiteY86" fmla="*/ 402711 h 838042"/>
                <a:gd name="connsiteX87" fmla="*/ 1020514 w 1033465"/>
                <a:gd name="connsiteY87" fmla="*/ 377797 h 838042"/>
                <a:gd name="connsiteX88" fmla="*/ 964889 w 1033465"/>
                <a:gd name="connsiteY88" fmla="*/ 358029 h 838042"/>
                <a:gd name="connsiteX89" fmla="*/ 827747 w 1033465"/>
                <a:gd name="connsiteY89" fmla="*/ 357874 h 838042"/>
                <a:gd name="connsiteX90" fmla="*/ 755811 w 1033465"/>
                <a:gd name="connsiteY90" fmla="*/ 361702 h 838042"/>
                <a:gd name="connsiteX91" fmla="*/ 671537 w 1033465"/>
                <a:gd name="connsiteY91" fmla="*/ 369304 h 838042"/>
                <a:gd name="connsiteX92" fmla="*/ 644867 w 1033465"/>
                <a:gd name="connsiteY92" fmla="*/ 338824 h 838042"/>
                <a:gd name="connsiteX93" fmla="*/ 676403 w 1033465"/>
                <a:gd name="connsiteY93" fmla="*/ 304962 h 838042"/>
                <a:gd name="connsiteX94" fmla="*/ 707732 w 1033465"/>
                <a:gd name="connsiteY94" fmla="*/ 283579 h 838042"/>
                <a:gd name="connsiteX95" fmla="*/ 743927 w 1033465"/>
                <a:gd name="connsiteY95" fmla="*/ 251194 h 838042"/>
                <a:gd name="connsiteX96" fmla="*/ 783019 w 1033465"/>
                <a:gd name="connsiteY96" fmla="*/ 213846 h 838042"/>
                <a:gd name="connsiteX97" fmla="*/ 746401 w 1033465"/>
                <a:gd name="connsiteY97" fmla="*/ 201789 h 838042"/>
                <a:gd name="connsiteX98" fmla="*/ 694397 w 1033465"/>
                <a:gd name="connsiteY98" fmla="*/ 226429 h 838042"/>
                <a:gd name="connsiteX99" fmla="*/ 656678 w 1033465"/>
                <a:gd name="connsiteY99" fmla="*/ 257626 h 838042"/>
                <a:gd name="connsiteX100" fmla="*/ 616001 w 1033465"/>
                <a:gd name="connsiteY100" fmla="*/ 286712 h 838042"/>
                <a:gd name="connsiteX101" fmla="*/ 564857 w 1033465"/>
                <a:gd name="connsiteY101" fmla="*/ 287389 h 838042"/>
                <a:gd name="connsiteX102" fmla="*/ 530567 w 1033465"/>
                <a:gd name="connsiteY102" fmla="*/ 274054 h 838042"/>
                <a:gd name="connsiteX103" fmla="*/ 507707 w 1033465"/>
                <a:gd name="connsiteY103" fmla="*/ 235954 h 838042"/>
                <a:gd name="connsiteX104" fmla="*/ 509612 w 1033465"/>
                <a:gd name="connsiteY104" fmla="*/ 171184 h 838042"/>
                <a:gd name="connsiteX105" fmla="*/ 508314 w 1033465"/>
                <a:gd name="connsiteY105" fmla="*/ 73485 h 838042"/>
                <a:gd name="connsiteX106" fmla="*/ 454116 w 1033465"/>
                <a:gd name="connsiteY106" fmla="*/ 11248 h 838042"/>
                <a:gd name="connsiteX107" fmla="*/ 442470 w 1033465"/>
                <a:gd name="connsiteY107" fmla="*/ 75864 h 838042"/>
                <a:gd name="connsiteX108" fmla="*/ 439226 w 1033465"/>
                <a:gd name="connsiteY108" fmla="*/ 132660 h 838042"/>
                <a:gd name="connsiteX109" fmla="*/ 436054 w 1033465"/>
                <a:gd name="connsiteY109"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56247 w 1033465"/>
                <a:gd name="connsiteY22" fmla="*/ 329299 h 838042"/>
                <a:gd name="connsiteX23" fmla="*/ 281012 w 1033465"/>
                <a:gd name="connsiteY23" fmla="*/ 399784 h 838042"/>
                <a:gd name="connsiteX24" fmla="*/ 265772 w 1033465"/>
                <a:gd name="connsiteY24" fmla="*/ 447409 h 838042"/>
                <a:gd name="connsiteX25" fmla="*/ 254342 w 1033465"/>
                <a:gd name="connsiteY25" fmla="*/ 455029 h 838042"/>
                <a:gd name="connsiteX26" fmla="*/ 242912 w 1033465"/>
                <a:gd name="connsiteY26" fmla="*/ 458839 h 838042"/>
                <a:gd name="connsiteX27" fmla="*/ 128612 w 1033465"/>
                <a:gd name="connsiteY27" fmla="*/ 458839 h 838042"/>
                <a:gd name="connsiteX28" fmla="*/ 122897 w 1033465"/>
                <a:gd name="connsiteY28" fmla="*/ 460744 h 838042"/>
                <a:gd name="connsiteX29" fmla="*/ 107657 w 1033465"/>
                <a:gd name="connsiteY29" fmla="*/ 462649 h 838042"/>
                <a:gd name="connsiteX30" fmla="*/ 90512 w 1033465"/>
                <a:gd name="connsiteY30" fmla="*/ 468364 h 838042"/>
                <a:gd name="connsiteX31" fmla="*/ 84797 w 1033465"/>
                <a:gd name="connsiteY31" fmla="*/ 470269 h 838042"/>
                <a:gd name="connsiteX32" fmla="*/ 79082 w 1033465"/>
                <a:gd name="connsiteY32" fmla="*/ 474079 h 838042"/>
                <a:gd name="connsiteX33" fmla="*/ 67652 w 1033465"/>
                <a:gd name="connsiteY33" fmla="*/ 475984 h 838042"/>
                <a:gd name="connsiteX34" fmla="*/ 29552 w 1033465"/>
                <a:gd name="connsiteY34" fmla="*/ 477889 h 838042"/>
                <a:gd name="connsiteX35" fmla="*/ 18122 w 1033465"/>
                <a:gd name="connsiteY35" fmla="*/ 483604 h 838042"/>
                <a:gd name="connsiteX36" fmla="*/ 8597 w 1033465"/>
                <a:gd name="connsiteY36" fmla="*/ 493129 h 838042"/>
                <a:gd name="connsiteX37" fmla="*/ 6692 w 1033465"/>
                <a:gd name="connsiteY37" fmla="*/ 498844 h 838042"/>
                <a:gd name="connsiteX38" fmla="*/ 2882 w 1033465"/>
                <a:gd name="connsiteY38" fmla="*/ 504559 h 838042"/>
                <a:gd name="connsiteX39" fmla="*/ 14312 w 1033465"/>
                <a:gd name="connsiteY39" fmla="*/ 540754 h 838042"/>
                <a:gd name="connsiteX40" fmla="*/ 147662 w 1033465"/>
                <a:gd name="connsiteY40" fmla="*/ 540754 h 838042"/>
                <a:gd name="connsiteX41" fmla="*/ 155282 w 1033465"/>
                <a:gd name="connsiteY41" fmla="*/ 538849 h 838042"/>
                <a:gd name="connsiteX42" fmla="*/ 305777 w 1033465"/>
                <a:gd name="connsiteY42" fmla="*/ 533134 h 838042"/>
                <a:gd name="connsiteX43" fmla="*/ 321017 w 1033465"/>
                <a:gd name="connsiteY43" fmla="*/ 540754 h 838042"/>
                <a:gd name="connsiteX44" fmla="*/ 332447 w 1033465"/>
                <a:gd name="connsiteY44" fmla="*/ 546469 h 838042"/>
                <a:gd name="connsiteX45" fmla="*/ 336257 w 1033465"/>
                <a:gd name="connsiteY45" fmla="*/ 552184 h 838042"/>
                <a:gd name="connsiteX46" fmla="*/ 341972 w 1033465"/>
                <a:gd name="connsiteY46" fmla="*/ 554089 h 838042"/>
                <a:gd name="connsiteX47" fmla="*/ 353402 w 1033465"/>
                <a:gd name="connsiteY47" fmla="*/ 561709 h 838042"/>
                <a:gd name="connsiteX48" fmla="*/ 359117 w 1033465"/>
                <a:gd name="connsiteY48" fmla="*/ 565519 h 838042"/>
                <a:gd name="connsiteX49" fmla="*/ 362927 w 1033465"/>
                <a:gd name="connsiteY49" fmla="*/ 571234 h 838042"/>
                <a:gd name="connsiteX50" fmla="*/ 368642 w 1033465"/>
                <a:gd name="connsiteY50" fmla="*/ 582664 h 838042"/>
                <a:gd name="connsiteX51" fmla="*/ 364832 w 1033465"/>
                <a:gd name="connsiteY51" fmla="*/ 609334 h 838042"/>
                <a:gd name="connsiteX52" fmla="*/ 361022 w 1033465"/>
                <a:gd name="connsiteY52" fmla="*/ 615049 h 838042"/>
                <a:gd name="connsiteX53" fmla="*/ 359117 w 1033465"/>
                <a:gd name="connsiteY53" fmla="*/ 620764 h 838042"/>
                <a:gd name="connsiteX54" fmla="*/ 355307 w 1033465"/>
                <a:gd name="connsiteY54" fmla="*/ 626479 h 838042"/>
                <a:gd name="connsiteX55" fmla="*/ 353402 w 1033465"/>
                <a:gd name="connsiteY55" fmla="*/ 632194 h 838042"/>
                <a:gd name="connsiteX56" fmla="*/ 349592 w 1033465"/>
                <a:gd name="connsiteY56" fmla="*/ 637909 h 838042"/>
                <a:gd name="connsiteX57" fmla="*/ 332447 w 1033465"/>
                <a:gd name="connsiteY57" fmla="*/ 704584 h 838042"/>
                <a:gd name="connsiteX58" fmla="*/ 330542 w 1033465"/>
                <a:gd name="connsiteY58" fmla="*/ 756019 h 838042"/>
                <a:gd name="connsiteX59" fmla="*/ 332447 w 1033465"/>
                <a:gd name="connsiteY59" fmla="*/ 780784 h 838042"/>
                <a:gd name="connsiteX60" fmla="*/ 334352 w 1033465"/>
                <a:gd name="connsiteY60" fmla="*/ 786499 h 838042"/>
                <a:gd name="connsiteX61" fmla="*/ 338162 w 1033465"/>
                <a:gd name="connsiteY61" fmla="*/ 790309 h 838042"/>
                <a:gd name="connsiteX62" fmla="*/ 366737 w 1033465"/>
                <a:gd name="connsiteY62" fmla="*/ 836029 h 838042"/>
                <a:gd name="connsiteX63" fmla="*/ 389597 w 1033465"/>
                <a:gd name="connsiteY63" fmla="*/ 837934 h 838042"/>
                <a:gd name="connsiteX64" fmla="*/ 397407 w 1033465"/>
                <a:gd name="connsiteY64" fmla="*/ 833530 h 838042"/>
                <a:gd name="connsiteX65" fmla="*/ 402932 w 1033465"/>
                <a:gd name="connsiteY65" fmla="*/ 784594 h 838042"/>
                <a:gd name="connsiteX66" fmla="*/ 406742 w 1033465"/>
                <a:gd name="connsiteY66" fmla="*/ 727444 h 838042"/>
                <a:gd name="connsiteX67" fmla="*/ 423887 w 1033465"/>
                <a:gd name="connsiteY67" fmla="*/ 672199 h 838042"/>
                <a:gd name="connsiteX68" fmla="*/ 429602 w 1033465"/>
                <a:gd name="connsiteY68" fmla="*/ 658864 h 838042"/>
                <a:gd name="connsiteX69" fmla="*/ 444084 w 1033465"/>
                <a:gd name="connsiteY69" fmla="*/ 626947 h 838042"/>
                <a:gd name="connsiteX70" fmla="*/ 464289 w 1033465"/>
                <a:gd name="connsiteY70" fmla="*/ 600072 h 838042"/>
                <a:gd name="connsiteX71" fmla="*/ 523510 w 1033465"/>
                <a:gd name="connsiteY71" fmla="*/ 565123 h 838042"/>
                <a:gd name="connsiteX72" fmla="*/ 599348 w 1033465"/>
                <a:gd name="connsiteY72" fmla="*/ 550915 h 838042"/>
                <a:gd name="connsiteX73" fmla="*/ 707801 w 1033465"/>
                <a:gd name="connsiteY73" fmla="*/ 612819 h 838042"/>
                <a:gd name="connsiteX74" fmla="*/ 780122 w 1033465"/>
                <a:gd name="connsiteY74" fmla="*/ 656959 h 838042"/>
                <a:gd name="connsiteX75" fmla="*/ 804887 w 1033465"/>
                <a:gd name="connsiteY75" fmla="*/ 632194 h 838042"/>
                <a:gd name="connsiteX76" fmla="*/ 801077 w 1033465"/>
                <a:gd name="connsiteY76" fmla="*/ 601714 h 838042"/>
                <a:gd name="connsiteX77" fmla="*/ 762796 w 1033465"/>
                <a:gd name="connsiteY77" fmla="*/ 562523 h 838042"/>
                <a:gd name="connsiteX78" fmla="*/ 650582 w 1033465"/>
                <a:gd name="connsiteY78" fmla="*/ 479794 h 838042"/>
                <a:gd name="connsiteX79" fmla="*/ 646772 w 1033465"/>
                <a:gd name="connsiteY79" fmla="*/ 462649 h 838042"/>
                <a:gd name="connsiteX80" fmla="*/ 658202 w 1033465"/>
                <a:gd name="connsiteY80" fmla="*/ 426454 h 838042"/>
                <a:gd name="connsiteX81" fmla="*/ 726782 w 1033465"/>
                <a:gd name="connsiteY81" fmla="*/ 405499 h 838042"/>
                <a:gd name="connsiteX82" fmla="*/ 813738 w 1033465"/>
                <a:gd name="connsiteY82" fmla="*/ 406906 h 838042"/>
                <a:gd name="connsiteX83" fmla="*/ 906231 w 1033465"/>
                <a:gd name="connsiteY83" fmla="*/ 417646 h 838042"/>
                <a:gd name="connsiteX84" fmla="*/ 1002290 w 1033465"/>
                <a:gd name="connsiteY84" fmla="*/ 426835 h 838042"/>
                <a:gd name="connsiteX85" fmla="*/ 1032449 w 1033465"/>
                <a:gd name="connsiteY85" fmla="*/ 402711 h 838042"/>
                <a:gd name="connsiteX86" fmla="*/ 1020514 w 1033465"/>
                <a:gd name="connsiteY86" fmla="*/ 377797 h 838042"/>
                <a:gd name="connsiteX87" fmla="*/ 964889 w 1033465"/>
                <a:gd name="connsiteY87" fmla="*/ 358029 h 838042"/>
                <a:gd name="connsiteX88" fmla="*/ 827747 w 1033465"/>
                <a:gd name="connsiteY88" fmla="*/ 357874 h 838042"/>
                <a:gd name="connsiteX89" fmla="*/ 755811 w 1033465"/>
                <a:gd name="connsiteY89" fmla="*/ 361702 h 838042"/>
                <a:gd name="connsiteX90" fmla="*/ 671537 w 1033465"/>
                <a:gd name="connsiteY90" fmla="*/ 369304 h 838042"/>
                <a:gd name="connsiteX91" fmla="*/ 644867 w 1033465"/>
                <a:gd name="connsiteY91" fmla="*/ 338824 h 838042"/>
                <a:gd name="connsiteX92" fmla="*/ 676403 w 1033465"/>
                <a:gd name="connsiteY92" fmla="*/ 304962 h 838042"/>
                <a:gd name="connsiteX93" fmla="*/ 707732 w 1033465"/>
                <a:gd name="connsiteY93" fmla="*/ 283579 h 838042"/>
                <a:gd name="connsiteX94" fmla="*/ 743927 w 1033465"/>
                <a:gd name="connsiteY94" fmla="*/ 251194 h 838042"/>
                <a:gd name="connsiteX95" fmla="*/ 783019 w 1033465"/>
                <a:gd name="connsiteY95" fmla="*/ 213846 h 838042"/>
                <a:gd name="connsiteX96" fmla="*/ 746401 w 1033465"/>
                <a:gd name="connsiteY96" fmla="*/ 201789 h 838042"/>
                <a:gd name="connsiteX97" fmla="*/ 694397 w 1033465"/>
                <a:gd name="connsiteY97" fmla="*/ 226429 h 838042"/>
                <a:gd name="connsiteX98" fmla="*/ 656678 w 1033465"/>
                <a:gd name="connsiteY98" fmla="*/ 257626 h 838042"/>
                <a:gd name="connsiteX99" fmla="*/ 616001 w 1033465"/>
                <a:gd name="connsiteY99" fmla="*/ 286712 h 838042"/>
                <a:gd name="connsiteX100" fmla="*/ 564857 w 1033465"/>
                <a:gd name="connsiteY100" fmla="*/ 287389 h 838042"/>
                <a:gd name="connsiteX101" fmla="*/ 530567 w 1033465"/>
                <a:gd name="connsiteY101" fmla="*/ 274054 h 838042"/>
                <a:gd name="connsiteX102" fmla="*/ 507707 w 1033465"/>
                <a:gd name="connsiteY102" fmla="*/ 235954 h 838042"/>
                <a:gd name="connsiteX103" fmla="*/ 509612 w 1033465"/>
                <a:gd name="connsiteY103" fmla="*/ 171184 h 838042"/>
                <a:gd name="connsiteX104" fmla="*/ 508314 w 1033465"/>
                <a:gd name="connsiteY104" fmla="*/ 73485 h 838042"/>
                <a:gd name="connsiteX105" fmla="*/ 454116 w 1033465"/>
                <a:gd name="connsiteY105" fmla="*/ 11248 h 838042"/>
                <a:gd name="connsiteX106" fmla="*/ 442470 w 1033465"/>
                <a:gd name="connsiteY106" fmla="*/ 75864 h 838042"/>
                <a:gd name="connsiteX107" fmla="*/ 439226 w 1033465"/>
                <a:gd name="connsiteY107" fmla="*/ 132660 h 838042"/>
                <a:gd name="connsiteX108" fmla="*/ 436054 w 1033465"/>
                <a:gd name="connsiteY108"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81012 w 1033465"/>
                <a:gd name="connsiteY22" fmla="*/ 399784 h 838042"/>
                <a:gd name="connsiteX23" fmla="*/ 265772 w 1033465"/>
                <a:gd name="connsiteY23" fmla="*/ 447409 h 838042"/>
                <a:gd name="connsiteX24" fmla="*/ 254342 w 1033465"/>
                <a:gd name="connsiteY24" fmla="*/ 455029 h 838042"/>
                <a:gd name="connsiteX25" fmla="*/ 242912 w 1033465"/>
                <a:gd name="connsiteY25" fmla="*/ 458839 h 838042"/>
                <a:gd name="connsiteX26" fmla="*/ 128612 w 1033465"/>
                <a:gd name="connsiteY26" fmla="*/ 458839 h 838042"/>
                <a:gd name="connsiteX27" fmla="*/ 122897 w 1033465"/>
                <a:gd name="connsiteY27" fmla="*/ 460744 h 838042"/>
                <a:gd name="connsiteX28" fmla="*/ 107657 w 1033465"/>
                <a:gd name="connsiteY28" fmla="*/ 462649 h 838042"/>
                <a:gd name="connsiteX29" fmla="*/ 90512 w 1033465"/>
                <a:gd name="connsiteY29" fmla="*/ 468364 h 838042"/>
                <a:gd name="connsiteX30" fmla="*/ 84797 w 1033465"/>
                <a:gd name="connsiteY30" fmla="*/ 470269 h 838042"/>
                <a:gd name="connsiteX31" fmla="*/ 79082 w 1033465"/>
                <a:gd name="connsiteY31" fmla="*/ 474079 h 838042"/>
                <a:gd name="connsiteX32" fmla="*/ 67652 w 1033465"/>
                <a:gd name="connsiteY32" fmla="*/ 475984 h 838042"/>
                <a:gd name="connsiteX33" fmla="*/ 29552 w 1033465"/>
                <a:gd name="connsiteY33" fmla="*/ 477889 h 838042"/>
                <a:gd name="connsiteX34" fmla="*/ 18122 w 1033465"/>
                <a:gd name="connsiteY34" fmla="*/ 483604 h 838042"/>
                <a:gd name="connsiteX35" fmla="*/ 8597 w 1033465"/>
                <a:gd name="connsiteY35" fmla="*/ 493129 h 838042"/>
                <a:gd name="connsiteX36" fmla="*/ 6692 w 1033465"/>
                <a:gd name="connsiteY36" fmla="*/ 498844 h 838042"/>
                <a:gd name="connsiteX37" fmla="*/ 2882 w 1033465"/>
                <a:gd name="connsiteY37" fmla="*/ 504559 h 838042"/>
                <a:gd name="connsiteX38" fmla="*/ 14312 w 1033465"/>
                <a:gd name="connsiteY38" fmla="*/ 540754 h 838042"/>
                <a:gd name="connsiteX39" fmla="*/ 147662 w 1033465"/>
                <a:gd name="connsiteY39" fmla="*/ 540754 h 838042"/>
                <a:gd name="connsiteX40" fmla="*/ 155282 w 1033465"/>
                <a:gd name="connsiteY40" fmla="*/ 538849 h 838042"/>
                <a:gd name="connsiteX41" fmla="*/ 305777 w 1033465"/>
                <a:gd name="connsiteY41" fmla="*/ 533134 h 838042"/>
                <a:gd name="connsiteX42" fmla="*/ 321017 w 1033465"/>
                <a:gd name="connsiteY42" fmla="*/ 540754 h 838042"/>
                <a:gd name="connsiteX43" fmla="*/ 332447 w 1033465"/>
                <a:gd name="connsiteY43" fmla="*/ 546469 h 838042"/>
                <a:gd name="connsiteX44" fmla="*/ 336257 w 1033465"/>
                <a:gd name="connsiteY44" fmla="*/ 552184 h 838042"/>
                <a:gd name="connsiteX45" fmla="*/ 341972 w 1033465"/>
                <a:gd name="connsiteY45" fmla="*/ 554089 h 838042"/>
                <a:gd name="connsiteX46" fmla="*/ 353402 w 1033465"/>
                <a:gd name="connsiteY46" fmla="*/ 561709 h 838042"/>
                <a:gd name="connsiteX47" fmla="*/ 359117 w 1033465"/>
                <a:gd name="connsiteY47" fmla="*/ 565519 h 838042"/>
                <a:gd name="connsiteX48" fmla="*/ 362927 w 1033465"/>
                <a:gd name="connsiteY48" fmla="*/ 571234 h 838042"/>
                <a:gd name="connsiteX49" fmla="*/ 368642 w 1033465"/>
                <a:gd name="connsiteY49" fmla="*/ 582664 h 838042"/>
                <a:gd name="connsiteX50" fmla="*/ 364832 w 1033465"/>
                <a:gd name="connsiteY50" fmla="*/ 609334 h 838042"/>
                <a:gd name="connsiteX51" fmla="*/ 361022 w 1033465"/>
                <a:gd name="connsiteY51" fmla="*/ 615049 h 838042"/>
                <a:gd name="connsiteX52" fmla="*/ 359117 w 1033465"/>
                <a:gd name="connsiteY52" fmla="*/ 620764 h 838042"/>
                <a:gd name="connsiteX53" fmla="*/ 355307 w 1033465"/>
                <a:gd name="connsiteY53" fmla="*/ 626479 h 838042"/>
                <a:gd name="connsiteX54" fmla="*/ 353402 w 1033465"/>
                <a:gd name="connsiteY54" fmla="*/ 632194 h 838042"/>
                <a:gd name="connsiteX55" fmla="*/ 349592 w 1033465"/>
                <a:gd name="connsiteY55" fmla="*/ 637909 h 838042"/>
                <a:gd name="connsiteX56" fmla="*/ 332447 w 1033465"/>
                <a:gd name="connsiteY56" fmla="*/ 704584 h 838042"/>
                <a:gd name="connsiteX57" fmla="*/ 330542 w 1033465"/>
                <a:gd name="connsiteY57" fmla="*/ 756019 h 838042"/>
                <a:gd name="connsiteX58" fmla="*/ 332447 w 1033465"/>
                <a:gd name="connsiteY58" fmla="*/ 780784 h 838042"/>
                <a:gd name="connsiteX59" fmla="*/ 334352 w 1033465"/>
                <a:gd name="connsiteY59" fmla="*/ 786499 h 838042"/>
                <a:gd name="connsiteX60" fmla="*/ 338162 w 1033465"/>
                <a:gd name="connsiteY60" fmla="*/ 790309 h 838042"/>
                <a:gd name="connsiteX61" fmla="*/ 366737 w 1033465"/>
                <a:gd name="connsiteY61" fmla="*/ 836029 h 838042"/>
                <a:gd name="connsiteX62" fmla="*/ 389597 w 1033465"/>
                <a:gd name="connsiteY62" fmla="*/ 837934 h 838042"/>
                <a:gd name="connsiteX63" fmla="*/ 397407 w 1033465"/>
                <a:gd name="connsiteY63" fmla="*/ 833530 h 838042"/>
                <a:gd name="connsiteX64" fmla="*/ 402932 w 1033465"/>
                <a:gd name="connsiteY64" fmla="*/ 784594 h 838042"/>
                <a:gd name="connsiteX65" fmla="*/ 406742 w 1033465"/>
                <a:gd name="connsiteY65" fmla="*/ 727444 h 838042"/>
                <a:gd name="connsiteX66" fmla="*/ 423887 w 1033465"/>
                <a:gd name="connsiteY66" fmla="*/ 672199 h 838042"/>
                <a:gd name="connsiteX67" fmla="*/ 429602 w 1033465"/>
                <a:gd name="connsiteY67" fmla="*/ 658864 h 838042"/>
                <a:gd name="connsiteX68" fmla="*/ 444084 w 1033465"/>
                <a:gd name="connsiteY68" fmla="*/ 626947 h 838042"/>
                <a:gd name="connsiteX69" fmla="*/ 464289 w 1033465"/>
                <a:gd name="connsiteY69" fmla="*/ 600072 h 838042"/>
                <a:gd name="connsiteX70" fmla="*/ 523510 w 1033465"/>
                <a:gd name="connsiteY70" fmla="*/ 565123 h 838042"/>
                <a:gd name="connsiteX71" fmla="*/ 599348 w 1033465"/>
                <a:gd name="connsiteY71" fmla="*/ 550915 h 838042"/>
                <a:gd name="connsiteX72" fmla="*/ 707801 w 1033465"/>
                <a:gd name="connsiteY72" fmla="*/ 612819 h 838042"/>
                <a:gd name="connsiteX73" fmla="*/ 780122 w 1033465"/>
                <a:gd name="connsiteY73" fmla="*/ 656959 h 838042"/>
                <a:gd name="connsiteX74" fmla="*/ 804887 w 1033465"/>
                <a:gd name="connsiteY74" fmla="*/ 632194 h 838042"/>
                <a:gd name="connsiteX75" fmla="*/ 801077 w 1033465"/>
                <a:gd name="connsiteY75" fmla="*/ 601714 h 838042"/>
                <a:gd name="connsiteX76" fmla="*/ 762796 w 1033465"/>
                <a:gd name="connsiteY76" fmla="*/ 562523 h 838042"/>
                <a:gd name="connsiteX77" fmla="*/ 650582 w 1033465"/>
                <a:gd name="connsiteY77" fmla="*/ 479794 h 838042"/>
                <a:gd name="connsiteX78" fmla="*/ 646772 w 1033465"/>
                <a:gd name="connsiteY78" fmla="*/ 462649 h 838042"/>
                <a:gd name="connsiteX79" fmla="*/ 658202 w 1033465"/>
                <a:gd name="connsiteY79" fmla="*/ 426454 h 838042"/>
                <a:gd name="connsiteX80" fmla="*/ 726782 w 1033465"/>
                <a:gd name="connsiteY80" fmla="*/ 405499 h 838042"/>
                <a:gd name="connsiteX81" fmla="*/ 813738 w 1033465"/>
                <a:gd name="connsiteY81" fmla="*/ 406906 h 838042"/>
                <a:gd name="connsiteX82" fmla="*/ 906231 w 1033465"/>
                <a:gd name="connsiteY82" fmla="*/ 417646 h 838042"/>
                <a:gd name="connsiteX83" fmla="*/ 1002290 w 1033465"/>
                <a:gd name="connsiteY83" fmla="*/ 426835 h 838042"/>
                <a:gd name="connsiteX84" fmla="*/ 1032449 w 1033465"/>
                <a:gd name="connsiteY84" fmla="*/ 402711 h 838042"/>
                <a:gd name="connsiteX85" fmla="*/ 1020514 w 1033465"/>
                <a:gd name="connsiteY85" fmla="*/ 377797 h 838042"/>
                <a:gd name="connsiteX86" fmla="*/ 964889 w 1033465"/>
                <a:gd name="connsiteY86" fmla="*/ 358029 h 838042"/>
                <a:gd name="connsiteX87" fmla="*/ 827747 w 1033465"/>
                <a:gd name="connsiteY87" fmla="*/ 357874 h 838042"/>
                <a:gd name="connsiteX88" fmla="*/ 755811 w 1033465"/>
                <a:gd name="connsiteY88" fmla="*/ 361702 h 838042"/>
                <a:gd name="connsiteX89" fmla="*/ 671537 w 1033465"/>
                <a:gd name="connsiteY89" fmla="*/ 369304 h 838042"/>
                <a:gd name="connsiteX90" fmla="*/ 644867 w 1033465"/>
                <a:gd name="connsiteY90" fmla="*/ 338824 h 838042"/>
                <a:gd name="connsiteX91" fmla="*/ 676403 w 1033465"/>
                <a:gd name="connsiteY91" fmla="*/ 304962 h 838042"/>
                <a:gd name="connsiteX92" fmla="*/ 707732 w 1033465"/>
                <a:gd name="connsiteY92" fmla="*/ 283579 h 838042"/>
                <a:gd name="connsiteX93" fmla="*/ 743927 w 1033465"/>
                <a:gd name="connsiteY93" fmla="*/ 251194 h 838042"/>
                <a:gd name="connsiteX94" fmla="*/ 783019 w 1033465"/>
                <a:gd name="connsiteY94" fmla="*/ 213846 h 838042"/>
                <a:gd name="connsiteX95" fmla="*/ 746401 w 1033465"/>
                <a:gd name="connsiteY95" fmla="*/ 201789 h 838042"/>
                <a:gd name="connsiteX96" fmla="*/ 694397 w 1033465"/>
                <a:gd name="connsiteY96" fmla="*/ 226429 h 838042"/>
                <a:gd name="connsiteX97" fmla="*/ 656678 w 1033465"/>
                <a:gd name="connsiteY97" fmla="*/ 257626 h 838042"/>
                <a:gd name="connsiteX98" fmla="*/ 616001 w 1033465"/>
                <a:gd name="connsiteY98" fmla="*/ 286712 h 838042"/>
                <a:gd name="connsiteX99" fmla="*/ 564857 w 1033465"/>
                <a:gd name="connsiteY99" fmla="*/ 287389 h 838042"/>
                <a:gd name="connsiteX100" fmla="*/ 530567 w 1033465"/>
                <a:gd name="connsiteY100" fmla="*/ 274054 h 838042"/>
                <a:gd name="connsiteX101" fmla="*/ 507707 w 1033465"/>
                <a:gd name="connsiteY101" fmla="*/ 235954 h 838042"/>
                <a:gd name="connsiteX102" fmla="*/ 509612 w 1033465"/>
                <a:gd name="connsiteY102" fmla="*/ 171184 h 838042"/>
                <a:gd name="connsiteX103" fmla="*/ 508314 w 1033465"/>
                <a:gd name="connsiteY103" fmla="*/ 73485 h 838042"/>
                <a:gd name="connsiteX104" fmla="*/ 454116 w 1033465"/>
                <a:gd name="connsiteY104" fmla="*/ 11248 h 838042"/>
                <a:gd name="connsiteX105" fmla="*/ 442470 w 1033465"/>
                <a:gd name="connsiteY105" fmla="*/ 75864 h 838042"/>
                <a:gd name="connsiteX106" fmla="*/ 439226 w 1033465"/>
                <a:gd name="connsiteY106" fmla="*/ 132660 h 838042"/>
                <a:gd name="connsiteX107" fmla="*/ 436054 w 1033465"/>
                <a:gd name="connsiteY10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50532 w 1033465"/>
                <a:gd name="connsiteY21" fmla="*/ 325489 h 838042"/>
                <a:gd name="connsiteX22" fmla="*/ 281012 w 1033465"/>
                <a:gd name="connsiteY22" fmla="*/ 399784 h 838042"/>
                <a:gd name="connsiteX23" fmla="*/ 265772 w 1033465"/>
                <a:gd name="connsiteY23" fmla="*/ 447409 h 838042"/>
                <a:gd name="connsiteX24" fmla="*/ 254342 w 1033465"/>
                <a:gd name="connsiteY24" fmla="*/ 455029 h 838042"/>
                <a:gd name="connsiteX25" fmla="*/ 242912 w 1033465"/>
                <a:gd name="connsiteY25" fmla="*/ 458839 h 838042"/>
                <a:gd name="connsiteX26" fmla="*/ 128612 w 1033465"/>
                <a:gd name="connsiteY26" fmla="*/ 458839 h 838042"/>
                <a:gd name="connsiteX27" fmla="*/ 122897 w 1033465"/>
                <a:gd name="connsiteY27" fmla="*/ 460744 h 838042"/>
                <a:gd name="connsiteX28" fmla="*/ 107657 w 1033465"/>
                <a:gd name="connsiteY28" fmla="*/ 462649 h 838042"/>
                <a:gd name="connsiteX29" fmla="*/ 90512 w 1033465"/>
                <a:gd name="connsiteY29" fmla="*/ 468364 h 838042"/>
                <a:gd name="connsiteX30" fmla="*/ 84797 w 1033465"/>
                <a:gd name="connsiteY30" fmla="*/ 470269 h 838042"/>
                <a:gd name="connsiteX31" fmla="*/ 79082 w 1033465"/>
                <a:gd name="connsiteY31" fmla="*/ 474079 h 838042"/>
                <a:gd name="connsiteX32" fmla="*/ 67652 w 1033465"/>
                <a:gd name="connsiteY32" fmla="*/ 475984 h 838042"/>
                <a:gd name="connsiteX33" fmla="*/ 29552 w 1033465"/>
                <a:gd name="connsiteY33" fmla="*/ 477889 h 838042"/>
                <a:gd name="connsiteX34" fmla="*/ 18122 w 1033465"/>
                <a:gd name="connsiteY34" fmla="*/ 483604 h 838042"/>
                <a:gd name="connsiteX35" fmla="*/ 8597 w 1033465"/>
                <a:gd name="connsiteY35" fmla="*/ 493129 h 838042"/>
                <a:gd name="connsiteX36" fmla="*/ 6692 w 1033465"/>
                <a:gd name="connsiteY36" fmla="*/ 498844 h 838042"/>
                <a:gd name="connsiteX37" fmla="*/ 2882 w 1033465"/>
                <a:gd name="connsiteY37" fmla="*/ 504559 h 838042"/>
                <a:gd name="connsiteX38" fmla="*/ 14312 w 1033465"/>
                <a:gd name="connsiteY38" fmla="*/ 540754 h 838042"/>
                <a:gd name="connsiteX39" fmla="*/ 147662 w 1033465"/>
                <a:gd name="connsiteY39" fmla="*/ 540754 h 838042"/>
                <a:gd name="connsiteX40" fmla="*/ 155282 w 1033465"/>
                <a:gd name="connsiteY40" fmla="*/ 538849 h 838042"/>
                <a:gd name="connsiteX41" fmla="*/ 305777 w 1033465"/>
                <a:gd name="connsiteY41" fmla="*/ 533134 h 838042"/>
                <a:gd name="connsiteX42" fmla="*/ 321017 w 1033465"/>
                <a:gd name="connsiteY42" fmla="*/ 540754 h 838042"/>
                <a:gd name="connsiteX43" fmla="*/ 332447 w 1033465"/>
                <a:gd name="connsiteY43" fmla="*/ 546469 h 838042"/>
                <a:gd name="connsiteX44" fmla="*/ 336257 w 1033465"/>
                <a:gd name="connsiteY44" fmla="*/ 552184 h 838042"/>
                <a:gd name="connsiteX45" fmla="*/ 341972 w 1033465"/>
                <a:gd name="connsiteY45" fmla="*/ 554089 h 838042"/>
                <a:gd name="connsiteX46" fmla="*/ 353402 w 1033465"/>
                <a:gd name="connsiteY46" fmla="*/ 561709 h 838042"/>
                <a:gd name="connsiteX47" fmla="*/ 359117 w 1033465"/>
                <a:gd name="connsiteY47" fmla="*/ 565519 h 838042"/>
                <a:gd name="connsiteX48" fmla="*/ 362927 w 1033465"/>
                <a:gd name="connsiteY48" fmla="*/ 571234 h 838042"/>
                <a:gd name="connsiteX49" fmla="*/ 368642 w 1033465"/>
                <a:gd name="connsiteY49" fmla="*/ 582664 h 838042"/>
                <a:gd name="connsiteX50" fmla="*/ 364832 w 1033465"/>
                <a:gd name="connsiteY50" fmla="*/ 609334 h 838042"/>
                <a:gd name="connsiteX51" fmla="*/ 361022 w 1033465"/>
                <a:gd name="connsiteY51" fmla="*/ 615049 h 838042"/>
                <a:gd name="connsiteX52" fmla="*/ 359117 w 1033465"/>
                <a:gd name="connsiteY52" fmla="*/ 620764 h 838042"/>
                <a:gd name="connsiteX53" fmla="*/ 355307 w 1033465"/>
                <a:gd name="connsiteY53" fmla="*/ 626479 h 838042"/>
                <a:gd name="connsiteX54" fmla="*/ 353402 w 1033465"/>
                <a:gd name="connsiteY54" fmla="*/ 632194 h 838042"/>
                <a:gd name="connsiteX55" fmla="*/ 349592 w 1033465"/>
                <a:gd name="connsiteY55" fmla="*/ 637909 h 838042"/>
                <a:gd name="connsiteX56" fmla="*/ 332447 w 1033465"/>
                <a:gd name="connsiteY56" fmla="*/ 704584 h 838042"/>
                <a:gd name="connsiteX57" fmla="*/ 330542 w 1033465"/>
                <a:gd name="connsiteY57" fmla="*/ 756019 h 838042"/>
                <a:gd name="connsiteX58" fmla="*/ 332447 w 1033465"/>
                <a:gd name="connsiteY58" fmla="*/ 780784 h 838042"/>
                <a:gd name="connsiteX59" fmla="*/ 334352 w 1033465"/>
                <a:gd name="connsiteY59" fmla="*/ 786499 h 838042"/>
                <a:gd name="connsiteX60" fmla="*/ 338162 w 1033465"/>
                <a:gd name="connsiteY60" fmla="*/ 790309 h 838042"/>
                <a:gd name="connsiteX61" fmla="*/ 366737 w 1033465"/>
                <a:gd name="connsiteY61" fmla="*/ 836029 h 838042"/>
                <a:gd name="connsiteX62" fmla="*/ 389597 w 1033465"/>
                <a:gd name="connsiteY62" fmla="*/ 837934 h 838042"/>
                <a:gd name="connsiteX63" fmla="*/ 397407 w 1033465"/>
                <a:gd name="connsiteY63" fmla="*/ 833530 h 838042"/>
                <a:gd name="connsiteX64" fmla="*/ 402932 w 1033465"/>
                <a:gd name="connsiteY64" fmla="*/ 784594 h 838042"/>
                <a:gd name="connsiteX65" fmla="*/ 406742 w 1033465"/>
                <a:gd name="connsiteY65" fmla="*/ 727444 h 838042"/>
                <a:gd name="connsiteX66" fmla="*/ 423887 w 1033465"/>
                <a:gd name="connsiteY66" fmla="*/ 672199 h 838042"/>
                <a:gd name="connsiteX67" fmla="*/ 429602 w 1033465"/>
                <a:gd name="connsiteY67" fmla="*/ 658864 h 838042"/>
                <a:gd name="connsiteX68" fmla="*/ 444084 w 1033465"/>
                <a:gd name="connsiteY68" fmla="*/ 626947 h 838042"/>
                <a:gd name="connsiteX69" fmla="*/ 464289 w 1033465"/>
                <a:gd name="connsiteY69" fmla="*/ 600072 h 838042"/>
                <a:gd name="connsiteX70" fmla="*/ 523510 w 1033465"/>
                <a:gd name="connsiteY70" fmla="*/ 565123 h 838042"/>
                <a:gd name="connsiteX71" fmla="*/ 599348 w 1033465"/>
                <a:gd name="connsiteY71" fmla="*/ 550915 h 838042"/>
                <a:gd name="connsiteX72" fmla="*/ 707801 w 1033465"/>
                <a:gd name="connsiteY72" fmla="*/ 612819 h 838042"/>
                <a:gd name="connsiteX73" fmla="*/ 780122 w 1033465"/>
                <a:gd name="connsiteY73" fmla="*/ 656959 h 838042"/>
                <a:gd name="connsiteX74" fmla="*/ 804887 w 1033465"/>
                <a:gd name="connsiteY74" fmla="*/ 632194 h 838042"/>
                <a:gd name="connsiteX75" fmla="*/ 801077 w 1033465"/>
                <a:gd name="connsiteY75" fmla="*/ 601714 h 838042"/>
                <a:gd name="connsiteX76" fmla="*/ 762796 w 1033465"/>
                <a:gd name="connsiteY76" fmla="*/ 562523 h 838042"/>
                <a:gd name="connsiteX77" fmla="*/ 650582 w 1033465"/>
                <a:gd name="connsiteY77" fmla="*/ 479794 h 838042"/>
                <a:gd name="connsiteX78" fmla="*/ 646772 w 1033465"/>
                <a:gd name="connsiteY78" fmla="*/ 462649 h 838042"/>
                <a:gd name="connsiteX79" fmla="*/ 658202 w 1033465"/>
                <a:gd name="connsiteY79" fmla="*/ 426454 h 838042"/>
                <a:gd name="connsiteX80" fmla="*/ 726782 w 1033465"/>
                <a:gd name="connsiteY80" fmla="*/ 405499 h 838042"/>
                <a:gd name="connsiteX81" fmla="*/ 813738 w 1033465"/>
                <a:gd name="connsiteY81" fmla="*/ 406906 h 838042"/>
                <a:gd name="connsiteX82" fmla="*/ 906231 w 1033465"/>
                <a:gd name="connsiteY82" fmla="*/ 417646 h 838042"/>
                <a:gd name="connsiteX83" fmla="*/ 1002290 w 1033465"/>
                <a:gd name="connsiteY83" fmla="*/ 426835 h 838042"/>
                <a:gd name="connsiteX84" fmla="*/ 1032449 w 1033465"/>
                <a:gd name="connsiteY84" fmla="*/ 402711 h 838042"/>
                <a:gd name="connsiteX85" fmla="*/ 1020514 w 1033465"/>
                <a:gd name="connsiteY85" fmla="*/ 377797 h 838042"/>
                <a:gd name="connsiteX86" fmla="*/ 964889 w 1033465"/>
                <a:gd name="connsiteY86" fmla="*/ 358029 h 838042"/>
                <a:gd name="connsiteX87" fmla="*/ 827747 w 1033465"/>
                <a:gd name="connsiteY87" fmla="*/ 357874 h 838042"/>
                <a:gd name="connsiteX88" fmla="*/ 755811 w 1033465"/>
                <a:gd name="connsiteY88" fmla="*/ 361702 h 838042"/>
                <a:gd name="connsiteX89" fmla="*/ 671537 w 1033465"/>
                <a:gd name="connsiteY89" fmla="*/ 369304 h 838042"/>
                <a:gd name="connsiteX90" fmla="*/ 644867 w 1033465"/>
                <a:gd name="connsiteY90" fmla="*/ 338824 h 838042"/>
                <a:gd name="connsiteX91" fmla="*/ 676403 w 1033465"/>
                <a:gd name="connsiteY91" fmla="*/ 304962 h 838042"/>
                <a:gd name="connsiteX92" fmla="*/ 707732 w 1033465"/>
                <a:gd name="connsiteY92" fmla="*/ 283579 h 838042"/>
                <a:gd name="connsiteX93" fmla="*/ 743927 w 1033465"/>
                <a:gd name="connsiteY93" fmla="*/ 251194 h 838042"/>
                <a:gd name="connsiteX94" fmla="*/ 783019 w 1033465"/>
                <a:gd name="connsiteY94" fmla="*/ 213846 h 838042"/>
                <a:gd name="connsiteX95" fmla="*/ 746401 w 1033465"/>
                <a:gd name="connsiteY95" fmla="*/ 201789 h 838042"/>
                <a:gd name="connsiteX96" fmla="*/ 694397 w 1033465"/>
                <a:gd name="connsiteY96" fmla="*/ 226429 h 838042"/>
                <a:gd name="connsiteX97" fmla="*/ 656678 w 1033465"/>
                <a:gd name="connsiteY97" fmla="*/ 257626 h 838042"/>
                <a:gd name="connsiteX98" fmla="*/ 616001 w 1033465"/>
                <a:gd name="connsiteY98" fmla="*/ 286712 h 838042"/>
                <a:gd name="connsiteX99" fmla="*/ 564857 w 1033465"/>
                <a:gd name="connsiteY99" fmla="*/ 287389 h 838042"/>
                <a:gd name="connsiteX100" fmla="*/ 530567 w 1033465"/>
                <a:gd name="connsiteY100" fmla="*/ 274054 h 838042"/>
                <a:gd name="connsiteX101" fmla="*/ 507707 w 1033465"/>
                <a:gd name="connsiteY101" fmla="*/ 235954 h 838042"/>
                <a:gd name="connsiteX102" fmla="*/ 509612 w 1033465"/>
                <a:gd name="connsiteY102" fmla="*/ 171184 h 838042"/>
                <a:gd name="connsiteX103" fmla="*/ 508314 w 1033465"/>
                <a:gd name="connsiteY103" fmla="*/ 73485 h 838042"/>
                <a:gd name="connsiteX104" fmla="*/ 454116 w 1033465"/>
                <a:gd name="connsiteY104" fmla="*/ 11248 h 838042"/>
                <a:gd name="connsiteX105" fmla="*/ 442470 w 1033465"/>
                <a:gd name="connsiteY105" fmla="*/ 75864 h 838042"/>
                <a:gd name="connsiteX106" fmla="*/ 439226 w 1033465"/>
                <a:gd name="connsiteY106" fmla="*/ 132660 h 838042"/>
                <a:gd name="connsiteX107" fmla="*/ 436054 w 1033465"/>
                <a:gd name="connsiteY10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82210 w 1033465"/>
                <a:gd name="connsiteY21" fmla="*/ 354067 h 838042"/>
                <a:gd name="connsiteX22" fmla="*/ 281012 w 1033465"/>
                <a:gd name="connsiteY22" fmla="*/ 399784 h 838042"/>
                <a:gd name="connsiteX23" fmla="*/ 265772 w 1033465"/>
                <a:gd name="connsiteY23" fmla="*/ 447409 h 838042"/>
                <a:gd name="connsiteX24" fmla="*/ 254342 w 1033465"/>
                <a:gd name="connsiteY24" fmla="*/ 455029 h 838042"/>
                <a:gd name="connsiteX25" fmla="*/ 242912 w 1033465"/>
                <a:gd name="connsiteY25" fmla="*/ 458839 h 838042"/>
                <a:gd name="connsiteX26" fmla="*/ 128612 w 1033465"/>
                <a:gd name="connsiteY26" fmla="*/ 458839 h 838042"/>
                <a:gd name="connsiteX27" fmla="*/ 122897 w 1033465"/>
                <a:gd name="connsiteY27" fmla="*/ 460744 h 838042"/>
                <a:gd name="connsiteX28" fmla="*/ 107657 w 1033465"/>
                <a:gd name="connsiteY28" fmla="*/ 462649 h 838042"/>
                <a:gd name="connsiteX29" fmla="*/ 90512 w 1033465"/>
                <a:gd name="connsiteY29" fmla="*/ 468364 h 838042"/>
                <a:gd name="connsiteX30" fmla="*/ 84797 w 1033465"/>
                <a:gd name="connsiteY30" fmla="*/ 470269 h 838042"/>
                <a:gd name="connsiteX31" fmla="*/ 79082 w 1033465"/>
                <a:gd name="connsiteY31" fmla="*/ 474079 h 838042"/>
                <a:gd name="connsiteX32" fmla="*/ 67652 w 1033465"/>
                <a:gd name="connsiteY32" fmla="*/ 475984 h 838042"/>
                <a:gd name="connsiteX33" fmla="*/ 29552 w 1033465"/>
                <a:gd name="connsiteY33" fmla="*/ 477889 h 838042"/>
                <a:gd name="connsiteX34" fmla="*/ 18122 w 1033465"/>
                <a:gd name="connsiteY34" fmla="*/ 483604 h 838042"/>
                <a:gd name="connsiteX35" fmla="*/ 8597 w 1033465"/>
                <a:gd name="connsiteY35" fmla="*/ 493129 h 838042"/>
                <a:gd name="connsiteX36" fmla="*/ 6692 w 1033465"/>
                <a:gd name="connsiteY36" fmla="*/ 498844 h 838042"/>
                <a:gd name="connsiteX37" fmla="*/ 2882 w 1033465"/>
                <a:gd name="connsiteY37" fmla="*/ 504559 h 838042"/>
                <a:gd name="connsiteX38" fmla="*/ 14312 w 1033465"/>
                <a:gd name="connsiteY38" fmla="*/ 540754 h 838042"/>
                <a:gd name="connsiteX39" fmla="*/ 147662 w 1033465"/>
                <a:gd name="connsiteY39" fmla="*/ 540754 h 838042"/>
                <a:gd name="connsiteX40" fmla="*/ 155282 w 1033465"/>
                <a:gd name="connsiteY40" fmla="*/ 538849 h 838042"/>
                <a:gd name="connsiteX41" fmla="*/ 305777 w 1033465"/>
                <a:gd name="connsiteY41" fmla="*/ 533134 h 838042"/>
                <a:gd name="connsiteX42" fmla="*/ 321017 w 1033465"/>
                <a:gd name="connsiteY42" fmla="*/ 540754 h 838042"/>
                <a:gd name="connsiteX43" fmla="*/ 332447 w 1033465"/>
                <a:gd name="connsiteY43" fmla="*/ 546469 h 838042"/>
                <a:gd name="connsiteX44" fmla="*/ 336257 w 1033465"/>
                <a:gd name="connsiteY44" fmla="*/ 552184 h 838042"/>
                <a:gd name="connsiteX45" fmla="*/ 341972 w 1033465"/>
                <a:gd name="connsiteY45" fmla="*/ 554089 h 838042"/>
                <a:gd name="connsiteX46" fmla="*/ 353402 w 1033465"/>
                <a:gd name="connsiteY46" fmla="*/ 561709 h 838042"/>
                <a:gd name="connsiteX47" fmla="*/ 359117 w 1033465"/>
                <a:gd name="connsiteY47" fmla="*/ 565519 h 838042"/>
                <a:gd name="connsiteX48" fmla="*/ 362927 w 1033465"/>
                <a:gd name="connsiteY48" fmla="*/ 571234 h 838042"/>
                <a:gd name="connsiteX49" fmla="*/ 368642 w 1033465"/>
                <a:gd name="connsiteY49" fmla="*/ 582664 h 838042"/>
                <a:gd name="connsiteX50" fmla="*/ 364832 w 1033465"/>
                <a:gd name="connsiteY50" fmla="*/ 609334 h 838042"/>
                <a:gd name="connsiteX51" fmla="*/ 361022 w 1033465"/>
                <a:gd name="connsiteY51" fmla="*/ 615049 h 838042"/>
                <a:gd name="connsiteX52" fmla="*/ 359117 w 1033465"/>
                <a:gd name="connsiteY52" fmla="*/ 620764 h 838042"/>
                <a:gd name="connsiteX53" fmla="*/ 355307 w 1033465"/>
                <a:gd name="connsiteY53" fmla="*/ 626479 h 838042"/>
                <a:gd name="connsiteX54" fmla="*/ 353402 w 1033465"/>
                <a:gd name="connsiteY54" fmla="*/ 632194 h 838042"/>
                <a:gd name="connsiteX55" fmla="*/ 349592 w 1033465"/>
                <a:gd name="connsiteY55" fmla="*/ 637909 h 838042"/>
                <a:gd name="connsiteX56" fmla="*/ 332447 w 1033465"/>
                <a:gd name="connsiteY56" fmla="*/ 704584 h 838042"/>
                <a:gd name="connsiteX57" fmla="*/ 330542 w 1033465"/>
                <a:gd name="connsiteY57" fmla="*/ 756019 h 838042"/>
                <a:gd name="connsiteX58" fmla="*/ 332447 w 1033465"/>
                <a:gd name="connsiteY58" fmla="*/ 780784 h 838042"/>
                <a:gd name="connsiteX59" fmla="*/ 334352 w 1033465"/>
                <a:gd name="connsiteY59" fmla="*/ 786499 h 838042"/>
                <a:gd name="connsiteX60" fmla="*/ 338162 w 1033465"/>
                <a:gd name="connsiteY60" fmla="*/ 790309 h 838042"/>
                <a:gd name="connsiteX61" fmla="*/ 366737 w 1033465"/>
                <a:gd name="connsiteY61" fmla="*/ 836029 h 838042"/>
                <a:gd name="connsiteX62" fmla="*/ 389597 w 1033465"/>
                <a:gd name="connsiteY62" fmla="*/ 837934 h 838042"/>
                <a:gd name="connsiteX63" fmla="*/ 397407 w 1033465"/>
                <a:gd name="connsiteY63" fmla="*/ 833530 h 838042"/>
                <a:gd name="connsiteX64" fmla="*/ 402932 w 1033465"/>
                <a:gd name="connsiteY64" fmla="*/ 784594 h 838042"/>
                <a:gd name="connsiteX65" fmla="*/ 406742 w 1033465"/>
                <a:gd name="connsiteY65" fmla="*/ 727444 h 838042"/>
                <a:gd name="connsiteX66" fmla="*/ 423887 w 1033465"/>
                <a:gd name="connsiteY66" fmla="*/ 672199 h 838042"/>
                <a:gd name="connsiteX67" fmla="*/ 429602 w 1033465"/>
                <a:gd name="connsiteY67" fmla="*/ 658864 h 838042"/>
                <a:gd name="connsiteX68" fmla="*/ 444084 w 1033465"/>
                <a:gd name="connsiteY68" fmla="*/ 626947 h 838042"/>
                <a:gd name="connsiteX69" fmla="*/ 464289 w 1033465"/>
                <a:gd name="connsiteY69" fmla="*/ 600072 h 838042"/>
                <a:gd name="connsiteX70" fmla="*/ 523510 w 1033465"/>
                <a:gd name="connsiteY70" fmla="*/ 565123 h 838042"/>
                <a:gd name="connsiteX71" fmla="*/ 599348 w 1033465"/>
                <a:gd name="connsiteY71" fmla="*/ 550915 h 838042"/>
                <a:gd name="connsiteX72" fmla="*/ 707801 w 1033465"/>
                <a:gd name="connsiteY72" fmla="*/ 612819 h 838042"/>
                <a:gd name="connsiteX73" fmla="*/ 780122 w 1033465"/>
                <a:gd name="connsiteY73" fmla="*/ 656959 h 838042"/>
                <a:gd name="connsiteX74" fmla="*/ 804887 w 1033465"/>
                <a:gd name="connsiteY74" fmla="*/ 632194 h 838042"/>
                <a:gd name="connsiteX75" fmla="*/ 801077 w 1033465"/>
                <a:gd name="connsiteY75" fmla="*/ 601714 h 838042"/>
                <a:gd name="connsiteX76" fmla="*/ 762796 w 1033465"/>
                <a:gd name="connsiteY76" fmla="*/ 562523 h 838042"/>
                <a:gd name="connsiteX77" fmla="*/ 650582 w 1033465"/>
                <a:gd name="connsiteY77" fmla="*/ 479794 h 838042"/>
                <a:gd name="connsiteX78" fmla="*/ 646772 w 1033465"/>
                <a:gd name="connsiteY78" fmla="*/ 462649 h 838042"/>
                <a:gd name="connsiteX79" fmla="*/ 658202 w 1033465"/>
                <a:gd name="connsiteY79" fmla="*/ 426454 h 838042"/>
                <a:gd name="connsiteX80" fmla="*/ 726782 w 1033465"/>
                <a:gd name="connsiteY80" fmla="*/ 405499 h 838042"/>
                <a:gd name="connsiteX81" fmla="*/ 813738 w 1033465"/>
                <a:gd name="connsiteY81" fmla="*/ 406906 h 838042"/>
                <a:gd name="connsiteX82" fmla="*/ 906231 w 1033465"/>
                <a:gd name="connsiteY82" fmla="*/ 417646 h 838042"/>
                <a:gd name="connsiteX83" fmla="*/ 1002290 w 1033465"/>
                <a:gd name="connsiteY83" fmla="*/ 426835 h 838042"/>
                <a:gd name="connsiteX84" fmla="*/ 1032449 w 1033465"/>
                <a:gd name="connsiteY84" fmla="*/ 402711 h 838042"/>
                <a:gd name="connsiteX85" fmla="*/ 1020514 w 1033465"/>
                <a:gd name="connsiteY85" fmla="*/ 377797 h 838042"/>
                <a:gd name="connsiteX86" fmla="*/ 964889 w 1033465"/>
                <a:gd name="connsiteY86" fmla="*/ 358029 h 838042"/>
                <a:gd name="connsiteX87" fmla="*/ 827747 w 1033465"/>
                <a:gd name="connsiteY87" fmla="*/ 357874 h 838042"/>
                <a:gd name="connsiteX88" fmla="*/ 755811 w 1033465"/>
                <a:gd name="connsiteY88" fmla="*/ 361702 h 838042"/>
                <a:gd name="connsiteX89" fmla="*/ 671537 w 1033465"/>
                <a:gd name="connsiteY89" fmla="*/ 369304 h 838042"/>
                <a:gd name="connsiteX90" fmla="*/ 644867 w 1033465"/>
                <a:gd name="connsiteY90" fmla="*/ 338824 h 838042"/>
                <a:gd name="connsiteX91" fmla="*/ 676403 w 1033465"/>
                <a:gd name="connsiteY91" fmla="*/ 304962 h 838042"/>
                <a:gd name="connsiteX92" fmla="*/ 707732 w 1033465"/>
                <a:gd name="connsiteY92" fmla="*/ 283579 h 838042"/>
                <a:gd name="connsiteX93" fmla="*/ 743927 w 1033465"/>
                <a:gd name="connsiteY93" fmla="*/ 251194 h 838042"/>
                <a:gd name="connsiteX94" fmla="*/ 783019 w 1033465"/>
                <a:gd name="connsiteY94" fmla="*/ 213846 h 838042"/>
                <a:gd name="connsiteX95" fmla="*/ 746401 w 1033465"/>
                <a:gd name="connsiteY95" fmla="*/ 201789 h 838042"/>
                <a:gd name="connsiteX96" fmla="*/ 694397 w 1033465"/>
                <a:gd name="connsiteY96" fmla="*/ 226429 h 838042"/>
                <a:gd name="connsiteX97" fmla="*/ 656678 w 1033465"/>
                <a:gd name="connsiteY97" fmla="*/ 257626 h 838042"/>
                <a:gd name="connsiteX98" fmla="*/ 616001 w 1033465"/>
                <a:gd name="connsiteY98" fmla="*/ 286712 h 838042"/>
                <a:gd name="connsiteX99" fmla="*/ 564857 w 1033465"/>
                <a:gd name="connsiteY99" fmla="*/ 287389 h 838042"/>
                <a:gd name="connsiteX100" fmla="*/ 530567 w 1033465"/>
                <a:gd name="connsiteY100" fmla="*/ 274054 h 838042"/>
                <a:gd name="connsiteX101" fmla="*/ 507707 w 1033465"/>
                <a:gd name="connsiteY101" fmla="*/ 235954 h 838042"/>
                <a:gd name="connsiteX102" fmla="*/ 509612 w 1033465"/>
                <a:gd name="connsiteY102" fmla="*/ 171184 h 838042"/>
                <a:gd name="connsiteX103" fmla="*/ 508314 w 1033465"/>
                <a:gd name="connsiteY103" fmla="*/ 73485 h 838042"/>
                <a:gd name="connsiteX104" fmla="*/ 454116 w 1033465"/>
                <a:gd name="connsiteY104" fmla="*/ 11248 h 838042"/>
                <a:gd name="connsiteX105" fmla="*/ 442470 w 1033465"/>
                <a:gd name="connsiteY105" fmla="*/ 75864 h 838042"/>
                <a:gd name="connsiteX106" fmla="*/ 439226 w 1033465"/>
                <a:gd name="connsiteY106" fmla="*/ 132660 h 838042"/>
                <a:gd name="connsiteX107" fmla="*/ 436054 w 1033465"/>
                <a:gd name="connsiteY10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16242 w 1033465"/>
                <a:gd name="connsiteY20" fmla="*/ 315964 h 838042"/>
                <a:gd name="connsiteX21" fmla="*/ 282210 w 1033465"/>
                <a:gd name="connsiteY21" fmla="*/ 354067 h 838042"/>
                <a:gd name="connsiteX22" fmla="*/ 281012 w 1033465"/>
                <a:gd name="connsiteY22" fmla="*/ 399784 h 838042"/>
                <a:gd name="connsiteX23" fmla="*/ 265772 w 1033465"/>
                <a:gd name="connsiteY23" fmla="*/ 447409 h 838042"/>
                <a:gd name="connsiteX24" fmla="*/ 254342 w 1033465"/>
                <a:gd name="connsiteY24" fmla="*/ 455029 h 838042"/>
                <a:gd name="connsiteX25" fmla="*/ 242912 w 1033465"/>
                <a:gd name="connsiteY25" fmla="*/ 458839 h 838042"/>
                <a:gd name="connsiteX26" fmla="*/ 128612 w 1033465"/>
                <a:gd name="connsiteY26" fmla="*/ 458839 h 838042"/>
                <a:gd name="connsiteX27" fmla="*/ 122897 w 1033465"/>
                <a:gd name="connsiteY27" fmla="*/ 460744 h 838042"/>
                <a:gd name="connsiteX28" fmla="*/ 107657 w 1033465"/>
                <a:gd name="connsiteY28" fmla="*/ 462649 h 838042"/>
                <a:gd name="connsiteX29" fmla="*/ 90512 w 1033465"/>
                <a:gd name="connsiteY29" fmla="*/ 468364 h 838042"/>
                <a:gd name="connsiteX30" fmla="*/ 84797 w 1033465"/>
                <a:gd name="connsiteY30" fmla="*/ 470269 h 838042"/>
                <a:gd name="connsiteX31" fmla="*/ 79082 w 1033465"/>
                <a:gd name="connsiteY31" fmla="*/ 474079 h 838042"/>
                <a:gd name="connsiteX32" fmla="*/ 67652 w 1033465"/>
                <a:gd name="connsiteY32" fmla="*/ 475984 h 838042"/>
                <a:gd name="connsiteX33" fmla="*/ 29552 w 1033465"/>
                <a:gd name="connsiteY33" fmla="*/ 477889 h 838042"/>
                <a:gd name="connsiteX34" fmla="*/ 18122 w 1033465"/>
                <a:gd name="connsiteY34" fmla="*/ 483604 h 838042"/>
                <a:gd name="connsiteX35" fmla="*/ 8597 w 1033465"/>
                <a:gd name="connsiteY35" fmla="*/ 493129 h 838042"/>
                <a:gd name="connsiteX36" fmla="*/ 6692 w 1033465"/>
                <a:gd name="connsiteY36" fmla="*/ 498844 h 838042"/>
                <a:gd name="connsiteX37" fmla="*/ 2882 w 1033465"/>
                <a:gd name="connsiteY37" fmla="*/ 504559 h 838042"/>
                <a:gd name="connsiteX38" fmla="*/ 14312 w 1033465"/>
                <a:gd name="connsiteY38" fmla="*/ 540754 h 838042"/>
                <a:gd name="connsiteX39" fmla="*/ 147662 w 1033465"/>
                <a:gd name="connsiteY39" fmla="*/ 540754 h 838042"/>
                <a:gd name="connsiteX40" fmla="*/ 155282 w 1033465"/>
                <a:gd name="connsiteY40" fmla="*/ 538849 h 838042"/>
                <a:gd name="connsiteX41" fmla="*/ 305777 w 1033465"/>
                <a:gd name="connsiteY41" fmla="*/ 533134 h 838042"/>
                <a:gd name="connsiteX42" fmla="*/ 321017 w 1033465"/>
                <a:gd name="connsiteY42" fmla="*/ 540754 h 838042"/>
                <a:gd name="connsiteX43" fmla="*/ 332447 w 1033465"/>
                <a:gd name="connsiteY43" fmla="*/ 546469 h 838042"/>
                <a:gd name="connsiteX44" fmla="*/ 336257 w 1033465"/>
                <a:gd name="connsiteY44" fmla="*/ 552184 h 838042"/>
                <a:gd name="connsiteX45" fmla="*/ 341972 w 1033465"/>
                <a:gd name="connsiteY45" fmla="*/ 554089 h 838042"/>
                <a:gd name="connsiteX46" fmla="*/ 353402 w 1033465"/>
                <a:gd name="connsiteY46" fmla="*/ 561709 h 838042"/>
                <a:gd name="connsiteX47" fmla="*/ 359117 w 1033465"/>
                <a:gd name="connsiteY47" fmla="*/ 565519 h 838042"/>
                <a:gd name="connsiteX48" fmla="*/ 362927 w 1033465"/>
                <a:gd name="connsiteY48" fmla="*/ 571234 h 838042"/>
                <a:gd name="connsiteX49" fmla="*/ 368642 w 1033465"/>
                <a:gd name="connsiteY49" fmla="*/ 582664 h 838042"/>
                <a:gd name="connsiteX50" fmla="*/ 364832 w 1033465"/>
                <a:gd name="connsiteY50" fmla="*/ 609334 h 838042"/>
                <a:gd name="connsiteX51" fmla="*/ 361022 w 1033465"/>
                <a:gd name="connsiteY51" fmla="*/ 615049 h 838042"/>
                <a:gd name="connsiteX52" fmla="*/ 359117 w 1033465"/>
                <a:gd name="connsiteY52" fmla="*/ 620764 h 838042"/>
                <a:gd name="connsiteX53" fmla="*/ 355307 w 1033465"/>
                <a:gd name="connsiteY53" fmla="*/ 626479 h 838042"/>
                <a:gd name="connsiteX54" fmla="*/ 353402 w 1033465"/>
                <a:gd name="connsiteY54" fmla="*/ 632194 h 838042"/>
                <a:gd name="connsiteX55" fmla="*/ 349592 w 1033465"/>
                <a:gd name="connsiteY55" fmla="*/ 637909 h 838042"/>
                <a:gd name="connsiteX56" fmla="*/ 332447 w 1033465"/>
                <a:gd name="connsiteY56" fmla="*/ 704584 h 838042"/>
                <a:gd name="connsiteX57" fmla="*/ 330542 w 1033465"/>
                <a:gd name="connsiteY57" fmla="*/ 756019 h 838042"/>
                <a:gd name="connsiteX58" fmla="*/ 332447 w 1033465"/>
                <a:gd name="connsiteY58" fmla="*/ 780784 h 838042"/>
                <a:gd name="connsiteX59" fmla="*/ 334352 w 1033465"/>
                <a:gd name="connsiteY59" fmla="*/ 786499 h 838042"/>
                <a:gd name="connsiteX60" fmla="*/ 338162 w 1033465"/>
                <a:gd name="connsiteY60" fmla="*/ 790309 h 838042"/>
                <a:gd name="connsiteX61" fmla="*/ 366737 w 1033465"/>
                <a:gd name="connsiteY61" fmla="*/ 836029 h 838042"/>
                <a:gd name="connsiteX62" fmla="*/ 389597 w 1033465"/>
                <a:gd name="connsiteY62" fmla="*/ 837934 h 838042"/>
                <a:gd name="connsiteX63" fmla="*/ 397407 w 1033465"/>
                <a:gd name="connsiteY63" fmla="*/ 833530 h 838042"/>
                <a:gd name="connsiteX64" fmla="*/ 402932 w 1033465"/>
                <a:gd name="connsiteY64" fmla="*/ 784594 h 838042"/>
                <a:gd name="connsiteX65" fmla="*/ 406742 w 1033465"/>
                <a:gd name="connsiteY65" fmla="*/ 727444 h 838042"/>
                <a:gd name="connsiteX66" fmla="*/ 423887 w 1033465"/>
                <a:gd name="connsiteY66" fmla="*/ 672199 h 838042"/>
                <a:gd name="connsiteX67" fmla="*/ 429602 w 1033465"/>
                <a:gd name="connsiteY67" fmla="*/ 658864 h 838042"/>
                <a:gd name="connsiteX68" fmla="*/ 444084 w 1033465"/>
                <a:gd name="connsiteY68" fmla="*/ 626947 h 838042"/>
                <a:gd name="connsiteX69" fmla="*/ 464289 w 1033465"/>
                <a:gd name="connsiteY69" fmla="*/ 600072 h 838042"/>
                <a:gd name="connsiteX70" fmla="*/ 523510 w 1033465"/>
                <a:gd name="connsiteY70" fmla="*/ 565123 h 838042"/>
                <a:gd name="connsiteX71" fmla="*/ 599348 w 1033465"/>
                <a:gd name="connsiteY71" fmla="*/ 550915 h 838042"/>
                <a:gd name="connsiteX72" fmla="*/ 707801 w 1033465"/>
                <a:gd name="connsiteY72" fmla="*/ 612819 h 838042"/>
                <a:gd name="connsiteX73" fmla="*/ 780122 w 1033465"/>
                <a:gd name="connsiteY73" fmla="*/ 656959 h 838042"/>
                <a:gd name="connsiteX74" fmla="*/ 804887 w 1033465"/>
                <a:gd name="connsiteY74" fmla="*/ 632194 h 838042"/>
                <a:gd name="connsiteX75" fmla="*/ 801077 w 1033465"/>
                <a:gd name="connsiteY75" fmla="*/ 601714 h 838042"/>
                <a:gd name="connsiteX76" fmla="*/ 762796 w 1033465"/>
                <a:gd name="connsiteY76" fmla="*/ 562523 h 838042"/>
                <a:gd name="connsiteX77" fmla="*/ 650582 w 1033465"/>
                <a:gd name="connsiteY77" fmla="*/ 479794 h 838042"/>
                <a:gd name="connsiteX78" fmla="*/ 646772 w 1033465"/>
                <a:gd name="connsiteY78" fmla="*/ 462649 h 838042"/>
                <a:gd name="connsiteX79" fmla="*/ 658202 w 1033465"/>
                <a:gd name="connsiteY79" fmla="*/ 426454 h 838042"/>
                <a:gd name="connsiteX80" fmla="*/ 726782 w 1033465"/>
                <a:gd name="connsiteY80" fmla="*/ 405499 h 838042"/>
                <a:gd name="connsiteX81" fmla="*/ 813738 w 1033465"/>
                <a:gd name="connsiteY81" fmla="*/ 406906 h 838042"/>
                <a:gd name="connsiteX82" fmla="*/ 906231 w 1033465"/>
                <a:gd name="connsiteY82" fmla="*/ 417646 h 838042"/>
                <a:gd name="connsiteX83" fmla="*/ 1002290 w 1033465"/>
                <a:gd name="connsiteY83" fmla="*/ 426835 h 838042"/>
                <a:gd name="connsiteX84" fmla="*/ 1032449 w 1033465"/>
                <a:gd name="connsiteY84" fmla="*/ 402711 h 838042"/>
                <a:gd name="connsiteX85" fmla="*/ 1020514 w 1033465"/>
                <a:gd name="connsiteY85" fmla="*/ 377797 h 838042"/>
                <a:gd name="connsiteX86" fmla="*/ 964889 w 1033465"/>
                <a:gd name="connsiteY86" fmla="*/ 358029 h 838042"/>
                <a:gd name="connsiteX87" fmla="*/ 827747 w 1033465"/>
                <a:gd name="connsiteY87" fmla="*/ 357874 h 838042"/>
                <a:gd name="connsiteX88" fmla="*/ 755811 w 1033465"/>
                <a:gd name="connsiteY88" fmla="*/ 361702 h 838042"/>
                <a:gd name="connsiteX89" fmla="*/ 671537 w 1033465"/>
                <a:gd name="connsiteY89" fmla="*/ 369304 h 838042"/>
                <a:gd name="connsiteX90" fmla="*/ 644867 w 1033465"/>
                <a:gd name="connsiteY90" fmla="*/ 338824 h 838042"/>
                <a:gd name="connsiteX91" fmla="*/ 676403 w 1033465"/>
                <a:gd name="connsiteY91" fmla="*/ 304962 h 838042"/>
                <a:gd name="connsiteX92" fmla="*/ 707732 w 1033465"/>
                <a:gd name="connsiteY92" fmla="*/ 283579 h 838042"/>
                <a:gd name="connsiteX93" fmla="*/ 743927 w 1033465"/>
                <a:gd name="connsiteY93" fmla="*/ 251194 h 838042"/>
                <a:gd name="connsiteX94" fmla="*/ 783019 w 1033465"/>
                <a:gd name="connsiteY94" fmla="*/ 213846 h 838042"/>
                <a:gd name="connsiteX95" fmla="*/ 746401 w 1033465"/>
                <a:gd name="connsiteY95" fmla="*/ 201789 h 838042"/>
                <a:gd name="connsiteX96" fmla="*/ 694397 w 1033465"/>
                <a:gd name="connsiteY96" fmla="*/ 226429 h 838042"/>
                <a:gd name="connsiteX97" fmla="*/ 656678 w 1033465"/>
                <a:gd name="connsiteY97" fmla="*/ 257626 h 838042"/>
                <a:gd name="connsiteX98" fmla="*/ 616001 w 1033465"/>
                <a:gd name="connsiteY98" fmla="*/ 286712 h 838042"/>
                <a:gd name="connsiteX99" fmla="*/ 564857 w 1033465"/>
                <a:gd name="connsiteY99" fmla="*/ 287389 h 838042"/>
                <a:gd name="connsiteX100" fmla="*/ 530567 w 1033465"/>
                <a:gd name="connsiteY100" fmla="*/ 274054 h 838042"/>
                <a:gd name="connsiteX101" fmla="*/ 507707 w 1033465"/>
                <a:gd name="connsiteY101" fmla="*/ 235954 h 838042"/>
                <a:gd name="connsiteX102" fmla="*/ 509612 w 1033465"/>
                <a:gd name="connsiteY102" fmla="*/ 171184 h 838042"/>
                <a:gd name="connsiteX103" fmla="*/ 508314 w 1033465"/>
                <a:gd name="connsiteY103" fmla="*/ 73485 h 838042"/>
                <a:gd name="connsiteX104" fmla="*/ 454116 w 1033465"/>
                <a:gd name="connsiteY104" fmla="*/ 11248 h 838042"/>
                <a:gd name="connsiteX105" fmla="*/ 442470 w 1033465"/>
                <a:gd name="connsiteY105" fmla="*/ 75864 h 838042"/>
                <a:gd name="connsiteX106" fmla="*/ 439226 w 1033465"/>
                <a:gd name="connsiteY106" fmla="*/ 132660 h 838042"/>
                <a:gd name="connsiteX107" fmla="*/ 436054 w 1033465"/>
                <a:gd name="connsiteY10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10527 w 1033465"/>
                <a:gd name="connsiteY19" fmla="*/ 314059 h 838042"/>
                <a:gd name="connsiteX20" fmla="*/ 228811 w 1033465"/>
                <a:gd name="connsiteY20" fmla="*/ 323832 h 838042"/>
                <a:gd name="connsiteX21" fmla="*/ 282210 w 1033465"/>
                <a:gd name="connsiteY21" fmla="*/ 354067 h 838042"/>
                <a:gd name="connsiteX22" fmla="*/ 281012 w 1033465"/>
                <a:gd name="connsiteY22" fmla="*/ 399784 h 838042"/>
                <a:gd name="connsiteX23" fmla="*/ 265772 w 1033465"/>
                <a:gd name="connsiteY23" fmla="*/ 447409 h 838042"/>
                <a:gd name="connsiteX24" fmla="*/ 254342 w 1033465"/>
                <a:gd name="connsiteY24" fmla="*/ 455029 h 838042"/>
                <a:gd name="connsiteX25" fmla="*/ 242912 w 1033465"/>
                <a:gd name="connsiteY25" fmla="*/ 458839 h 838042"/>
                <a:gd name="connsiteX26" fmla="*/ 128612 w 1033465"/>
                <a:gd name="connsiteY26" fmla="*/ 458839 h 838042"/>
                <a:gd name="connsiteX27" fmla="*/ 122897 w 1033465"/>
                <a:gd name="connsiteY27" fmla="*/ 460744 h 838042"/>
                <a:gd name="connsiteX28" fmla="*/ 107657 w 1033465"/>
                <a:gd name="connsiteY28" fmla="*/ 462649 h 838042"/>
                <a:gd name="connsiteX29" fmla="*/ 90512 w 1033465"/>
                <a:gd name="connsiteY29" fmla="*/ 468364 h 838042"/>
                <a:gd name="connsiteX30" fmla="*/ 84797 w 1033465"/>
                <a:gd name="connsiteY30" fmla="*/ 470269 h 838042"/>
                <a:gd name="connsiteX31" fmla="*/ 79082 w 1033465"/>
                <a:gd name="connsiteY31" fmla="*/ 474079 h 838042"/>
                <a:gd name="connsiteX32" fmla="*/ 67652 w 1033465"/>
                <a:gd name="connsiteY32" fmla="*/ 475984 h 838042"/>
                <a:gd name="connsiteX33" fmla="*/ 29552 w 1033465"/>
                <a:gd name="connsiteY33" fmla="*/ 477889 h 838042"/>
                <a:gd name="connsiteX34" fmla="*/ 18122 w 1033465"/>
                <a:gd name="connsiteY34" fmla="*/ 483604 h 838042"/>
                <a:gd name="connsiteX35" fmla="*/ 8597 w 1033465"/>
                <a:gd name="connsiteY35" fmla="*/ 493129 h 838042"/>
                <a:gd name="connsiteX36" fmla="*/ 6692 w 1033465"/>
                <a:gd name="connsiteY36" fmla="*/ 498844 h 838042"/>
                <a:gd name="connsiteX37" fmla="*/ 2882 w 1033465"/>
                <a:gd name="connsiteY37" fmla="*/ 504559 h 838042"/>
                <a:gd name="connsiteX38" fmla="*/ 14312 w 1033465"/>
                <a:gd name="connsiteY38" fmla="*/ 540754 h 838042"/>
                <a:gd name="connsiteX39" fmla="*/ 147662 w 1033465"/>
                <a:gd name="connsiteY39" fmla="*/ 540754 h 838042"/>
                <a:gd name="connsiteX40" fmla="*/ 155282 w 1033465"/>
                <a:gd name="connsiteY40" fmla="*/ 538849 h 838042"/>
                <a:gd name="connsiteX41" fmla="*/ 305777 w 1033465"/>
                <a:gd name="connsiteY41" fmla="*/ 533134 h 838042"/>
                <a:gd name="connsiteX42" fmla="*/ 321017 w 1033465"/>
                <a:gd name="connsiteY42" fmla="*/ 540754 h 838042"/>
                <a:gd name="connsiteX43" fmla="*/ 332447 w 1033465"/>
                <a:gd name="connsiteY43" fmla="*/ 546469 h 838042"/>
                <a:gd name="connsiteX44" fmla="*/ 336257 w 1033465"/>
                <a:gd name="connsiteY44" fmla="*/ 552184 h 838042"/>
                <a:gd name="connsiteX45" fmla="*/ 341972 w 1033465"/>
                <a:gd name="connsiteY45" fmla="*/ 554089 h 838042"/>
                <a:gd name="connsiteX46" fmla="*/ 353402 w 1033465"/>
                <a:gd name="connsiteY46" fmla="*/ 561709 h 838042"/>
                <a:gd name="connsiteX47" fmla="*/ 359117 w 1033465"/>
                <a:gd name="connsiteY47" fmla="*/ 565519 h 838042"/>
                <a:gd name="connsiteX48" fmla="*/ 362927 w 1033465"/>
                <a:gd name="connsiteY48" fmla="*/ 571234 h 838042"/>
                <a:gd name="connsiteX49" fmla="*/ 368642 w 1033465"/>
                <a:gd name="connsiteY49" fmla="*/ 582664 h 838042"/>
                <a:gd name="connsiteX50" fmla="*/ 364832 w 1033465"/>
                <a:gd name="connsiteY50" fmla="*/ 609334 h 838042"/>
                <a:gd name="connsiteX51" fmla="*/ 361022 w 1033465"/>
                <a:gd name="connsiteY51" fmla="*/ 615049 h 838042"/>
                <a:gd name="connsiteX52" fmla="*/ 359117 w 1033465"/>
                <a:gd name="connsiteY52" fmla="*/ 620764 h 838042"/>
                <a:gd name="connsiteX53" fmla="*/ 355307 w 1033465"/>
                <a:gd name="connsiteY53" fmla="*/ 626479 h 838042"/>
                <a:gd name="connsiteX54" fmla="*/ 353402 w 1033465"/>
                <a:gd name="connsiteY54" fmla="*/ 632194 h 838042"/>
                <a:gd name="connsiteX55" fmla="*/ 349592 w 1033465"/>
                <a:gd name="connsiteY55" fmla="*/ 637909 h 838042"/>
                <a:gd name="connsiteX56" fmla="*/ 332447 w 1033465"/>
                <a:gd name="connsiteY56" fmla="*/ 704584 h 838042"/>
                <a:gd name="connsiteX57" fmla="*/ 330542 w 1033465"/>
                <a:gd name="connsiteY57" fmla="*/ 756019 h 838042"/>
                <a:gd name="connsiteX58" fmla="*/ 332447 w 1033465"/>
                <a:gd name="connsiteY58" fmla="*/ 780784 h 838042"/>
                <a:gd name="connsiteX59" fmla="*/ 334352 w 1033465"/>
                <a:gd name="connsiteY59" fmla="*/ 786499 h 838042"/>
                <a:gd name="connsiteX60" fmla="*/ 338162 w 1033465"/>
                <a:gd name="connsiteY60" fmla="*/ 790309 h 838042"/>
                <a:gd name="connsiteX61" fmla="*/ 366737 w 1033465"/>
                <a:gd name="connsiteY61" fmla="*/ 836029 h 838042"/>
                <a:gd name="connsiteX62" fmla="*/ 389597 w 1033465"/>
                <a:gd name="connsiteY62" fmla="*/ 837934 h 838042"/>
                <a:gd name="connsiteX63" fmla="*/ 397407 w 1033465"/>
                <a:gd name="connsiteY63" fmla="*/ 833530 h 838042"/>
                <a:gd name="connsiteX64" fmla="*/ 402932 w 1033465"/>
                <a:gd name="connsiteY64" fmla="*/ 784594 h 838042"/>
                <a:gd name="connsiteX65" fmla="*/ 406742 w 1033465"/>
                <a:gd name="connsiteY65" fmla="*/ 727444 h 838042"/>
                <a:gd name="connsiteX66" fmla="*/ 423887 w 1033465"/>
                <a:gd name="connsiteY66" fmla="*/ 672199 h 838042"/>
                <a:gd name="connsiteX67" fmla="*/ 429602 w 1033465"/>
                <a:gd name="connsiteY67" fmla="*/ 658864 h 838042"/>
                <a:gd name="connsiteX68" fmla="*/ 444084 w 1033465"/>
                <a:gd name="connsiteY68" fmla="*/ 626947 h 838042"/>
                <a:gd name="connsiteX69" fmla="*/ 464289 w 1033465"/>
                <a:gd name="connsiteY69" fmla="*/ 600072 h 838042"/>
                <a:gd name="connsiteX70" fmla="*/ 523510 w 1033465"/>
                <a:gd name="connsiteY70" fmla="*/ 565123 h 838042"/>
                <a:gd name="connsiteX71" fmla="*/ 599348 w 1033465"/>
                <a:gd name="connsiteY71" fmla="*/ 550915 h 838042"/>
                <a:gd name="connsiteX72" fmla="*/ 707801 w 1033465"/>
                <a:gd name="connsiteY72" fmla="*/ 612819 h 838042"/>
                <a:gd name="connsiteX73" fmla="*/ 780122 w 1033465"/>
                <a:gd name="connsiteY73" fmla="*/ 656959 h 838042"/>
                <a:gd name="connsiteX74" fmla="*/ 804887 w 1033465"/>
                <a:gd name="connsiteY74" fmla="*/ 632194 h 838042"/>
                <a:gd name="connsiteX75" fmla="*/ 801077 w 1033465"/>
                <a:gd name="connsiteY75" fmla="*/ 601714 h 838042"/>
                <a:gd name="connsiteX76" fmla="*/ 762796 w 1033465"/>
                <a:gd name="connsiteY76" fmla="*/ 562523 h 838042"/>
                <a:gd name="connsiteX77" fmla="*/ 650582 w 1033465"/>
                <a:gd name="connsiteY77" fmla="*/ 479794 h 838042"/>
                <a:gd name="connsiteX78" fmla="*/ 646772 w 1033465"/>
                <a:gd name="connsiteY78" fmla="*/ 462649 h 838042"/>
                <a:gd name="connsiteX79" fmla="*/ 658202 w 1033465"/>
                <a:gd name="connsiteY79" fmla="*/ 426454 h 838042"/>
                <a:gd name="connsiteX80" fmla="*/ 726782 w 1033465"/>
                <a:gd name="connsiteY80" fmla="*/ 405499 h 838042"/>
                <a:gd name="connsiteX81" fmla="*/ 813738 w 1033465"/>
                <a:gd name="connsiteY81" fmla="*/ 406906 h 838042"/>
                <a:gd name="connsiteX82" fmla="*/ 906231 w 1033465"/>
                <a:gd name="connsiteY82" fmla="*/ 417646 h 838042"/>
                <a:gd name="connsiteX83" fmla="*/ 1002290 w 1033465"/>
                <a:gd name="connsiteY83" fmla="*/ 426835 h 838042"/>
                <a:gd name="connsiteX84" fmla="*/ 1032449 w 1033465"/>
                <a:gd name="connsiteY84" fmla="*/ 402711 h 838042"/>
                <a:gd name="connsiteX85" fmla="*/ 1020514 w 1033465"/>
                <a:gd name="connsiteY85" fmla="*/ 377797 h 838042"/>
                <a:gd name="connsiteX86" fmla="*/ 964889 w 1033465"/>
                <a:gd name="connsiteY86" fmla="*/ 358029 h 838042"/>
                <a:gd name="connsiteX87" fmla="*/ 827747 w 1033465"/>
                <a:gd name="connsiteY87" fmla="*/ 357874 h 838042"/>
                <a:gd name="connsiteX88" fmla="*/ 755811 w 1033465"/>
                <a:gd name="connsiteY88" fmla="*/ 361702 h 838042"/>
                <a:gd name="connsiteX89" fmla="*/ 671537 w 1033465"/>
                <a:gd name="connsiteY89" fmla="*/ 369304 h 838042"/>
                <a:gd name="connsiteX90" fmla="*/ 644867 w 1033465"/>
                <a:gd name="connsiteY90" fmla="*/ 338824 h 838042"/>
                <a:gd name="connsiteX91" fmla="*/ 676403 w 1033465"/>
                <a:gd name="connsiteY91" fmla="*/ 304962 h 838042"/>
                <a:gd name="connsiteX92" fmla="*/ 707732 w 1033465"/>
                <a:gd name="connsiteY92" fmla="*/ 283579 h 838042"/>
                <a:gd name="connsiteX93" fmla="*/ 743927 w 1033465"/>
                <a:gd name="connsiteY93" fmla="*/ 251194 h 838042"/>
                <a:gd name="connsiteX94" fmla="*/ 783019 w 1033465"/>
                <a:gd name="connsiteY94" fmla="*/ 213846 h 838042"/>
                <a:gd name="connsiteX95" fmla="*/ 746401 w 1033465"/>
                <a:gd name="connsiteY95" fmla="*/ 201789 h 838042"/>
                <a:gd name="connsiteX96" fmla="*/ 694397 w 1033465"/>
                <a:gd name="connsiteY96" fmla="*/ 226429 h 838042"/>
                <a:gd name="connsiteX97" fmla="*/ 656678 w 1033465"/>
                <a:gd name="connsiteY97" fmla="*/ 257626 h 838042"/>
                <a:gd name="connsiteX98" fmla="*/ 616001 w 1033465"/>
                <a:gd name="connsiteY98" fmla="*/ 286712 h 838042"/>
                <a:gd name="connsiteX99" fmla="*/ 564857 w 1033465"/>
                <a:gd name="connsiteY99" fmla="*/ 287389 h 838042"/>
                <a:gd name="connsiteX100" fmla="*/ 530567 w 1033465"/>
                <a:gd name="connsiteY100" fmla="*/ 274054 h 838042"/>
                <a:gd name="connsiteX101" fmla="*/ 507707 w 1033465"/>
                <a:gd name="connsiteY101" fmla="*/ 235954 h 838042"/>
                <a:gd name="connsiteX102" fmla="*/ 509612 w 1033465"/>
                <a:gd name="connsiteY102" fmla="*/ 171184 h 838042"/>
                <a:gd name="connsiteX103" fmla="*/ 508314 w 1033465"/>
                <a:gd name="connsiteY103" fmla="*/ 73485 h 838042"/>
                <a:gd name="connsiteX104" fmla="*/ 454116 w 1033465"/>
                <a:gd name="connsiteY104" fmla="*/ 11248 h 838042"/>
                <a:gd name="connsiteX105" fmla="*/ 442470 w 1033465"/>
                <a:gd name="connsiteY105" fmla="*/ 75864 h 838042"/>
                <a:gd name="connsiteX106" fmla="*/ 439226 w 1033465"/>
                <a:gd name="connsiteY106" fmla="*/ 132660 h 838042"/>
                <a:gd name="connsiteX107" fmla="*/ 436054 w 1033465"/>
                <a:gd name="connsiteY107"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28811 w 1033465"/>
                <a:gd name="connsiteY19" fmla="*/ 323832 h 838042"/>
                <a:gd name="connsiteX20" fmla="*/ 282210 w 1033465"/>
                <a:gd name="connsiteY20" fmla="*/ 354067 h 838042"/>
                <a:gd name="connsiteX21" fmla="*/ 281012 w 1033465"/>
                <a:gd name="connsiteY21" fmla="*/ 399784 h 838042"/>
                <a:gd name="connsiteX22" fmla="*/ 265772 w 1033465"/>
                <a:gd name="connsiteY22" fmla="*/ 447409 h 838042"/>
                <a:gd name="connsiteX23" fmla="*/ 254342 w 1033465"/>
                <a:gd name="connsiteY23" fmla="*/ 455029 h 838042"/>
                <a:gd name="connsiteX24" fmla="*/ 242912 w 1033465"/>
                <a:gd name="connsiteY24" fmla="*/ 458839 h 838042"/>
                <a:gd name="connsiteX25" fmla="*/ 128612 w 1033465"/>
                <a:gd name="connsiteY25" fmla="*/ 458839 h 838042"/>
                <a:gd name="connsiteX26" fmla="*/ 122897 w 1033465"/>
                <a:gd name="connsiteY26" fmla="*/ 460744 h 838042"/>
                <a:gd name="connsiteX27" fmla="*/ 107657 w 1033465"/>
                <a:gd name="connsiteY27" fmla="*/ 462649 h 838042"/>
                <a:gd name="connsiteX28" fmla="*/ 90512 w 1033465"/>
                <a:gd name="connsiteY28" fmla="*/ 468364 h 838042"/>
                <a:gd name="connsiteX29" fmla="*/ 84797 w 1033465"/>
                <a:gd name="connsiteY29" fmla="*/ 470269 h 838042"/>
                <a:gd name="connsiteX30" fmla="*/ 79082 w 1033465"/>
                <a:gd name="connsiteY30" fmla="*/ 474079 h 838042"/>
                <a:gd name="connsiteX31" fmla="*/ 67652 w 1033465"/>
                <a:gd name="connsiteY31" fmla="*/ 475984 h 838042"/>
                <a:gd name="connsiteX32" fmla="*/ 29552 w 1033465"/>
                <a:gd name="connsiteY32" fmla="*/ 477889 h 838042"/>
                <a:gd name="connsiteX33" fmla="*/ 18122 w 1033465"/>
                <a:gd name="connsiteY33" fmla="*/ 483604 h 838042"/>
                <a:gd name="connsiteX34" fmla="*/ 8597 w 1033465"/>
                <a:gd name="connsiteY34" fmla="*/ 493129 h 838042"/>
                <a:gd name="connsiteX35" fmla="*/ 6692 w 1033465"/>
                <a:gd name="connsiteY35" fmla="*/ 498844 h 838042"/>
                <a:gd name="connsiteX36" fmla="*/ 2882 w 1033465"/>
                <a:gd name="connsiteY36" fmla="*/ 504559 h 838042"/>
                <a:gd name="connsiteX37" fmla="*/ 14312 w 1033465"/>
                <a:gd name="connsiteY37" fmla="*/ 540754 h 838042"/>
                <a:gd name="connsiteX38" fmla="*/ 147662 w 1033465"/>
                <a:gd name="connsiteY38" fmla="*/ 540754 h 838042"/>
                <a:gd name="connsiteX39" fmla="*/ 155282 w 1033465"/>
                <a:gd name="connsiteY39" fmla="*/ 538849 h 838042"/>
                <a:gd name="connsiteX40" fmla="*/ 305777 w 1033465"/>
                <a:gd name="connsiteY40" fmla="*/ 533134 h 838042"/>
                <a:gd name="connsiteX41" fmla="*/ 321017 w 1033465"/>
                <a:gd name="connsiteY41" fmla="*/ 540754 h 838042"/>
                <a:gd name="connsiteX42" fmla="*/ 332447 w 1033465"/>
                <a:gd name="connsiteY42" fmla="*/ 546469 h 838042"/>
                <a:gd name="connsiteX43" fmla="*/ 336257 w 1033465"/>
                <a:gd name="connsiteY43" fmla="*/ 552184 h 838042"/>
                <a:gd name="connsiteX44" fmla="*/ 341972 w 1033465"/>
                <a:gd name="connsiteY44" fmla="*/ 554089 h 838042"/>
                <a:gd name="connsiteX45" fmla="*/ 353402 w 1033465"/>
                <a:gd name="connsiteY45" fmla="*/ 561709 h 838042"/>
                <a:gd name="connsiteX46" fmla="*/ 359117 w 1033465"/>
                <a:gd name="connsiteY46" fmla="*/ 565519 h 838042"/>
                <a:gd name="connsiteX47" fmla="*/ 362927 w 1033465"/>
                <a:gd name="connsiteY47" fmla="*/ 571234 h 838042"/>
                <a:gd name="connsiteX48" fmla="*/ 368642 w 1033465"/>
                <a:gd name="connsiteY48" fmla="*/ 582664 h 838042"/>
                <a:gd name="connsiteX49" fmla="*/ 364832 w 1033465"/>
                <a:gd name="connsiteY49" fmla="*/ 609334 h 838042"/>
                <a:gd name="connsiteX50" fmla="*/ 361022 w 1033465"/>
                <a:gd name="connsiteY50" fmla="*/ 615049 h 838042"/>
                <a:gd name="connsiteX51" fmla="*/ 359117 w 1033465"/>
                <a:gd name="connsiteY51" fmla="*/ 620764 h 838042"/>
                <a:gd name="connsiteX52" fmla="*/ 355307 w 1033465"/>
                <a:gd name="connsiteY52" fmla="*/ 626479 h 838042"/>
                <a:gd name="connsiteX53" fmla="*/ 353402 w 1033465"/>
                <a:gd name="connsiteY53" fmla="*/ 632194 h 838042"/>
                <a:gd name="connsiteX54" fmla="*/ 349592 w 1033465"/>
                <a:gd name="connsiteY54" fmla="*/ 637909 h 838042"/>
                <a:gd name="connsiteX55" fmla="*/ 332447 w 1033465"/>
                <a:gd name="connsiteY55" fmla="*/ 704584 h 838042"/>
                <a:gd name="connsiteX56" fmla="*/ 330542 w 1033465"/>
                <a:gd name="connsiteY56" fmla="*/ 756019 h 838042"/>
                <a:gd name="connsiteX57" fmla="*/ 332447 w 1033465"/>
                <a:gd name="connsiteY57" fmla="*/ 780784 h 838042"/>
                <a:gd name="connsiteX58" fmla="*/ 334352 w 1033465"/>
                <a:gd name="connsiteY58" fmla="*/ 786499 h 838042"/>
                <a:gd name="connsiteX59" fmla="*/ 338162 w 1033465"/>
                <a:gd name="connsiteY59" fmla="*/ 790309 h 838042"/>
                <a:gd name="connsiteX60" fmla="*/ 366737 w 1033465"/>
                <a:gd name="connsiteY60" fmla="*/ 836029 h 838042"/>
                <a:gd name="connsiteX61" fmla="*/ 389597 w 1033465"/>
                <a:gd name="connsiteY61" fmla="*/ 837934 h 838042"/>
                <a:gd name="connsiteX62" fmla="*/ 397407 w 1033465"/>
                <a:gd name="connsiteY62" fmla="*/ 833530 h 838042"/>
                <a:gd name="connsiteX63" fmla="*/ 402932 w 1033465"/>
                <a:gd name="connsiteY63" fmla="*/ 784594 h 838042"/>
                <a:gd name="connsiteX64" fmla="*/ 406742 w 1033465"/>
                <a:gd name="connsiteY64" fmla="*/ 727444 h 838042"/>
                <a:gd name="connsiteX65" fmla="*/ 423887 w 1033465"/>
                <a:gd name="connsiteY65" fmla="*/ 672199 h 838042"/>
                <a:gd name="connsiteX66" fmla="*/ 429602 w 1033465"/>
                <a:gd name="connsiteY66" fmla="*/ 658864 h 838042"/>
                <a:gd name="connsiteX67" fmla="*/ 444084 w 1033465"/>
                <a:gd name="connsiteY67" fmla="*/ 626947 h 838042"/>
                <a:gd name="connsiteX68" fmla="*/ 464289 w 1033465"/>
                <a:gd name="connsiteY68" fmla="*/ 600072 h 838042"/>
                <a:gd name="connsiteX69" fmla="*/ 523510 w 1033465"/>
                <a:gd name="connsiteY69" fmla="*/ 565123 h 838042"/>
                <a:gd name="connsiteX70" fmla="*/ 599348 w 1033465"/>
                <a:gd name="connsiteY70" fmla="*/ 550915 h 838042"/>
                <a:gd name="connsiteX71" fmla="*/ 707801 w 1033465"/>
                <a:gd name="connsiteY71" fmla="*/ 612819 h 838042"/>
                <a:gd name="connsiteX72" fmla="*/ 780122 w 1033465"/>
                <a:gd name="connsiteY72" fmla="*/ 656959 h 838042"/>
                <a:gd name="connsiteX73" fmla="*/ 804887 w 1033465"/>
                <a:gd name="connsiteY73" fmla="*/ 632194 h 838042"/>
                <a:gd name="connsiteX74" fmla="*/ 801077 w 1033465"/>
                <a:gd name="connsiteY74" fmla="*/ 601714 h 838042"/>
                <a:gd name="connsiteX75" fmla="*/ 762796 w 1033465"/>
                <a:gd name="connsiteY75" fmla="*/ 562523 h 838042"/>
                <a:gd name="connsiteX76" fmla="*/ 650582 w 1033465"/>
                <a:gd name="connsiteY76" fmla="*/ 479794 h 838042"/>
                <a:gd name="connsiteX77" fmla="*/ 646772 w 1033465"/>
                <a:gd name="connsiteY77" fmla="*/ 462649 h 838042"/>
                <a:gd name="connsiteX78" fmla="*/ 658202 w 1033465"/>
                <a:gd name="connsiteY78" fmla="*/ 426454 h 838042"/>
                <a:gd name="connsiteX79" fmla="*/ 726782 w 1033465"/>
                <a:gd name="connsiteY79" fmla="*/ 405499 h 838042"/>
                <a:gd name="connsiteX80" fmla="*/ 813738 w 1033465"/>
                <a:gd name="connsiteY80" fmla="*/ 406906 h 838042"/>
                <a:gd name="connsiteX81" fmla="*/ 906231 w 1033465"/>
                <a:gd name="connsiteY81" fmla="*/ 417646 h 838042"/>
                <a:gd name="connsiteX82" fmla="*/ 1002290 w 1033465"/>
                <a:gd name="connsiteY82" fmla="*/ 426835 h 838042"/>
                <a:gd name="connsiteX83" fmla="*/ 1032449 w 1033465"/>
                <a:gd name="connsiteY83" fmla="*/ 402711 h 838042"/>
                <a:gd name="connsiteX84" fmla="*/ 1020514 w 1033465"/>
                <a:gd name="connsiteY84" fmla="*/ 377797 h 838042"/>
                <a:gd name="connsiteX85" fmla="*/ 964889 w 1033465"/>
                <a:gd name="connsiteY85" fmla="*/ 358029 h 838042"/>
                <a:gd name="connsiteX86" fmla="*/ 827747 w 1033465"/>
                <a:gd name="connsiteY86" fmla="*/ 357874 h 838042"/>
                <a:gd name="connsiteX87" fmla="*/ 755811 w 1033465"/>
                <a:gd name="connsiteY87" fmla="*/ 361702 h 838042"/>
                <a:gd name="connsiteX88" fmla="*/ 671537 w 1033465"/>
                <a:gd name="connsiteY88" fmla="*/ 369304 h 838042"/>
                <a:gd name="connsiteX89" fmla="*/ 644867 w 1033465"/>
                <a:gd name="connsiteY89" fmla="*/ 338824 h 838042"/>
                <a:gd name="connsiteX90" fmla="*/ 676403 w 1033465"/>
                <a:gd name="connsiteY90" fmla="*/ 304962 h 838042"/>
                <a:gd name="connsiteX91" fmla="*/ 707732 w 1033465"/>
                <a:gd name="connsiteY91" fmla="*/ 283579 h 838042"/>
                <a:gd name="connsiteX92" fmla="*/ 743927 w 1033465"/>
                <a:gd name="connsiteY92" fmla="*/ 251194 h 838042"/>
                <a:gd name="connsiteX93" fmla="*/ 783019 w 1033465"/>
                <a:gd name="connsiteY93" fmla="*/ 213846 h 838042"/>
                <a:gd name="connsiteX94" fmla="*/ 746401 w 1033465"/>
                <a:gd name="connsiteY94" fmla="*/ 201789 h 838042"/>
                <a:gd name="connsiteX95" fmla="*/ 694397 w 1033465"/>
                <a:gd name="connsiteY95" fmla="*/ 226429 h 838042"/>
                <a:gd name="connsiteX96" fmla="*/ 656678 w 1033465"/>
                <a:gd name="connsiteY96" fmla="*/ 257626 h 838042"/>
                <a:gd name="connsiteX97" fmla="*/ 616001 w 1033465"/>
                <a:gd name="connsiteY97" fmla="*/ 286712 h 838042"/>
                <a:gd name="connsiteX98" fmla="*/ 564857 w 1033465"/>
                <a:gd name="connsiteY98" fmla="*/ 287389 h 838042"/>
                <a:gd name="connsiteX99" fmla="*/ 530567 w 1033465"/>
                <a:gd name="connsiteY99" fmla="*/ 274054 h 838042"/>
                <a:gd name="connsiteX100" fmla="*/ 507707 w 1033465"/>
                <a:gd name="connsiteY100" fmla="*/ 235954 h 838042"/>
                <a:gd name="connsiteX101" fmla="*/ 509612 w 1033465"/>
                <a:gd name="connsiteY101" fmla="*/ 171184 h 838042"/>
                <a:gd name="connsiteX102" fmla="*/ 508314 w 1033465"/>
                <a:gd name="connsiteY102" fmla="*/ 73485 h 838042"/>
                <a:gd name="connsiteX103" fmla="*/ 454116 w 1033465"/>
                <a:gd name="connsiteY103" fmla="*/ 11248 h 838042"/>
                <a:gd name="connsiteX104" fmla="*/ 442470 w 1033465"/>
                <a:gd name="connsiteY104" fmla="*/ 75864 h 838042"/>
                <a:gd name="connsiteX105" fmla="*/ 439226 w 1033465"/>
                <a:gd name="connsiteY105" fmla="*/ 132660 h 838042"/>
                <a:gd name="connsiteX106" fmla="*/ 436054 w 1033465"/>
                <a:gd name="connsiteY10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32422 w 1033465"/>
                <a:gd name="connsiteY17" fmla="*/ 291199 h 838042"/>
                <a:gd name="connsiteX18" fmla="*/ 193382 w 1033465"/>
                <a:gd name="connsiteY18" fmla="*/ 308344 h 838042"/>
                <a:gd name="connsiteX19" fmla="*/ 228811 w 1033465"/>
                <a:gd name="connsiteY19" fmla="*/ 323832 h 838042"/>
                <a:gd name="connsiteX20" fmla="*/ 282210 w 1033465"/>
                <a:gd name="connsiteY20" fmla="*/ 354067 h 838042"/>
                <a:gd name="connsiteX21" fmla="*/ 281012 w 1033465"/>
                <a:gd name="connsiteY21" fmla="*/ 399784 h 838042"/>
                <a:gd name="connsiteX22" fmla="*/ 265772 w 1033465"/>
                <a:gd name="connsiteY22" fmla="*/ 447409 h 838042"/>
                <a:gd name="connsiteX23" fmla="*/ 254342 w 1033465"/>
                <a:gd name="connsiteY23" fmla="*/ 455029 h 838042"/>
                <a:gd name="connsiteX24" fmla="*/ 242912 w 1033465"/>
                <a:gd name="connsiteY24" fmla="*/ 458839 h 838042"/>
                <a:gd name="connsiteX25" fmla="*/ 128612 w 1033465"/>
                <a:gd name="connsiteY25" fmla="*/ 458839 h 838042"/>
                <a:gd name="connsiteX26" fmla="*/ 122897 w 1033465"/>
                <a:gd name="connsiteY26" fmla="*/ 460744 h 838042"/>
                <a:gd name="connsiteX27" fmla="*/ 107657 w 1033465"/>
                <a:gd name="connsiteY27" fmla="*/ 462649 h 838042"/>
                <a:gd name="connsiteX28" fmla="*/ 90512 w 1033465"/>
                <a:gd name="connsiteY28" fmla="*/ 468364 h 838042"/>
                <a:gd name="connsiteX29" fmla="*/ 84797 w 1033465"/>
                <a:gd name="connsiteY29" fmla="*/ 470269 h 838042"/>
                <a:gd name="connsiteX30" fmla="*/ 79082 w 1033465"/>
                <a:gd name="connsiteY30" fmla="*/ 474079 h 838042"/>
                <a:gd name="connsiteX31" fmla="*/ 67652 w 1033465"/>
                <a:gd name="connsiteY31" fmla="*/ 475984 h 838042"/>
                <a:gd name="connsiteX32" fmla="*/ 29552 w 1033465"/>
                <a:gd name="connsiteY32" fmla="*/ 477889 h 838042"/>
                <a:gd name="connsiteX33" fmla="*/ 18122 w 1033465"/>
                <a:gd name="connsiteY33" fmla="*/ 483604 h 838042"/>
                <a:gd name="connsiteX34" fmla="*/ 8597 w 1033465"/>
                <a:gd name="connsiteY34" fmla="*/ 493129 h 838042"/>
                <a:gd name="connsiteX35" fmla="*/ 6692 w 1033465"/>
                <a:gd name="connsiteY35" fmla="*/ 498844 h 838042"/>
                <a:gd name="connsiteX36" fmla="*/ 2882 w 1033465"/>
                <a:gd name="connsiteY36" fmla="*/ 504559 h 838042"/>
                <a:gd name="connsiteX37" fmla="*/ 14312 w 1033465"/>
                <a:gd name="connsiteY37" fmla="*/ 540754 h 838042"/>
                <a:gd name="connsiteX38" fmla="*/ 147662 w 1033465"/>
                <a:gd name="connsiteY38" fmla="*/ 540754 h 838042"/>
                <a:gd name="connsiteX39" fmla="*/ 155282 w 1033465"/>
                <a:gd name="connsiteY39" fmla="*/ 538849 h 838042"/>
                <a:gd name="connsiteX40" fmla="*/ 305777 w 1033465"/>
                <a:gd name="connsiteY40" fmla="*/ 533134 h 838042"/>
                <a:gd name="connsiteX41" fmla="*/ 321017 w 1033465"/>
                <a:gd name="connsiteY41" fmla="*/ 540754 h 838042"/>
                <a:gd name="connsiteX42" fmla="*/ 332447 w 1033465"/>
                <a:gd name="connsiteY42" fmla="*/ 546469 h 838042"/>
                <a:gd name="connsiteX43" fmla="*/ 336257 w 1033465"/>
                <a:gd name="connsiteY43" fmla="*/ 552184 h 838042"/>
                <a:gd name="connsiteX44" fmla="*/ 341972 w 1033465"/>
                <a:gd name="connsiteY44" fmla="*/ 554089 h 838042"/>
                <a:gd name="connsiteX45" fmla="*/ 353402 w 1033465"/>
                <a:gd name="connsiteY45" fmla="*/ 561709 h 838042"/>
                <a:gd name="connsiteX46" fmla="*/ 359117 w 1033465"/>
                <a:gd name="connsiteY46" fmla="*/ 565519 h 838042"/>
                <a:gd name="connsiteX47" fmla="*/ 362927 w 1033465"/>
                <a:gd name="connsiteY47" fmla="*/ 571234 h 838042"/>
                <a:gd name="connsiteX48" fmla="*/ 368642 w 1033465"/>
                <a:gd name="connsiteY48" fmla="*/ 582664 h 838042"/>
                <a:gd name="connsiteX49" fmla="*/ 364832 w 1033465"/>
                <a:gd name="connsiteY49" fmla="*/ 609334 h 838042"/>
                <a:gd name="connsiteX50" fmla="*/ 361022 w 1033465"/>
                <a:gd name="connsiteY50" fmla="*/ 615049 h 838042"/>
                <a:gd name="connsiteX51" fmla="*/ 359117 w 1033465"/>
                <a:gd name="connsiteY51" fmla="*/ 620764 h 838042"/>
                <a:gd name="connsiteX52" fmla="*/ 355307 w 1033465"/>
                <a:gd name="connsiteY52" fmla="*/ 626479 h 838042"/>
                <a:gd name="connsiteX53" fmla="*/ 353402 w 1033465"/>
                <a:gd name="connsiteY53" fmla="*/ 632194 h 838042"/>
                <a:gd name="connsiteX54" fmla="*/ 349592 w 1033465"/>
                <a:gd name="connsiteY54" fmla="*/ 637909 h 838042"/>
                <a:gd name="connsiteX55" fmla="*/ 332447 w 1033465"/>
                <a:gd name="connsiteY55" fmla="*/ 704584 h 838042"/>
                <a:gd name="connsiteX56" fmla="*/ 330542 w 1033465"/>
                <a:gd name="connsiteY56" fmla="*/ 756019 h 838042"/>
                <a:gd name="connsiteX57" fmla="*/ 332447 w 1033465"/>
                <a:gd name="connsiteY57" fmla="*/ 780784 h 838042"/>
                <a:gd name="connsiteX58" fmla="*/ 334352 w 1033465"/>
                <a:gd name="connsiteY58" fmla="*/ 786499 h 838042"/>
                <a:gd name="connsiteX59" fmla="*/ 338162 w 1033465"/>
                <a:gd name="connsiteY59" fmla="*/ 790309 h 838042"/>
                <a:gd name="connsiteX60" fmla="*/ 366737 w 1033465"/>
                <a:gd name="connsiteY60" fmla="*/ 836029 h 838042"/>
                <a:gd name="connsiteX61" fmla="*/ 389597 w 1033465"/>
                <a:gd name="connsiteY61" fmla="*/ 837934 h 838042"/>
                <a:gd name="connsiteX62" fmla="*/ 397407 w 1033465"/>
                <a:gd name="connsiteY62" fmla="*/ 833530 h 838042"/>
                <a:gd name="connsiteX63" fmla="*/ 402932 w 1033465"/>
                <a:gd name="connsiteY63" fmla="*/ 784594 h 838042"/>
                <a:gd name="connsiteX64" fmla="*/ 406742 w 1033465"/>
                <a:gd name="connsiteY64" fmla="*/ 727444 h 838042"/>
                <a:gd name="connsiteX65" fmla="*/ 423887 w 1033465"/>
                <a:gd name="connsiteY65" fmla="*/ 672199 h 838042"/>
                <a:gd name="connsiteX66" fmla="*/ 429602 w 1033465"/>
                <a:gd name="connsiteY66" fmla="*/ 658864 h 838042"/>
                <a:gd name="connsiteX67" fmla="*/ 444084 w 1033465"/>
                <a:gd name="connsiteY67" fmla="*/ 626947 h 838042"/>
                <a:gd name="connsiteX68" fmla="*/ 464289 w 1033465"/>
                <a:gd name="connsiteY68" fmla="*/ 600072 h 838042"/>
                <a:gd name="connsiteX69" fmla="*/ 523510 w 1033465"/>
                <a:gd name="connsiteY69" fmla="*/ 565123 h 838042"/>
                <a:gd name="connsiteX70" fmla="*/ 599348 w 1033465"/>
                <a:gd name="connsiteY70" fmla="*/ 550915 h 838042"/>
                <a:gd name="connsiteX71" fmla="*/ 707801 w 1033465"/>
                <a:gd name="connsiteY71" fmla="*/ 612819 h 838042"/>
                <a:gd name="connsiteX72" fmla="*/ 780122 w 1033465"/>
                <a:gd name="connsiteY72" fmla="*/ 656959 h 838042"/>
                <a:gd name="connsiteX73" fmla="*/ 804887 w 1033465"/>
                <a:gd name="connsiteY73" fmla="*/ 632194 h 838042"/>
                <a:gd name="connsiteX74" fmla="*/ 801077 w 1033465"/>
                <a:gd name="connsiteY74" fmla="*/ 601714 h 838042"/>
                <a:gd name="connsiteX75" fmla="*/ 762796 w 1033465"/>
                <a:gd name="connsiteY75" fmla="*/ 562523 h 838042"/>
                <a:gd name="connsiteX76" fmla="*/ 650582 w 1033465"/>
                <a:gd name="connsiteY76" fmla="*/ 479794 h 838042"/>
                <a:gd name="connsiteX77" fmla="*/ 646772 w 1033465"/>
                <a:gd name="connsiteY77" fmla="*/ 462649 h 838042"/>
                <a:gd name="connsiteX78" fmla="*/ 658202 w 1033465"/>
                <a:gd name="connsiteY78" fmla="*/ 426454 h 838042"/>
                <a:gd name="connsiteX79" fmla="*/ 726782 w 1033465"/>
                <a:gd name="connsiteY79" fmla="*/ 405499 h 838042"/>
                <a:gd name="connsiteX80" fmla="*/ 813738 w 1033465"/>
                <a:gd name="connsiteY80" fmla="*/ 406906 h 838042"/>
                <a:gd name="connsiteX81" fmla="*/ 906231 w 1033465"/>
                <a:gd name="connsiteY81" fmla="*/ 417646 h 838042"/>
                <a:gd name="connsiteX82" fmla="*/ 1002290 w 1033465"/>
                <a:gd name="connsiteY82" fmla="*/ 426835 h 838042"/>
                <a:gd name="connsiteX83" fmla="*/ 1032449 w 1033465"/>
                <a:gd name="connsiteY83" fmla="*/ 402711 h 838042"/>
                <a:gd name="connsiteX84" fmla="*/ 1020514 w 1033465"/>
                <a:gd name="connsiteY84" fmla="*/ 377797 h 838042"/>
                <a:gd name="connsiteX85" fmla="*/ 964889 w 1033465"/>
                <a:gd name="connsiteY85" fmla="*/ 358029 h 838042"/>
                <a:gd name="connsiteX86" fmla="*/ 827747 w 1033465"/>
                <a:gd name="connsiteY86" fmla="*/ 357874 h 838042"/>
                <a:gd name="connsiteX87" fmla="*/ 755811 w 1033465"/>
                <a:gd name="connsiteY87" fmla="*/ 361702 h 838042"/>
                <a:gd name="connsiteX88" fmla="*/ 671537 w 1033465"/>
                <a:gd name="connsiteY88" fmla="*/ 369304 h 838042"/>
                <a:gd name="connsiteX89" fmla="*/ 644867 w 1033465"/>
                <a:gd name="connsiteY89" fmla="*/ 338824 h 838042"/>
                <a:gd name="connsiteX90" fmla="*/ 676403 w 1033465"/>
                <a:gd name="connsiteY90" fmla="*/ 304962 h 838042"/>
                <a:gd name="connsiteX91" fmla="*/ 707732 w 1033465"/>
                <a:gd name="connsiteY91" fmla="*/ 283579 h 838042"/>
                <a:gd name="connsiteX92" fmla="*/ 743927 w 1033465"/>
                <a:gd name="connsiteY92" fmla="*/ 251194 h 838042"/>
                <a:gd name="connsiteX93" fmla="*/ 783019 w 1033465"/>
                <a:gd name="connsiteY93" fmla="*/ 213846 h 838042"/>
                <a:gd name="connsiteX94" fmla="*/ 746401 w 1033465"/>
                <a:gd name="connsiteY94" fmla="*/ 201789 h 838042"/>
                <a:gd name="connsiteX95" fmla="*/ 694397 w 1033465"/>
                <a:gd name="connsiteY95" fmla="*/ 226429 h 838042"/>
                <a:gd name="connsiteX96" fmla="*/ 656678 w 1033465"/>
                <a:gd name="connsiteY96" fmla="*/ 257626 h 838042"/>
                <a:gd name="connsiteX97" fmla="*/ 616001 w 1033465"/>
                <a:gd name="connsiteY97" fmla="*/ 286712 h 838042"/>
                <a:gd name="connsiteX98" fmla="*/ 564857 w 1033465"/>
                <a:gd name="connsiteY98" fmla="*/ 287389 h 838042"/>
                <a:gd name="connsiteX99" fmla="*/ 530567 w 1033465"/>
                <a:gd name="connsiteY99" fmla="*/ 274054 h 838042"/>
                <a:gd name="connsiteX100" fmla="*/ 507707 w 1033465"/>
                <a:gd name="connsiteY100" fmla="*/ 235954 h 838042"/>
                <a:gd name="connsiteX101" fmla="*/ 509612 w 1033465"/>
                <a:gd name="connsiteY101" fmla="*/ 171184 h 838042"/>
                <a:gd name="connsiteX102" fmla="*/ 508314 w 1033465"/>
                <a:gd name="connsiteY102" fmla="*/ 73485 h 838042"/>
                <a:gd name="connsiteX103" fmla="*/ 454116 w 1033465"/>
                <a:gd name="connsiteY103" fmla="*/ 11248 h 838042"/>
                <a:gd name="connsiteX104" fmla="*/ 442470 w 1033465"/>
                <a:gd name="connsiteY104" fmla="*/ 75864 h 838042"/>
                <a:gd name="connsiteX105" fmla="*/ 439226 w 1033465"/>
                <a:gd name="connsiteY105" fmla="*/ 132660 h 838042"/>
                <a:gd name="connsiteX106" fmla="*/ 436054 w 1033465"/>
                <a:gd name="connsiteY106"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82892 w 1033465"/>
                <a:gd name="connsiteY15" fmla="*/ 281674 h 838042"/>
                <a:gd name="connsiteX16" fmla="*/ 126707 w 1033465"/>
                <a:gd name="connsiteY16" fmla="*/ 289294 h 838042"/>
                <a:gd name="connsiteX17" fmla="*/ 193382 w 1033465"/>
                <a:gd name="connsiteY17" fmla="*/ 308344 h 838042"/>
                <a:gd name="connsiteX18" fmla="*/ 228811 w 1033465"/>
                <a:gd name="connsiteY18" fmla="*/ 323832 h 838042"/>
                <a:gd name="connsiteX19" fmla="*/ 282210 w 1033465"/>
                <a:gd name="connsiteY19" fmla="*/ 354067 h 838042"/>
                <a:gd name="connsiteX20" fmla="*/ 281012 w 1033465"/>
                <a:gd name="connsiteY20" fmla="*/ 399784 h 838042"/>
                <a:gd name="connsiteX21" fmla="*/ 265772 w 1033465"/>
                <a:gd name="connsiteY21" fmla="*/ 447409 h 838042"/>
                <a:gd name="connsiteX22" fmla="*/ 254342 w 1033465"/>
                <a:gd name="connsiteY22" fmla="*/ 455029 h 838042"/>
                <a:gd name="connsiteX23" fmla="*/ 242912 w 1033465"/>
                <a:gd name="connsiteY23" fmla="*/ 458839 h 838042"/>
                <a:gd name="connsiteX24" fmla="*/ 128612 w 1033465"/>
                <a:gd name="connsiteY24" fmla="*/ 458839 h 838042"/>
                <a:gd name="connsiteX25" fmla="*/ 122897 w 1033465"/>
                <a:gd name="connsiteY25" fmla="*/ 460744 h 838042"/>
                <a:gd name="connsiteX26" fmla="*/ 107657 w 1033465"/>
                <a:gd name="connsiteY26" fmla="*/ 462649 h 838042"/>
                <a:gd name="connsiteX27" fmla="*/ 90512 w 1033465"/>
                <a:gd name="connsiteY27" fmla="*/ 468364 h 838042"/>
                <a:gd name="connsiteX28" fmla="*/ 84797 w 1033465"/>
                <a:gd name="connsiteY28" fmla="*/ 470269 h 838042"/>
                <a:gd name="connsiteX29" fmla="*/ 79082 w 1033465"/>
                <a:gd name="connsiteY29" fmla="*/ 474079 h 838042"/>
                <a:gd name="connsiteX30" fmla="*/ 67652 w 1033465"/>
                <a:gd name="connsiteY30" fmla="*/ 475984 h 838042"/>
                <a:gd name="connsiteX31" fmla="*/ 29552 w 1033465"/>
                <a:gd name="connsiteY31" fmla="*/ 477889 h 838042"/>
                <a:gd name="connsiteX32" fmla="*/ 18122 w 1033465"/>
                <a:gd name="connsiteY32" fmla="*/ 483604 h 838042"/>
                <a:gd name="connsiteX33" fmla="*/ 8597 w 1033465"/>
                <a:gd name="connsiteY33" fmla="*/ 493129 h 838042"/>
                <a:gd name="connsiteX34" fmla="*/ 6692 w 1033465"/>
                <a:gd name="connsiteY34" fmla="*/ 498844 h 838042"/>
                <a:gd name="connsiteX35" fmla="*/ 2882 w 1033465"/>
                <a:gd name="connsiteY35" fmla="*/ 504559 h 838042"/>
                <a:gd name="connsiteX36" fmla="*/ 14312 w 1033465"/>
                <a:gd name="connsiteY36" fmla="*/ 540754 h 838042"/>
                <a:gd name="connsiteX37" fmla="*/ 147662 w 1033465"/>
                <a:gd name="connsiteY37" fmla="*/ 540754 h 838042"/>
                <a:gd name="connsiteX38" fmla="*/ 155282 w 1033465"/>
                <a:gd name="connsiteY38" fmla="*/ 538849 h 838042"/>
                <a:gd name="connsiteX39" fmla="*/ 305777 w 1033465"/>
                <a:gd name="connsiteY39" fmla="*/ 533134 h 838042"/>
                <a:gd name="connsiteX40" fmla="*/ 321017 w 1033465"/>
                <a:gd name="connsiteY40" fmla="*/ 540754 h 838042"/>
                <a:gd name="connsiteX41" fmla="*/ 332447 w 1033465"/>
                <a:gd name="connsiteY41" fmla="*/ 546469 h 838042"/>
                <a:gd name="connsiteX42" fmla="*/ 336257 w 1033465"/>
                <a:gd name="connsiteY42" fmla="*/ 552184 h 838042"/>
                <a:gd name="connsiteX43" fmla="*/ 341972 w 1033465"/>
                <a:gd name="connsiteY43" fmla="*/ 554089 h 838042"/>
                <a:gd name="connsiteX44" fmla="*/ 353402 w 1033465"/>
                <a:gd name="connsiteY44" fmla="*/ 561709 h 838042"/>
                <a:gd name="connsiteX45" fmla="*/ 359117 w 1033465"/>
                <a:gd name="connsiteY45" fmla="*/ 565519 h 838042"/>
                <a:gd name="connsiteX46" fmla="*/ 362927 w 1033465"/>
                <a:gd name="connsiteY46" fmla="*/ 571234 h 838042"/>
                <a:gd name="connsiteX47" fmla="*/ 368642 w 1033465"/>
                <a:gd name="connsiteY47" fmla="*/ 582664 h 838042"/>
                <a:gd name="connsiteX48" fmla="*/ 364832 w 1033465"/>
                <a:gd name="connsiteY48" fmla="*/ 609334 h 838042"/>
                <a:gd name="connsiteX49" fmla="*/ 361022 w 1033465"/>
                <a:gd name="connsiteY49" fmla="*/ 615049 h 838042"/>
                <a:gd name="connsiteX50" fmla="*/ 359117 w 1033465"/>
                <a:gd name="connsiteY50" fmla="*/ 620764 h 838042"/>
                <a:gd name="connsiteX51" fmla="*/ 355307 w 1033465"/>
                <a:gd name="connsiteY51" fmla="*/ 626479 h 838042"/>
                <a:gd name="connsiteX52" fmla="*/ 353402 w 1033465"/>
                <a:gd name="connsiteY52" fmla="*/ 632194 h 838042"/>
                <a:gd name="connsiteX53" fmla="*/ 349592 w 1033465"/>
                <a:gd name="connsiteY53" fmla="*/ 637909 h 838042"/>
                <a:gd name="connsiteX54" fmla="*/ 332447 w 1033465"/>
                <a:gd name="connsiteY54" fmla="*/ 704584 h 838042"/>
                <a:gd name="connsiteX55" fmla="*/ 330542 w 1033465"/>
                <a:gd name="connsiteY55" fmla="*/ 756019 h 838042"/>
                <a:gd name="connsiteX56" fmla="*/ 332447 w 1033465"/>
                <a:gd name="connsiteY56" fmla="*/ 780784 h 838042"/>
                <a:gd name="connsiteX57" fmla="*/ 334352 w 1033465"/>
                <a:gd name="connsiteY57" fmla="*/ 786499 h 838042"/>
                <a:gd name="connsiteX58" fmla="*/ 338162 w 1033465"/>
                <a:gd name="connsiteY58" fmla="*/ 790309 h 838042"/>
                <a:gd name="connsiteX59" fmla="*/ 366737 w 1033465"/>
                <a:gd name="connsiteY59" fmla="*/ 836029 h 838042"/>
                <a:gd name="connsiteX60" fmla="*/ 389597 w 1033465"/>
                <a:gd name="connsiteY60" fmla="*/ 837934 h 838042"/>
                <a:gd name="connsiteX61" fmla="*/ 397407 w 1033465"/>
                <a:gd name="connsiteY61" fmla="*/ 833530 h 838042"/>
                <a:gd name="connsiteX62" fmla="*/ 402932 w 1033465"/>
                <a:gd name="connsiteY62" fmla="*/ 784594 h 838042"/>
                <a:gd name="connsiteX63" fmla="*/ 406742 w 1033465"/>
                <a:gd name="connsiteY63" fmla="*/ 727444 h 838042"/>
                <a:gd name="connsiteX64" fmla="*/ 423887 w 1033465"/>
                <a:gd name="connsiteY64" fmla="*/ 672199 h 838042"/>
                <a:gd name="connsiteX65" fmla="*/ 429602 w 1033465"/>
                <a:gd name="connsiteY65" fmla="*/ 658864 h 838042"/>
                <a:gd name="connsiteX66" fmla="*/ 444084 w 1033465"/>
                <a:gd name="connsiteY66" fmla="*/ 626947 h 838042"/>
                <a:gd name="connsiteX67" fmla="*/ 464289 w 1033465"/>
                <a:gd name="connsiteY67" fmla="*/ 600072 h 838042"/>
                <a:gd name="connsiteX68" fmla="*/ 523510 w 1033465"/>
                <a:gd name="connsiteY68" fmla="*/ 565123 h 838042"/>
                <a:gd name="connsiteX69" fmla="*/ 599348 w 1033465"/>
                <a:gd name="connsiteY69" fmla="*/ 550915 h 838042"/>
                <a:gd name="connsiteX70" fmla="*/ 707801 w 1033465"/>
                <a:gd name="connsiteY70" fmla="*/ 612819 h 838042"/>
                <a:gd name="connsiteX71" fmla="*/ 780122 w 1033465"/>
                <a:gd name="connsiteY71" fmla="*/ 656959 h 838042"/>
                <a:gd name="connsiteX72" fmla="*/ 804887 w 1033465"/>
                <a:gd name="connsiteY72" fmla="*/ 632194 h 838042"/>
                <a:gd name="connsiteX73" fmla="*/ 801077 w 1033465"/>
                <a:gd name="connsiteY73" fmla="*/ 601714 h 838042"/>
                <a:gd name="connsiteX74" fmla="*/ 762796 w 1033465"/>
                <a:gd name="connsiteY74" fmla="*/ 562523 h 838042"/>
                <a:gd name="connsiteX75" fmla="*/ 650582 w 1033465"/>
                <a:gd name="connsiteY75" fmla="*/ 479794 h 838042"/>
                <a:gd name="connsiteX76" fmla="*/ 646772 w 1033465"/>
                <a:gd name="connsiteY76" fmla="*/ 462649 h 838042"/>
                <a:gd name="connsiteX77" fmla="*/ 658202 w 1033465"/>
                <a:gd name="connsiteY77" fmla="*/ 426454 h 838042"/>
                <a:gd name="connsiteX78" fmla="*/ 726782 w 1033465"/>
                <a:gd name="connsiteY78" fmla="*/ 405499 h 838042"/>
                <a:gd name="connsiteX79" fmla="*/ 813738 w 1033465"/>
                <a:gd name="connsiteY79" fmla="*/ 406906 h 838042"/>
                <a:gd name="connsiteX80" fmla="*/ 906231 w 1033465"/>
                <a:gd name="connsiteY80" fmla="*/ 417646 h 838042"/>
                <a:gd name="connsiteX81" fmla="*/ 1002290 w 1033465"/>
                <a:gd name="connsiteY81" fmla="*/ 426835 h 838042"/>
                <a:gd name="connsiteX82" fmla="*/ 1032449 w 1033465"/>
                <a:gd name="connsiteY82" fmla="*/ 402711 h 838042"/>
                <a:gd name="connsiteX83" fmla="*/ 1020514 w 1033465"/>
                <a:gd name="connsiteY83" fmla="*/ 377797 h 838042"/>
                <a:gd name="connsiteX84" fmla="*/ 964889 w 1033465"/>
                <a:gd name="connsiteY84" fmla="*/ 358029 h 838042"/>
                <a:gd name="connsiteX85" fmla="*/ 827747 w 1033465"/>
                <a:gd name="connsiteY85" fmla="*/ 357874 h 838042"/>
                <a:gd name="connsiteX86" fmla="*/ 755811 w 1033465"/>
                <a:gd name="connsiteY86" fmla="*/ 361702 h 838042"/>
                <a:gd name="connsiteX87" fmla="*/ 671537 w 1033465"/>
                <a:gd name="connsiteY87" fmla="*/ 369304 h 838042"/>
                <a:gd name="connsiteX88" fmla="*/ 644867 w 1033465"/>
                <a:gd name="connsiteY88" fmla="*/ 338824 h 838042"/>
                <a:gd name="connsiteX89" fmla="*/ 676403 w 1033465"/>
                <a:gd name="connsiteY89" fmla="*/ 304962 h 838042"/>
                <a:gd name="connsiteX90" fmla="*/ 707732 w 1033465"/>
                <a:gd name="connsiteY90" fmla="*/ 283579 h 838042"/>
                <a:gd name="connsiteX91" fmla="*/ 743927 w 1033465"/>
                <a:gd name="connsiteY91" fmla="*/ 251194 h 838042"/>
                <a:gd name="connsiteX92" fmla="*/ 783019 w 1033465"/>
                <a:gd name="connsiteY92" fmla="*/ 213846 h 838042"/>
                <a:gd name="connsiteX93" fmla="*/ 746401 w 1033465"/>
                <a:gd name="connsiteY93" fmla="*/ 201789 h 838042"/>
                <a:gd name="connsiteX94" fmla="*/ 694397 w 1033465"/>
                <a:gd name="connsiteY94" fmla="*/ 226429 h 838042"/>
                <a:gd name="connsiteX95" fmla="*/ 656678 w 1033465"/>
                <a:gd name="connsiteY95" fmla="*/ 257626 h 838042"/>
                <a:gd name="connsiteX96" fmla="*/ 616001 w 1033465"/>
                <a:gd name="connsiteY96" fmla="*/ 286712 h 838042"/>
                <a:gd name="connsiteX97" fmla="*/ 564857 w 1033465"/>
                <a:gd name="connsiteY97" fmla="*/ 287389 h 838042"/>
                <a:gd name="connsiteX98" fmla="*/ 530567 w 1033465"/>
                <a:gd name="connsiteY98" fmla="*/ 274054 h 838042"/>
                <a:gd name="connsiteX99" fmla="*/ 507707 w 1033465"/>
                <a:gd name="connsiteY99" fmla="*/ 235954 h 838042"/>
                <a:gd name="connsiteX100" fmla="*/ 509612 w 1033465"/>
                <a:gd name="connsiteY100" fmla="*/ 171184 h 838042"/>
                <a:gd name="connsiteX101" fmla="*/ 508314 w 1033465"/>
                <a:gd name="connsiteY101" fmla="*/ 73485 h 838042"/>
                <a:gd name="connsiteX102" fmla="*/ 454116 w 1033465"/>
                <a:gd name="connsiteY102" fmla="*/ 11248 h 838042"/>
                <a:gd name="connsiteX103" fmla="*/ 442470 w 1033465"/>
                <a:gd name="connsiteY103" fmla="*/ 75864 h 838042"/>
                <a:gd name="connsiteX104" fmla="*/ 439226 w 1033465"/>
                <a:gd name="connsiteY104" fmla="*/ 132660 h 838042"/>
                <a:gd name="connsiteX105" fmla="*/ 436054 w 1033465"/>
                <a:gd name="connsiteY105"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7 w 1033465"/>
                <a:gd name="connsiteY14" fmla="*/ 272149 h 838042"/>
                <a:gd name="connsiteX15" fmla="*/ 126707 w 1033465"/>
                <a:gd name="connsiteY15" fmla="*/ 289294 h 838042"/>
                <a:gd name="connsiteX16" fmla="*/ 193382 w 1033465"/>
                <a:gd name="connsiteY16" fmla="*/ 308344 h 838042"/>
                <a:gd name="connsiteX17" fmla="*/ 228811 w 1033465"/>
                <a:gd name="connsiteY17" fmla="*/ 323832 h 838042"/>
                <a:gd name="connsiteX18" fmla="*/ 282210 w 1033465"/>
                <a:gd name="connsiteY18" fmla="*/ 354067 h 838042"/>
                <a:gd name="connsiteX19" fmla="*/ 281012 w 1033465"/>
                <a:gd name="connsiteY19" fmla="*/ 399784 h 838042"/>
                <a:gd name="connsiteX20" fmla="*/ 265772 w 1033465"/>
                <a:gd name="connsiteY20" fmla="*/ 447409 h 838042"/>
                <a:gd name="connsiteX21" fmla="*/ 254342 w 1033465"/>
                <a:gd name="connsiteY21" fmla="*/ 455029 h 838042"/>
                <a:gd name="connsiteX22" fmla="*/ 242912 w 1033465"/>
                <a:gd name="connsiteY22" fmla="*/ 458839 h 838042"/>
                <a:gd name="connsiteX23" fmla="*/ 128612 w 1033465"/>
                <a:gd name="connsiteY23" fmla="*/ 458839 h 838042"/>
                <a:gd name="connsiteX24" fmla="*/ 122897 w 1033465"/>
                <a:gd name="connsiteY24" fmla="*/ 460744 h 838042"/>
                <a:gd name="connsiteX25" fmla="*/ 107657 w 1033465"/>
                <a:gd name="connsiteY25" fmla="*/ 462649 h 838042"/>
                <a:gd name="connsiteX26" fmla="*/ 90512 w 1033465"/>
                <a:gd name="connsiteY26" fmla="*/ 468364 h 838042"/>
                <a:gd name="connsiteX27" fmla="*/ 84797 w 1033465"/>
                <a:gd name="connsiteY27" fmla="*/ 470269 h 838042"/>
                <a:gd name="connsiteX28" fmla="*/ 79082 w 1033465"/>
                <a:gd name="connsiteY28" fmla="*/ 474079 h 838042"/>
                <a:gd name="connsiteX29" fmla="*/ 67652 w 1033465"/>
                <a:gd name="connsiteY29" fmla="*/ 475984 h 838042"/>
                <a:gd name="connsiteX30" fmla="*/ 29552 w 1033465"/>
                <a:gd name="connsiteY30" fmla="*/ 477889 h 838042"/>
                <a:gd name="connsiteX31" fmla="*/ 18122 w 1033465"/>
                <a:gd name="connsiteY31" fmla="*/ 483604 h 838042"/>
                <a:gd name="connsiteX32" fmla="*/ 8597 w 1033465"/>
                <a:gd name="connsiteY32" fmla="*/ 493129 h 838042"/>
                <a:gd name="connsiteX33" fmla="*/ 6692 w 1033465"/>
                <a:gd name="connsiteY33" fmla="*/ 498844 h 838042"/>
                <a:gd name="connsiteX34" fmla="*/ 2882 w 1033465"/>
                <a:gd name="connsiteY34" fmla="*/ 504559 h 838042"/>
                <a:gd name="connsiteX35" fmla="*/ 14312 w 1033465"/>
                <a:gd name="connsiteY35" fmla="*/ 540754 h 838042"/>
                <a:gd name="connsiteX36" fmla="*/ 147662 w 1033465"/>
                <a:gd name="connsiteY36" fmla="*/ 540754 h 838042"/>
                <a:gd name="connsiteX37" fmla="*/ 155282 w 1033465"/>
                <a:gd name="connsiteY37" fmla="*/ 538849 h 838042"/>
                <a:gd name="connsiteX38" fmla="*/ 305777 w 1033465"/>
                <a:gd name="connsiteY38" fmla="*/ 533134 h 838042"/>
                <a:gd name="connsiteX39" fmla="*/ 321017 w 1033465"/>
                <a:gd name="connsiteY39" fmla="*/ 540754 h 838042"/>
                <a:gd name="connsiteX40" fmla="*/ 332447 w 1033465"/>
                <a:gd name="connsiteY40" fmla="*/ 546469 h 838042"/>
                <a:gd name="connsiteX41" fmla="*/ 336257 w 1033465"/>
                <a:gd name="connsiteY41" fmla="*/ 552184 h 838042"/>
                <a:gd name="connsiteX42" fmla="*/ 341972 w 1033465"/>
                <a:gd name="connsiteY42" fmla="*/ 554089 h 838042"/>
                <a:gd name="connsiteX43" fmla="*/ 353402 w 1033465"/>
                <a:gd name="connsiteY43" fmla="*/ 561709 h 838042"/>
                <a:gd name="connsiteX44" fmla="*/ 359117 w 1033465"/>
                <a:gd name="connsiteY44" fmla="*/ 565519 h 838042"/>
                <a:gd name="connsiteX45" fmla="*/ 362927 w 1033465"/>
                <a:gd name="connsiteY45" fmla="*/ 571234 h 838042"/>
                <a:gd name="connsiteX46" fmla="*/ 368642 w 1033465"/>
                <a:gd name="connsiteY46" fmla="*/ 582664 h 838042"/>
                <a:gd name="connsiteX47" fmla="*/ 364832 w 1033465"/>
                <a:gd name="connsiteY47" fmla="*/ 609334 h 838042"/>
                <a:gd name="connsiteX48" fmla="*/ 361022 w 1033465"/>
                <a:gd name="connsiteY48" fmla="*/ 615049 h 838042"/>
                <a:gd name="connsiteX49" fmla="*/ 359117 w 1033465"/>
                <a:gd name="connsiteY49" fmla="*/ 620764 h 838042"/>
                <a:gd name="connsiteX50" fmla="*/ 355307 w 1033465"/>
                <a:gd name="connsiteY50" fmla="*/ 626479 h 838042"/>
                <a:gd name="connsiteX51" fmla="*/ 353402 w 1033465"/>
                <a:gd name="connsiteY51" fmla="*/ 632194 h 838042"/>
                <a:gd name="connsiteX52" fmla="*/ 349592 w 1033465"/>
                <a:gd name="connsiteY52" fmla="*/ 637909 h 838042"/>
                <a:gd name="connsiteX53" fmla="*/ 332447 w 1033465"/>
                <a:gd name="connsiteY53" fmla="*/ 704584 h 838042"/>
                <a:gd name="connsiteX54" fmla="*/ 330542 w 1033465"/>
                <a:gd name="connsiteY54" fmla="*/ 756019 h 838042"/>
                <a:gd name="connsiteX55" fmla="*/ 332447 w 1033465"/>
                <a:gd name="connsiteY55" fmla="*/ 780784 h 838042"/>
                <a:gd name="connsiteX56" fmla="*/ 334352 w 1033465"/>
                <a:gd name="connsiteY56" fmla="*/ 786499 h 838042"/>
                <a:gd name="connsiteX57" fmla="*/ 338162 w 1033465"/>
                <a:gd name="connsiteY57" fmla="*/ 790309 h 838042"/>
                <a:gd name="connsiteX58" fmla="*/ 366737 w 1033465"/>
                <a:gd name="connsiteY58" fmla="*/ 836029 h 838042"/>
                <a:gd name="connsiteX59" fmla="*/ 389597 w 1033465"/>
                <a:gd name="connsiteY59" fmla="*/ 837934 h 838042"/>
                <a:gd name="connsiteX60" fmla="*/ 397407 w 1033465"/>
                <a:gd name="connsiteY60" fmla="*/ 833530 h 838042"/>
                <a:gd name="connsiteX61" fmla="*/ 402932 w 1033465"/>
                <a:gd name="connsiteY61" fmla="*/ 784594 h 838042"/>
                <a:gd name="connsiteX62" fmla="*/ 406742 w 1033465"/>
                <a:gd name="connsiteY62" fmla="*/ 727444 h 838042"/>
                <a:gd name="connsiteX63" fmla="*/ 423887 w 1033465"/>
                <a:gd name="connsiteY63" fmla="*/ 672199 h 838042"/>
                <a:gd name="connsiteX64" fmla="*/ 429602 w 1033465"/>
                <a:gd name="connsiteY64" fmla="*/ 658864 h 838042"/>
                <a:gd name="connsiteX65" fmla="*/ 444084 w 1033465"/>
                <a:gd name="connsiteY65" fmla="*/ 626947 h 838042"/>
                <a:gd name="connsiteX66" fmla="*/ 464289 w 1033465"/>
                <a:gd name="connsiteY66" fmla="*/ 600072 h 838042"/>
                <a:gd name="connsiteX67" fmla="*/ 523510 w 1033465"/>
                <a:gd name="connsiteY67" fmla="*/ 565123 h 838042"/>
                <a:gd name="connsiteX68" fmla="*/ 599348 w 1033465"/>
                <a:gd name="connsiteY68" fmla="*/ 550915 h 838042"/>
                <a:gd name="connsiteX69" fmla="*/ 707801 w 1033465"/>
                <a:gd name="connsiteY69" fmla="*/ 612819 h 838042"/>
                <a:gd name="connsiteX70" fmla="*/ 780122 w 1033465"/>
                <a:gd name="connsiteY70" fmla="*/ 656959 h 838042"/>
                <a:gd name="connsiteX71" fmla="*/ 804887 w 1033465"/>
                <a:gd name="connsiteY71" fmla="*/ 632194 h 838042"/>
                <a:gd name="connsiteX72" fmla="*/ 801077 w 1033465"/>
                <a:gd name="connsiteY72" fmla="*/ 601714 h 838042"/>
                <a:gd name="connsiteX73" fmla="*/ 762796 w 1033465"/>
                <a:gd name="connsiteY73" fmla="*/ 562523 h 838042"/>
                <a:gd name="connsiteX74" fmla="*/ 650582 w 1033465"/>
                <a:gd name="connsiteY74" fmla="*/ 479794 h 838042"/>
                <a:gd name="connsiteX75" fmla="*/ 646772 w 1033465"/>
                <a:gd name="connsiteY75" fmla="*/ 462649 h 838042"/>
                <a:gd name="connsiteX76" fmla="*/ 658202 w 1033465"/>
                <a:gd name="connsiteY76" fmla="*/ 426454 h 838042"/>
                <a:gd name="connsiteX77" fmla="*/ 726782 w 1033465"/>
                <a:gd name="connsiteY77" fmla="*/ 405499 h 838042"/>
                <a:gd name="connsiteX78" fmla="*/ 813738 w 1033465"/>
                <a:gd name="connsiteY78" fmla="*/ 406906 h 838042"/>
                <a:gd name="connsiteX79" fmla="*/ 906231 w 1033465"/>
                <a:gd name="connsiteY79" fmla="*/ 417646 h 838042"/>
                <a:gd name="connsiteX80" fmla="*/ 1002290 w 1033465"/>
                <a:gd name="connsiteY80" fmla="*/ 426835 h 838042"/>
                <a:gd name="connsiteX81" fmla="*/ 1032449 w 1033465"/>
                <a:gd name="connsiteY81" fmla="*/ 402711 h 838042"/>
                <a:gd name="connsiteX82" fmla="*/ 1020514 w 1033465"/>
                <a:gd name="connsiteY82" fmla="*/ 377797 h 838042"/>
                <a:gd name="connsiteX83" fmla="*/ 964889 w 1033465"/>
                <a:gd name="connsiteY83" fmla="*/ 358029 h 838042"/>
                <a:gd name="connsiteX84" fmla="*/ 827747 w 1033465"/>
                <a:gd name="connsiteY84" fmla="*/ 357874 h 838042"/>
                <a:gd name="connsiteX85" fmla="*/ 755811 w 1033465"/>
                <a:gd name="connsiteY85" fmla="*/ 361702 h 838042"/>
                <a:gd name="connsiteX86" fmla="*/ 671537 w 1033465"/>
                <a:gd name="connsiteY86" fmla="*/ 369304 h 838042"/>
                <a:gd name="connsiteX87" fmla="*/ 644867 w 1033465"/>
                <a:gd name="connsiteY87" fmla="*/ 338824 h 838042"/>
                <a:gd name="connsiteX88" fmla="*/ 676403 w 1033465"/>
                <a:gd name="connsiteY88" fmla="*/ 304962 h 838042"/>
                <a:gd name="connsiteX89" fmla="*/ 707732 w 1033465"/>
                <a:gd name="connsiteY89" fmla="*/ 283579 h 838042"/>
                <a:gd name="connsiteX90" fmla="*/ 743927 w 1033465"/>
                <a:gd name="connsiteY90" fmla="*/ 251194 h 838042"/>
                <a:gd name="connsiteX91" fmla="*/ 783019 w 1033465"/>
                <a:gd name="connsiteY91" fmla="*/ 213846 h 838042"/>
                <a:gd name="connsiteX92" fmla="*/ 746401 w 1033465"/>
                <a:gd name="connsiteY92" fmla="*/ 201789 h 838042"/>
                <a:gd name="connsiteX93" fmla="*/ 694397 w 1033465"/>
                <a:gd name="connsiteY93" fmla="*/ 226429 h 838042"/>
                <a:gd name="connsiteX94" fmla="*/ 656678 w 1033465"/>
                <a:gd name="connsiteY94" fmla="*/ 257626 h 838042"/>
                <a:gd name="connsiteX95" fmla="*/ 616001 w 1033465"/>
                <a:gd name="connsiteY95" fmla="*/ 286712 h 838042"/>
                <a:gd name="connsiteX96" fmla="*/ 564857 w 1033465"/>
                <a:gd name="connsiteY96" fmla="*/ 287389 h 838042"/>
                <a:gd name="connsiteX97" fmla="*/ 530567 w 1033465"/>
                <a:gd name="connsiteY97" fmla="*/ 274054 h 838042"/>
                <a:gd name="connsiteX98" fmla="*/ 507707 w 1033465"/>
                <a:gd name="connsiteY98" fmla="*/ 235954 h 838042"/>
                <a:gd name="connsiteX99" fmla="*/ 509612 w 1033465"/>
                <a:gd name="connsiteY99" fmla="*/ 171184 h 838042"/>
                <a:gd name="connsiteX100" fmla="*/ 508314 w 1033465"/>
                <a:gd name="connsiteY100" fmla="*/ 73485 h 838042"/>
                <a:gd name="connsiteX101" fmla="*/ 454116 w 1033465"/>
                <a:gd name="connsiteY101" fmla="*/ 11248 h 838042"/>
                <a:gd name="connsiteX102" fmla="*/ 442470 w 1033465"/>
                <a:gd name="connsiteY102" fmla="*/ 75864 h 838042"/>
                <a:gd name="connsiteX103" fmla="*/ 439226 w 1033465"/>
                <a:gd name="connsiteY103" fmla="*/ 132660 h 838042"/>
                <a:gd name="connsiteX104" fmla="*/ 436054 w 1033465"/>
                <a:gd name="connsiteY10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47332 w 1033465"/>
                <a:gd name="connsiteY13" fmla="*/ 239564 h 838042"/>
                <a:gd name="connsiteX14" fmla="*/ 65748 w 1033465"/>
                <a:gd name="connsiteY14" fmla="*/ 272150 h 838042"/>
                <a:gd name="connsiteX15" fmla="*/ 126707 w 1033465"/>
                <a:gd name="connsiteY15" fmla="*/ 289294 h 838042"/>
                <a:gd name="connsiteX16" fmla="*/ 193382 w 1033465"/>
                <a:gd name="connsiteY16" fmla="*/ 308344 h 838042"/>
                <a:gd name="connsiteX17" fmla="*/ 228811 w 1033465"/>
                <a:gd name="connsiteY17" fmla="*/ 323832 h 838042"/>
                <a:gd name="connsiteX18" fmla="*/ 282210 w 1033465"/>
                <a:gd name="connsiteY18" fmla="*/ 354067 h 838042"/>
                <a:gd name="connsiteX19" fmla="*/ 281012 w 1033465"/>
                <a:gd name="connsiteY19" fmla="*/ 399784 h 838042"/>
                <a:gd name="connsiteX20" fmla="*/ 265772 w 1033465"/>
                <a:gd name="connsiteY20" fmla="*/ 447409 h 838042"/>
                <a:gd name="connsiteX21" fmla="*/ 254342 w 1033465"/>
                <a:gd name="connsiteY21" fmla="*/ 455029 h 838042"/>
                <a:gd name="connsiteX22" fmla="*/ 242912 w 1033465"/>
                <a:gd name="connsiteY22" fmla="*/ 458839 h 838042"/>
                <a:gd name="connsiteX23" fmla="*/ 128612 w 1033465"/>
                <a:gd name="connsiteY23" fmla="*/ 458839 h 838042"/>
                <a:gd name="connsiteX24" fmla="*/ 122897 w 1033465"/>
                <a:gd name="connsiteY24" fmla="*/ 460744 h 838042"/>
                <a:gd name="connsiteX25" fmla="*/ 107657 w 1033465"/>
                <a:gd name="connsiteY25" fmla="*/ 462649 h 838042"/>
                <a:gd name="connsiteX26" fmla="*/ 90512 w 1033465"/>
                <a:gd name="connsiteY26" fmla="*/ 468364 h 838042"/>
                <a:gd name="connsiteX27" fmla="*/ 84797 w 1033465"/>
                <a:gd name="connsiteY27" fmla="*/ 470269 h 838042"/>
                <a:gd name="connsiteX28" fmla="*/ 79082 w 1033465"/>
                <a:gd name="connsiteY28" fmla="*/ 474079 h 838042"/>
                <a:gd name="connsiteX29" fmla="*/ 67652 w 1033465"/>
                <a:gd name="connsiteY29" fmla="*/ 475984 h 838042"/>
                <a:gd name="connsiteX30" fmla="*/ 29552 w 1033465"/>
                <a:gd name="connsiteY30" fmla="*/ 477889 h 838042"/>
                <a:gd name="connsiteX31" fmla="*/ 18122 w 1033465"/>
                <a:gd name="connsiteY31" fmla="*/ 483604 h 838042"/>
                <a:gd name="connsiteX32" fmla="*/ 8597 w 1033465"/>
                <a:gd name="connsiteY32" fmla="*/ 493129 h 838042"/>
                <a:gd name="connsiteX33" fmla="*/ 6692 w 1033465"/>
                <a:gd name="connsiteY33" fmla="*/ 498844 h 838042"/>
                <a:gd name="connsiteX34" fmla="*/ 2882 w 1033465"/>
                <a:gd name="connsiteY34" fmla="*/ 504559 h 838042"/>
                <a:gd name="connsiteX35" fmla="*/ 14312 w 1033465"/>
                <a:gd name="connsiteY35" fmla="*/ 540754 h 838042"/>
                <a:gd name="connsiteX36" fmla="*/ 147662 w 1033465"/>
                <a:gd name="connsiteY36" fmla="*/ 540754 h 838042"/>
                <a:gd name="connsiteX37" fmla="*/ 155282 w 1033465"/>
                <a:gd name="connsiteY37" fmla="*/ 538849 h 838042"/>
                <a:gd name="connsiteX38" fmla="*/ 305777 w 1033465"/>
                <a:gd name="connsiteY38" fmla="*/ 533134 h 838042"/>
                <a:gd name="connsiteX39" fmla="*/ 321017 w 1033465"/>
                <a:gd name="connsiteY39" fmla="*/ 540754 h 838042"/>
                <a:gd name="connsiteX40" fmla="*/ 332447 w 1033465"/>
                <a:gd name="connsiteY40" fmla="*/ 546469 h 838042"/>
                <a:gd name="connsiteX41" fmla="*/ 336257 w 1033465"/>
                <a:gd name="connsiteY41" fmla="*/ 552184 h 838042"/>
                <a:gd name="connsiteX42" fmla="*/ 341972 w 1033465"/>
                <a:gd name="connsiteY42" fmla="*/ 554089 h 838042"/>
                <a:gd name="connsiteX43" fmla="*/ 353402 w 1033465"/>
                <a:gd name="connsiteY43" fmla="*/ 561709 h 838042"/>
                <a:gd name="connsiteX44" fmla="*/ 359117 w 1033465"/>
                <a:gd name="connsiteY44" fmla="*/ 565519 h 838042"/>
                <a:gd name="connsiteX45" fmla="*/ 362927 w 1033465"/>
                <a:gd name="connsiteY45" fmla="*/ 571234 h 838042"/>
                <a:gd name="connsiteX46" fmla="*/ 368642 w 1033465"/>
                <a:gd name="connsiteY46" fmla="*/ 582664 h 838042"/>
                <a:gd name="connsiteX47" fmla="*/ 364832 w 1033465"/>
                <a:gd name="connsiteY47" fmla="*/ 609334 h 838042"/>
                <a:gd name="connsiteX48" fmla="*/ 361022 w 1033465"/>
                <a:gd name="connsiteY48" fmla="*/ 615049 h 838042"/>
                <a:gd name="connsiteX49" fmla="*/ 359117 w 1033465"/>
                <a:gd name="connsiteY49" fmla="*/ 620764 h 838042"/>
                <a:gd name="connsiteX50" fmla="*/ 355307 w 1033465"/>
                <a:gd name="connsiteY50" fmla="*/ 626479 h 838042"/>
                <a:gd name="connsiteX51" fmla="*/ 353402 w 1033465"/>
                <a:gd name="connsiteY51" fmla="*/ 632194 h 838042"/>
                <a:gd name="connsiteX52" fmla="*/ 349592 w 1033465"/>
                <a:gd name="connsiteY52" fmla="*/ 637909 h 838042"/>
                <a:gd name="connsiteX53" fmla="*/ 332447 w 1033465"/>
                <a:gd name="connsiteY53" fmla="*/ 704584 h 838042"/>
                <a:gd name="connsiteX54" fmla="*/ 330542 w 1033465"/>
                <a:gd name="connsiteY54" fmla="*/ 756019 h 838042"/>
                <a:gd name="connsiteX55" fmla="*/ 332447 w 1033465"/>
                <a:gd name="connsiteY55" fmla="*/ 780784 h 838042"/>
                <a:gd name="connsiteX56" fmla="*/ 334352 w 1033465"/>
                <a:gd name="connsiteY56" fmla="*/ 786499 h 838042"/>
                <a:gd name="connsiteX57" fmla="*/ 338162 w 1033465"/>
                <a:gd name="connsiteY57" fmla="*/ 790309 h 838042"/>
                <a:gd name="connsiteX58" fmla="*/ 366737 w 1033465"/>
                <a:gd name="connsiteY58" fmla="*/ 836029 h 838042"/>
                <a:gd name="connsiteX59" fmla="*/ 389597 w 1033465"/>
                <a:gd name="connsiteY59" fmla="*/ 837934 h 838042"/>
                <a:gd name="connsiteX60" fmla="*/ 397407 w 1033465"/>
                <a:gd name="connsiteY60" fmla="*/ 833530 h 838042"/>
                <a:gd name="connsiteX61" fmla="*/ 402932 w 1033465"/>
                <a:gd name="connsiteY61" fmla="*/ 784594 h 838042"/>
                <a:gd name="connsiteX62" fmla="*/ 406742 w 1033465"/>
                <a:gd name="connsiteY62" fmla="*/ 727444 h 838042"/>
                <a:gd name="connsiteX63" fmla="*/ 423887 w 1033465"/>
                <a:gd name="connsiteY63" fmla="*/ 672199 h 838042"/>
                <a:gd name="connsiteX64" fmla="*/ 429602 w 1033465"/>
                <a:gd name="connsiteY64" fmla="*/ 658864 h 838042"/>
                <a:gd name="connsiteX65" fmla="*/ 444084 w 1033465"/>
                <a:gd name="connsiteY65" fmla="*/ 626947 h 838042"/>
                <a:gd name="connsiteX66" fmla="*/ 464289 w 1033465"/>
                <a:gd name="connsiteY66" fmla="*/ 600072 h 838042"/>
                <a:gd name="connsiteX67" fmla="*/ 523510 w 1033465"/>
                <a:gd name="connsiteY67" fmla="*/ 565123 h 838042"/>
                <a:gd name="connsiteX68" fmla="*/ 599348 w 1033465"/>
                <a:gd name="connsiteY68" fmla="*/ 550915 h 838042"/>
                <a:gd name="connsiteX69" fmla="*/ 707801 w 1033465"/>
                <a:gd name="connsiteY69" fmla="*/ 612819 h 838042"/>
                <a:gd name="connsiteX70" fmla="*/ 780122 w 1033465"/>
                <a:gd name="connsiteY70" fmla="*/ 656959 h 838042"/>
                <a:gd name="connsiteX71" fmla="*/ 804887 w 1033465"/>
                <a:gd name="connsiteY71" fmla="*/ 632194 h 838042"/>
                <a:gd name="connsiteX72" fmla="*/ 801077 w 1033465"/>
                <a:gd name="connsiteY72" fmla="*/ 601714 h 838042"/>
                <a:gd name="connsiteX73" fmla="*/ 762796 w 1033465"/>
                <a:gd name="connsiteY73" fmla="*/ 562523 h 838042"/>
                <a:gd name="connsiteX74" fmla="*/ 650582 w 1033465"/>
                <a:gd name="connsiteY74" fmla="*/ 479794 h 838042"/>
                <a:gd name="connsiteX75" fmla="*/ 646772 w 1033465"/>
                <a:gd name="connsiteY75" fmla="*/ 462649 h 838042"/>
                <a:gd name="connsiteX76" fmla="*/ 658202 w 1033465"/>
                <a:gd name="connsiteY76" fmla="*/ 426454 h 838042"/>
                <a:gd name="connsiteX77" fmla="*/ 726782 w 1033465"/>
                <a:gd name="connsiteY77" fmla="*/ 405499 h 838042"/>
                <a:gd name="connsiteX78" fmla="*/ 813738 w 1033465"/>
                <a:gd name="connsiteY78" fmla="*/ 406906 h 838042"/>
                <a:gd name="connsiteX79" fmla="*/ 906231 w 1033465"/>
                <a:gd name="connsiteY79" fmla="*/ 417646 h 838042"/>
                <a:gd name="connsiteX80" fmla="*/ 1002290 w 1033465"/>
                <a:gd name="connsiteY80" fmla="*/ 426835 h 838042"/>
                <a:gd name="connsiteX81" fmla="*/ 1032449 w 1033465"/>
                <a:gd name="connsiteY81" fmla="*/ 402711 h 838042"/>
                <a:gd name="connsiteX82" fmla="*/ 1020514 w 1033465"/>
                <a:gd name="connsiteY82" fmla="*/ 377797 h 838042"/>
                <a:gd name="connsiteX83" fmla="*/ 964889 w 1033465"/>
                <a:gd name="connsiteY83" fmla="*/ 358029 h 838042"/>
                <a:gd name="connsiteX84" fmla="*/ 827747 w 1033465"/>
                <a:gd name="connsiteY84" fmla="*/ 357874 h 838042"/>
                <a:gd name="connsiteX85" fmla="*/ 755811 w 1033465"/>
                <a:gd name="connsiteY85" fmla="*/ 361702 h 838042"/>
                <a:gd name="connsiteX86" fmla="*/ 671537 w 1033465"/>
                <a:gd name="connsiteY86" fmla="*/ 369304 h 838042"/>
                <a:gd name="connsiteX87" fmla="*/ 644867 w 1033465"/>
                <a:gd name="connsiteY87" fmla="*/ 338824 h 838042"/>
                <a:gd name="connsiteX88" fmla="*/ 676403 w 1033465"/>
                <a:gd name="connsiteY88" fmla="*/ 304962 h 838042"/>
                <a:gd name="connsiteX89" fmla="*/ 707732 w 1033465"/>
                <a:gd name="connsiteY89" fmla="*/ 283579 h 838042"/>
                <a:gd name="connsiteX90" fmla="*/ 743927 w 1033465"/>
                <a:gd name="connsiteY90" fmla="*/ 251194 h 838042"/>
                <a:gd name="connsiteX91" fmla="*/ 783019 w 1033465"/>
                <a:gd name="connsiteY91" fmla="*/ 213846 h 838042"/>
                <a:gd name="connsiteX92" fmla="*/ 746401 w 1033465"/>
                <a:gd name="connsiteY92" fmla="*/ 201789 h 838042"/>
                <a:gd name="connsiteX93" fmla="*/ 694397 w 1033465"/>
                <a:gd name="connsiteY93" fmla="*/ 226429 h 838042"/>
                <a:gd name="connsiteX94" fmla="*/ 656678 w 1033465"/>
                <a:gd name="connsiteY94" fmla="*/ 257626 h 838042"/>
                <a:gd name="connsiteX95" fmla="*/ 616001 w 1033465"/>
                <a:gd name="connsiteY95" fmla="*/ 286712 h 838042"/>
                <a:gd name="connsiteX96" fmla="*/ 564857 w 1033465"/>
                <a:gd name="connsiteY96" fmla="*/ 287389 h 838042"/>
                <a:gd name="connsiteX97" fmla="*/ 530567 w 1033465"/>
                <a:gd name="connsiteY97" fmla="*/ 274054 h 838042"/>
                <a:gd name="connsiteX98" fmla="*/ 507707 w 1033465"/>
                <a:gd name="connsiteY98" fmla="*/ 235954 h 838042"/>
                <a:gd name="connsiteX99" fmla="*/ 509612 w 1033465"/>
                <a:gd name="connsiteY99" fmla="*/ 171184 h 838042"/>
                <a:gd name="connsiteX100" fmla="*/ 508314 w 1033465"/>
                <a:gd name="connsiteY100" fmla="*/ 73485 h 838042"/>
                <a:gd name="connsiteX101" fmla="*/ 454116 w 1033465"/>
                <a:gd name="connsiteY101" fmla="*/ 11248 h 838042"/>
                <a:gd name="connsiteX102" fmla="*/ 442470 w 1033465"/>
                <a:gd name="connsiteY102" fmla="*/ 75864 h 838042"/>
                <a:gd name="connsiteX103" fmla="*/ 439226 w 1033465"/>
                <a:gd name="connsiteY103" fmla="*/ 132660 h 838042"/>
                <a:gd name="connsiteX104" fmla="*/ 436054 w 1033465"/>
                <a:gd name="connsiteY104"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2412 w 1033465"/>
                <a:gd name="connsiteY12" fmla="*/ 256909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81012 w 1033465"/>
                <a:gd name="connsiteY18" fmla="*/ 399784 h 838042"/>
                <a:gd name="connsiteX19" fmla="*/ 265772 w 1033465"/>
                <a:gd name="connsiteY19" fmla="*/ 447409 h 838042"/>
                <a:gd name="connsiteX20" fmla="*/ 254342 w 1033465"/>
                <a:gd name="connsiteY20" fmla="*/ 455029 h 838042"/>
                <a:gd name="connsiteX21" fmla="*/ 242912 w 1033465"/>
                <a:gd name="connsiteY21" fmla="*/ 458839 h 838042"/>
                <a:gd name="connsiteX22" fmla="*/ 128612 w 1033465"/>
                <a:gd name="connsiteY22" fmla="*/ 458839 h 838042"/>
                <a:gd name="connsiteX23" fmla="*/ 122897 w 1033465"/>
                <a:gd name="connsiteY23" fmla="*/ 460744 h 838042"/>
                <a:gd name="connsiteX24" fmla="*/ 107657 w 1033465"/>
                <a:gd name="connsiteY24" fmla="*/ 462649 h 838042"/>
                <a:gd name="connsiteX25" fmla="*/ 90512 w 1033465"/>
                <a:gd name="connsiteY25" fmla="*/ 468364 h 838042"/>
                <a:gd name="connsiteX26" fmla="*/ 84797 w 1033465"/>
                <a:gd name="connsiteY26" fmla="*/ 470269 h 838042"/>
                <a:gd name="connsiteX27" fmla="*/ 79082 w 1033465"/>
                <a:gd name="connsiteY27" fmla="*/ 474079 h 838042"/>
                <a:gd name="connsiteX28" fmla="*/ 67652 w 1033465"/>
                <a:gd name="connsiteY28" fmla="*/ 475984 h 838042"/>
                <a:gd name="connsiteX29" fmla="*/ 29552 w 1033465"/>
                <a:gd name="connsiteY29" fmla="*/ 477889 h 838042"/>
                <a:gd name="connsiteX30" fmla="*/ 18122 w 1033465"/>
                <a:gd name="connsiteY30" fmla="*/ 483604 h 838042"/>
                <a:gd name="connsiteX31" fmla="*/ 8597 w 1033465"/>
                <a:gd name="connsiteY31" fmla="*/ 493129 h 838042"/>
                <a:gd name="connsiteX32" fmla="*/ 6692 w 1033465"/>
                <a:gd name="connsiteY32" fmla="*/ 498844 h 838042"/>
                <a:gd name="connsiteX33" fmla="*/ 2882 w 1033465"/>
                <a:gd name="connsiteY33" fmla="*/ 504559 h 838042"/>
                <a:gd name="connsiteX34" fmla="*/ 14312 w 1033465"/>
                <a:gd name="connsiteY34" fmla="*/ 540754 h 838042"/>
                <a:gd name="connsiteX35" fmla="*/ 147662 w 1033465"/>
                <a:gd name="connsiteY35" fmla="*/ 540754 h 838042"/>
                <a:gd name="connsiteX36" fmla="*/ 155282 w 1033465"/>
                <a:gd name="connsiteY36" fmla="*/ 538849 h 838042"/>
                <a:gd name="connsiteX37" fmla="*/ 305777 w 1033465"/>
                <a:gd name="connsiteY37" fmla="*/ 533134 h 838042"/>
                <a:gd name="connsiteX38" fmla="*/ 321017 w 1033465"/>
                <a:gd name="connsiteY38" fmla="*/ 540754 h 838042"/>
                <a:gd name="connsiteX39" fmla="*/ 332447 w 1033465"/>
                <a:gd name="connsiteY39" fmla="*/ 546469 h 838042"/>
                <a:gd name="connsiteX40" fmla="*/ 336257 w 1033465"/>
                <a:gd name="connsiteY40" fmla="*/ 552184 h 838042"/>
                <a:gd name="connsiteX41" fmla="*/ 341972 w 1033465"/>
                <a:gd name="connsiteY41" fmla="*/ 554089 h 838042"/>
                <a:gd name="connsiteX42" fmla="*/ 353402 w 1033465"/>
                <a:gd name="connsiteY42" fmla="*/ 561709 h 838042"/>
                <a:gd name="connsiteX43" fmla="*/ 359117 w 1033465"/>
                <a:gd name="connsiteY43" fmla="*/ 565519 h 838042"/>
                <a:gd name="connsiteX44" fmla="*/ 362927 w 1033465"/>
                <a:gd name="connsiteY44" fmla="*/ 571234 h 838042"/>
                <a:gd name="connsiteX45" fmla="*/ 368642 w 1033465"/>
                <a:gd name="connsiteY45" fmla="*/ 582664 h 838042"/>
                <a:gd name="connsiteX46" fmla="*/ 364832 w 1033465"/>
                <a:gd name="connsiteY46" fmla="*/ 609334 h 838042"/>
                <a:gd name="connsiteX47" fmla="*/ 361022 w 1033465"/>
                <a:gd name="connsiteY47" fmla="*/ 615049 h 838042"/>
                <a:gd name="connsiteX48" fmla="*/ 359117 w 1033465"/>
                <a:gd name="connsiteY48" fmla="*/ 620764 h 838042"/>
                <a:gd name="connsiteX49" fmla="*/ 355307 w 1033465"/>
                <a:gd name="connsiteY49" fmla="*/ 626479 h 838042"/>
                <a:gd name="connsiteX50" fmla="*/ 353402 w 1033465"/>
                <a:gd name="connsiteY50" fmla="*/ 632194 h 838042"/>
                <a:gd name="connsiteX51" fmla="*/ 349592 w 1033465"/>
                <a:gd name="connsiteY51" fmla="*/ 637909 h 838042"/>
                <a:gd name="connsiteX52" fmla="*/ 332447 w 1033465"/>
                <a:gd name="connsiteY52" fmla="*/ 704584 h 838042"/>
                <a:gd name="connsiteX53" fmla="*/ 330542 w 1033465"/>
                <a:gd name="connsiteY53" fmla="*/ 756019 h 838042"/>
                <a:gd name="connsiteX54" fmla="*/ 332447 w 1033465"/>
                <a:gd name="connsiteY54" fmla="*/ 780784 h 838042"/>
                <a:gd name="connsiteX55" fmla="*/ 334352 w 1033465"/>
                <a:gd name="connsiteY55" fmla="*/ 786499 h 838042"/>
                <a:gd name="connsiteX56" fmla="*/ 338162 w 1033465"/>
                <a:gd name="connsiteY56" fmla="*/ 790309 h 838042"/>
                <a:gd name="connsiteX57" fmla="*/ 366737 w 1033465"/>
                <a:gd name="connsiteY57" fmla="*/ 836029 h 838042"/>
                <a:gd name="connsiteX58" fmla="*/ 389597 w 1033465"/>
                <a:gd name="connsiteY58" fmla="*/ 837934 h 838042"/>
                <a:gd name="connsiteX59" fmla="*/ 397407 w 1033465"/>
                <a:gd name="connsiteY59" fmla="*/ 833530 h 838042"/>
                <a:gd name="connsiteX60" fmla="*/ 402932 w 1033465"/>
                <a:gd name="connsiteY60" fmla="*/ 784594 h 838042"/>
                <a:gd name="connsiteX61" fmla="*/ 406742 w 1033465"/>
                <a:gd name="connsiteY61" fmla="*/ 727444 h 838042"/>
                <a:gd name="connsiteX62" fmla="*/ 423887 w 1033465"/>
                <a:gd name="connsiteY62" fmla="*/ 672199 h 838042"/>
                <a:gd name="connsiteX63" fmla="*/ 429602 w 1033465"/>
                <a:gd name="connsiteY63" fmla="*/ 658864 h 838042"/>
                <a:gd name="connsiteX64" fmla="*/ 444084 w 1033465"/>
                <a:gd name="connsiteY64" fmla="*/ 626947 h 838042"/>
                <a:gd name="connsiteX65" fmla="*/ 464289 w 1033465"/>
                <a:gd name="connsiteY65" fmla="*/ 600072 h 838042"/>
                <a:gd name="connsiteX66" fmla="*/ 523510 w 1033465"/>
                <a:gd name="connsiteY66" fmla="*/ 565123 h 838042"/>
                <a:gd name="connsiteX67" fmla="*/ 599348 w 1033465"/>
                <a:gd name="connsiteY67" fmla="*/ 550915 h 838042"/>
                <a:gd name="connsiteX68" fmla="*/ 707801 w 1033465"/>
                <a:gd name="connsiteY68" fmla="*/ 612819 h 838042"/>
                <a:gd name="connsiteX69" fmla="*/ 780122 w 1033465"/>
                <a:gd name="connsiteY69" fmla="*/ 656959 h 838042"/>
                <a:gd name="connsiteX70" fmla="*/ 804887 w 1033465"/>
                <a:gd name="connsiteY70" fmla="*/ 632194 h 838042"/>
                <a:gd name="connsiteX71" fmla="*/ 801077 w 1033465"/>
                <a:gd name="connsiteY71" fmla="*/ 601714 h 838042"/>
                <a:gd name="connsiteX72" fmla="*/ 762796 w 1033465"/>
                <a:gd name="connsiteY72" fmla="*/ 562523 h 838042"/>
                <a:gd name="connsiteX73" fmla="*/ 650582 w 1033465"/>
                <a:gd name="connsiteY73" fmla="*/ 479794 h 838042"/>
                <a:gd name="connsiteX74" fmla="*/ 646772 w 1033465"/>
                <a:gd name="connsiteY74" fmla="*/ 462649 h 838042"/>
                <a:gd name="connsiteX75" fmla="*/ 658202 w 1033465"/>
                <a:gd name="connsiteY75" fmla="*/ 426454 h 838042"/>
                <a:gd name="connsiteX76" fmla="*/ 726782 w 1033465"/>
                <a:gd name="connsiteY76" fmla="*/ 405499 h 838042"/>
                <a:gd name="connsiteX77" fmla="*/ 813738 w 1033465"/>
                <a:gd name="connsiteY77" fmla="*/ 406906 h 838042"/>
                <a:gd name="connsiteX78" fmla="*/ 906231 w 1033465"/>
                <a:gd name="connsiteY78" fmla="*/ 417646 h 838042"/>
                <a:gd name="connsiteX79" fmla="*/ 1002290 w 1033465"/>
                <a:gd name="connsiteY79" fmla="*/ 426835 h 838042"/>
                <a:gd name="connsiteX80" fmla="*/ 1032449 w 1033465"/>
                <a:gd name="connsiteY80" fmla="*/ 402711 h 838042"/>
                <a:gd name="connsiteX81" fmla="*/ 1020514 w 1033465"/>
                <a:gd name="connsiteY81" fmla="*/ 377797 h 838042"/>
                <a:gd name="connsiteX82" fmla="*/ 964889 w 1033465"/>
                <a:gd name="connsiteY82" fmla="*/ 358029 h 838042"/>
                <a:gd name="connsiteX83" fmla="*/ 827747 w 1033465"/>
                <a:gd name="connsiteY83" fmla="*/ 357874 h 838042"/>
                <a:gd name="connsiteX84" fmla="*/ 755811 w 1033465"/>
                <a:gd name="connsiteY84" fmla="*/ 361702 h 838042"/>
                <a:gd name="connsiteX85" fmla="*/ 671537 w 1033465"/>
                <a:gd name="connsiteY85" fmla="*/ 369304 h 838042"/>
                <a:gd name="connsiteX86" fmla="*/ 644867 w 1033465"/>
                <a:gd name="connsiteY86" fmla="*/ 338824 h 838042"/>
                <a:gd name="connsiteX87" fmla="*/ 676403 w 1033465"/>
                <a:gd name="connsiteY87" fmla="*/ 304962 h 838042"/>
                <a:gd name="connsiteX88" fmla="*/ 707732 w 1033465"/>
                <a:gd name="connsiteY88" fmla="*/ 283579 h 838042"/>
                <a:gd name="connsiteX89" fmla="*/ 743927 w 1033465"/>
                <a:gd name="connsiteY89" fmla="*/ 251194 h 838042"/>
                <a:gd name="connsiteX90" fmla="*/ 783019 w 1033465"/>
                <a:gd name="connsiteY90" fmla="*/ 213846 h 838042"/>
                <a:gd name="connsiteX91" fmla="*/ 746401 w 1033465"/>
                <a:gd name="connsiteY91" fmla="*/ 201789 h 838042"/>
                <a:gd name="connsiteX92" fmla="*/ 694397 w 1033465"/>
                <a:gd name="connsiteY92" fmla="*/ 226429 h 838042"/>
                <a:gd name="connsiteX93" fmla="*/ 656678 w 1033465"/>
                <a:gd name="connsiteY93" fmla="*/ 257626 h 838042"/>
                <a:gd name="connsiteX94" fmla="*/ 616001 w 1033465"/>
                <a:gd name="connsiteY94" fmla="*/ 286712 h 838042"/>
                <a:gd name="connsiteX95" fmla="*/ 564857 w 1033465"/>
                <a:gd name="connsiteY95" fmla="*/ 287389 h 838042"/>
                <a:gd name="connsiteX96" fmla="*/ 530567 w 1033465"/>
                <a:gd name="connsiteY96" fmla="*/ 274054 h 838042"/>
                <a:gd name="connsiteX97" fmla="*/ 507707 w 1033465"/>
                <a:gd name="connsiteY97" fmla="*/ 235954 h 838042"/>
                <a:gd name="connsiteX98" fmla="*/ 509612 w 1033465"/>
                <a:gd name="connsiteY98" fmla="*/ 171184 h 838042"/>
                <a:gd name="connsiteX99" fmla="*/ 508314 w 1033465"/>
                <a:gd name="connsiteY99" fmla="*/ 73485 h 838042"/>
                <a:gd name="connsiteX100" fmla="*/ 454116 w 1033465"/>
                <a:gd name="connsiteY100" fmla="*/ 11248 h 838042"/>
                <a:gd name="connsiteX101" fmla="*/ 442470 w 1033465"/>
                <a:gd name="connsiteY101" fmla="*/ 75864 h 838042"/>
                <a:gd name="connsiteX102" fmla="*/ 439226 w 1033465"/>
                <a:gd name="connsiteY102" fmla="*/ 132660 h 838042"/>
                <a:gd name="connsiteX103" fmla="*/ 436054 w 1033465"/>
                <a:gd name="connsiteY10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81012 w 1033465"/>
                <a:gd name="connsiteY18" fmla="*/ 399784 h 838042"/>
                <a:gd name="connsiteX19" fmla="*/ 265772 w 1033465"/>
                <a:gd name="connsiteY19" fmla="*/ 447409 h 838042"/>
                <a:gd name="connsiteX20" fmla="*/ 254342 w 1033465"/>
                <a:gd name="connsiteY20" fmla="*/ 455029 h 838042"/>
                <a:gd name="connsiteX21" fmla="*/ 242912 w 1033465"/>
                <a:gd name="connsiteY21" fmla="*/ 458839 h 838042"/>
                <a:gd name="connsiteX22" fmla="*/ 128612 w 1033465"/>
                <a:gd name="connsiteY22" fmla="*/ 458839 h 838042"/>
                <a:gd name="connsiteX23" fmla="*/ 122897 w 1033465"/>
                <a:gd name="connsiteY23" fmla="*/ 460744 h 838042"/>
                <a:gd name="connsiteX24" fmla="*/ 107657 w 1033465"/>
                <a:gd name="connsiteY24" fmla="*/ 462649 h 838042"/>
                <a:gd name="connsiteX25" fmla="*/ 90512 w 1033465"/>
                <a:gd name="connsiteY25" fmla="*/ 468364 h 838042"/>
                <a:gd name="connsiteX26" fmla="*/ 84797 w 1033465"/>
                <a:gd name="connsiteY26" fmla="*/ 470269 h 838042"/>
                <a:gd name="connsiteX27" fmla="*/ 79082 w 1033465"/>
                <a:gd name="connsiteY27" fmla="*/ 474079 h 838042"/>
                <a:gd name="connsiteX28" fmla="*/ 67652 w 1033465"/>
                <a:gd name="connsiteY28" fmla="*/ 475984 h 838042"/>
                <a:gd name="connsiteX29" fmla="*/ 29552 w 1033465"/>
                <a:gd name="connsiteY29" fmla="*/ 477889 h 838042"/>
                <a:gd name="connsiteX30" fmla="*/ 18122 w 1033465"/>
                <a:gd name="connsiteY30" fmla="*/ 483604 h 838042"/>
                <a:gd name="connsiteX31" fmla="*/ 8597 w 1033465"/>
                <a:gd name="connsiteY31" fmla="*/ 493129 h 838042"/>
                <a:gd name="connsiteX32" fmla="*/ 6692 w 1033465"/>
                <a:gd name="connsiteY32" fmla="*/ 498844 h 838042"/>
                <a:gd name="connsiteX33" fmla="*/ 2882 w 1033465"/>
                <a:gd name="connsiteY33" fmla="*/ 504559 h 838042"/>
                <a:gd name="connsiteX34" fmla="*/ 14312 w 1033465"/>
                <a:gd name="connsiteY34" fmla="*/ 540754 h 838042"/>
                <a:gd name="connsiteX35" fmla="*/ 147662 w 1033465"/>
                <a:gd name="connsiteY35" fmla="*/ 540754 h 838042"/>
                <a:gd name="connsiteX36" fmla="*/ 155282 w 1033465"/>
                <a:gd name="connsiteY36" fmla="*/ 538849 h 838042"/>
                <a:gd name="connsiteX37" fmla="*/ 305777 w 1033465"/>
                <a:gd name="connsiteY37" fmla="*/ 533134 h 838042"/>
                <a:gd name="connsiteX38" fmla="*/ 321017 w 1033465"/>
                <a:gd name="connsiteY38" fmla="*/ 540754 h 838042"/>
                <a:gd name="connsiteX39" fmla="*/ 332447 w 1033465"/>
                <a:gd name="connsiteY39" fmla="*/ 546469 h 838042"/>
                <a:gd name="connsiteX40" fmla="*/ 336257 w 1033465"/>
                <a:gd name="connsiteY40" fmla="*/ 552184 h 838042"/>
                <a:gd name="connsiteX41" fmla="*/ 341972 w 1033465"/>
                <a:gd name="connsiteY41" fmla="*/ 554089 h 838042"/>
                <a:gd name="connsiteX42" fmla="*/ 353402 w 1033465"/>
                <a:gd name="connsiteY42" fmla="*/ 561709 h 838042"/>
                <a:gd name="connsiteX43" fmla="*/ 359117 w 1033465"/>
                <a:gd name="connsiteY43" fmla="*/ 565519 h 838042"/>
                <a:gd name="connsiteX44" fmla="*/ 362927 w 1033465"/>
                <a:gd name="connsiteY44" fmla="*/ 571234 h 838042"/>
                <a:gd name="connsiteX45" fmla="*/ 368642 w 1033465"/>
                <a:gd name="connsiteY45" fmla="*/ 582664 h 838042"/>
                <a:gd name="connsiteX46" fmla="*/ 364832 w 1033465"/>
                <a:gd name="connsiteY46" fmla="*/ 609334 h 838042"/>
                <a:gd name="connsiteX47" fmla="*/ 361022 w 1033465"/>
                <a:gd name="connsiteY47" fmla="*/ 615049 h 838042"/>
                <a:gd name="connsiteX48" fmla="*/ 359117 w 1033465"/>
                <a:gd name="connsiteY48" fmla="*/ 620764 h 838042"/>
                <a:gd name="connsiteX49" fmla="*/ 355307 w 1033465"/>
                <a:gd name="connsiteY49" fmla="*/ 626479 h 838042"/>
                <a:gd name="connsiteX50" fmla="*/ 353402 w 1033465"/>
                <a:gd name="connsiteY50" fmla="*/ 632194 h 838042"/>
                <a:gd name="connsiteX51" fmla="*/ 349592 w 1033465"/>
                <a:gd name="connsiteY51" fmla="*/ 637909 h 838042"/>
                <a:gd name="connsiteX52" fmla="*/ 332447 w 1033465"/>
                <a:gd name="connsiteY52" fmla="*/ 704584 h 838042"/>
                <a:gd name="connsiteX53" fmla="*/ 330542 w 1033465"/>
                <a:gd name="connsiteY53" fmla="*/ 756019 h 838042"/>
                <a:gd name="connsiteX54" fmla="*/ 332447 w 1033465"/>
                <a:gd name="connsiteY54" fmla="*/ 780784 h 838042"/>
                <a:gd name="connsiteX55" fmla="*/ 334352 w 1033465"/>
                <a:gd name="connsiteY55" fmla="*/ 786499 h 838042"/>
                <a:gd name="connsiteX56" fmla="*/ 338162 w 1033465"/>
                <a:gd name="connsiteY56" fmla="*/ 790309 h 838042"/>
                <a:gd name="connsiteX57" fmla="*/ 366737 w 1033465"/>
                <a:gd name="connsiteY57" fmla="*/ 836029 h 838042"/>
                <a:gd name="connsiteX58" fmla="*/ 389597 w 1033465"/>
                <a:gd name="connsiteY58" fmla="*/ 837934 h 838042"/>
                <a:gd name="connsiteX59" fmla="*/ 397407 w 1033465"/>
                <a:gd name="connsiteY59" fmla="*/ 833530 h 838042"/>
                <a:gd name="connsiteX60" fmla="*/ 402932 w 1033465"/>
                <a:gd name="connsiteY60" fmla="*/ 784594 h 838042"/>
                <a:gd name="connsiteX61" fmla="*/ 406742 w 1033465"/>
                <a:gd name="connsiteY61" fmla="*/ 727444 h 838042"/>
                <a:gd name="connsiteX62" fmla="*/ 423887 w 1033465"/>
                <a:gd name="connsiteY62" fmla="*/ 672199 h 838042"/>
                <a:gd name="connsiteX63" fmla="*/ 429602 w 1033465"/>
                <a:gd name="connsiteY63" fmla="*/ 658864 h 838042"/>
                <a:gd name="connsiteX64" fmla="*/ 444084 w 1033465"/>
                <a:gd name="connsiteY64" fmla="*/ 626947 h 838042"/>
                <a:gd name="connsiteX65" fmla="*/ 464289 w 1033465"/>
                <a:gd name="connsiteY65" fmla="*/ 600072 h 838042"/>
                <a:gd name="connsiteX66" fmla="*/ 523510 w 1033465"/>
                <a:gd name="connsiteY66" fmla="*/ 565123 h 838042"/>
                <a:gd name="connsiteX67" fmla="*/ 599348 w 1033465"/>
                <a:gd name="connsiteY67" fmla="*/ 550915 h 838042"/>
                <a:gd name="connsiteX68" fmla="*/ 707801 w 1033465"/>
                <a:gd name="connsiteY68" fmla="*/ 612819 h 838042"/>
                <a:gd name="connsiteX69" fmla="*/ 780122 w 1033465"/>
                <a:gd name="connsiteY69" fmla="*/ 656959 h 838042"/>
                <a:gd name="connsiteX70" fmla="*/ 804887 w 1033465"/>
                <a:gd name="connsiteY70" fmla="*/ 632194 h 838042"/>
                <a:gd name="connsiteX71" fmla="*/ 801077 w 1033465"/>
                <a:gd name="connsiteY71" fmla="*/ 601714 h 838042"/>
                <a:gd name="connsiteX72" fmla="*/ 762796 w 1033465"/>
                <a:gd name="connsiteY72" fmla="*/ 562523 h 838042"/>
                <a:gd name="connsiteX73" fmla="*/ 650582 w 1033465"/>
                <a:gd name="connsiteY73" fmla="*/ 479794 h 838042"/>
                <a:gd name="connsiteX74" fmla="*/ 646772 w 1033465"/>
                <a:gd name="connsiteY74" fmla="*/ 462649 h 838042"/>
                <a:gd name="connsiteX75" fmla="*/ 658202 w 1033465"/>
                <a:gd name="connsiteY75" fmla="*/ 426454 h 838042"/>
                <a:gd name="connsiteX76" fmla="*/ 726782 w 1033465"/>
                <a:gd name="connsiteY76" fmla="*/ 405499 h 838042"/>
                <a:gd name="connsiteX77" fmla="*/ 813738 w 1033465"/>
                <a:gd name="connsiteY77" fmla="*/ 406906 h 838042"/>
                <a:gd name="connsiteX78" fmla="*/ 906231 w 1033465"/>
                <a:gd name="connsiteY78" fmla="*/ 417646 h 838042"/>
                <a:gd name="connsiteX79" fmla="*/ 1002290 w 1033465"/>
                <a:gd name="connsiteY79" fmla="*/ 426835 h 838042"/>
                <a:gd name="connsiteX80" fmla="*/ 1032449 w 1033465"/>
                <a:gd name="connsiteY80" fmla="*/ 402711 h 838042"/>
                <a:gd name="connsiteX81" fmla="*/ 1020514 w 1033465"/>
                <a:gd name="connsiteY81" fmla="*/ 377797 h 838042"/>
                <a:gd name="connsiteX82" fmla="*/ 964889 w 1033465"/>
                <a:gd name="connsiteY82" fmla="*/ 358029 h 838042"/>
                <a:gd name="connsiteX83" fmla="*/ 827747 w 1033465"/>
                <a:gd name="connsiteY83" fmla="*/ 357874 h 838042"/>
                <a:gd name="connsiteX84" fmla="*/ 755811 w 1033465"/>
                <a:gd name="connsiteY84" fmla="*/ 361702 h 838042"/>
                <a:gd name="connsiteX85" fmla="*/ 671537 w 1033465"/>
                <a:gd name="connsiteY85" fmla="*/ 369304 h 838042"/>
                <a:gd name="connsiteX86" fmla="*/ 644867 w 1033465"/>
                <a:gd name="connsiteY86" fmla="*/ 338824 h 838042"/>
                <a:gd name="connsiteX87" fmla="*/ 676403 w 1033465"/>
                <a:gd name="connsiteY87" fmla="*/ 304962 h 838042"/>
                <a:gd name="connsiteX88" fmla="*/ 707732 w 1033465"/>
                <a:gd name="connsiteY88" fmla="*/ 283579 h 838042"/>
                <a:gd name="connsiteX89" fmla="*/ 743927 w 1033465"/>
                <a:gd name="connsiteY89" fmla="*/ 251194 h 838042"/>
                <a:gd name="connsiteX90" fmla="*/ 783019 w 1033465"/>
                <a:gd name="connsiteY90" fmla="*/ 213846 h 838042"/>
                <a:gd name="connsiteX91" fmla="*/ 746401 w 1033465"/>
                <a:gd name="connsiteY91" fmla="*/ 201789 h 838042"/>
                <a:gd name="connsiteX92" fmla="*/ 694397 w 1033465"/>
                <a:gd name="connsiteY92" fmla="*/ 226429 h 838042"/>
                <a:gd name="connsiteX93" fmla="*/ 656678 w 1033465"/>
                <a:gd name="connsiteY93" fmla="*/ 257626 h 838042"/>
                <a:gd name="connsiteX94" fmla="*/ 616001 w 1033465"/>
                <a:gd name="connsiteY94" fmla="*/ 286712 h 838042"/>
                <a:gd name="connsiteX95" fmla="*/ 564857 w 1033465"/>
                <a:gd name="connsiteY95" fmla="*/ 287389 h 838042"/>
                <a:gd name="connsiteX96" fmla="*/ 530567 w 1033465"/>
                <a:gd name="connsiteY96" fmla="*/ 274054 h 838042"/>
                <a:gd name="connsiteX97" fmla="*/ 507707 w 1033465"/>
                <a:gd name="connsiteY97" fmla="*/ 235954 h 838042"/>
                <a:gd name="connsiteX98" fmla="*/ 509612 w 1033465"/>
                <a:gd name="connsiteY98" fmla="*/ 171184 h 838042"/>
                <a:gd name="connsiteX99" fmla="*/ 508314 w 1033465"/>
                <a:gd name="connsiteY99" fmla="*/ 73485 h 838042"/>
                <a:gd name="connsiteX100" fmla="*/ 454116 w 1033465"/>
                <a:gd name="connsiteY100" fmla="*/ 11248 h 838042"/>
                <a:gd name="connsiteX101" fmla="*/ 442470 w 1033465"/>
                <a:gd name="connsiteY101" fmla="*/ 75864 h 838042"/>
                <a:gd name="connsiteX102" fmla="*/ 439226 w 1033465"/>
                <a:gd name="connsiteY102" fmla="*/ 132660 h 838042"/>
                <a:gd name="connsiteX103" fmla="*/ 436054 w 1033465"/>
                <a:gd name="connsiteY103"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81012 w 1033465"/>
                <a:gd name="connsiteY18" fmla="*/ 399784 h 838042"/>
                <a:gd name="connsiteX19" fmla="*/ 265772 w 1033465"/>
                <a:gd name="connsiteY19" fmla="*/ 447409 h 838042"/>
                <a:gd name="connsiteX20" fmla="*/ 254342 w 1033465"/>
                <a:gd name="connsiteY20" fmla="*/ 455029 h 838042"/>
                <a:gd name="connsiteX21" fmla="*/ 128612 w 1033465"/>
                <a:gd name="connsiteY21" fmla="*/ 458839 h 838042"/>
                <a:gd name="connsiteX22" fmla="*/ 122897 w 1033465"/>
                <a:gd name="connsiteY22" fmla="*/ 460744 h 838042"/>
                <a:gd name="connsiteX23" fmla="*/ 107657 w 1033465"/>
                <a:gd name="connsiteY23" fmla="*/ 462649 h 838042"/>
                <a:gd name="connsiteX24" fmla="*/ 90512 w 1033465"/>
                <a:gd name="connsiteY24" fmla="*/ 468364 h 838042"/>
                <a:gd name="connsiteX25" fmla="*/ 84797 w 1033465"/>
                <a:gd name="connsiteY25" fmla="*/ 470269 h 838042"/>
                <a:gd name="connsiteX26" fmla="*/ 79082 w 1033465"/>
                <a:gd name="connsiteY26" fmla="*/ 474079 h 838042"/>
                <a:gd name="connsiteX27" fmla="*/ 67652 w 1033465"/>
                <a:gd name="connsiteY27" fmla="*/ 475984 h 838042"/>
                <a:gd name="connsiteX28" fmla="*/ 29552 w 1033465"/>
                <a:gd name="connsiteY28" fmla="*/ 477889 h 838042"/>
                <a:gd name="connsiteX29" fmla="*/ 18122 w 1033465"/>
                <a:gd name="connsiteY29" fmla="*/ 483604 h 838042"/>
                <a:gd name="connsiteX30" fmla="*/ 8597 w 1033465"/>
                <a:gd name="connsiteY30" fmla="*/ 493129 h 838042"/>
                <a:gd name="connsiteX31" fmla="*/ 6692 w 1033465"/>
                <a:gd name="connsiteY31" fmla="*/ 498844 h 838042"/>
                <a:gd name="connsiteX32" fmla="*/ 2882 w 1033465"/>
                <a:gd name="connsiteY32" fmla="*/ 504559 h 838042"/>
                <a:gd name="connsiteX33" fmla="*/ 14312 w 1033465"/>
                <a:gd name="connsiteY33" fmla="*/ 540754 h 838042"/>
                <a:gd name="connsiteX34" fmla="*/ 147662 w 1033465"/>
                <a:gd name="connsiteY34" fmla="*/ 540754 h 838042"/>
                <a:gd name="connsiteX35" fmla="*/ 155282 w 1033465"/>
                <a:gd name="connsiteY35" fmla="*/ 538849 h 838042"/>
                <a:gd name="connsiteX36" fmla="*/ 305777 w 1033465"/>
                <a:gd name="connsiteY36" fmla="*/ 533134 h 838042"/>
                <a:gd name="connsiteX37" fmla="*/ 321017 w 1033465"/>
                <a:gd name="connsiteY37" fmla="*/ 540754 h 838042"/>
                <a:gd name="connsiteX38" fmla="*/ 332447 w 1033465"/>
                <a:gd name="connsiteY38" fmla="*/ 546469 h 838042"/>
                <a:gd name="connsiteX39" fmla="*/ 336257 w 1033465"/>
                <a:gd name="connsiteY39" fmla="*/ 552184 h 838042"/>
                <a:gd name="connsiteX40" fmla="*/ 341972 w 1033465"/>
                <a:gd name="connsiteY40" fmla="*/ 554089 h 838042"/>
                <a:gd name="connsiteX41" fmla="*/ 353402 w 1033465"/>
                <a:gd name="connsiteY41" fmla="*/ 561709 h 838042"/>
                <a:gd name="connsiteX42" fmla="*/ 359117 w 1033465"/>
                <a:gd name="connsiteY42" fmla="*/ 565519 h 838042"/>
                <a:gd name="connsiteX43" fmla="*/ 362927 w 1033465"/>
                <a:gd name="connsiteY43" fmla="*/ 571234 h 838042"/>
                <a:gd name="connsiteX44" fmla="*/ 368642 w 1033465"/>
                <a:gd name="connsiteY44" fmla="*/ 582664 h 838042"/>
                <a:gd name="connsiteX45" fmla="*/ 364832 w 1033465"/>
                <a:gd name="connsiteY45" fmla="*/ 609334 h 838042"/>
                <a:gd name="connsiteX46" fmla="*/ 361022 w 1033465"/>
                <a:gd name="connsiteY46" fmla="*/ 615049 h 838042"/>
                <a:gd name="connsiteX47" fmla="*/ 359117 w 1033465"/>
                <a:gd name="connsiteY47" fmla="*/ 620764 h 838042"/>
                <a:gd name="connsiteX48" fmla="*/ 355307 w 1033465"/>
                <a:gd name="connsiteY48" fmla="*/ 626479 h 838042"/>
                <a:gd name="connsiteX49" fmla="*/ 353402 w 1033465"/>
                <a:gd name="connsiteY49" fmla="*/ 632194 h 838042"/>
                <a:gd name="connsiteX50" fmla="*/ 349592 w 1033465"/>
                <a:gd name="connsiteY50" fmla="*/ 637909 h 838042"/>
                <a:gd name="connsiteX51" fmla="*/ 332447 w 1033465"/>
                <a:gd name="connsiteY51" fmla="*/ 704584 h 838042"/>
                <a:gd name="connsiteX52" fmla="*/ 330542 w 1033465"/>
                <a:gd name="connsiteY52" fmla="*/ 756019 h 838042"/>
                <a:gd name="connsiteX53" fmla="*/ 332447 w 1033465"/>
                <a:gd name="connsiteY53" fmla="*/ 780784 h 838042"/>
                <a:gd name="connsiteX54" fmla="*/ 334352 w 1033465"/>
                <a:gd name="connsiteY54" fmla="*/ 786499 h 838042"/>
                <a:gd name="connsiteX55" fmla="*/ 338162 w 1033465"/>
                <a:gd name="connsiteY55" fmla="*/ 790309 h 838042"/>
                <a:gd name="connsiteX56" fmla="*/ 366737 w 1033465"/>
                <a:gd name="connsiteY56" fmla="*/ 836029 h 838042"/>
                <a:gd name="connsiteX57" fmla="*/ 389597 w 1033465"/>
                <a:gd name="connsiteY57" fmla="*/ 837934 h 838042"/>
                <a:gd name="connsiteX58" fmla="*/ 397407 w 1033465"/>
                <a:gd name="connsiteY58" fmla="*/ 833530 h 838042"/>
                <a:gd name="connsiteX59" fmla="*/ 402932 w 1033465"/>
                <a:gd name="connsiteY59" fmla="*/ 784594 h 838042"/>
                <a:gd name="connsiteX60" fmla="*/ 406742 w 1033465"/>
                <a:gd name="connsiteY60" fmla="*/ 727444 h 838042"/>
                <a:gd name="connsiteX61" fmla="*/ 423887 w 1033465"/>
                <a:gd name="connsiteY61" fmla="*/ 672199 h 838042"/>
                <a:gd name="connsiteX62" fmla="*/ 429602 w 1033465"/>
                <a:gd name="connsiteY62" fmla="*/ 658864 h 838042"/>
                <a:gd name="connsiteX63" fmla="*/ 444084 w 1033465"/>
                <a:gd name="connsiteY63" fmla="*/ 626947 h 838042"/>
                <a:gd name="connsiteX64" fmla="*/ 464289 w 1033465"/>
                <a:gd name="connsiteY64" fmla="*/ 600072 h 838042"/>
                <a:gd name="connsiteX65" fmla="*/ 523510 w 1033465"/>
                <a:gd name="connsiteY65" fmla="*/ 565123 h 838042"/>
                <a:gd name="connsiteX66" fmla="*/ 599348 w 1033465"/>
                <a:gd name="connsiteY66" fmla="*/ 550915 h 838042"/>
                <a:gd name="connsiteX67" fmla="*/ 707801 w 1033465"/>
                <a:gd name="connsiteY67" fmla="*/ 612819 h 838042"/>
                <a:gd name="connsiteX68" fmla="*/ 780122 w 1033465"/>
                <a:gd name="connsiteY68" fmla="*/ 656959 h 838042"/>
                <a:gd name="connsiteX69" fmla="*/ 804887 w 1033465"/>
                <a:gd name="connsiteY69" fmla="*/ 632194 h 838042"/>
                <a:gd name="connsiteX70" fmla="*/ 801077 w 1033465"/>
                <a:gd name="connsiteY70" fmla="*/ 601714 h 838042"/>
                <a:gd name="connsiteX71" fmla="*/ 762796 w 1033465"/>
                <a:gd name="connsiteY71" fmla="*/ 562523 h 838042"/>
                <a:gd name="connsiteX72" fmla="*/ 650582 w 1033465"/>
                <a:gd name="connsiteY72" fmla="*/ 479794 h 838042"/>
                <a:gd name="connsiteX73" fmla="*/ 646772 w 1033465"/>
                <a:gd name="connsiteY73" fmla="*/ 462649 h 838042"/>
                <a:gd name="connsiteX74" fmla="*/ 658202 w 1033465"/>
                <a:gd name="connsiteY74" fmla="*/ 426454 h 838042"/>
                <a:gd name="connsiteX75" fmla="*/ 726782 w 1033465"/>
                <a:gd name="connsiteY75" fmla="*/ 405499 h 838042"/>
                <a:gd name="connsiteX76" fmla="*/ 813738 w 1033465"/>
                <a:gd name="connsiteY76" fmla="*/ 406906 h 838042"/>
                <a:gd name="connsiteX77" fmla="*/ 906231 w 1033465"/>
                <a:gd name="connsiteY77" fmla="*/ 417646 h 838042"/>
                <a:gd name="connsiteX78" fmla="*/ 1002290 w 1033465"/>
                <a:gd name="connsiteY78" fmla="*/ 426835 h 838042"/>
                <a:gd name="connsiteX79" fmla="*/ 1032449 w 1033465"/>
                <a:gd name="connsiteY79" fmla="*/ 402711 h 838042"/>
                <a:gd name="connsiteX80" fmla="*/ 1020514 w 1033465"/>
                <a:gd name="connsiteY80" fmla="*/ 377797 h 838042"/>
                <a:gd name="connsiteX81" fmla="*/ 964889 w 1033465"/>
                <a:gd name="connsiteY81" fmla="*/ 358029 h 838042"/>
                <a:gd name="connsiteX82" fmla="*/ 827747 w 1033465"/>
                <a:gd name="connsiteY82" fmla="*/ 357874 h 838042"/>
                <a:gd name="connsiteX83" fmla="*/ 755811 w 1033465"/>
                <a:gd name="connsiteY83" fmla="*/ 361702 h 838042"/>
                <a:gd name="connsiteX84" fmla="*/ 671537 w 1033465"/>
                <a:gd name="connsiteY84" fmla="*/ 369304 h 838042"/>
                <a:gd name="connsiteX85" fmla="*/ 644867 w 1033465"/>
                <a:gd name="connsiteY85" fmla="*/ 338824 h 838042"/>
                <a:gd name="connsiteX86" fmla="*/ 676403 w 1033465"/>
                <a:gd name="connsiteY86" fmla="*/ 304962 h 838042"/>
                <a:gd name="connsiteX87" fmla="*/ 707732 w 1033465"/>
                <a:gd name="connsiteY87" fmla="*/ 283579 h 838042"/>
                <a:gd name="connsiteX88" fmla="*/ 743927 w 1033465"/>
                <a:gd name="connsiteY88" fmla="*/ 251194 h 838042"/>
                <a:gd name="connsiteX89" fmla="*/ 783019 w 1033465"/>
                <a:gd name="connsiteY89" fmla="*/ 213846 h 838042"/>
                <a:gd name="connsiteX90" fmla="*/ 746401 w 1033465"/>
                <a:gd name="connsiteY90" fmla="*/ 201789 h 838042"/>
                <a:gd name="connsiteX91" fmla="*/ 694397 w 1033465"/>
                <a:gd name="connsiteY91" fmla="*/ 226429 h 838042"/>
                <a:gd name="connsiteX92" fmla="*/ 656678 w 1033465"/>
                <a:gd name="connsiteY92" fmla="*/ 257626 h 838042"/>
                <a:gd name="connsiteX93" fmla="*/ 616001 w 1033465"/>
                <a:gd name="connsiteY93" fmla="*/ 286712 h 838042"/>
                <a:gd name="connsiteX94" fmla="*/ 564857 w 1033465"/>
                <a:gd name="connsiteY94" fmla="*/ 287389 h 838042"/>
                <a:gd name="connsiteX95" fmla="*/ 530567 w 1033465"/>
                <a:gd name="connsiteY95" fmla="*/ 274054 h 838042"/>
                <a:gd name="connsiteX96" fmla="*/ 507707 w 1033465"/>
                <a:gd name="connsiteY96" fmla="*/ 235954 h 838042"/>
                <a:gd name="connsiteX97" fmla="*/ 509612 w 1033465"/>
                <a:gd name="connsiteY97" fmla="*/ 171184 h 838042"/>
                <a:gd name="connsiteX98" fmla="*/ 508314 w 1033465"/>
                <a:gd name="connsiteY98" fmla="*/ 73485 h 838042"/>
                <a:gd name="connsiteX99" fmla="*/ 454116 w 1033465"/>
                <a:gd name="connsiteY99" fmla="*/ 11248 h 838042"/>
                <a:gd name="connsiteX100" fmla="*/ 442470 w 1033465"/>
                <a:gd name="connsiteY100" fmla="*/ 75864 h 838042"/>
                <a:gd name="connsiteX101" fmla="*/ 439226 w 1033465"/>
                <a:gd name="connsiteY101" fmla="*/ 132660 h 838042"/>
                <a:gd name="connsiteX102" fmla="*/ 436054 w 1033465"/>
                <a:gd name="connsiteY10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81012 w 1033465"/>
                <a:gd name="connsiteY18" fmla="*/ 399784 h 838042"/>
                <a:gd name="connsiteX19" fmla="*/ 265772 w 1033465"/>
                <a:gd name="connsiteY19" fmla="*/ 447409 h 838042"/>
                <a:gd name="connsiteX20" fmla="*/ 219498 w 1033465"/>
                <a:gd name="connsiteY20" fmla="*/ 459458 h 838042"/>
                <a:gd name="connsiteX21" fmla="*/ 128612 w 1033465"/>
                <a:gd name="connsiteY21" fmla="*/ 458839 h 838042"/>
                <a:gd name="connsiteX22" fmla="*/ 122897 w 1033465"/>
                <a:gd name="connsiteY22" fmla="*/ 460744 h 838042"/>
                <a:gd name="connsiteX23" fmla="*/ 107657 w 1033465"/>
                <a:gd name="connsiteY23" fmla="*/ 462649 h 838042"/>
                <a:gd name="connsiteX24" fmla="*/ 90512 w 1033465"/>
                <a:gd name="connsiteY24" fmla="*/ 468364 h 838042"/>
                <a:gd name="connsiteX25" fmla="*/ 84797 w 1033465"/>
                <a:gd name="connsiteY25" fmla="*/ 470269 h 838042"/>
                <a:gd name="connsiteX26" fmla="*/ 79082 w 1033465"/>
                <a:gd name="connsiteY26" fmla="*/ 474079 h 838042"/>
                <a:gd name="connsiteX27" fmla="*/ 67652 w 1033465"/>
                <a:gd name="connsiteY27" fmla="*/ 475984 h 838042"/>
                <a:gd name="connsiteX28" fmla="*/ 29552 w 1033465"/>
                <a:gd name="connsiteY28" fmla="*/ 477889 h 838042"/>
                <a:gd name="connsiteX29" fmla="*/ 18122 w 1033465"/>
                <a:gd name="connsiteY29" fmla="*/ 483604 h 838042"/>
                <a:gd name="connsiteX30" fmla="*/ 8597 w 1033465"/>
                <a:gd name="connsiteY30" fmla="*/ 493129 h 838042"/>
                <a:gd name="connsiteX31" fmla="*/ 6692 w 1033465"/>
                <a:gd name="connsiteY31" fmla="*/ 498844 h 838042"/>
                <a:gd name="connsiteX32" fmla="*/ 2882 w 1033465"/>
                <a:gd name="connsiteY32" fmla="*/ 504559 h 838042"/>
                <a:gd name="connsiteX33" fmla="*/ 14312 w 1033465"/>
                <a:gd name="connsiteY33" fmla="*/ 540754 h 838042"/>
                <a:gd name="connsiteX34" fmla="*/ 147662 w 1033465"/>
                <a:gd name="connsiteY34" fmla="*/ 540754 h 838042"/>
                <a:gd name="connsiteX35" fmla="*/ 155282 w 1033465"/>
                <a:gd name="connsiteY35" fmla="*/ 538849 h 838042"/>
                <a:gd name="connsiteX36" fmla="*/ 305777 w 1033465"/>
                <a:gd name="connsiteY36" fmla="*/ 533134 h 838042"/>
                <a:gd name="connsiteX37" fmla="*/ 321017 w 1033465"/>
                <a:gd name="connsiteY37" fmla="*/ 540754 h 838042"/>
                <a:gd name="connsiteX38" fmla="*/ 332447 w 1033465"/>
                <a:gd name="connsiteY38" fmla="*/ 546469 h 838042"/>
                <a:gd name="connsiteX39" fmla="*/ 336257 w 1033465"/>
                <a:gd name="connsiteY39" fmla="*/ 552184 h 838042"/>
                <a:gd name="connsiteX40" fmla="*/ 341972 w 1033465"/>
                <a:gd name="connsiteY40" fmla="*/ 554089 h 838042"/>
                <a:gd name="connsiteX41" fmla="*/ 353402 w 1033465"/>
                <a:gd name="connsiteY41" fmla="*/ 561709 h 838042"/>
                <a:gd name="connsiteX42" fmla="*/ 359117 w 1033465"/>
                <a:gd name="connsiteY42" fmla="*/ 565519 h 838042"/>
                <a:gd name="connsiteX43" fmla="*/ 362927 w 1033465"/>
                <a:gd name="connsiteY43" fmla="*/ 571234 h 838042"/>
                <a:gd name="connsiteX44" fmla="*/ 368642 w 1033465"/>
                <a:gd name="connsiteY44" fmla="*/ 582664 h 838042"/>
                <a:gd name="connsiteX45" fmla="*/ 364832 w 1033465"/>
                <a:gd name="connsiteY45" fmla="*/ 609334 h 838042"/>
                <a:gd name="connsiteX46" fmla="*/ 361022 w 1033465"/>
                <a:gd name="connsiteY46" fmla="*/ 615049 h 838042"/>
                <a:gd name="connsiteX47" fmla="*/ 359117 w 1033465"/>
                <a:gd name="connsiteY47" fmla="*/ 620764 h 838042"/>
                <a:gd name="connsiteX48" fmla="*/ 355307 w 1033465"/>
                <a:gd name="connsiteY48" fmla="*/ 626479 h 838042"/>
                <a:gd name="connsiteX49" fmla="*/ 353402 w 1033465"/>
                <a:gd name="connsiteY49" fmla="*/ 632194 h 838042"/>
                <a:gd name="connsiteX50" fmla="*/ 349592 w 1033465"/>
                <a:gd name="connsiteY50" fmla="*/ 637909 h 838042"/>
                <a:gd name="connsiteX51" fmla="*/ 332447 w 1033465"/>
                <a:gd name="connsiteY51" fmla="*/ 704584 h 838042"/>
                <a:gd name="connsiteX52" fmla="*/ 330542 w 1033465"/>
                <a:gd name="connsiteY52" fmla="*/ 756019 h 838042"/>
                <a:gd name="connsiteX53" fmla="*/ 332447 w 1033465"/>
                <a:gd name="connsiteY53" fmla="*/ 780784 h 838042"/>
                <a:gd name="connsiteX54" fmla="*/ 334352 w 1033465"/>
                <a:gd name="connsiteY54" fmla="*/ 786499 h 838042"/>
                <a:gd name="connsiteX55" fmla="*/ 338162 w 1033465"/>
                <a:gd name="connsiteY55" fmla="*/ 790309 h 838042"/>
                <a:gd name="connsiteX56" fmla="*/ 366737 w 1033465"/>
                <a:gd name="connsiteY56" fmla="*/ 836029 h 838042"/>
                <a:gd name="connsiteX57" fmla="*/ 389597 w 1033465"/>
                <a:gd name="connsiteY57" fmla="*/ 837934 h 838042"/>
                <a:gd name="connsiteX58" fmla="*/ 397407 w 1033465"/>
                <a:gd name="connsiteY58" fmla="*/ 833530 h 838042"/>
                <a:gd name="connsiteX59" fmla="*/ 402932 w 1033465"/>
                <a:gd name="connsiteY59" fmla="*/ 784594 h 838042"/>
                <a:gd name="connsiteX60" fmla="*/ 406742 w 1033465"/>
                <a:gd name="connsiteY60" fmla="*/ 727444 h 838042"/>
                <a:gd name="connsiteX61" fmla="*/ 423887 w 1033465"/>
                <a:gd name="connsiteY61" fmla="*/ 672199 h 838042"/>
                <a:gd name="connsiteX62" fmla="*/ 429602 w 1033465"/>
                <a:gd name="connsiteY62" fmla="*/ 658864 h 838042"/>
                <a:gd name="connsiteX63" fmla="*/ 444084 w 1033465"/>
                <a:gd name="connsiteY63" fmla="*/ 626947 h 838042"/>
                <a:gd name="connsiteX64" fmla="*/ 464289 w 1033465"/>
                <a:gd name="connsiteY64" fmla="*/ 600072 h 838042"/>
                <a:gd name="connsiteX65" fmla="*/ 523510 w 1033465"/>
                <a:gd name="connsiteY65" fmla="*/ 565123 h 838042"/>
                <a:gd name="connsiteX66" fmla="*/ 599348 w 1033465"/>
                <a:gd name="connsiteY66" fmla="*/ 550915 h 838042"/>
                <a:gd name="connsiteX67" fmla="*/ 707801 w 1033465"/>
                <a:gd name="connsiteY67" fmla="*/ 612819 h 838042"/>
                <a:gd name="connsiteX68" fmla="*/ 780122 w 1033465"/>
                <a:gd name="connsiteY68" fmla="*/ 656959 h 838042"/>
                <a:gd name="connsiteX69" fmla="*/ 804887 w 1033465"/>
                <a:gd name="connsiteY69" fmla="*/ 632194 h 838042"/>
                <a:gd name="connsiteX70" fmla="*/ 801077 w 1033465"/>
                <a:gd name="connsiteY70" fmla="*/ 601714 h 838042"/>
                <a:gd name="connsiteX71" fmla="*/ 762796 w 1033465"/>
                <a:gd name="connsiteY71" fmla="*/ 562523 h 838042"/>
                <a:gd name="connsiteX72" fmla="*/ 650582 w 1033465"/>
                <a:gd name="connsiteY72" fmla="*/ 479794 h 838042"/>
                <a:gd name="connsiteX73" fmla="*/ 646772 w 1033465"/>
                <a:gd name="connsiteY73" fmla="*/ 462649 h 838042"/>
                <a:gd name="connsiteX74" fmla="*/ 658202 w 1033465"/>
                <a:gd name="connsiteY74" fmla="*/ 426454 h 838042"/>
                <a:gd name="connsiteX75" fmla="*/ 726782 w 1033465"/>
                <a:gd name="connsiteY75" fmla="*/ 405499 h 838042"/>
                <a:gd name="connsiteX76" fmla="*/ 813738 w 1033465"/>
                <a:gd name="connsiteY76" fmla="*/ 406906 h 838042"/>
                <a:gd name="connsiteX77" fmla="*/ 906231 w 1033465"/>
                <a:gd name="connsiteY77" fmla="*/ 417646 h 838042"/>
                <a:gd name="connsiteX78" fmla="*/ 1002290 w 1033465"/>
                <a:gd name="connsiteY78" fmla="*/ 426835 h 838042"/>
                <a:gd name="connsiteX79" fmla="*/ 1032449 w 1033465"/>
                <a:gd name="connsiteY79" fmla="*/ 402711 h 838042"/>
                <a:gd name="connsiteX80" fmla="*/ 1020514 w 1033465"/>
                <a:gd name="connsiteY80" fmla="*/ 377797 h 838042"/>
                <a:gd name="connsiteX81" fmla="*/ 964889 w 1033465"/>
                <a:gd name="connsiteY81" fmla="*/ 358029 h 838042"/>
                <a:gd name="connsiteX82" fmla="*/ 827747 w 1033465"/>
                <a:gd name="connsiteY82" fmla="*/ 357874 h 838042"/>
                <a:gd name="connsiteX83" fmla="*/ 755811 w 1033465"/>
                <a:gd name="connsiteY83" fmla="*/ 361702 h 838042"/>
                <a:gd name="connsiteX84" fmla="*/ 671537 w 1033465"/>
                <a:gd name="connsiteY84" fmla="*/ 369304 h 838042"/>
                <a:gd name="connsiteX85" fmla="*/ 644867 w 1033465"/>
                <a:gd name="connsiteY85" fmla="*/ 338824 h 838042"/>
                <a:gd name="connsiteX86" fmla="*/ 676403 w 1033465"/>
                <a:gd name="connsiteY86" fmla="*/ 304962 h 838042"/>
                <a:gd name="connsiteX87" fmla="*/ 707732 w 1033465"/>
                <a:gd name="connsiteY87" fmla="*/ 283579 h 838042"/>
                <a:gd name="connsiteX88" fmla="*/ 743927 w 1033465"/>
                <a:gd name="connsiteY88" fmla="*/ 251194 h 838042"/>
                <a:gd name="connsiteX89" fmla="*/ 783019 w 1033465"/>
                <a:gd name="connsiteY89" fmla="*/ 213846 h 838042"/>
                <a:gd name="connsiteX90" fmla="*/ 746401 w 1033465"/>
                <a:gd name="connsiteY90" fmla="*/ 201789 h 838042"/>
                <a:gd name="connsiteX91" fmla="*/ 694397 w 1033465"/>
                <a:gd name="connsiteY91" fmla="*/ 226429 h 838042"/>
                <a:gd name="connsiteX92" fmla="*/ 656678 w 1033465"/>
                <a:gd name="connsiteY92" fmla="*/ 257626 h 838042"/>
                <a:gd name="connsiteX93" fmla="*/ 616001 w 1033465"/>
                <a:gd name="connsiteY93" fmla="*/ 286712 h 838042"/>
                <a:gd name="connsiteX94" fmla="*/ 564857 w 1033465"/>
                <a:gd name="connsiteY94" fmla="*/ 287389 h 838042"/>
                <a:gd name="connsiteX95" fmla="*/ 530567 w 1033465"/>
                <a:gd name="connsiteY95" fmla="*/ 274054 h 838042"/>
                <a:gd name="connsiteX96" fmla="*/ 507707 w 1033465"/>
                <a:gd name="connsiteY96" fmla="*/ 235954 h 838042"/>
                <a:gd name="connsiteX97" fmla="*/ 509612 w 1033465"/>
                <a:gd name="connsiteY97" fmla="*/ 171184 h 838042"/>
                <a:gd name="connsiteX98" fmla="*/ 508314 w 1033465"/>
                <a:gd name="connsiteY98" fmla="*/ 73485 h 838042"/>
                <a:gd name="connsiteX99" fmla="*/ 454116 w 1033465"/>
                <a:gd name="connsiteY99" fmla="*/ 11248 h 838042"/>
                <a:gd name="connsiteX100" fmla="*/ 442470 w 1033465"/>
                <a:gd name="connsiteY100" fmla="*/ 75864 h 838042"/>
                <a:gd name="connsiteX101" fmla="*/ 439226 w 1033465"/>
                <a:gd name="connsiteY101" fmla="*/ 132660 h 838042"/>
                <a:gd name="connsiteX102" fmla="*/ 436054 w 1033465"/>
                <a:gd name="connsiteY102"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81012 w 1033465"/>
                <a:gd name="connsiteY18" fmla="*/ 399784 h 838042"/>
                <a:gd name="connsiteX19" fmla="*/ 265772 w 1033465"/>
                <a:gd name="connsiteY19" fmla="*/ 447409 h 838042"/>
                <a:gd name="connsiteX20" fmla="*/ 219498 w 1033465"/>
                <a:gd name="connsiteY20" fmla="*/ 459458 h 838042"/>
                <a:gd name="connsiteX21" fmla="*/ 128612 w 1033465"/>
                <a:gd name="connsiteY21" fmla="*/ 458839 h 838042"/>
                <a:gd name="connsiteX22" fmla="*/ 107657 w 1033465"/>
                <a:gd name="connsiteY22" fmla="*/ 462649 h 838042"/>
                <a:gd name="connsiteX23" fmla="*/ 90512 w 1033465"/>
                <a:gd name="connsiteY23" fmla="*/ 468364 h 838042"/>
                <a:gd name="connsiteX24" fmla="*/ 84797 w 1033465"/>
                <a:gd name="connsiteY24" fmla="*/ 470269 h 838042"/>
                <a:gd name="connsiteX25" fmla="*/ 79082 w 1033465"/>
                <a:gd name="connsiteY25" fmla="*/ 474079 h 838042"/>
                <a:gd name="connsiteX26" fmla="*/ 67652 w 1033465"/>
                <a:gd name="connsiteY26" fmla="*/ 475984 h 838042"/>
                <a:gd name="connsiteX27" fmla="*/ 29552 w 1033465"/>
                <a:gd name="connsiteY27" fmla="*/ 477889 h 838042"/>
                <a:gd name="connsiteX28" fmla="*/ 18122 w 1033465"/>
                <a:gd name="connsiteY28" fmla="*/ 483604 h 838042"/>
                <a:gd name="connsiteX29" fmla="*/ 8597 w 1033465"/>
                <a:gd name="connsiteY29" fmla="*/ 493129 h 838042"/>
                <a:gd name="connsiteX30" fmla="*/ 6692 w 1033465"/>
                <a:gd name="connsiteY30" fmla="*/ 498844 h 838042"/>
                <a:gd name="connsiteX31" fmla="*/ 2882 w 1033465"/>
                <a:gd name="connsiteY31" fmla="*/ 504559 h 838042"/>
                <a:gd name="connsiteX32" fmla="*/ 14312 w 1033465"/>
                <a:gd name="connsiteY32" fmla="*/ 540754 h 838042"/>
                <a:gd name="connsiteX33" fmla="*/ 147662 w 1033465"/>
                <a:gd name="connsiteY33" fmla="*/ 540754 h 838042"/>
                <a:gd name="connsiteX34" fmla="*/ 155282 w 1033465"/>
                <a:gd name="connsiteY34" fmla="*/ 538849 h 838042"/>
                <a:gd name="connsiteX35" fmla="*/ 305777 w 1033465"/>
                <a:gd name="connsiteY35" fmla="*/ 533134 h 838042"/>
                <a:gd name="connsiteX36" fmla="*/ 321017 w 1033465"/>
                <a:gd name="connsiteY36" fmla="*/ 540754 h 838042"/>
                <a:gd name="connsiteX37" fmla="*/ 332447 w 1033465"/>
                <a:gd name="connsiteY37" fmla="*/ 546469 h 838042"/>
                <a:gd name="connsiteX38" fmla="*/ 336257 w 1033465"/>
                <a:gd name="connsiteY38" fmla="*/ 552184 h 838042"/>
                <a:gd name="connsiteX39" fmla="*/ 341972 w 1033465"/>
                <a:gd name="connsiteY39" fmla="*/ 554089 h 838042"/>
                <a:gd name="connsiteX40" fmla="*/ 353402 w 1033465"/>
                <a:gd name="connsiteY40" fmla="*/ 561709 h 838042"/>
                <a:gd name="connsiteX41" fmla="*/ 359117 w 1033465"/>
                <a:gd name="connsiteY41" fmla="*/ 565519 h 838042"/>
                <a:gd name="connsiteX42" fmla="*/ 362927 w 1033465"/>
                <a:gd name="connsiteY42" fmla="*/ 571234 h 838042"/>
                <a:gd name="connsiteX43" fmla="*/ 368642 w 1033465"/>
                <a:gd name="connsiteY43" fmla="*/ 582664 h 838042"/>
                <a:gd name="connsiteX44" fmla="*/ 364832 w 1033465"/>
                <a:gd name="connsiteY44" fmla="*/ 609334 h 838042"/>
                <a:gd name="connsiteX45" fmla="*/ 361022 w 1033465"/>
                <a:gd name="connsiteY45" fmla="*/ 615049 h 838042"/>
                <a:gd name="connsiteX46" fmla="*/ 359117 w 1033465"/>
                <a:gd name="connsiteY46" fmla="*/ 620764 h 838042"/>
                <a:gd name="connsiteX47" fmla="*/ 355307 w 1033465"/>
                <a:gd name="connsiteY47" fmla="*/ 626479 h 838042"/>
                <a:gd name="connsiteX48" fmla="*/ 353402 w 1033465"/>
                <a:gd name="connsiteY48" fmla="*/ 632194 h 838042"/>
                <a:gd name="connsiteX49" fmla="*/ 349592 w 1033465"/>
                <a:gd name="connsiteY49" fmla="*/ 637909 h 838042"/>
                <a:gd name="connsiteX50" fmla="*/ 332447 w 1033465"/>
                <a:gd name="connsiteY50" fmla="*/ 704584 h 838042"/>
                <a:gd name="connsiteX51" fmla="*/ 330542 w 1033465"/>
                <a:gd name="connsiteY51" fmla="*/ 756019 h 838042"/>
                <a:gd name="connsiteX52" fmla="*/ 332447 w 1033465"/>
                <a:gd name="connsiteY52" fmla="*/ 780784 h 838042"/>
                <a:gd name="connsiteX53" fmla="*/ 334352 w 1033465"/>
                <a:gd name="connsiteY53" fmla="*/ 786499 h 838042"/>
                <a:gd name="connsiteX54" fmla="*/ 338162 w 1033465"/>
                <a:gd name="connsiteY54" fmla="*/ 790309 h 838042"/>
                <a:gd name="connsiteX55" fmla="*/ 366737 w 1033465"/>
                <a:gd name="connsiteY55" fmla="*/ 836029 h 838042"/>
                <a:gd name="connsiteX56" fmla="*/ 389597 w 1033465"/>
                <a:gd name="connsiteY56" fmla="*/ 837934 h 838042"/>
                <a:gd name="connsiteX57" fmla="*/ 397407 w 1033465"/>
                <a:gd name="connsiteY57" fmla="*/ 833530 h 838042"/>
                <a:gd name="connsiteX58" fmla="*/ 402932 w 1033465"/>
                <a:gd name="connsiteY58" fmla="*/ 784594 h 838042"/>
                <a:gd name="connsiteX59" fmla="*/ 406742 w 1033465"/>
                <a:gd name="connsiteY59" fmla="*/ 727444 h 838042"/>
                <a:gd name="connsiteX60" fmla="*/ 423887 w 1033465"/>
                <a:gd name="connsiteY60" fmla="*/ 672199 h 838042"/>
                <a:gd name="connsiteX61" fmla="*/ 429602 w 1033465"/>
                <a:gd name="connsiteY61" fmla="*/ 658864 h 838042"/>
                <a:gd name="connsiteX62" fmla="*/ 444084 w 1033465"/>
                <a:gd name="connsiteY62" fmla="*/ 626947 h 838042"/>
                <a:gd name="connsiteX63" fmla="*/ 464289 w 1033465"/>
                <a:gd name="connsiteY63" fmla="*/ 600072 h 838042"/>
                <a:gd name="connsiteX64" fmla="*/ 523510 w 1033465"/>
                <a:gd name="connsiteY64" fmla="*/ 565123 h 838042"/>
                <a:gd name="connsiteX65" fmla="*/ 599348 w 1033465"/>
                <a:gd name="connsiteY65" fmla="*/ 550915 h 838042"/>
                <a:gd name="connsiteX66" fmla="*/ 707801 w 1033465"/>
                <a:gd name="connsiteY66" fmla="*/ 612819 h 838042"/>
                <a:gd name="connsiteX67" fmla="*/ 780122 w 1033465"/>
                <a:gd name="connsiteY67" fmla="*/ 656959 h 838042"/>
                <a:gd name="connsiteX68" fmla="*/ 804887 w 1033465"/>
                <a:gd name="connsiteY68" fmla="*/ 632194 h 838042"/>
                <a:gd name="connsiteX69" fmla="*/ 801077 w 1033465"/>
                <a:gd name="connsiteY69" fmla="*/ 601714 h 838042"/>
                <a:gd name="connsiteX70" fmla="*/ 762796 w 1033465"/>
                <a:gd name="connsiteY70" fmla="*/ 562523 h 838042"/>
                <a:gd name="connsiteX71" fmla="*/ 650582 w 1033465"/>
                <a:gd name="connsiteY71" fmla="*/ 479794 h 838042"/>
                <a:gd name="connsiteX72" fmla="*/ 646772 w 1033465"/>
                <a:gd name="connsiteY72" fmla="*/ 462649 h 838042"/>
                <a:gd name="connsiteX73" fmla="*/ 658202 w 1033465"/>
                <a:gd name="connsiteY73" fmla="*/ 426454 h 838042"/>
                <a:gd name="connsiteX74" fmla="*/ 726782 w 1033465"/>
                <a:gd name="connsiteY74" fmla="*/ 405499 h 838042"/>
                <a:gd name="connsiteX75" fmla="*/ 813738 w 1033465"/>
                <a:gd name="connsiteY75" fmla="*/ 406906 h 838042"/>
                <a:gd name="connsiteX76" fmla="*/ 906231 w 1033465"/>
                <a:gd name="connsiteY76" fmla="*/ 417646 h 838042"/>
                <a:gd name="connsiteX77" fmla="*/ 1002290 w 1033465"/>
                <a:gd name="connsiteY77" fmla="*/ 426835 h 838042"/>
                <a:gd name="connsiteX78" fmla="*/ 1032449 w 1033465"/>
                <a:gd name="connsiteY78" fmla="*/ 402711 h 838042"/>
                <a:gd name="connsiteX79" fmla="*/ 1020514 w 1033465"/>
                <a:gd name="connsiteY79" fmla="*/ 377797 h 838042"/>
                <a:gd name="connsiteX80" fmla="*/ 964889 w 1033465"/>
                <a:gd name="connsiteY80" fmla="*/ 358029 h 838042"/>
                <a:gd name="connsiteX81" fmla="*/ 827747 w 1033465"/>
                <a:gd name="connsiteY81" fmla="*/ 357874 h 838042"/>
                <a:gd name="connsiteX82" fmla="*/ 755811 w 1033465"/>
                <a:gd name="connsiteY82" fmla="*/ 361702 h 838042"/>
                <a:gd name="connsiteX83" fmla="*/ 671537 w 1033465"/>
                <a:gd name="connsiteY83" fmla="*/ 369304 h 838042"/>
                <a:gd name="connsiteX84" fmla="*/ 644867 w 1033465"/>
                <a:gd name="connsiteY84" fmla="*/ 338824 h 838042"/>
                <a:gd name="connsiteX85" fmla="*/ 676403 w 1033465"/>
                <a:gd name="connsiteY85" fmla="*/ 304962 h 838042"/>
                <a:gd name="connsiteX86" fmla="*/ 707732 w 1033465"/>
                <a:gd name="connsiteY86" fmla="*/ 283579 h 838042"/>
                <a:gd name="connsiteX87" fmla="*/ 743927 w 1033465"/>
                <a:gd name="connsiteY87" fmla="*/ 251194 h 838042"/>
                <a:gd name="connsiteX88" fmla="*/ 783019 w 1033465"/>
                <a:gd name="connsiteY88" fmla="*/ 213846 h 838042"/>
                <a:gd name="connsiteX89" fmla="*/ 746401 w 1033465"/>
                <a:gd name="connsiteY89" fmla="*/ 201789 h 838042"/>
                <a:gd name="connsiteX90" fmla="*/ 694397 w 1033465"/>
                <a:gd name="connsiteY90" fmla="*/ 226429 h 838042"/>
                <a:gd name="connsiteX91" fmla="*/ 656678 w 1033465"/>
                <a:gd name="connsiteY91" fmla="*/ 257626 h 838042"/>
                <a:gd name="connsiteX92" fmla="*/ 616001 w 1033465"/>
                <a:gd name="connsiteY92" fmla="*/ 286712 h 838042"/>
                <a:gd name="connsiteX93" fmla="*/ 564857 w 1033465"/>
                <a:gd name="connsiteY93" fmla="*/ 287389 h 838042"/>
                <a:gd name="connsiteX94" fmla="*/ 530567 w 1033465"/>
                <a:gd name="connsiteY94" fmla="*/ 274054 h 838042"/>
                <a:gd name="connsiteX95" fmla="*/ 507707 w 1033465"/>
                <a:gd name="connsiteY95" fmla="*/ 235954 h 838042"/>
                <a:gd name="connsiteX96" fmla="*/ 509612 w 1033465"/>
                <a:gd name="connsiteY96" fmla="*/ 171184 h 838042"/>
                <a:gd name="connsiteX97" fmla="*/ 508314 w 1033465"/>
                <a:gd name="connsiteY97" fmla="*/ 73485 h 838042"/>
                <a:gd name="connsiteX98" fmla="*/ 454116 w 1033465"/>
                <a:gd name="connsiteY98" fmla="*/ 11248 h 838042"/>
                <a:gd name="connsiteX99" fmla="*/ 442470 w 1033465"/>
                <a:gd name="connsiteY99" fmla="*/ 75864 h 838042"/>
                <a:gd name="connsiteX100" fmla="*/ 439226 w 1033465"/>
                <a:gd name="connsiteY100" fmla="*/ 132660 h 838042"/>
                <a:gd name="connsiteX101" fmla="*/ 436054 w 1033465"/>
                <a:gd name="connsiteY10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28612 w 1033465"/>
                <a:gd name="connsiteY21" fmla="*/ 458839 h 838042"/>
                <a:gd name="connsiteX22" fmla="*/ 107657 w 1033465"/>
                <a:gd name="connsiteY22" fmla="*/ 462649 h 838042"/>
                <a:gd name="connsiteX23" fmla="*/ 90512 w 1033465"/>
                <a:gd name="connsiteY23" fmla="*/ 468364 h 838042"/>
                <a:gd name="connsiteX24" fmla="*/ 84797 w 1033465"/>
                <a:gd name="connsiteY24" fmla="*/ 470269 h 838042"/>
                <a:gd name="connsiteX25" fmla="*/ 79082 w 1033465"/>
                <a:gd name="connsiteY25" fmla="*/ 474079 h 838042"/>
                <a:gd name="connsiteX26" fmla="*/ 67652 w 1033465"/>
                <a:gd name="connsiteY26" fmla="*/ 475984 h 838042"/>
                <a:gd name="connsiteX27" fmla="*/ 29552 w 1033465"/>
                <a:gd name="connsiteY27" fmla="*/ 477889 h 838042"/>
                <a:gd name="connsiteX28" fmla="*/ 18122 w 1033465"/>
                <a:gd name="connsiteY28" fmla="*/ 483604 h 838042"/>
                <a:gd name="connsiteX29" fmla="*/ 8597 w 1033465"/>
                <a:gd name="connsiteY29" fmla="*/ 493129 h 838042"/>
                <a:gd name="connsiteX30" fmla="*/ 6692 w 1033465"/>
                <a:gd name="connsiteY30" fmla="*/ 498844 h 838042"/>
                <a:gd name="connsiteX31" fmla="*/ 2882 w 1033465"/>
                <a:gd name="connsiteY31" fmla="*/ 504559 h 838042"/>
                <a:gd name="connsiteX32" fmla="*/ 14312 w 1033465"/>
                <a:gd name="connsiteY32" fmla="*/ 540754 h 838042"/>
                <a:gd name="connsiteX33" fmla="*/ 147662 w 1033465"/>
                <a:gd name="connsiteY33" fmla="*/ 540754 h 838042"/>
                <a:gd name="connsiteX34" fmla="*/ 155282 w 1033465"/>
                <a:gd name="connsiteY34" fmla="*/ 538849 h 838042"/>
                <a:gd name="connsiteX35" fmla="*/ 305777 w 1033465"/>
                <a:gd name="connsiteY35" fmla="*/ 533134 h 838042"/>
                <a:gd name="connsiteX36" fmla="*/ 321017 w 1033465"/>
                <a:gd name="connsiteY36" fmla="*/ 540754 h 838042"/>
                <a:gd name="connsiteX37" fmla="*/ 332447 w 1033465"/>
                <a:gd name="connsiteY37" fmla="*/ 546469 h 838042"/>
                <a:gd name="connsiteX38" fmla="*/ 336257 w 1033465"/>
                <a:gd name="connsiteY38" fmla="*/ 552184 h 838042"/>
                <a:gd name="connsiteX39" fmla="*/ 341972 w 1033465"/>
                <a:gd name="connsiteY39" fmla="*/ 554089 h 838042"/>
                <a:gd name="connsiteX40" fmla="*/ 353402 w 1033465"/>
                <a:gd name="connsiteY40" fmla="*/ 561709 h 838042"/>
                <a:gd name="connsiteX41" fmla="*/ 359117 w 1033465"/>
                <a:gd name="connsiteY41" fmla="*/ 565519 h 838042"/>
                <a:gd name="connsiteX42" fmla="*/ 362927 w 1033465"/>
                <a:gd name="connsiteY42" fmla="*/ 571234 h 838042"/>
                <a:gd name="connsiteX43" fmla="*/ 368642 w 1033465"/>
                <a:gd name="connsiteY43" fmla="*/ 582664 h 838042"/>
                <a:gd name="connsiteX44" fmla="*/ 364832 w 1033465"/>
                <a:gd name="connsiteY44" fmla="*/ 609334 h 838042"/>
                <a:gd name="connsiteX45" fmla="*/ 361022 w 1033465"/>
                <a:gd name="connsiteY45" fmla="*/ 615049 h 838042"/>
                <a:gd name="connsiteX46" fmla="*/ 359117 w 1033465"/>
                <a:gd name="connsiteY46" fmla="*/ 620764 h 838042"/>
                <a:gd name="connsiteX47" fmla="*/ 355307 w 1033465"/>
                <a:gd name="connsiteY47" fmla="*/ 626479 h 838042"/>
                <a:gd name="connsiteX48" fmla="*/ 353402 w 1033465"/>
                <a:gd name="connsiteY48" fmla="*/ 632194 h 838042"/>
                <a:gd name="connsiteX49" fmla="*/ 349592 w 1033465"/>
                <a:gd name="connsiteY49" fmla="*/ 637909 h 838042"/>
                <a:gd name="connsiteX50" fmla="*/ 332447 w 1033465"/>
                <a:gd name="connsiteY50" fmla="*/ 704584 h 838042"/>
                <a:gd name="connsiteX51" fmla="*/ 330542 w 1033465"/>
                <a:gd name="connsiteY51" fmla="*/ 756019 h 838042"/>
                <a:gd name="connsiteX52" fmla="*/ 332447 w 1033465"/>
                <a:gd name="connsiteY52" fmla="*/ 780784 h 838042"/>
                <a:gd name="connsiteX53" fmla="*/ 334352 w 1033465"/>
                <a:gd name="connsiteY53" fmla="*/ 786499 h 838042"/>
                <a:gd name="connsiteX54" fmla="*/ 338162 w 1033465"/>
                <a:gd name="connsiteY54" fmla="*/ 790309 h 838042"/>
                <a:gd name="connsiteX55" fmla="*/ 366737 w 1033465"/>
                <a:gd name="connsiteY55" fmla="*/ 836029 h 838042"/>
                <a:gd name="connsiteX56" fmla="*/ 389597 w 1033465"/>
                <a:gd name="connsiteY56" fmla="*/ 837934 h 838042"/>
                <a:gd name="connsiteX57" fmla="*/ 397407 w 1033465"/>
                <a:gd name="connsiteY57" fmla="*/ 833530 h 838042"/>
                <a:gd name="connsiteX58" fmla="*/ 402932 w 1033465"/>
                <a:gd name="connsiteY58" fmla="*/ 784594 h 838042"/>
                <a:gd name="connsiteX59" fmla="*/ 406742 w 1033465"/>
                <a:gd name="connsiteY59" fmla="*/ 727444 h 838042"/>
                <a:gd name="connsiteX60" fmla="*/ 423887 w 1033465"/>
                <a:gd name="connsiteY60" fmla="*/ 672199 h 838042"/>
                <a:gd name="connsiteX61" fmla="*/ 429602 w 1033465"/>
                <a:gd name="connsiteY61" fmla="*/ 658864 h 838042"/>
                <a:gd name="connsiteX62" fmla="*/ 444084 w 1033465"/>
                <a:gd name="connsiteY62" fmla="*/ 626947 h 838042"/>
                <a:gd name="connsiteX63" fmla="*/ 464289 w 1033465"/>
                <a:gd name="connsiteY63" fmla="*/ 600072 h 838042"/>
                <a:gd name="connsiteX64" fmla="*/ 523510 w 1033465"/>
                <a:gd name="connsiteY64" fmla="*/ 565123 h 838042"/>
                <a:gd name="connsiteX65" fmla="*/ 599348 w 1033465"/>
                <a:gd name="connsiteY65" fmla="*/ 550915 h 838042"/>
                <a:gd name="connsiteX66" fmla="*/ 707801 w 1033465"/>
                <a:gd name="connsiteY66" fmla="*/ 612819 h 838042"/>
                <a:gd name="connsiteX67" fmla="*/ 780122 w 1033465"/>
                <a:gd name="connsiteY67" fmla="*/ 656959 h 838042"/>
                <a:gd name="connsiteX68" fmla="*/ 804887 w 1033465"/>
                <a:gd name="connsiteY68" fmla="*/ 632194 h 838042"/>
                <a:gd name="connsiteX69" fmla="*/ 801077 w 1033465"/>
                <a:gd name="connsiteY69" fmla="*/ 601714 h 838042"/>
                <a:gd name="connsiteX70" fmla="*/ 762796 w 1033465"/>
                <a:gd name="connsiteY70" fmla="*/ 562523 h 838042"/>
                <a:gd name="connsiteX71" fmla="*/ 650582 w 1033465"/>
                <a:gd name="connsiteY71" fmla="*/ 479794 h 838042"/>
                <a:gd name="connsiteX72" fmla="*/ 646772 w 1033465"/>
                <a:gd name="connsiteY72" fmla="*/ 462649 h 838042"/>
                <a:gd name="connsiteX73" fmla="*/ 658202 w 1033465"/>
                <a:gd name="connsiteY73" fmla="*/ 426454 h 838042"/>
                <a:gd name="connsiteX74" fmla="*/ 726782 w 1033465"/>
                <a:gd name="connsiteY74" fmla="*/ 405499 h 838042"/>
                <a:gd name="connsiteX75" fmla="*/ 813738 w 1033465"/>
                <a:gd name="connsiteY75" fmla="*/ 406906 h 838042"/>
                <a:gd name="connsiteX76" fmla="*/ 906231 w 1033465"/>
                <a:gd name="connsiteY76" fmla="*/ 417646 h 838042"/>
                <a:gd name="connsiteX77" fmla="*/ 1002290 w 1033465"/>
                <a:gd name="connsiteY77" fmla="*/ 426835 h 838042"/>
                <a:gd name="connsiteX78" fmla="*/ 1032449 w 1033465"/>
                <a:gd name="connsiteY78" fmla="*/ 402711 h 838042"/>
                <a:gd name="connsiteX79" fmla="*/ 1020514 w 1033465"/>
                <a:gd name="connsiteY79" fmla="*/ 377797 h 838042"/>
                <a:gd name="connsiteX80" fmla="*/ 964889 w 1033465"/>
                <a:gd name="connsiteY80" fmla="*/ 358029 h 838042"/>
                <a:gd name="connsiteX81" fmla="*/ 827747 w 1033465"/>
                <a:gd name="connsiteY81" fmla="*/ 357874 h 838042"/>
                <a:gd name="connsiteX82" fmla="*/ 755811 w 1033465"/>
                <a:gd name="connsiteY82" fmla="*/ 361702 h 838042"/>
                <a:gd name="connsiteX83" fmla="*/ 671537 w 1033465"/>
                <a:gd name="connsiteY83" fmla="*/ 369304 h 838042"/>
                <a:gd name="connsiteX84" fmla="*/ 644867 w 1033465"/>
                <a:gd name="connsiteY84" fmla="*/ 338824 h 838042"/>
                <a:gd name="connsiteX85" fmla="*/ 676403 w 1033465"/>
                <a:gd name="connsiteY85" fmla="*/ 304962 h 838042"/>
                <a:gd name="connsiteX86" fmla="*/ 707732 w 1033465"/>
                <a:gd name="connsiteY86" fmla="*/ 283579 h 838042"/>
                <a:gd name="connsiteX87" fmla="*/ 743927 w 1033465"/>
                <a:gd name="connsiteY87" fmla="*/ 251194 h 838042"/>
                <a:gd name="connsiteX88" fmla="*/ 783019 w 1033465"/>
                <a:gd name="connsiteY88" fmla="*/ 213846 h 838042"/>
                <a:gd name="connsiteX89" fmla="*/ 746401 w 1033465"/>
                <a:gd name="connsiteY89" fmla="*/ 201789 h 838042"/>
                <a:gd name="connsiteX90" fmla="*/ 694397 w 1033465"/>
                <a:gd name="connsiteY90" fmla="*/ 226429 h 838042"/>
                <a:gd name="connsiteX91" fmla="*/ 656678 w 1033465"/>
                <a:gd name="connsiteY91" fmla="*/ 257626 h 838042"/>
                <a:gd name="connsiteX92" fmla="*/ 616001 w 1033465"/>
                <a:gd name="connsiteY92" fmla="*/ 286712 h 838042"/>
                <a:gd name="connsiteX93" fmla="*/ 564857 w 1033465"/>
                <a:gd name="connsiteY93" fmla="*/ 287389 h 838042"/>
                <a:gd name="connsiteX94" fmla="*/ 530567 w 1033465"/>
                <a:gd name="connsiteY94" fmla="*/ 274054 h 838042"/>
                <a:gd name="connsiteX95" fmla="*/ 507707 w 1033465"/>
                <a:gd name="connsiteY95" fmla="*/ 235954 h 838042"/>
                <a:gd name="connsiteX96" fmla="*/ 509612 w 1033465"/>
                <a:gd name="connsiteY96" fmla="*/ 171184 h 838042"/>
                <a:gd name="connsiteX97" fmla="*/ 508314 w 1033465"/>
                <a:gd name="connsiteY97" fmla="*/ 73485 h 838042"/>
                <a:gd name="connsiteX98" fmla="*/ 454116 w 1033465"/>
                <a:gd name="connsiteY98" fmla="*/ 11248 h 838042"/>
                <a:gd name="connsiteX99" fmla="*/ 442470 w 1033465"/>
                <a:gd name="connsiteY99" fmla="*/ 75864 h 838042"/>
                <a:gd name="connsiteX100" fmla="*/ 439226 w 1033465"/>
                <a:gd name="connsiteY100" fmla="*/ 132660 h 838042"/>
                <a:gd name="connsiteX101" fmla="*/ 436054 w 1033465"/>
                <a:gd name="connsiteY101"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28612 w 1033465"/>
                <a:gd name="connsiteY21" fmla="*/ 458839 h 838042"/>
                <a:gd name="connsiteX22" fmla="*/ 90512 w 1033465"/>
                <a:gd name="connsiteY22" fmla="*/ 468364 h 838042"/>
                <a:gd name="connsiteX23" fmla="*/ 84797 w 1033465"/>
                <a:gd name="connsiteY23" fmla="*/ 470269 h 838042"/>
                <a:gd name="connsiteX24" fmla="*/ 79082 w 1033465"/>
                <a:gd name="connsiteY24" fmla="*/ 474079 h 838042"/>
                <a:gd name="connsiteX25" fmla="*/ 67652 w 1033465"/>
                <a:gd name="connsiteY25" fmla="*/ 475984 h 838042"/>
                <a:gd name="connsiteX26" fmla="*/ 29552 w 1033465"/>
                <a:gd name="connsiteY26" fmla="*/ 477889 h 838042"/>
                <a:gd name="connsiteX27" fmla="*/ 18122 w 1033465"/>
                <a:gd name="connsiteY27" fmla="*/ 483604 h 838042"/>
                <a:gd name="connsiteX28" fmla="*/ 8597 w 1033465"/>
                <a:gd name="connsiteY28" fmla="*/ 493129 h 838042"/>
                <a:gd name="connsiteX29" fmla="*/ 6692 w 1033465"/>
                <a:gd name="connsiteY29" fmla="*/ 498844 h 838042"/>
                <a:gd name="connsiteX30" fmla="*/ 2882 w 1033465"/>
                <a:gd name="connsiteY30" fmla="*/ 504559 h 838042"/>
                <a:gd name="connsiteX31" fmla="*/ 14312 w 1033465"/>
                <a:gd name="connsiteY31" fmla="*/ 540754 h 838042"/>
                <a:gd name="connsiteX32" fmla="*/ 147662 w 1033465"/>
                <a:gd name="connsiteY32" fmla="*/ 540754 h 838042"/>
                <a:gd name="connsiteX33" fmla="*/ 155282 w 1033465"/>
                <a:gd name="connsiteY33" fmla="*/ 538849 h 838042"/>
                <a:gd name="connsiteX34" fmla="*/ 305777 w 1033465"/>
                <a:gd name="connsiteY34" fmla="*/ 533134 h 838042"/>
                <a:gd name="connsiteX35" fmla="*/ 321017 w 1033465"/>
                <a:gd name="connsiteY35" fmla="*/ 540754 h 838042"/>
                <a:gd name="connsiteX36" fmla="*/ 332447 w 1033465"/>
                <a:gd name="connsiteY36" fmla="*/ 546469 h 838042"/>
                <a:gd name="connsiteX37" fmla="*/ 336257 w 1033465"/>
                <a:gd name="connsiteY37" fmla="*/ 552184 h 838042"/>
                <a:gd name="connsiteX38" fmla="*/ 341972 w 1033465"/>
                <a:gd name="connsiteY38" fmla="*/ 554089 h 838042"/>
                <a:gd name="connsiteX39" fmla="*/ 353402 w 1033465"/>
                <a:gd name="connsiteY39" fmla="*/ 561709 h 838042"/>
                <a:gd name="connsiteX40" fmla="*/ 359117 w 1033465"/>
                <a:gd name="connsiteY40" fmla="*/ 565519 h 838042"/>
                <a:gd name="connsiteX41" fmla="*/ 362927 w 1033465"/>
                <a:gd name="connsiteY41" fmla="*/ 571234 h 838042"/>
                <a:gd name="connsiteX42" fmla="*/ 368642 w 1033465"/>
                <a:gd name="connsiteY42" fmla="*/ 582664 h 838042"/>
                <a:gd name="connsiteX43" fmla="*/ 364832 w 1033465"/>
                <a:gd name="connsiteY43" fmla="*/ 609334 h 838042"/>
                <a:gd name="connsiteX44" fmla="*/ 361022 w 1033465"/>
                <a:gd name="connsiteY44" fmla="*/ 615049 h 838042"/>
                <a:gd name="connsiteX45" fmla="*/ 359117 w 1033465"/>
                <a:gd name="connsiteY45" fmla="*/ 620764 h 838042"/>
                <a:gd name="connsiteX46" fmla="*/ 355307 w 1033465"/>
                <a:gd name="connsiteY46" fmla="*/ 626479 h 838042"/>
                <a:gd name="connsiteX47" fmla="*/ 353402 w 1033465"/>
                <a:gd name="connsiteY47" fmla="*/ 632194 h 838042"/>
                <a:gd name="connsiteX48" fmla="*/ 349592 w 1033465"/>
                <a:gd name="connsiteY48" fmla="*/ 637909 h 838042"/>
                <a:gd name="connsiteX49" fmla="*/ 332447 w 1033465"/>
                <a:gd name="connsiteY49" fmla="*/ 704584 h 838042"/>
                <a:gd name="connsiteX50" fmla="*/ 330542 w 1033465"/>
                <a:gd name="connsiteY50" fmla="*/ 756019 h 838042"/>
                <a:gd name="connsiteX51" fmla="*/ 332447 w 1033465"/>
                <a:gd name="connsiteY51" fmla="*/ 780784 h 838042"/>
                <a:gd name="connsiteX52" fmla="*/ 334352 w 1033465"/>
                <a:gd name="connsiteY52" fmla="*/ 786499 h 838042"/>
                <a:gd name="connsiteX53" fmla="*/ 338162 w 1033465"/>
                <a:gd name="connsiteY53" fmla="*/ 790309 h 838042"/>
                <a:gd name="connsiteX54" fmla="*/ 366737 w 1033465"/>
                <a:gd name="connsiteY54" fmla="*/ 836029 h 838042"/>
                <a:gd name="connsiteX55" fmla="*/ 389597 w 1033465"/>
                <a:gd name="connsiteY55" fmla="*/ 837934 h 838042"/>
                <a:gd name="connsiteX56" fmla="*/ 397407 w 1033465"/>
                <a:gd name="connsiteY56" fmla="*/ 833530 h 838042"/>
                <a:gd name="connsiteX57" fmla="*/ 402932 w 1033465"/>
                <a:gd name="connsiteY57" fmla="*/ 784594 h 838042"/>
                <a:gd name="connsiteX58" fmla="*/ 406742 w 1033465"/>
                <a:gd name="connsiteY58" fmla="*/ 727444 h 838042"/>
                <a:gd name="connsiteX59" fmla="*/ 423887 w 1033465"/>
                <a:gd name="connsiteY59" fmla="*/ 672199 h 838042"/>
                <a:gd name="connsiteX60" fmla="*/ 429602 w 1033465"/>
                <a:gd name="connsiteY60" fmla="*/ 658864 h 838042"/>
                <a:gd name="connsiteX61" fmla="*/ 444084 w 1033465"/>
                <a:gd name="connsiteY61" fmla="*/ 626947 h 838042"/>
                <a:gd name="connsiteX62" fmla="*/ 464289 w 1033465"/>
                <a:gd name="connsiteY62" fmla="*/ 600072 h 838042"/>
                <a:gd name="connsiteX63" fmla="*/ 523510 w 1033465"/>
                <a:gd name="connsiteY63" fmla="*/ 565123 h 838042"/>
                <a:gd name="connsiteX64" fmla="*/ 599348 w 1033465"/>
                <a:gd name="connsiteY64" fmla="*/ 550915 h 838042"/>
                <a:gd name="connsiteX65" fmla="*/ 707801 w 1033465"/>
                <a:gd name="connsiteY65" fmla="*/ 612819 h 838042"/>
                <a:gd name="connsiteX66" fmla="*/ 780122 w 1033465"/>
                <a:gd name="connsiteY66" fmla="*/ 656959 h 838042"/>
                <a:gd name="connsiteX67" fmla="*/ 804887 w 1033465"/>
                <a:gd name="connsiteY67" fmla="*/ 632194 h 838042"/>
                <a:gd name="connsiteX68" fmla="*/ 801077 w 1033465"/>
                <a:gd name="connsiteY68" fmla="*/ 601714 h 838042"/>
                <a:gd name="connsiteX69" fmla="*/ 762796 w 1033465"/>
                <a:gd name="connsiteY69" fmla="*/ 562523 h 838042"/>
                <a:gd name="connsiteX70" fmla="*/ 650582 w 1033465"/>
                <a:gd name="connsiteY70" fmla="*/ 479794 h 838042"/>
                <a:gd name="connsiteX71" fmla="*/ 646772 w 1033465"/>
                <a:gd name="connsiteY71" fmla="*/ 462649 h 838042"/>
                <a:gd name="connsiteX72" fmla="*/ 658202 w 1033465"/>
                <a:gd name="connsiteY72" fmla="*/ 426454 h 838042"/>
                <a:gd name="connsiteX73" fmla="*/ 726782 w 1033465"/>
                <a:gd name="connsiteY73" fmla="*/ 405499 h 838042"/>
                <a:gd name="connsiteX74" fmla="*/ 813738 w 1033465"/>
                <a:gd name="connsiteY74" fmla="*/ 406906 h 838042"/>
                <a:gd name="connsiteX75" fmla="*/ 906231 w 1033465"/>
                <a:gd name="connsiteY75" fmla="*/ 417646 h 838042"/>
                <a:gd name="connsiteX76" fmla="*/ 1002290 w 1033465"/>
                <a:gd name="connsiteY76" fmla="*/ 426835 h 838042"/>
                <a:gd name="connsiteX77" fmla="*/ 1032449 w 1033465"/>
                <a:gd name="connsiteY77" fmla="*/ 402711 h 838042"/>
                <a:gd name="connsiteX78" fmla="*/ 1020514 w 1033465"/>
                <a:gd name="connsiteY78" fmla="*/ 377797 h 838042"/>
                <a:gd name="connsiteX79" fmla="*/ 964889 w 1033465"/>
                <a:gd name="connsiteY79" fmla="*/ 358029 h 838042"/>
                <a:gd name="connsiteX80" fmla="*/ 827747 w 1033465"/>
                <a:gd name="connsiteY80" fmla="*/ 357874 h 838042"/>
                <a:gd name="connsiteX81" fmla="*/ 755811 w 1033465"/>
                <a:gd name="connsiteY81" fmla="*/ 361702 h 838042"/>
                <a:gd name="connsiteX82" fmla="*/ 671537 w 1033465"/>
                <a:gd name="connsiteY82" fmla="*/ 369304 h 838042"/>
                <a:gd name="connsiteX83" fmla="*/ 644867 w 1033465"/>
                <a:gd name="connsiteY83" fmla="*/ 338824 h 838042"/>
                <a:gd name="connsiteX84" fmla="*/ 676403 w 1033465"/>
                <a:gd name="connsiteY84" fmla="*/ 304962 h 838042"/>
                <a:gd name="connsiteX85" fmla="*/ 707732 w 1033465"/>
                <a:gd name="connsiteY85" fmla="*/ 283579 h 838042"/>
                <a:gd name="connsiteX86" fmla="*/ 743927 w 1033465"/>
                <a:gd name="connsiteY86" fmla="*/ 251194 h 838042"/>
                <a:gd name="connsiteX87" fmla="*/ 783019 w 1033465"/>
                <a:gd name="connsiteY87" fmla="*/ 213846 h 838042"/>
                <a:gd name="connsiteX88" fmla="*/ 746401 w 1033465"/>
                <a:gd name="connsiteY88" fmla="*/ 201789 h 838042"/>
                <a:gd name="connsiteX89" fmla="*/ 694397 w 1033465"/>
                <a:gd name="connsiteY89" fmla="*/ 226429 h 838042"/>
                <a:gd name="connsiteX90" fmla="*/ 656678 w 1033465"/>
                <a:gd name="connsiteY90" fmla="*/ 257626 h 838042"/>
                <a:gd name="connsiteX91" fmla="*/ 616001 w 1033465"/>
                <a:gd name="connsiteY91" fmla="*/ 286712 h 838042"/>
                <a:gd name="connsiteX92" fmla="*/ 564857 w 1033465"/>
                <a:gd name="connsiteY92" fmla="*/ 287389 h 838042"/>
                <a:gd name="connsiteX93" fmla="*/ 530567 w 1033465"/>
                <a:gd name="connsiteY93" fmla="*/ 274054 h 838042"/>
                <a:gd name="connsiteX94" fmla="*/ 507707 w 1033465"/>
                <a:gd name="connsiteY94" fmla="*/ 235954 h 838042"/>
                <a:gd name="connsiteX95" fmla="*/ 509612 w 1033465"/>
                <a:gd name="connsiteY95" fmla="*/ 171184 h 838042"/>
                <a:gd name="connsiteX96" fmla="*/ 508314 w 1033465"/>
                <a:gd name="connsiteY96" fmla="*/ 73485 h 838042"/>
                <a:gd name="connsiteX97" fmla="*/ 454116 w 1033465"/>
                <a:gd name="connsiteY97" fmla="*/ 11248 h 838042"/>
                <a:gd name="connsiteX98" fmla="*/ 442470 w 1033465"/>
                <a:gd name="connsiteY98" fmla="*/ 75864 h 838042"/>
                <a:gd name="connsiteX99" fmla="*/ 439226 w 1033465"/>
                <a:gd name="connsiteY99" fmla="*/ 132660 h 838042"/>
                <a:gd name="connsiteX100" fmla="*/ 436054 w 1033465"/>
                <a:gd name="connsiteY10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39085 w 1033465"/>
                <a:gd name="connsiteY21" fmla="*/ 465397 h 838042"/>
                <a:gd name="connsiteX22" fmla="*/ 90512 w 1033465"/>
                <a:gd name="connsiteY22" fmla="*/ 468364 h 838042"/>
                <a:gd name="connsiteX23" fmla="*/ 84797 w 1033465"/>
                <a:gd name="connsiteY23" fmla="*/ 470269 h 838042"/>
                <a:gd name="connsiteX24" fmla="*/ 79082 w 1033465"/>
                <a:gd name="connsiteY24" fmla="*/ 474079 h 838042"/>
                <a:gd name="connsiteX25" fmla="*/ 67652 w 1033465"/>
                <a:gd name="connsiteY25" fmla="*/ 475984 h 838042"/>
                <a:gd name="connsiteX26" fmla="*/ 29552 w 1033465"/>
                <a:gd name="connsiteY26" fmla="*/ 477889 h 838042"/>
                <a:gd name="connsiteX27" fmla="*/ 18122 w 1033465"/>
                <a:gd name="connsiteY27" fmla="*/ 483604 h 838042"/>
                <a:gd name="connsiteX28" fmla="*/ 8597 w 1033465"/>
                <a:gd name="connsiteY28" fmla="*/ 493129 h 838042"/>
                <a:gd name="connsiteX29" fmla="*/ 6692 w 1033465"/>
                <a:gd name="connsiteY29" fmla="*/ 498844 h 838042"/>
                <a:gd name="connsiteX30" fmla="*/ 2882 w 1033465"/>
                <a:gd name="connsiteY30" fmla="*/ 504559 h 838042"/>
                <a:gd name="connsiteX31" fmla="*/ 14312 w 1033465"/>
                <a:gd name="connsiteY31" fmla="*/ 540754 h 838042"/>
                <a:gd name="connsiteX32" fmla="*/ 147662 w 1033465"/>
                <a:gd name="connsiteY32" fmla="*/ 540754 h 838042"/>
                <a:gd name="connsiteX33" fmla="*/ 155282 w 1033465"/>
                <a:gd name="connsiteY33" fmla="*/ 538849 h 838042"/>
                <a:gd name="connsiteX34" fmla="*/ 305777 w 1033465"/>
                <a:gd name="connsiteY34" fmla="*/ 533134 h 838042"/>
                <a:gd name="connsiteX35" fmla="*/ 321017 w 1033465"/>
                <a:gd name="connsiteY35" fmla="*/ 540754 h 838042"/>
                <a:gd name="connsiteX36" fmla="*/ 332447 w 1033465"/>
                <a:gd name="connsiteY36" fmla="*/ 546469 h 838042"/>
                <a:gd name="connsiteX37" fmla="*/ 336257 w 1033465"/>
                <a:gd name="connsiteY37" fmla="*/ 552184 h 838042"/>
                <a:gd name="connsiteX38" fmla="*/ 341972 w 1033465"/>
                <a:gd name="connsiteY38" fmla="*/ 554089 h 838042"/>
                <a:gd name="connsiteX39" fmla="*/ 353402 w 1033465"/>
                <a:gd name="connsiteY39" fmla="*/ 561709 h 838042"/>
                <a:gd name="connsiteX40" fmla="*/ 359117 w 1033465"/>
                <a:gd name="connsiteY40" fmla="*/ 565519 h 838042"/>
                <a:gd name="connsiteX41" fmla="*/ 362927 w 1033465"/>
                <a:gd name="connsiteY41" fmla="*/ 571234 h 838042"/>
                <a:gd name="connsiteX42" fmla="*/ 368642 w 1033465"/>
                <a:gd name="connsiteY42" fmla="*/ 582664 h 838042"/>
                <a:gd name="connsiteX43" fmla="*/ 364832 w 1033465"/>
                <a:gd name="connsiteY43" fmla="*/ 609334 h 838042"/>
                <a:gd name="connsiteX44" fmla="*/ 361022 w 1033465"/>
                <a:gd name="connsiteY44" fmla="*/ 615049 h 838042"/>
                <a:gd name="connsiteX45" fmla="*/ 359117 w 1033465"/>
                <a:gd name="connsiteY45" fmla="*/ 620764 h 838042"/>
                <a:gd name="connsiteX46" fmla="*/ 355307 w 1033465"/>
                <a:gd name="connsiteY46" fmla="*/ 626479 h 838042"/>
                <a:gd name="connsiteX47" fmla="*/ 353402 w 1033465"/>
                <a:gd name="connsiteY47" fmla="*/ 632194 h 838042"/>
                <a:gd name="connsiteX48" fmla="*/ 349592 w 1033465"/>
                <a:gd name="connsiteY48" fmla="*/ 637909 h 838042"/>
                <a:gd name="connsiteX49" fmla="*/ 332447 w 1033465"/>
                <a:gd name="connsiteY49" fmla="*/ 704584 h 838042"/>
                <a:gd name="connsiteX50" fmla="*/ 330542 w 1033465"/>
                <a:gd name="connsiteY50" fmla="*/ 756019 h 838042"/>
                <a:gd name="connsiteX51" fmla="*/ 332447 w 1033465"/>
                <a:gd name="connsiteY51" fmla="*/ 780784 h 838042"/>
                <a:gd name="connsiteX52" fmla="*/ 334352 w 1033465"/>
                <a:gd name="connsiteY52" fmla="*/ 786499 h 838042"/>
                <a:gd name="connsiteX53" fmla="*/ 338162 w 1033465"/>
                <a:gd name="connsiteY53" fmla="*/ 790309 h 838042"/>
                <a:gd name="connsiteX54" fmla="*/ 366737 w 1033465"/>
                <a:gd name="connsiteY54" fmla="*/ 836029 h 838042"/>
                <a:gd name="connsiteX55" fmla="*/ 389597 w 1033465"/>
                <a:gd name="connsiteY55" fmla="*/ 837934 h 838042"/>
                <a:gd name="connsiteX56" fmla="*/ 397407 w 1033465"/>
                <a:gd name="connsiteY56" fmla="*/ 833530 h 838042"/>
                <a:gd name="connsiteX57" fmla="*/ 402932 w 1033465"/>
                <a:gd name="connsiteY57" fmla="*/ 784594 h 838042"/>
                <a:gd name="connsiteX58" fmla="*/ 406742 w 1033465"/>
                <a:gd name="connsiteY58" fmla="*/ 727444 h 838042"/>
                <a:gd name="connsiteX59" fmla="*/ 423887 w 1033465"/>
                <a:gd name="connsiteY59" fmla="*/ 672199 h 838042"/>
                <a:gd name="connsiteX60" fmla="*/ 429602 w 1033465"/>
                <a:gd name="connsiteY60" fmla="*/ 658864 h 838042"/>
                <a:gd name="connsiteX61" fmla="*/ 444084 w 1033465"/>
                <a:gd name="connsiteY61" fmla="*/ 626947 h 838042"/>
                <a:gd name="connsiteX62" fmla="*/ 464289 w 1033465"/>
                <a:gd name="connsiteY62" fmla="*/ 600072 h 838042"/>
                <a:gd name="connsiteX63" fmla="*/ 523510 w 1033465"/>
                <a:gd name="connsiteY63" fmla="*/ 565123 h 838042"/>
                <a:gd name="connsiteX64" fmla="*/ 599348 w 1033465"/>
                <a:gd name="connsiteY64" fmla="*/ 550915 h 838042"/>
                <a:gd name="connsiteX65" fmla="*/ 707801 w 1033465"/>
                <a:gd name="connsiteY65" fmla="*/ 612819 h 838042"/>
                <a:gd name="connsiteX66" fmla="*/ 780122 w 1033465"/>
                <a:gd name="connsiteY66" fmla="*/ 656959 h 838042"/>
                <a:gd name="connsiteX67" fmla="*/ 804887 w 1033465"/>
                <a:gd name="connsiteY67" fmla="*/ 632194 h 838042"/>
                <a:gd name="connsiteX68" fmla="*/ 801077 w 1033465"/>
                <a:gd name="connsiteY68" fmla="*/ 601714 h 838042"/>
                <a:gd name="connsiteX69" fmla="*/ 762796 w 1033465"/>
                <a:gd name="connsiteY69" fmla="*/ 562523 h 838042"/>
                <a:gd name="connsiteX70" fmla="*/ 650582 w 1033465"/>
                <a:gd name="connsiteY70" fmla="*/ 479794 h 838042"/>
                <a:gd name="connsiteX71" fmla="*/ 646772 w 1033465"/>
                <a:gd name="connsiteY71" fmla="*/ 462649 h 838042"/>
                <a:gd name="connsiteX72" fmla="*/ 658202 w 1033465"/>
                <a:gd name="connsiteY72" fmla="*/ 426454 h 838042"/>
                <a:gd name="connsiteX73" fmla="*/ 726782 w 1033465"/>
                <a:gd name="connsiteY73" fmla="*/ 405499 h 838042"/>
                <a:gd name="connsiteX74" fmla="*/ 813738 w 1033465"/>
                <a:gd name="connsiteY74" fmla="*/ 406906 h 838042"/>
                <a:gd name="connsiteX75" fmla="*/ 906231 w 1033465"/>
                <a:gd name="connsiteY75" fmla="*/ 417646 h 838042"/>
                <a:gd name="connsiteX76" fmla="*/ 1002290 w 1033465"/>
                <a:gd name="connsiteY76" fmla="*/ 426835 h 838042"/>
                <a:gd name="connsiteX77" fmla="*/ 1032449 w 1033465"/>
                <a:gd name="connsiteY77" fmla="*/ 402711 h 838042"/>
                <a:gd name="connsiteX78" fmla="*/ 1020514 w 1033465"/>
                <a:gd name="connsiteY78" fmla="*/ 377797 h 838042"/>
                <a:gd name="connsiteX79" fmla="*/ 964889 w 1033465"/>
                <a:gd name="connsiteY79" fmla="*/ 358029 h 838042"/>
                <a:gd name="connsiteX80" fmla="*/ 827747 w 1033465"/>
                <a:gd name="connsiteY80" fmla="*/ 357874 h 838042"/>
                <a:gd name="connsiteX81" fmla="*/ 755811 w 1033465"/>
                <a:gd name="connsiteY81" fmla="*/ 361702 h 838042"/>
                <a:gd name="connsiteX82" fmla="*/ 671537 w 1033465"/>
                <a:gd name="connsiteY82" fmla="*/ 369304 h 838042"/>
                <a:gd name="connsiteX83" fmla="*/ 644867 w 1033465"/>
                <a:gd name="connsiteY83" fmla="*/ 338824 h 838042"/>
                <a:gd name="connsiteX84" fmla="*/ 676403 w 1033465"/>
                <a:gd name="connsiteY84" fmla="*/ 304962 h 838042"/>
                <a:gd name="connsiteX85" fmla="*/ 707732 w 1033465"/>
                <a:gd name="connsiteY85" fmla="*/ 283579 h 838042"/>
                <a:gd name="connsiteX86" fmla="*/ 743927 w 1033465"/>
                <a:gd name="connsiteY86" fmla="*/ 251194 h 838042"/>
                <a:gd name="connsiteX87" fmla="*/ 783019 w 1033465"/>
                <a:gd name="connsiteY87" fmla="*/ 213846 h 838042"/>
                <a:gd name="connsiteX88" fmla="*/ 746401 w 1033465"/>
                <a:gd name="connsiteY88" fmla="*/ 201789 h 838042"/>
                <a:gd name="connsiteX89" fmla="*/ 694397 w 1033465"/>
                <a:gd name="connsiteY89" fmla="*/ 226429 h 838042"/>
                <a:gd name="connsiteX90" fmla="*/ 656678 w 1033465"/>
                <a:gd name="connsiteY90" fmla="*/ 257626 h 838042"/>
                <a:gd name="connsiteX91" fmla="*/ 616001 w 1033465"/>
                <a:gd name="connsiteY91" fmla="*/ 286712 h 838042"/>
                <a:gd name="connsiteX92" fmla="*/ 564857 w 1033465"/>
                <a:gd name="connsiteY92" fmla="*/ 287389 h 838042"/>
                <a:gd name="connsiteX93" fmla="*/ 530567 w 1033465"/>
                <a:gd name="connsiteY93" fmla="*/ 274054 h 838042"/>
                <a:gd name="connsiteX94" fmla="*/ 507707 w 1033465"/>
                <a:gd name="connsiteY94" fmla="*/ 235954 h 838042"/>
                <a:gd name="connsiteX95" fmla="*/ 509612 w 1033465"/>
                <a:gd name="connsiteY95" fmla="*/ 171184 h 838042"/>
                <a:gd name="connsiteX96" fmla="*/ 508314 w 1033465"/>
                <a:gd name="connsiteY96" fmla="*/ 73485 h 838042"/>
                <a:gd name="connsiteX97" fmla="*/ 454116 w 1033465"/>
                <a:gd name="connsiteY97" fmla="*/ 11248 h 838042"/>
                <a:gd name="connsiteX98" fmla="*/ 442470 w 1033465"/>
                <a:gd name="connsiteY98" fmla="*/ 75864 h 838042"/>
                <a:gd name="connsiteX99" fmla="*/ 439226 w 1033465"/>
                <a:gd name="connsiteY99" fmla="*/ 132660 h 838042"/>
                <a:gd name="connsiteX100" fmla="*/ 436054 w 1033465"/>
                <a:gd name="connsiteY100"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39085 w 1033465"/>
                <a:gd name="connsiteY21" fmla="*/ 465397 h 838042"/>
                <a:gd name="connsiteX22" fmla="*/ 90512 w 1033465"/>
                <a:gd name="connsiteY22" fmla="*/ 468364 h 838042"/>
                <a:gd name="connsiteX23" fmla="*/ 84797 w 1033465"/>
                <a:gd name="connsiteY23" fmla="*/ 470269 h 838042"/>
                <a:gd name="connsiteX24" fmla="*/ 67652 w 1033465"/>
                <a:gd name="connsiteY24" fmla="*/ 475984 h 838042"/>
                <a:gd name="connsiteX25" fmla="*/ 29552 w 1033465"/>
                <a:gd name="connsiteY25" fmla="*/ 477889 h 838042"/>
                <a:gd name="connsiteX26" fmla="*/ 18122 w 1033465"/>
                <a:gd name="connsiteY26" fmla="*/ 483604 h 838042"/>
                <a:gd name="connsiteX27" fmla="*/ 8597 w 1033465"/>
                <a:gd name="connsiteY27" fmla="*/ 493129 h 838042"/>
                <a:gd name="connsiteX28" fmla="*/ 6692 w 1033465"/>
                <a:gd name="connsiteY28" fmla="*/ 498844 h 838042"/>
                <a:gd name="connsiteX29" fmla="*/ 2882 w 1033465"/>
                <a:gd name="connsiteY29" fmla="*/ 504559 h 838042"/>
                <a:gd name="connsiteX30" fmla="*/ 14312 w 1033465"/>
                <a:gd name="connsiteY30" fmla="*/ 540754 h 838042"/>
                <a:gd name="connsiteX31" fmla="*/ 147662 w 1033465"/>
                <a:gd name="connsiteY31" fmla="*/ 540754 h 838042"/>
                <a:gd name="connsiteX32" fmla="*/ 155282 w 1033465"/>
                <a:gd name="connsiteY32" fmla="*/ 538849 h 838042"/>
                <a:gd name="connsiteX33" fmla="*/ 305777 w 1033465"/>
                <a:gd name="connsiteY33" fmla="*/ 533134 h 838042"/>
                <a:gd name="connsiteX34" fmla="*/ 321017 w 1033465"/>
                <a:gd name="connsiteY34" fmla="*/ 540754 h 838042"/>
                <a:gd name="connsiteX35" fmla="*/ 332447 w 1033465"/>
                <a:gd name="connsiteY35" fmla="*/ 546469 h 838042"/>
                <a:gd name="connsiteX36" fmla="*/ 336257 w 1033465"/>
                <a:gd name="connsiteY36" fmla="*/ 552184 h 838042"/>
                <a:gd name="connsiteX37" fmla="*/ 341972 w 1033465"/>
                <a:gd name="connsiteY37" fmla="*/ 554089 h 838042"/>
                <a:gd name="connsiteX38" fmla="*/ 353402 w 1033465"/>
                <a:gd name="connsiteY38" fmla="*/ 561709 h 838042"/>
                <a:gd name="connsiteX39" fmla="*/ 359117 w 1033465"/>
                <a:gd name="connsiteY39" fmla="*/ 565519 h 838042"/>
                <a:gd name="connsiteX40" fmla="*/ 362927 w 1033465"/>
                <a:gd name="connsiteY40" fmla="*/ 571234 h 838042"/>
                <a:gd name="connsiteX41" fmla="*/ 368642 w 1033465"/>
                <a:gd name="connsiteY41" fmla="*/ 582664 h 838042"/>
                <a:gd name="connsiteX42" fmla="*/ 364832 w 1033465"/>
                <a:gd name="connsiteY42" fmla="*/ 609334 h 838042"/>
                <a:gd name="connsiteX43" fmla="*/ 361022 w 1033465"/>
                <a:gd name="connsiteY43" fmla="*/ 615049 h 838042"/>
                <a:gd name="connsiteX44" fmla="*/ 359117 w 1033465"/>
                <a:gd name="connsiteY44" fmla="*/ 620764 h 838042"/>
                <a:gd name="connsiteX45" fmla="*/ 355307 w 1033465"/>
                <a:gd name="connsiteY45" fmla="*/ 626479 h 838042"/>
                <a:gd name="connsiteX46" fmla="*/ 353402 w 1033465"/>
                <a:gd name="connsiteY46" fmla="*/ 632194 h 838042"/>
                <a:gd name="connsiteX47" fmla="*/ 349592 w 1033465"/>
                <a:gd name="connsiteY47" fmla="*/ 637909 h 838042"/>
                <a:gd name="connsiteX48" fmla="*/ 332447 w 1033465"/>
                <a:gd name="connsiteY48" fmla="*/ 704584 h 838042"/>
                <a:gd name="connsiteX49" fmla="*/ 330542 w 1033465"/>
                <a:gd name="connsiteY49" fmla="*/ 756019 h 838042"/>
                <a:gd name="connsiteX50" fmla="*/ 332447 w 1033465"/>
                <a:gd name="connsiteY50" fmla="*/ 780784 h 838042"/>
                <a:gd name="connsiteX51" fmla="*/ 334352 w 1033465"/>
                <a:gd name="connsiteY51" fmla="*/ 786499 h 838042"/>
                <a:gd name="connsiteX52" fmla="*/ 338162 w 1033465"/>
                <a:gd name="connsiteY52" fmla="*/ 790309 h 838042"/>
                <a:gd name="connsiteX53" fmla="*/ 366737 w 1033465"/>
                <a:gd name="connsiteY53" fmla="*/ 836029 h 838042"/>
                <a:gd name="connsiteX54" fmla="*/ 389597 w 1033465"/>
                <a:gd name="connsiteY54" fmla="*/ 837934 h 838042"/>
                <a:gd name="connsiteX55" fmla="*/ 397407 w 1033465"/>
                <a:gd name="connsiteY55" fmla="*/ 833530 h 838042"/>
                <a:gd name="connsiteX56" fmla="*/ 402932 w 1033465"/>
                <a:gd name="connsiteY56" fmla="*/ 784594 h 838042"/>
                <a:gd name="connsiteX57" fmla="*/ 406742 w 1033465"/>
                <a:gd name="connsiteY57" fmla="*/ 727444 h 838042"/>
                <a:gd name="connsiteX58" fmla="*/ 423887 w 1033465"/>
                <a:gd name="connsiteY58" fmla="*/ 672199 h 838042"/>
                <a:gd name="connsiteX59" fmla="*/ 429602 w 1033465"/>
                <a:gd name="connsiteY59" fmla="*/ 658864 h 838042"/>
                <a:gd name="connsiteX60" fmla="*/ 444084 w 1033465"/>
                <a:gd name="connsiteY60" fmla="*/ 626947 h 838042"/>
                <a:gd name="connsiteX61" fmla="*/ 464289 w 1033465"/>
                <a:gd name="connsiteY61" fmla="*/ 600072 h 838042"/>
                <a:gd name="connsiteX62" fmla="*/ 523510 w 1033465"/>
                <a:gd name="connsiteY62" fmla="*/ 565123 h 838042"/>
                <a:gd name="connsiteX63" fmla="*/ 599348 w 1033465"/>
                <a:gd name="connsiteY63" fmla="*/ 550915 h 838042"/>
                <a:gd name="connsiteX64" fmla="*/ 707801 w 1033465"/>
                <a:gd name="connsiteY64" fmla="*/ 612819 h 838042"/>
                <a:gd name="connsiteX65" fmla="*/ 780122 w 1033465"/>
                <a:gd name="connsiteY65" fmla="*/ 656959 h 838042"/>
                <a:gd name="connsiteX66" fmla="*/ 804887 w 1033465"/>
                <a:gd name="connsiteY66" fmla="*/ 632194 h 838042"/>
                <a:gd name="connsiteX67" fmla="*/ 801077 w 1033465"/>
                <a:gd name="connsiteY67" fmla="*/ 601714 h 838042"/>
                <a:gd name="connsiteX68" fmla="*/ 762796 w 1033465"/>
                <a:gd name="connsiteY68" fmla="*/ 562523 h 838042"/>
                <a:gd name="connsiteX69" fmla="*/ 650582 w 1033465"/>
                <a:gd name="connsiteY69" fmla="*/ 479794 h 838042"/>
                <a:gd name="connsiteX70" fmla="*/ 646772 w 1033465"/>
                <a:gd name="connsiteY70" fmla="*/ 462649 h 838042"/>
                <a:gd name="connsiteX71" fmla="*/ 658202 w 1033465"/>
                <a:gd name="connsiteY71" fmla="*/ 426454 h 838042"/>
                <a:gd name="connsiteX72" fmla="*/ 726782 w 1033465"/>
                <a:gd name="connsiteY72" fmla="*/ 405499 h 838042"/>
                <a:gd name="connsiteX73" fmla="*/ 813738 w 1033465"/>
                <a:gd name="connsiteY73" fmla="*/ 406906 h 838042"/>
                <a:gd name="connsiteX74" fmla="*/ 906231 w 1033465"/>
                <a:gd name="connsiteY74" fmla="*/ 417646 h 838042"/>
                <a:gd name="connsiteX75" fmla="*/ 1002290 w 1033465"/>
                <a:gd name="connsiteY75" fmla="*/ 426835 h 838042"/>
                <a:gd name="connsiteX76" fmla="*/ 1032449 w 1033465"/>
                <a:gd name="connsiteY76" fmla="*/ 402711 h 838042"/>
                <a:gd name="connsiteX77" fmla="*/ 1020514 w 1033465"/>
                <a:gd name="connsiteY77" fmla="*/ 377797 h 838042"/>
                <a:gd name="connsiteX78" fmla="*/ 964889 w 1033465"/>
                <a:gd name="connsiteY78" fmla="*/ 358029 h 838042"/>
                <a:gd name="connsiteX79" fmla="*/ 827747 w 1033465"/>
                <a:gd name="connsiteY79" fmla="*/ 357874 h 838042"/>
                <a:gd name="connsiteX80" fmla="*/ 755811 w 1033465"/>
                <a:gd name="connsiteY80" fmla="*/ 361702 h 838042"/>
                <a:gd name="connsiteX81" fmla="*/ 671537 w 1033465"/>
                <a:gd name="connsiteY81" fmla="*/ 369304 h 838042"/>
                <a:gd name="connsiteX82" fmla="*/ 644867 w 1033465"/>
                <a:gd name="connsiteY82" fmla="*/ 338824 h 838042"/>
                <a:gd name="connsiteX83" fmla="*/ 676403 w 1033465"/>
                <a:gd name="connsiteY83" fmla="*/ 304962 h 838042"/>
                <a:gd name="connsiteX84" fmla="*/ 707732 w 1033465"/>
                <a:gd name="connsiteY84" fmla="*/ 283579 h 838042"/>
                <a:gd name="connsiteX85" fmla="*/ 743927 w 1033465"/>
                <a:gd name="connsiteY85" fmla="*/ 251194 h 838042"/>
                <a:gd name="connsiteX86" fmla="*/ 783019 w 1033465"/>
                <a:gd name="connsiteY86" fmla="*/ 213846 h 838042"/>
                <a:gd name="connsiteX87" fmla="*/ 746401 w 1033465"/>
                <a:gd name="connsiteY87" fmla="*/ 201789 h 838042"/>
                <a:gd name="connsiteX88" fmla="*/ 694397 w 1033465"/>
                <a:gd name="connsiteY88" fmla="*/ 226429 h 838042"/>
                <a:gd name="connsiteX89" fmla="*/ 656678 w 1033465"/>
                <a:gd name="connsiteY89" fmla="*/ 257626 h 838042"/>
                <a:gd name="connsiteX90" fmla="*/ 616001 w 1033465"/>
                <a:gd name="connsiteY90" fmla="*/ 286712 h 838042"/>
                <a:gd name="connsiteX91" fmla="*/ 564857 w 1033465"/>
                <a:gd name="connsiteY91" fmla="*/ 287389 h 838042"/>
                <a:gd name="connsiteX92" fmla="*/ 530567 w 1033465"/>
                <a:gd name="connsiteY92" fmla="*/ 274054 h 838042"/>
                <a:gd name="connsiteX93" fmla="*/ 507707 w 1033465"/>
                <a:gd name="connsiteY93" fmla="*/ 235954 h 838042"/>
                <a:gd name="connsiteX94" fmla="*/ 509612 w 1033465"/>
                <a:gd name="connsiteY94" fmla="*/ 171184 h 838042"/>
                <a:gd name="connsiteX95" fmla="*/ 508314 w 1033465"/>
                <a:gd name="connsiteY95" fmla="*/ 73485 h 838042"/>
                <a:gd name="connsiteX96" fmla="*/ 454116 w 1033465"/>
                <a:gd name="connsiteY96" fmla="*/ 11248 h 838042"/>
                <a:gd name="connsiteX97" fmla="*/ 442470 w 1033465"/>
                <a:gd name="connsiteY97" fmla="*/ 75864 h 838042"/>
                <a:gd name="connsiteX98" fmla="*/ 439226 w 1033465"/>
                <a:gd name="connsiteY98" fmla="*/ 132660 h 838042"/>
                <a:gd name="connsiteX99" fmla="*/ 436054 w 1033465"/>
                <a:gd name="connsiteY99"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39085 w 1033465"/>
                <a:gd name="connsiteY21" fmla="*/ 465397 h 838042"/>
                <a:gd name="connsiteX22" fmla="*/ 90512 w 1033465"/>
                <a:gd name="connsiteY22" fmla="*/ 468364 h 838042"/>
                <a:gd name="connsiteX23" fmla="*/ 84797 w 1033465"/>
                <a:gd name="connsiteY23" fmla="*/ 470269 h 838042"/>
                <a:gd name="connsiteX24" fmla="*/ 29552 w 1033465"/>
                <a:gd name="connsiteY24" fmla="*/ 477889 h 838042"/>
                <a:gd name="connsiteX25" fmla="*/ 18122 w 1033465"/>
                <a:gd name="connsiteY25" fmla="*/ 483604 h 838042"/>
                <a:gd name="connsiteX26" fmla="*/ 8597 w 1033465"/>
                <a:gd name="connsiteY26" fmla="*/ 493129 h 838042"/>
                <a:gd name="connsiteX27" fmla="*/ 6692 w 1033465"/>
                <a:gd name="connsiteY27" fmla="*/ 498844 h 838042"/>
                <a:gd name="connsiteX28" fmla="*/ 2882 w 1033465"/>
                <a:gd name="connsiteY28" fmla="*/ 504559 h 838042"/>
                <a:gd name="connsiteX29" fmla="*/ 14312 w 1033465"/>
                <a:gd name="connsiteY29" fmla="*/ 540754 h 838042"/>
                <a:gd name="connsiteX30" fmla="*/ 147662 w 1033465"/>
                <a:gd name="connsiteY30" fmla="*/ 540754 h 838042"/>
                <a:gd name="connsiteX31" fmla="*/ 155282 w 1033465"/>
                <a:gd name="connsiteY31" fmla="*/ 538849 h 838042"/>
                <a:gd name="connsiteX32" fmla="*/ 305777 w 1033465"/>
                <a:gd name="connsiteY32" fmla="*/ 533134 h 838042"/>
                <a:gd name="connsiteX33" fmla="*/ 321017 w 1033465"/>
                <a:gd name="connsiteY33" fmla="*/ 540754 h 838042"/>
                <a:gd name="connsiteX34" fmla="*/ 332447 w 1033465"/>
                <a:gd name="connsiteY34" fmla="*/ 546469 h 838042"/>
                <a:gd name="connsiteX35" fmla="*/ 336257 w 1033465"/>
                <a:gd name="connsiteY35" fmla="*/ 552184 h 838042"/>
                <a:gd name="connsiteX36" fmla="*/ 341972 w 1033465"/>
                <a:gd name="connsiteY36" fmla="*/ 554089 h 838042"/>
                <a:gd name="connsiteX37" fmla="*/ 353402 w 1033465"/>
                <a:gd name="connsiteY37" fmla="*/ 561709 h 838042"/>
                <a:gd name="connsiteX38" fmla="*/ 359117 w 1033465"/>
                <a:gd name="connsiteY38" fmla="*/ 565519 h 838042"/>
                <a:gd name="connsiteX39" fmla="*/ 362927 w 1033465"/>
                <a:gd name="connsiteY39" fmla="*/ 571234 h 838042"/>
                <a:gd name="connsiteX40" fmla="*/ 368642 w 1033465"/>
                <a:gd name="connsiteY40" fmla="*/ 582664 h 838042"/>
                <a:gd name="connsiteX41" fmla="*/ 364832 w 1033465"/>
                <a:gd name="connsiteY41" fmla="*/ 609334 h 838042"/>
                <a:gd name="connsiteX42" fmla="*/ 361022 w 1033465"/>
                <a:gd name="connsiteY42" fmla="*/ 615049 h 838042"/>
                <a:gd name="connsiteX43" fmla="*/ 359117 w 1033465"/>
                <a:gd name="connsiteY43" fmla="*/ 620764 h 838042"/>
                <a:gd name="connsiteX44" fmla="*/ 355307 w 1033465"/>
                <a:gd name="connsiteY44" fmla="*/ 626479 h 838042"/>
                <a:gd name="connsiteX45" fmla="*/ 353402 w 1033465"/>
                <a:gd name="connsiteY45" fmla="*/ 632194 h 838042"/>
                <a:gd name="connsiteX46" fmla="*/ 349592 w 1033465"/>
                <a:gd name="connsiteY46" fmla="*/ 637909 h 838042"/>
                <a:gd name="connsiteX47" fmla="*/ 332447 w 1033465"/>
                <a:gd name="connsiteY47" fmla="*/ 704584 h 838042"/>
                <a:gd name="connsiteX48" fmla="*/ 330542 w 1033465"/>
                <a:gd name="connsiteY48" fmla="*/ 756019 h 838042"/>
                <a:gd name="connsiteX49" fmla="*/ 332447 w 1033465"/>
                <a:gd name="connsiteY49" fmla="*/ 780784 h 838042"/>
                <a:gd name="connsiteX50" fmla="*/ 334352 w 1033465"/>
                <a:gd name="connsiteY50" fmla="*/ 786499 h 838042"/>
                <a:gd name="connsiteX51" fmla="*/ 338162 w 1033465"/>
                <a:gd name="connsiteY51" fmla="*/ 790309 h 838042"/>
                <a:gd name="connsiteX52" fmla="*/ 366737 w 1033465"/>
                <a:gd name="connsiteY52" fmla="*/ 836029 h 838042"/>
                <a:gd name="connsiteX53" fmla="*/ 389597 w 1033465"/>
                <a:gd name="connsiteY53" fmla="*/ 837934 h 838042"/>
                <a:gd name="connsiteX54" fmla="*/ 397407 w 1033465"/>
                <a:gd name="connsiteY54" fmla="*/ 833530 h 838042"/>
                <a:gd name="connsiteX55" fmla="*/ 402932 w 1033465"/>
                <a:gd name="connsiteY55" fmla="*/ 784594 h 838042"/>
                <a:gd name="connsiteX56" fmla="*/ 406742 w 1033465"/>
                <a:gd name="connsiteY56" fmla="*/ 727444 h 838042"/>
                <a:gd name="connsiteX57" fmla="*/ 423887 w 1033465"/>
                <a:gd name="connsiteY57" fmla="*/ 672199 h 838042"/>
                <a:gd name="connsiteX58" fmla="*/ 429602 w 1033465"/>
                <a:gd name="connsiteY58" fmla="*/ 658864 h 838042"/>
                <a:gd name="connsiteX59" fmla="*/ 444084 w 1033465"/>
                <a:gd name="connsiteY59" fmla="*/ 626947 h 838042"/>
                <a:gd name="connsiteX60" fmla="*/ 464289 w 1033465"/>
                <a:gd name="connsiteY60" fmla="*/ 600072 h 838042"/>
                <a:gd name="connsiteX61" fmla="*/ 523510 w 1033465"/>
                <a:gd name="connsiteY61" fmla="*/ 565123 h 838042"/>
                <a:gd name="connsiteX62" fmla="*/ 599348 w 1033465"/>
                <a:gd name="connsiteY62" fmla="*/ 550915 h 838042"/>
                <a:gd name="connsiteX63" fmla="*/ 707801 w 1033465"/>
                <a:gd name="connsiteY63" fmla="*/ 612819 h 838042"/>
                <a:gd name="connsiteX64" fmla="*/ 780122 w 1033465"/>
                <a:gd name="connsiteY64" fmla="*/ 656959 h 838042"/>
                <a:gd name="connsiteX65" fmla="*/ 804887 w 1033465"/>
                <a:gd name="connsiteY65" fmla="*/ 632194 h 838042"/>
                <a:gd name="connsiteX66" fmla="*/ 801077 w 1033465"/>
                <a:gd name="connsiteY66" fmla="*/ 601714 h 838042"/>
                <a:gd name="connsiteX67" fmla="*/ 762796 w 1033465"/>
                <a:gd name="connsiteY67" fmla="*/ 562523 h 838042"/>
                <a:gd name="connsiteX68" fmla="*/ 650582 w 1033465"/>
                <a:gd name="connsiteY68" fmla="*/ 479794 h 838042"/>
                <a:gd name="connsiteX69" fmla="*/ 646772 w 1033465"/>
                <a:gd name="connsiteY69" fmla="*/ 462649 h 838042"/>
                <a:gd name="connsiteX70" fmla="*/ 658202 w 1033465"/>
                <a:gd name="connsiteY70" fmla="*/ 426454 h 838042"/>
                <a:gd name="connsiteX71" fmla="*/ 726782 w 1033465"/>
                <a:gd name="connsiteY71" fmla="*/ 405499 h 838042"/>
                <a:gd name="connsiteX72" fmla="*/ 813738 w 1033465"/>
                <a:gd name="connsiteY72" fmla="*/ 406906 h 838042"/>
                <a:gd name="connsiteX73" fmla="*/ 906231 w 1033465"/>
                <a:gd name="connsiteY73" fmla="*/ 417646 h 838042"/>
                <a:gd name="connsiteX74" fmla="*/ 1002290 w 1033465"/>
                <a:gd name="connsiteY74" fmla="*/ 426835 h 838042"/>
                <a:gd name="connsiteX75" fmla="*/ 1032449 w 1033465"/>
                <a:gd name="connsiteY75" fmla="*/ 402711 h 838042"/>
                <a:gd name="connsiteX76" fmla="*/ 1020514 w 1033465"/>
                <a:gd name="connsiteY76" fmla="*/ 377797 h 838042"/>
                <a:gd name="connsiteX77" fmla="*/ 964889 w 1033465"/>
                <a:gd name="connsiteY77" fmla="*/ 358029 h 838042"/>
                <a:gd name="connsiteX78" fmla="*/ 827747 w 1033465"/>
                <a:gd name="connsiteY78" fmla="*/ 357874 h 838042"/>
                <a:gd name="connsiteX79" fmla="*/ 755811 w 1033465"/>
                <a:gd name="connsiteY79" fmla="*/ 361702 h 838042"/>
                <a:gd name="connsiteX80" fmla="*/ 671537 w 1033465"/>
                <a:gd name="connsiteY80" fmla="*/ 369304 h 838042"/>
                <a:gd name="connsiteX81" fmla="*/ 644867 w 1033465"/>
                <a:gd name="connsiteY81" fmla="*/ 338824 h 838042"/>
                <a:gd name="connsiteX82" fmla="*/ 676403 w 1033465"/>
                <a:gd name="connsiteY82" fmla="*/ 304962 h 838042"/>
                <a:gd name="connsiteX83" fmla="*/ 707732 w 1033465"/>
                <a:gd name="connsiteY83" fmla="*/ 283579 h 838042"/>
                <a:gd name="connsiteX84" fmla="*/ 743927 w 1033465"/>
                <a:gd name="connsiteY84" fmla="*/ 251194 h 838042"/>
                <a:gd name="connsiteX85" fmla="*/ 783019 w 1033465"/>
                <a:gd name="connsiteY85" fmla="*/ 213846 h 838042"/>
                <a:gd name="connsiteX86" fmla="*/ 746401 w 1033465"/>
                <a:gd name="connsiteY86" fmla="*/ 201789 h 838042"/>
                <a:gd name="connsiteX87" fmla="*/ 694397 w 1033465"/>
                <a:gd name="connsiteY87" fmla="*/ 226429 h 838042"/>
                <a:gd name="connsiteX88" fmla="*/ 656678 w 1033465"/>
                <a:gd name="connsiteY88" fmla="*/ 257626 h 838042"/>
                <a:gd name="connsiteX89" fmla="*/ 616001 w 1033465"/>
                <a:gd name="connsiteY89" fmla="*/ 286712 h 838042"/>
                <a:gd name="connsiteX90" fmla="*/ 564857 w 1033465"/>
                <a:gd name="connsiteY90" fmla="*/ 287389 h 838042"/>
                <a:gd name="connsiteX91" fmla="*/ 530567 w 1033465"/>
                <a:gd name="connsiteY91" fmla="*/ 274054 h 838042"/>
                <a:gd name="connsiteX92" fmla="*/ 507707 w 1033465"/>
                <a:gd name="connsiteY92" fmla="*/ 235954 h 838042"/>
                <a:gd name="connsiteX93" fmla="*/ 509612 w 1033465"/>
                <a:gd name="connsiteY93" fmla="*/ 171184 h 838042"/>
                <a:gd name="connsiteX94" fmla="*/ 508314 w 1033465"/>
                <a:gd name="connsiteY94" fmla="*/ 73485 h 838042"/>
                <a:gd name="connsiteX95" fmla="*/ 454116 w 1033465"/>
                <a:gd name="connsiteY95" fmla="*/ 11248 h 838042"/>
                <a:gd name="connsiteX96" fmla="*/ 442470 w 1033465"/>
                <a:gd name="connsiteY96" fmla="*/ 75864 h 838042"/>
                <a:gd name="connsiteX97" fmla="*/ 439226 w 1033465"/>
                <a:gd name="connsiteY97" fmla="*/ 132660 h 838042"/>
                <a:gd name="connsiteX98" fmla="*/ 436054 w 1033465"/>
                <a:gd name="connsiteY98" fmla="*/ 214465 h 838042"/>
                <a:gd name="connsiteX0" fmla="*/ 436054 w 1033465"/>
                <a:gd name="connsiteY0" fmla="*/ 214465 h 838042"/>
                <a:gd name="connsiteX1" fmla="*/ 423887 w 1033465"/>
                <a:gd name="connsiteY1" fmla="*/ 253099 h 838042"/>
                <a:gd name="connsiteX2" fmla="*/ 397217 w 1033465"/>
                <a:gd name="connsiteY2" fmla="*/ 262624 h 838042"/>
                <a:gd name="connsiteX3" fmla="*/ 358589 w 1033465"/>
                <a:gd name="connsiteY3" fmla="*/ 271935 h 838042"/>
                <a:gd name="connsiteX4" fmla="*/ 315302 w 1033465"/>
                <a:gd name="connsiteY4" fmla="*/ 289293 h 838042"/>
                <a:gd name="connsiteX5" fmla="*/ 267677 w 1033465"/>
                <a:gd name="connsiteY5" fmla="*/ 285484 h 838042"/>
                <a:gd name="connsiteX6" fmla="*/ 221957 w 1033465"/>
                <a:gd name="connsiteY6" fmla="*/ 272149 h 838042"/>
                <a:gd name="connsiteX7" fmla="*/ 191477 w 1033465"/>
                <a:gd name="connsiteY7" fmla="*/ 262624 h 838042"/>
                <a:gd name="connsiteX8" fmla="*/ 159092 w 1033465"/>
                <a:gd name="connsiteY8" fmla="*/ 239764 h 838042"/>
                <a:gd name="connsiteX9" fmla="*/ 124332 w 1033465"/>
                <a:gd name="connsiteY9" fmla="*/ 218050 h 838042"/>
                <a:gd name="connsiteX10" fmla="*/ 103847 w 1033465"/>
                <a:gd name="connsiteY10" fmla="*/ 203569 h 838042"/>
                <a:gd name="connsiteX11" fmla="*/ 61937 w 1033465"/>
                <a:gd name="connsiteY11" fmla="*/ 197854 h 838042"/>
                <a:gd name="connsiteX12" fmla="*/ 50589 w 1033465"/>
                <a:gd name="connsiteY12" fmla="*/ 241190 h 838042"/>
                <a:gd name="connsiteX13" fmla="*/ 65748 w 1033465"/>
                <a:gd name="connsiteY13" fmla="*/ 272150 h 838042"/>
                <a:gd name="connsiteX14" fmla="*/ 126707 w 1033465"/>
                <a:gd name="connsiteY14" fmla="*/ 289294 h 838042"/>
                <a:gd name="connsiteX15" fmla="*/ 193382 w 1033465"/>
                <a:gd name="connsiteY15" fmla="*/ 308344 h 838042"/>
                <a:gd name="connsiteX16" fmla="*/ 228811 w 1033465"/>
                <a:gd name="connsiteY16" fmla="*/ 323832 h 838042"/>
                <a:gd name="connsiteX17" fmla="*/ 282210 w 1033465"/>
                <a:gd name="connsiteY17" fmla="*/ 354067 h 838042"/>
                <a:gd name="connsiteX18" fmla="*/ 292797 w 1033465"/>
                <a:gd name="connsiteY18" fmla="*/ 404246 h 838042"/>
                <a:gd name="connsiteX19" fmla="*/ 265772 w 1033465"/>
                <a:gd name="connsiteY19" fmla="*/ 447409 h 838042"/>
                <a:gd name="connsiteX20" fmla="*/ 219498 w 1033465"/>
                <a:gd name="connsiteY20" fmla="*/ 459458 h 838042"/>
                <a:gd name="connsiteX21" fmla="*/ 139085 w 1033465"/>
                <a:gd name="connsiteY21" fmla="*/ 465397 h 838042"/>
                <a:gd name="connsiteX22" fmla="*/ 90512 w 1033465"/>
                <a:gd name="connsiteY22" fmla="*/ 468364 h 838042"/>
                <a:gd name="connsiteX23" fmla="*/ 29552 w 1033465"/>
                <a:gd name="connsiteY23" fmla="*/ 477889 h 838042"/>
                <a:gd name="connsiteX24" fmla="*/ 18122 w 1033465"/>
                <a:gd name="connsiteY24" fmla="*/ 483604 h 838042"/>
                <a:gd name="connsiteX25" fmla="*/ 8597 w 1033465"/>
                <a:gd name="connsiteY25" fmla="*/ 493129 h 838042"/>
                <a:gd name="connsiteX26" fmla="*/ 6692 w 1033465"/>
                <a:gd name="connsiteY26" fmla="*/ 498844 h 838042"/>
                <a:gd name="connsiteX27" fmla="*/ 2882 w 1033465"/>
                <a:gd name="connsiteY27" fmla="*/ 504559 h 838042"/>
                <a:gd name="connsiteX28" fmla="*/ 14312 w 1033465"/>
                <a:gd name="connsiteY28" fmla="*/ 540754 h 838042"/>
                <a:gd name="connsiteX29" fmla="*/ 147662 w 1033465"/>
                <a:gd name="connsiteY29" fmla="*/ 540754 h 838042"/>
                <a:gd name="connsiteX30" fmla="*/ 155282 w 1033465"/>
                <a:gd name="connsiteY30" fmla="*/ 538849 h 838042"/>
                <a:gd name="connsiteX31" fmla="*/ 305777 w 1033465"/>
                <a:gd name="connsiteY31" fmla="*/ 533134 h 838042"/>
                <a:gd name="connsiteX32" fmla="*/ 321017 w 1033465"/>
                <a:gd name="connsiteY32" fmla="*/ 540754 h 838042"/>
                <a:gd name="connsiteX33" fmla="*/ 332447 w 1033465"/>
                <a:gd name="connsiteY33" fmla="*/ 546469 h 838042"/>
                <a:gd name="connsiteX34" fmla="*/ 336257 w 1033465"/>
                <a:gd name="connsiteY34" fmla="*/ 552184 h 838042"/>
                <a:gd name="connsiteX35" fmla="*/ 341972 w 1033465"/>
                <a:gd name="connsiteY35" fmla="*/ 554089 h 838042"/>
                <a:gd name="connsiteX36" fmla="*/ 353402 w 1033465"/>
                <a:gd name="connsiteY36" fmla="*/ 561709 h 838042"/>
                <a:gd name="connsiteX37" fmla="*/ 359117 w 1033465"/>
                <a:gd name="connsiteY37" fmla="*/ 565519 h 838042"/>
                <a:gd name="connsiteX38" fmla="*/ 362927 w 1033465"/>
                <a:gd name="connsiteY38" fmla="*/ 571234 h 838042"/>
                <a:gd name="connsiteX39" fmla="*/ 368642 w 1033465"/>
                <a:gd name="connsiteY39" fmla="*/ 582664 h 838042"/>
                <a:gd name="connsiteX40" fmla="*/ 364832 w 1033465"/>
                <a:gd name="connsiteY40" fmla="*/ 609334 h 838042"/>
                <a:gd name="connsiteX41" fmla="*/ 361022 w 1033465"/>
                <a:gd name="connsiteY41" fmla="*/ 615049 h 838042"/>
                <a:gd name="connsiteX42" fmla="*/ 359117 w 1033465"/>
                <a:gd name="connsiteY42" fmla="*/ 620764 h 838042"/>
                <a:gd name="connsiteX43" fmla="*/ 355307 w 1033465"/>
                <a:gd name="connsiteY43" fmla="*/ 626479 h 838042"/>
                <a:gd name="connsiteX44" fmla="*/ 353402 w 1033465"/>
                <a:gd name="connsiteY44" fmla="*/ 632194 h 838042"/>
                <a:gd name="connsiteX45" fmla="*/ 349592 w 1033465"/>
                <a:gd name="connsiteY45" fmla="*/ 637909 h 838042"/>
                <a:gd name="connsiteX46" fmla="*/ 332447 w 1033465"/>
                <a:gd name="connsiteY46" fmla="*/ 704584 h 838042"/>
                <a:gd name="connsiteX47" fmla="*/ 330542 w 1033465"/>
                <a:gd name="connsiteY47" fmla="*/ 756019 h 838042"/>
                <a:gd name="connsiteX48" fmla="*/ 332447 w 1033465"/>
                <a:gd name="connsiteY48" fmla="*/ 780784 h 838042"/>
                <a:gd name="connsiteX49" fmla="*/ 334352 w 1033465"/>
                <a:gd name="connsiteY49" fmla="*/ 786499 h 838042"/>
                <a:gd name="connsiteX50" fmla="*/ 338162 w 1033465"/>
                <a:gd name="connsiteY50" fmla="*/ 790309 h 838042"/>
                <a:gd name="connsiteX51" fmla="*/ 366737 w 1033465"/>
                <a:gd name="connsiteY51" fmla="*/ 836029 h 838042"/>
                <a:gd name="connsiteX52" fmla="*/ 389597 w 1033465"/>
                <a:gd name="connsiteY52" fmla="*/ 837934 h 838042"/>
                <a:gd name="connsiteX53" fmla="*/ 397407 w 1033465"/>
                <a:gd name="connsiteY53" fmla="*/ 833530 h 838042"/>
                <a:gd name="connsiteX54" fmla="*/ 402932 w 1033465"/>
                <a:gd name="connsiteY54" fmla="*/ 784594 h 838042"/>
                <a:gd name="connsiteX55" fmla="*/ 406742 w 1033465"/>
                <a:gd name="connsiteY55" fmla="*/ 727444 h 838042"/>
                <a:gd name="connsiteX56" fmla="*/ 423887 w 1033465"/>
                <a:gd name="connsiteY56" fmla="*/ 672199 h 838042"/>
                <a:gd name="connsiteX57" fmla="*/ 429602 w 1033465"/>
                <a:gd name="connsiteY57" fmla="*/ 658864 h 838042"/>
                <a:gd name="connsiteX58" fmla="*/ 444084 w 1033465"/>
                <a:gd name="connsiteY58" fmla="*/ 626947 h 838042"/>
                <a:gd name="connsiteX59" fmla="*/ 464289 w 1033465"/>
                <a:gd name="connsiteY59" fmla="*/ 600072 h 838042"/>
                <a:gd name="connsiteX60" fmla="*/ 523510 w 1033465"/>
                <a:gd name="connsiteY60" fmla="*/ 565123 h 838042"/>
                <a:gd name="connsiteX61" fmla="*/ 599348 w 1033465"/>
                <a:gd name="connsiteY61" fmla="*/ 550915 h 838042"/>
                <a:gd name="connsiteX62" fmla="*/ 707801 w 1033465"/>
                <a:gd name="connsiteY62" fmla="*/ 612819 h 838042"/>
                <a:gd name="connsiteX63" fmla="*/ 780122 w 1033465"/>
                <a:gd name="connsiteY63" fmla="*/ 656959 h 838042"/>
                <a:gd name="connsiteX64" fmla="*/ 804887 w 1033465"/>
                <a:gd name="connsiteY64" fmla="*/ 632194 h 838042"/>
                <a:gd name="connsiteX65" fmla="*/ 801077 w 1033465"/>
                <a:gd name="connsiteY65" fmla="*/ 601714 h 838042"/>
                <a:gd name="connsiteX66" fmla="*/ 762796 w 1033465"/>
                <a:gd name="connsiteY66" fmla="*/ 562523 h 838042"/>
                <a:gd name="connsiteX67" fmla="*/ 650582 w 1033465"/>
                <a:gd name="connsiteY67" fmla="*/ 479794 h 838042"/>
                <a:gd name="connsiteX68" fmla="*/ 646772 w 1033465"/>
                <a:gd name="connsiteY68" fmla="*/ 462649 h 838042"/>
                <a:gd name="connsiteX69" fmla="*/ 658202 w 1033465"/>
                <a:gd name="connsiteY69" fmla="*/ 426454 h 838042"/>
                <a:gd name="connsiteX70" fmla="*/ 726782 w 1033465"/>
                <a:gd name="connsiteY70" fmla="*/ 405499 h 838042"/>
                <a:gd name="connsiteX71" fmla="*/ 813738 w 1033465"/>
                <a:gd name="connsiteY71" fmla="*/ 406906 h 838042"/>
                <a:gd name="connsiteX72" fmla="*/ 906231 w 1033465"/>
                <a:gd name="connsiteY72" fmla="*/ 417646 h 838042"/>
                <a:gd name="connsiteX73" fmla="*/ 1002290 w 1033465"/>
                <a:gd name="connsiteY73" fmla="*/ 426835 h 838042"/>
                <a:gd name="connsiteX74" fmla="*/ 1032449 w 1033465"/>
                <a:gd name="connsiteY74" fmla="*/ 402711 h 838042"/>
                <a:gd name="connsiteX75" fmla="*/ 1020514 w 1033465"/>
                <a:gd name="connsiteY75" fmla="*/ 377797 h 838042"/>
                <a:gd name="connsiteX76" fmla="*/ 964889 w 1033465"/>
                <a:gd name="connsiteY76" fmla="*/ 358029 h 838042"/>
                <a:gd name="connsiteX77" fmla="*/ 827747 w 1033465"/>
                <a:gd name="connsiteY77" fmla="*/ 357874 h 838042"/>
                <a:gd name="connsiteX78" fmla="*/ 755811 w 1033465"/>
                <a:gd name="connsiteY78" fmla="*/ 361702 h 838042"/>
                <a:gd name="connsiteX79" fmla="*/ 671537 w 1033465"/>
                <a:gd name="connsiteY79" fmla="*/ 369304 h 838042"/>
                <a:gd name="connsiteX80" fmla="*/ 644867 w 1033465"/>
                <a:gd name="connsiteY80" fmla="*/ 338824 h 838042"/>
                <a:gd name="connsiteX81" fmla="*/ 676403 w 1033465"/>
                <a:gd name="connsiteY81" fmla="*/ 304962 h 838042"/>
                <a:gd name="connsiteX82" fmla="*/ 707732 w 1033465"/>
                <a:gd name="connsiteY82" fmla="*/ 283579 h 838042"/>
                <a:gd name="connsiteX83" fmla="*/ 743927 w 1033465"/>
                <a:gd name="connsiteY83" fmla="*/ 251194 h 838042"/>
                <a:gd name="connsiteX84" fmla="*/ 783019 w 1033465"/>
                <a:gd name="connsiteY84" fmla="*/ 213846 h 838042"/>
                <a:gd name="connsiteX85" fmla="*/ 746401 w 1033465"/>
                <a:gd name="connsiteY85" fmla="*/ 201789 h 838042"/>
                <a:gd name="connsiteX86" fmla="*/ 694397 w 1033465"/>
                <a:gd name="connsiteY86" fmla="*/ 226429 h 838042"/>
                <a:gd name="connsiteX87" fmla="*/ 656678 w 1033465"/>
                <a:gd name="connsiteY87" fmla="*/ 257626 h 838042"/>
                <a:gd name="connsiteX88" fmla="*/ 616001 w 1033465"/>
                <a:gd name="connsiteY88" fmla="*/ 286712 h 838042"/>
                <a:gd name="connsiteX89" fmla="*/ 564857 w 1033465"/>
                <a:gd name="connsiteY89" fmla="*/ 287389 h 838042"/>
                <a:gd name="connsiteX90" fmla="*/ 530567 w 1033465"/>
                <a:gd name="connsiteY90" fmla="*/ 274054 h 838042"/>
                <a:gd name="connsiteX91" fmla="*/ 507707 w 1033465"/>
                <a:gd name="connsiteY91" fmla="*/ 235954 h 838042"/>
                <a:gd name="connsiteX92" fmla="*/ 509612 w 1033465"/>
                <a:gd name="connsiteY92" fmla="*/ 171184 h 838042"/>
                <a:gd name="connsiteX93" fmla="*/ 508314 w 1033465"/>
                <a:gd name="connsiteY93" fmla="*/ 73485 h 838042"/>
                <a:gd name="connsiteX94" fmla="*/ 454116 w 1033465"/>
                <a:gd name="connsiteY94" fmla="*/ 11248 h 838042"/>
                <a:gd name="connsiteX95" fmla="*/ 442470 w 1033465"/>
                <a:gd name="connsiteY95" fmla="*/ 75864 h 838042"/>
                <a:gd name="connsiteX96" fmla="*/ 439226 w 1033465"/>
                <a:gd name="connsiteY96" fmla="*/ 132660 h 838042"/>
                <a:gd name="connsiteX97" fmla="*/ 436054 w 1033465"/>
                <a:gd name="connsiteY97" fmla="*/ 214465 h 838042"/>
                <a:gd name="connsiteX0" fmla="*/ 436168 w 1033579"/>
                <a:gd name="connsiteY0" fmla="*/ 214465 h 838042"/>
                <a:gd name="connsiteX1" fmla="*/ 424001 w 1033579"/>
                <a:gd name="connsiteY1" fmla="*/ 253099 h 838042"/>
                <a:gd name="connsiteX2" fmla="*/ 397331 w 1033579"/>
                <a:gd name="connsiteY2" fmla="*/ 262624 h 838042"/>
                <a:gd name="connsiteX3" fmla="*/ 358703 w 1033579"/>
                <a:gd name="connsiteY3" fmla="*/ 271935 h 838042"/>
                <a:gd name="connsiteX4" fmla="*/ 315416 w 1033579"/>
                <a:gd name="connsiteY4" fmla="*/ 289293 h 838042"/>
                <a:gd name="connsiteX5" fmla="*/ 267791 w 1033579"/>
                <a:gd name="connsiteY5" fmla="*/ 285484 h 838042"/>
                <a:gd name="connsiteX6" fmla="*/ 222071 w 1033579"/>
                <a:gd name="connsiteY6" fmla="*/ 272149 h 838042"/>
                <a:gd name="connsiteX7" fmla="*/ 191591 w 1033579"/>
                <a:gd name="connsiteY7" fmla="*/ 262624 h 838042"/>
                <a:gd name="connsiteX8" fmla="*/ 159206 w 1033579"/>
                <a:gd name="connsiteY8" fmla="*/ 239764 h 838042"/>
                <a:gd name="connsiteX9" fmla="*/ 124446 w 1033579"/>
                <a:gd name="connsiteY9" fmla="*/ 218050 h 838042"/>
                <a:gd name="connsiteX10" fmla="*/ 103961 w 1033579"/>
                <a:gd name="connsiteY10" fmla="*/ 203569 h 838042"/>
                <a:gd name="connsiteX11" fmla="*/ 62051 w 1033579"/>
                <a:gd name="connsiteY11" fmla="*/ 197854 h 838042"/>
                <a:gd name="connsiteX12" fmla="*/ 50703 w 1033579"/>
                <a:gd name="connsiteY12" fmla="*/ 241190 h 838042"/>
                <a:gd name="connsiteX13" fmla="*/ 65862 w 1033579"/>
                <a:gd name="connsiteY13" fmla="*/ 272150 h 838042"/>
                <a:gd name="connsiteX14" fmla="*/ 126821 w 1033579"/>
                <a:gd name="connsiteY14" fmla="*/ 289294 h 838042"/>
                <a:gd name="connsiteX15" fmla="*/ 193496 w 1033579"/>
                <a:gd name="connsiteY15" fmla="*/ 308344 h 838042"/>
                <a:gd name="connsiteX16" fmla="*/ 228925 w 1033579"/>
                <a:gd name="connsiteY16" fmla="*/ 323832 h 838042"/>
                <a:gd name="connsiteX17" fmla="*/ 282324 w 1033579"/>
                <a:gd name="connsiteY17" fmla="*/ 354067 h 838042"/>
                <a:gd name="connsiteX18" fmla="*/ 292911 w 1033579"/>
                <a:gd name="connsiteY18" fmla="*/ 404246 h 838042"/>
                <a:gd name="connsiteX19" fmla="*/ 265886 w 1033579"/>
                <a:gd name="connsiteY19" fmla="*/ 447409 h 838042"/>
                <a:gd name="connsiteX20" fmla="*/ 219612 w 1033579"/>
                <a:gd name="connsiteY20" fmla="*/ 459458 h 838042"/>
                <a:gd name="connsiteX21" fmla="*/ 139199 w 1033579"/>
                <a:gd name="connsiteY21" fmla="*/ 465397 h 838042"/>
                <a:gd name="connsiteX22" fmla="*/ 90626 w 1033579"/>
                <a:gd name="connsiteY22" fmla="*/ 468364 h 838042"/>
                <a:gd name="connsiteX23" fmla="*/ 29666 w 1033579"/>
                <a:gd name="connsiteY23" fmla="*/ 477889 h 838042"/>
                <a:gd name="connsiteX24" fmla="*/ 18236 w 1033579"/>
                <a:gd name="connsiteY24" fmla="*/ 483604 h 838042"/>
                <a:gd name="connsiteX25" fmla="*/ 8711 w 1033579"/>
                <a:gd name="connsiteY25" fmla="*/ 493129 h 838042"/>
                <a:gd name="connsiteX26" fmla="*/ 2996 w 1033579"/>
                <a:gd name="connsiteY26" fmla="*/ 504559 h 838042"/>
                <a:gd name="connsiteX27" fmla="*/ 14426 w 1033579"/>
                <a:gd name="connsiteY27" fmla="*/ 540754 h 838042"/>
                <a:gd name="connsiteX28" fmla="*/ 147776 w 1033579"/>
                <a:gd name="connsiteY28" fmla="*/ 540754 h 838042"/>
                <a:gd name="connsiteX29" fmla="*/ 155396 w 1033579"/>
                <a:gd name="connsiteY29" fmla="*/ 538849 h 838042"/>
                <a:gd name="connsiteX30" fmla="*/ 305891 w 1033579"/>
                <a:gd name="connsiteY30" fmla="*/ 533134 h 838042"/>
                <a:gd name="connsiteX31" fmla="*/ 321131 w 1033579"/>
                <a:gd name="connsiteY31" fmla="*/ 540754 h 838042"/>
                <a:gd name="connsiteX32" fmla="*/ 332561 w 1033579"/>
                <a:gd name="connsiteY32" fmla="*/ 546469 h 838042"/>
                <a:gd name="connsiteX33" fmla="*/ 336371 w 1033579"/>
                <a:gd name="connsiteY33" fmla="*/ 552184 h 838042"/>
                <a:gd name="connsiteX34" fmla="*/ 342086 w 1033579"/>
                <a:gd name="connsiteY34" fmla="*/ 554089 h 838042"/>
                <a:gd name="connsiteX35" fmla="*/ 353516 w 1033579"/>
                <a:gd name="connsiteY35" fmla="*/ 561709 h 838042"/>
                <a:gd name="connsiteX36" fmla="*/ 359231 w 1033579"/>
                <a:gd name="connsiteY36" fmla="*/ 565519 h 838042"/>
                <a:gd name="connsiteX37" fmla="*/ 363041 w 1033579"/>
                <a:gd name="connsiteY37" fmla="*/ 571234 h 838042"/>
                <a:gd name="connsiteX38" fmla="*/ 368756 w 1033579"/>
                <a:gd name="connsiteY38" fmla="*/ 582664 h 838042"/>
                <a:gd name="connsiteX39" fmla="*/ 364946 w 1033579"/>
                <a:gd name="connsiteY39" fmla="*/ 609334 h 838042"/>
                <a:gd name="connsiteX40" fmla="*/ 361136 w 1033579"/>
                <a:gd name="connsiteY40" fmla="*/ 615049 h 838042"/>
                <a:gd name="connsiteX41" fmla="*/ 359231 w 1033579"/>
                <a:gd name="connsiteY41" fmla="*/ 620764 h 838042"/>
                <a:gd name="connsiteX42" fmla="*/ 355421 w 1033579"/>
                <a:gd name="connsiteY42" fmla="*/ 626479 h 838042"/>
                <a:gd name="connsiteX43" fmla="*/ 353516 w 1033579"/>
                <a:gd name="connsiteY43" fmla="*/ 632194 h 838042"/>
                <a:gd name="connsiteX44" fmla="*/ 349706 w 1033579"/>
                <a:gd name="connsiteY44" fmla="*/ 637909 h 838042"/>
                <a:gd name="connsiteX45" fmla="*/ 332561 w 1033579"/>
                <a:gd name="connsiteY45" fmla="*/ 704584 h 838042"/>
                <a:gd name="connsiteX46" fmla="*/ 330656 w 1033579"/>
                <a:gd name="connsiteY46" fmla="*/ 756019 h 838042"/>
                <a:gd name="connsiteX47" fmla="*/ 332561 w 1033579"/>
                <a:gd name="connsiteY47" fmla="*/ 780784 h 838042"/>
                <a:gd name="connsiteX48" fmla="*/ 334466 w 1033579"/>
                <a:gd name="connsiteY48" fmla="*/ 786499 h 838042"/>
                <a:gd name="connsiteX49" fmla="*/ 338276 w 1033579"/>
                <a:gd name="connsiteY49" fmla="*/ 790309 h 838042"/>
                <a:gd name="connsiteX50" fmla="*/ 366851 w 1033579"/>
                <a:gd name="connsiteY50" fmla="*/ 836029 h 838042"/>
                <a:gd name="connsiteX51" fmla="*/ 389711 w 1033579"/>
                <a:gd name="connsiteY51" fmla="*/ 837934 h 838042"/>
                <a:gd name="connsiteX52" fmla="*/ 397521 w 1033579"/>
                <a:gd name="connsiteY52" fmla="*/ 833530 h 838042"/>
                <a:gd name="connsiteX53" fmla="*/ 403046 w 1033579"/>
                <a:gd name="connsiteY53" fmla="*/ 784594 h 838042"/>
                <a:gd name="connsiteX54" fmla="*/ 406856 w 1033579"/>
                <a:gd name="connsiteY54" fmla="*/ 727444 h 838042"/>
                <a:gd name="connsiteX55" fmla="*/ 424001 w 1033579"/>
                <a:gd name="connsiteY55" fmla="*/ 672199 h 838042"/>
                <a:gd name="connsiteX56" fmla="*/ 429716 w 1033579"/>
                <a:gd name="connsiteY56" fmla="*/ 658864 h 838042"/>
                <a:gd name="connsiteX57" fmla="*/ 444198 w 1033579"/>
                <a:gd name="connsiteY57" fmla="*/ 626947 h 838042"/>
                <a:gd name="connsiteX58" fmla="*/ 464403 w 1033579"/>
                <a:gd name="connsiteY58" fmla="*/ 600072 h 838042"/>
                <a:gd name="connsiteX59" fmla="*/ 523624 w 1033579"/>
                <a:gd name="connsiteY59" fmla="*/ 565123 h 838042"/>
                <a:gd name="connsiteX60" fmla="*/ 599462 w 1033579"/>
                <a:gd name="connsiteY60" fmla="*/ 550915 h 838042"/>
                <a:gd name="connsiteX61" fmla="*/ 707915 w 1033579"/>
                <a:gd name="connsiteY61" fmla="*/ 612819 h 838042"/>
                <a:gd name="connsiteX62" fmla="*/ 780236 w 1033579"/>
                <a:gd name="connsiteY62" fmla="*/ 656959 h 838042"/>
                <a:gd name="connsiteX63" fmla="*/ 805001 w 1033579"/>
                <a:gd name="connsiteY63" fmla="*/ 632194 h 838042"/>
                <a:gd name="connsiteX64" fmla="*/ 801191 w 1033579"/>
                <a:gd name="connsiteY64" fmla="*/ 601714 h 838042"/>
                <a:gd name="connsiteX65" fmla="*/ 762910 w 1033579"/>
                <a:gd name="connsiteY65" fmla="*/ 562523 h 838042"/>
                <a:gd name="connsiteX66" fmla="*/ 650696 w 1033579"/>
                <a:gd name="connsiteY66" fmla="*/ 479794 h 838042"/>
                <a:gd name="connsiteX67" fmla="*/ 646886 w 1033579"/>
                <a:gd name="connsiteY67" fmla="*/ 462649 h 838042"/>
                <a:gd name="connsiteX68" fmla="*/ 658316 w 1033579"/>
                <a:gd name="connsiteY68" fmla="*/ 426454 h 838042"/>
                <a:gd name="connsiteX69" fmla="*/ 726896 w 1033579"/>
                <a:gd name="connsiteY69" fmla="*/ 405499 h 838042"/>
                <a:gd name="connsiteX70" fmla="*/ 813852 w 1033579"/>
                <a:gd name="connsiteY70" fmla="*/ 406906 h 838042"/>
                <a:gd name="connsiteX71" fmla="*/ 906345 w 1033579"/>
                <a:gd name="connsiteY71" fmla="*/ 417646 h 838042"/>
                <a:gd name="connsiteX72" fmla="*/ 1002404 w 1033579"/>
                <a:gd name="connsiteY72" fmla="*/ 426835 h 838042"/>
                <a:gd name="connsiteX73" fmla="*/ 1032563 w 1033579"/>
                <a:gd name="connsiteY73" fmla="*/ 402711 h 838042"/>
                <a:gd name="connsiteX74" fmla="*/ 1020628 w 1033579"/>
                <a:gd name="connsiteY74" fmla="*/ 377797 h 838042"/>
                <a:gd name="connsiteX75" fmla="*/ 965003 w 1033579"/>
                <a:gd name="connsiteY75" fmla="*/ 358029 h 838042"/>
                <a:gd name="connsiteX76" fmla="*/ 827861 w 1033579"/>
                <a:gd name="connsiteY76" fmla="*/ 357874 h 838042"/>
                <a:gd name="connsiteX77" fmla="*/ 755925 w 1033579"/>
                <a:gd name="connsiteY77" fmla="*/ 361702 h 838042"/>
                <a:gd name="connsiteX78" fmla="*/ 671651 w 1033579"/>
                <a:gd name="connsiteY78" fmla="*/ 369304 h 838042"/>
                <a:gd name="connsiteX79" fmla="*/ 644981 w 1033579"/>
                <a:gd name="connsiteY79" fmla="*/ 338824 h 838042"/>
                <a:gd name="connsiteX80" fmla="*/ 676517 w 1033579"/>
                <a:gd name="connsiteY80" fmla="*/ 304962 h 838042"/>
                <a:gd name="connsiteX81" fmla="*/ 707846 w 1033579"/>
                <a:gd name="connsiteY81" fmla="*/ 283579 h 838042"/>
                <a:gd name="connsiteX82" fmla="*/ 744041 w 1033579"/>
                <a:gd name="connsiteY82" fmla="*/ 251194 h 838042"/>
                <a:gd name="connsiteX83" fmla="*/ 783133 w 1033579"/>
                <a:gd name="connsiteY83" fmla="*/ 213846 h 838042"/>
                <a:gd name="connsiteX84" fmla="*/ 746515 w 1033579"/>
                <a:gd name="connsiteY84" fmla="*/ 201789 h 838042"/>
                <a:gd name="connsiteX85" fmla="*/ 694511 w 1033579"/>
                <a:gd name="connsiteY85" fmla="*/ 226429 h 838042"/>
                <a:gd name="connsiteX86" fmla="*/ 656792 w 1033579"/>
                <a:gd name="connsiteY86" fmla="*/ 257626 h 838042"/>
                <a:gd name="connsiteX87" fmla="*/ 616115 w 1033579"/>
                <a:gd name="connsiteY87" fmla="*/ 286712 h 838042"/>
                <a:gd name="connsiteX88" fmla="*/ 564971 w 1033579"/>
                <a:gd name="connsiteY88" fmla="*/ 287389 h 838042"/>
                <a:gd name="connsiteX89" fmla="*/ 530681 w 1033579"/>
                <a:gd name="connsiteY89" fmla="*/ 274054 h 838042"/>
                <a:gd name="connsiteX90" fmla="*/ 507821 w 1033579"/>
                <a:gd name="connsiteY90" fmla="*/ 235954 h 838042"/>
                <a:gd name="connsiteX91" fmla="*/ 509726 w 1033579"/>
                <a:gd name="connsiteY91" fmla="*/ 171184 h 838042"/>
                <a:gd name="connsiteX92" fmla="*/ 508428 w 1033579"/>
                <a:gd name="connsiteY92" fmla="*/ 73485 h 838042"/>
                <a:gd name="connsiteX93" fmla="*/ 454230 w 1033579"/>
                <a:gd name="connsiteY93" fmla="*/ 11248 h 838042"/>
                <a:gd name="connsiteX94" fmla="*/ 442584 w 1033579"/>
                <a:gd name="connsiteY94" fmla="*/ 75864 h 838042"/>
                <a:gd name="connsiteX95" fmla="*/ 439340 w 1033579"/>
                <a:gd name="connsiteY95" fmla="*/ 132660 h 838042"/>
                <a:gd name="connsiteX96" fmla="*/ 436168 w 1033579"/>
                <a:gd name="connsiteY96" fmla="*/ 214465 h 838042"/>
                <a:gd name="connsiteX0" fmla="*/ 436745 w 1034156"/>
                <a:gd name="connsiteY0" fmla="*/ 214465 h 838042"/>
                <a:gd name="connsiteX1" fmla="*/ 424578 w 1034156"/>
                <a:gd name="connsiteY1" fmla="*/ 253099 h 838042"/>
                <a:gd name="connsiteX2" fmla="*/ 397908 w 1034156"/>
                <a:gd name="connsiteY2" fmla="*/ 262624 h 838042"/>
                <a:gd name="connsiteX3" fmla="*/ 359280 w 1034156"/>
                <a:gd name="connsiteY3" fmla="*/ 271935 h 838042"/>
                <a:gd name="connsiteX4" fmla="*/ 315993 w 1034156"/>
                <a:gd name="connsiteY4" fmla="*/ 289293 h 838042"/>
                <a:gd name="connsiteX5" fmla="*/ 268368 w 1034156"/>
                <a:gd name="connsiteY5" fmla="*/ 285484 h 838042"/>
                <a:gd name="connsiteX6" fmla="*/ 222648 w 1034156"/>
                <a:gd name="connsiteY6" fmla="*/ 272149 h 838042"/>
                <a:gd name="connsiteX7" fmla="*/ 192168 w 1034156"/>
                <a:gd name="connsiteY7" fmla="*/ 262624 h 838042"/>
                <a:gd name="connsiteX8" fmla="*/ 159783 w 1034156"/>
                <a:gd name="connsiteY8" fmla="*/ 239764 h 838042"/>
                <a:gd name="connsiteX9" fmla="*/ 125023 w 1034156"/>
                <a:gd name="connsiteY9" fmla="*/ 218050 h 838042"/>
                <a:gd name="connsiteX10" fmla="*/ 104538 w 1034156"/>
                <a:gd name="connsiteY10" fmla="*/ 203569 h 838042"/>
                <a:gd name="connsiteX11" fmla="*/ 62628 w 1034156"/>
                <a:gd name="connsiteY11" fmla="*/ 197854 h 838042"/>
                <a:gd name="connsiteX12" fmla="*/ 51280 w 1034156"/>
                <a:gd name="connsiteY12" fmla="*/ 241190 h 838042"/>
                <a:gd name="connsiteX13" fmla="*/ 66439 w 1034156"/>
                <a:gd name="connsiteY13" fmla="*/ 272150 h 838042"/>
                <a:gd name="connsiteX14" fmla="*/ 127398 w 1034156"/>
                <a:gd name="connsiteY14" fmla="*/ 289294 h 838042"/>
                <a:gd name="connsiteX15" fmla="*/ 194073 w 1034156"/>
                <a:gd name="connsiteY15" fmla="*/ 308344 h 838042"/>
                <a:gd name="connsiteX16" fmla="*/ 229502 w 1034156"/>
                <a:gd name="connsiteY16" fmla="*/ 323832 h 838042"/>
                <a:gd name="connsiteX17" fmla="*/ 282901 w 1034156"/>
                <a:gd name="connsiteY17" fmla="*/ 354067 h 838042"/>
                <a:gd name="connsiteX18" fmla="*/ 293488 w 1034156"/>
                <a:gd name="connsiteY18" fmla="*/ 404246 h 838042"/>
                <a:gd name="connsiteX19" fmla="*/ 266463 w 1034156"/>
                <a:gd name="connsiteY19" fmla="*/ 447409 h 838042"/>
                <a:gd name="connsiteX20" fmla="*/ 220189 w 1034156"/>
                <a:gd name="connsiteY20" fmla="*/ 459458 h 838042"/>
                <a:gd name="connsiteX21" fmla="*/ 139776 w 1034156"/>
                <a:gd name="connsiteY21" fmla="*/ 465397 h 838042"/>
                <a:gd name="connsiteX22" fmla="*/ 91203 w 1034156"/>
                <a:gd name="connsiteY22" fmla="*/ 468364 h 838042"/>
                <a:gd name="connsiteX23" fmla="*/ 30243 w 1034156"/>
                <a:gd name="connsiteY23" fmla="*/ 477889 h 838042"/>
                <a:gd name="connsiteX24" fmla="*/ 18813 w 1034156"/>
                <a:gd name="connsiteY24" fmla="*/ 483604 h 838042"/>
                <a:gd name="connsiteX25" fmla="*/ 3573 w 1034156"/>
                <a:gd name="connsiteY25" fmla="*/ 504559 h 838042"/>
                <a:gd name="connsiteX26" fmla="*/ 15003 w 1034156"/>
                <a:gd name="connsiteY26" fmla="*/ 540754 h 838042"/>
                <a:gd name="connsiteX27" fmla="*/ 148353 w 1034156"/>
                <a:gd name="connsiteY27" fmla="*/ 540754 h 838042"/>
                <a:gd name="connsiteX28" fmla="*/ 155973 w 1034156"/>
                <a:gd name="connsiteY28" fmla="*/ 538849 h 838042"/>
                <a:gd name="connsiteX29" fmla="*/ 306468 w 1034156"/>
                <a:gd name="connsiteY29" fmla="*/ 533134 h 838042"/>
                <a:gd name="connsiteX30" fmla="*/ 321708 w 1034156"/>
                <a:gd name="connsiteY30" fmla="*/ 540754 h 838042"/>
                <a:gd name="connsiteX31" fmla="*/ 333138 w 1034156"/>
                <a:gd name="connsiteY31" fmla="*/ 546469 h 838042"/>
                <a:gd name="connsiteX32" fmla="*/ 336948 w 1034156"/>
                <a:gd name="connsiteY32" fmla="*/ 552184 h 838042"/>
                <a:gd name="connsiteX33" fmla="*/ 342663 w 1034156"/>
                <a:gd name="connsiteY33" fmla="*/ 554089 h 838042"/>
                <a:gd name="connsiteX34" fmla="*/ 354093 w 1034156"/>
                <a:gd name="connsiteY34" fmla="*/ 561709 h 838042"/>
                <a:gd name="connsiteX35" fmla="*/ 359808 w 1034156"/>
                <a:gd name="connsiteY35" fmla="*/ 565519 h 838042"/>
                <a:gd name="connsiteX36" fmla="*/ 363618 w 1034156"/>
                <a:gd name="connsiteY36" fmla="*/ 571234 h 838042"/>
                <a:gd name="connsiteX37" fmla="*/ 369333 w 1034156"/>
                <a:gd name="connsiteY37" fmla="*/ 582664 h 838042"/>
                <a:gd name="connsiteX38" fmla="*/ 365523 w 1034156"/>
                <a:gd name="connsiteY38" fmla="*/ 609334 h 838042"/>
                <a:gd name="connsiteX39" fmla="*/ 361713 w 1034156"/>
                <a:gd name="connsiteY39" fmla="*/ 615049 h 838042"/>
                <a:gd name="connsiteX40" fmla="*/ 359808 w 1034156"/>
                <a:gd name="connsiteY40" fmla="*/ 620764 h 838042"/>
                <a:gd name="connsiteX41" fmla="*/ 355998 w 1034156"/>
                <a:gd name="connsiteY41" fmla="*/ 626479 h 838042"/>
                <a:gd name="connsiteX42" fmla="*/ 354093 w 1034156"/>
                <a:gd name="connsiteY42" fmla="*/ 632194 h 838042"/>
                <a:gd name="connsiteX43" fmla="*/ 350283 w 1034156"/>
                <a:gd name="connsiteY43" fmla="*/ 637909 h 838042"/>
                <a:gd name="connsiteX44" fmla="*/ 333138 w 1034156"/>
                <a:gd name="connsiteY44" fmla="*/ 704584 h 838042"/>
                <a:gd name="connsiteX45" fmla="*/ 331233 w 1034156"/>
                <a:gd name="connsiteY45" fmla="*/ 756019 h 838042"/>
                <a:gd name="connsiteX46" fmla="*/ 333138 w 1034156"/>
                <a:gd name="connsiteY46" fmla="*/ 780784 h 838042"/>
                <a:gd name="connsiteX47" fmla="*/ 335043 w 1034156"/>
                <a:gd name="connsiteY47" fmla="*/ 786499 h 838042"/>
                <a:gd name="connsiteX48" fmla="*/ 338853 w 1034156"/>
                <a:gd name="connsiteY48" fmla="*/ 790309 h 838042"/>
                <a:gd name="connsiteX49" fmla="*/ 367428 w 1034156"/>
                <a:gd name="connsiteY49" fmla="*/ 836029 h 838042"/>
                <a:gd name="connsiteX50" fmla="*/ 390288 w 1034156"/>
                <a:gd name="connsiteY50" fmla="*/ 837934 h 838042"/>
                <a:gd name="connsiteX51" fmla="*/ 398098 w 1034156"/>
                <a:gd name="connsiteY51" fmla="*/ 833530 h 838042"/>
                <a:gd name="connsiteX52" fmla="*/ 403623 w 1034156"/>
                <a:gd name="connsiteY52" fmla="*/ 784594 h 838042"/>
                <a:gd name="connsiteX53" fmla="*/ 407433 w 1034156"/>
                <a:gd name="connsiteY53" fmla="*/ 727444 h 838042"/>
                <a:gd name="connsiteX54" fmla="*/ 424578 w 1034156"/>
                <a:gd name="connsiteY54" fmla="*/ 672199 h 838042"/>
                <a:gd name="connsiteX55" fmla="*/ 430293 w 1034156"/>
                <a:gd name="connsiteY55" fmla="*/ 658864 h 838042"/>
                <a:gd name="connsiteX56" fmla="*/ 444775 w 1034156"/>
                <a:gd name="connsiteY56" fmla="*/ 626947 h 838042"/>
                <a:gd name="connsiteX57" fmla="*/ 464980 w 1034156"/>
                <a:gd name="connsiteY57" fmla="*/ 600072 h 838042"/>
                <a:gd name="connsiteX58" fmla="*/ 524201 w 1034156"/>
                <a:gd name="connsiteY58" fmla="*/ 565123 h 838042"/>
                <a:gd name="connsiteX59" fmla="*/ 600039 w 1034156"/>
                <a:gd name="connsiteY59" fmla="*/ 550915 h 838042"/>
                <a:gd name="connsiteX60" fmla="*/ 708492 w 1034156"/>
                <a:gd name="connsiteY60" fmla="*/ 612819 h 838042"/>
                <a:gd name="connsiteX61" fmla="*/ 780813 w 1034156"/>
                <a:gd name="connsiteY61" fmla="*/ 656959 h 838042"/>
                <a:gd name="connsiteX62" fmla="*/ 805578 w 1034156"/>
                <a:gd name="connsiteY62" fmla="*/ 632194 h 838042"/>
                <a:gd name="connsiteX63" fmla="*/ 801768 w 1034156"/>
                <a:gd name="connsiteY63" fmla="*/ 601714 h 838042"/>
                <a:gd name="connsiteX64" fmla="*/ 763487 w 1034156"/>
                <a:gd name="connsiteY64" fmla="*/ 562523 h 838042"/>
                <a:gd name="connsiteX65" fmla="*/ 651273 w 1034156"/>
                <a:gd name="connsiteY65" fmla="*/ 479794 h 838042"/>
                <a:gd name="connsiteX66" fmla="*/ 647463 w 1034156"/>
                <a:gd name="connsiteY66" fmla="*/ 462649 h 838042"/>
                <a:gd name="connsiteX67" fmla="*/ 658893 w 1034156"/>
                <a:gd name="connsiteY67" fmla="*/ 426454 h 838042"/>
                <a:gd name="connsiteX68" fmla="*/ 727473 w 1034156"/>
                <a:gd name="connsiteY68" fmla="*/ 405499 h 838042"/>
                <a:gd name="connsiteX69" fmla="*/ 814429 w 1034156"/>
                <a:gd name="connsiteY69" fmla="*/ 406906 h 838042"/>
                <a:gd name="connsiteX70" fmla="*/ 906922 w 1034156"/>
                <a:gd name="connsiteY70" fmla="*/ 417646 h 838042"/>
                <a:gd name="connsiteX71" fmla="*/ 1002981 w 1034156"/>
                <a:gd name="connsiteY71" fmla="*/ 426835 h 838042"/>
                <a:gd name="connsiteX72" fmla="*/ 1033140 w 1034156"/>
                <a:gd name="connsiteY72" fmla="*/ 402711 h 838042"/>
                <a:gd name="connsiteX73" fmla="*/ 1021205 w 1034156"/>
                <a:gd name="connsiteY73" fmla="*/ 377797 h 838042"/>
                <a:gd name="connsiteX74" fmla="*/ 965580 w 1034156"/>
                <a:gd name="connsiteY74" fmla="*/ 358029 h 838042"/>
                <a:gd name="connsiteX75" fmla="*/ 828438 w 1034156"/>
                <a:gd name="connsiteY75" fmla="*/ 357874 h 838042"/>
                <a:gd name="connsiteX76" fmla="*/ 756502 w 1034156"/>
                <a:gd name="connsiteY76" fmla="*/ 361702 h 838042"/>
                <a:gd name="connsiteX77" fmla="*/ 672228 w 1034156"/>
                <a:gd name="connsiteY77" fmla="*/ 369304 h 838042"/>
                <a:gd name="connsiteX78" fmla="*/ 645558 w 1034156"/>
                <a:gd name="connsiteY78" fmla="*/ 338824 h 838042"/>
                <a:gd name="connsiteX79" fmla="*/ 677094 w 1034156"/>
                <a:gd name="connsiteY79" fmla="*/ 304962 h 838042"/>
                <a:gd name="connsiteX80" fmla="*/ 708423 w 1034156"/>
                <a:gd name="connsiteY80" fmla="*/ 283579 h 838042"/>
                <a:gd name="connsiteX81" fmla="*/ 744618 w 1034156"/>
                <a:gd name="connsiteY81" fmla="*/ 251194 h 838042"/>
                <a:gd name="connsiteX82" fmla="*/ 783710 w 1034156"/>
                <a:gd name="connsiteY82" fmla="*/ 213846 h 838042"/>
                <a:gd name="connsiteX83" fmla="*/ 747092 w 1034156"/>
                <a:gd name="connsiteY83" fmla="*/ 201789 h 838042"/>
                <a:gd name="connsiteX84" fmla="*/ 695088 w 1034156"/>
                <a:gd name="connsiteY84" fmla="*/ 226429 h 838042"/>
                <a:gd name="connsiteX85" fmla="*/ 657369 w 1034156"/>
                <a:gd name="connsiteY85" fmla="*/ 257626 h 838042"/>
                <a:gd name="connsiteX86" fmla="*/ 616692 w 1034156"/>
                <a:gd name="connsiteY86" fmla="*/ 286712 h 838042"/>
                <a:gd name="connsiteX87" fmla="*/ 565548 w 1034156"/>
                <a:gd name="connsiteY87" fmla="*/ 287389 h 838042"/>
                <a:gd name="connsiteX88" fmla="*/ 531258 w 1034156"/>
                <a:gd name="connsiteY88" fmla="*/ 274054 h 838042"/>
                <a:gd name="connsiteX89" fmla="*/ 508398 w 1034156"/>
                <a:gd name="connsiteY89" fmla="*/ 235954 h 838042"/>
                <a:gd name="connsiteX90" fmla="*/ 510303 w 1034156"/>
                <a:gd name="connsiteY90" fmla="*/ 171184 h 838042"/>
                <a:gd name="connsiteX91" fmla="*/ 509005 w 1034156"/>
                <a:gd name="connsiteY91" fmla="*/ 73485 h 838042"/>
                <a:gd name="connsiteX92" fmla="*/ 454807 w 1034156"/>
                <a:gd name="connsiteY92" fmla="*/ 11248 h 838042"/>
                <a:gd name="connsiteX93" fmla="*/ 443161 w 1034156"/>
                <a:gd name="connsiteY93" fmla="*/ 75864 h 838042"/>
                <a:gd name="connsiteX94" fmla="*/ 439917 w 1034156"/>
                <a:gd name="connsiteY94" fmla="*/ 132660 h 838042"/>
                <a:gd name="connsiteX95" fmla="*/ 436745 w 1034156"/>
                <a:gd name="connsiteY95" fmla="*/ 214465 h 838042"/>
                <a:gd name="connsiteX0" fmla="*/ 437462 w 1034873"/>
                <a:gd name="connsiteY0" fmla="*/ 214465 h 838042"/>
                <a:gd name="connsiteX1" fmla="*/ 425295 w 1034873"/>
                <a:gd name="connsiteY1" fmla="*/ 253099 h 838042"/>
                <a:gd name="connsiteX2" fmla="*/ 398625 w 1034873"/>
                <a:gd name="connsiteY2" fmla="*/ 262624 h 838042"/>
                <a:gd name="connsiteX3" fmla="*/ 359997 w 1034873"/>
                <a:gd name="connsiteY3" fmla="*/ 271935 h 838042"/>
                <a:gd name="connsiteX4" fmla="*/ 316710 w 1034873"/>
                <a:gd name="connsiteY4" fmla="*/ 289293 h 838042"/>
                <a:gd name="connsiteX5" fmla="*/ 269085 w 1034873"/>
                <a:gd name="connsiteY5" fmla="*/ 285484 h 838042"/>
                <a:gd name="connsiteX6" fmla="*/ 223365 w 1034873"/>
                <a:gd name="connsiteY6" fmla="*/ 272149 h 838042"/>
                <a:gd name="connsiteX7" fmla="*/ 192885 w 1034873"/>
                <a:gd name="connsiteY7" fmla="*/ 262624 h 838042"/>
                <a:gd name="connsiteX8" fmla="*/ 160500 w 1034873"/>
                <a:gd name="connsiteY8" fmla="*/ 239764 h 838042"/>
                <a:gd name="connsiteX9" fmla="*/ 125740 w 1034873"/>
                <a:gd name="connsiteY9" fmla="*/ 218050 h 838042"/>
                <a:gd name="connsiteX10" fmla="*/ 105255 w 1034873"/>
                <a:gd name="connsiteY10" fmla="*/ 203569 h 838042"/>
                <a:gd name="connsiteX11" fmla="*/ 63345 w 1034873"/>
                <a:gd name="connsiteY11" fmla="*/ 197854 h 838042"/>
                <a:gd name="connsiteX12" fmla="*/ 51997 w 1034873"/>
                <a:gd name="connsiteY12" fmla="*/ 241190 h 838042"/>
                <a:gd name="connsiteX13" fmla="*/ 67156 w 1034873"/>
                <a:gd name="connsiteY13" fmla="*/ 272150 h 838042"/>
                <a:gd name="connsiteX14" fmla="*/ 128115 w 1034873"/>
                <a:gd name="connsiteY14" fmla="*/ 289294 h 838042"/>
                <a:gd name="connsiteX15" fmla="*/ 194790 w 1034873"/>
                <a:gd name="connsiteY15" fmla="*/ 308344 h 838042"/>
                <a:gd name="connsiteX16" fmla="*/ 230219 w 1034873"/>
                <a:gd name="connsiteY16" fmla="*/ 323832 h 838042"/>
                <a:gd name="connsiteX17" fmla="*/ 283618 w 1034873"/>
                <a:gd name="connsiteY17" fmla="*/ 354067 h 838042"/>
                <a:gd name="connsiteX18" fmla="*/ 294205 w 1034873"/>
                <a:gd name="connsiteY18" fmla="*/ 404246 h 838042"/>
                <a:gd name="connsiteX19" fmla="*/ 267180 w 1034873"/>
                <a:gd name="connsiteY19" fmla="*/ 447409 h 838042"/>
                <a:gd name="connsiteX20" fmla="*/ 220906 w 1034873"/>
                <a:gd name="connsiteY20" fmla="*/ 459458 h 838042"/>
                <a:gd name="connsiteX21" fmla="*/ 140493 w 1034873"/>
                <a:gd name="connsiteY21" fmla="*/ 465397 h 838042"/>
                <a:gd name="connsiteX22" fmla="*/ 91920 w 1034873"/>
                <a:gd name="connsiteY22" fmla="*/ 468364 h 838042"/>
                <a:gd name="connsiteX23" fmla="*/ 30960 w 1034873"/>
                <a:gd name="connsiteY23" fmla="*/ 477889 h 838042"/>
                <a:gd name="connsiteX24" fmla="*/ 4290 w 1034873"/>
                <a:gd name="connsiteY24" fmla="*/ 504559 h 838042"/>
                <a:gd name="connsiteX25" fmla="*/ 15720 w 1034873"/>
                <a:gd name="connsiteY25" fmla="*/ 540754 h 838042"/>
                <a:gd name="connsiteX26" fmla="*/ 149070 w 1034873"/>
                <a:gd name="connsiteY26" fmla="*/ 540754 h 838042"/>
                <a:gd name="connsiteX27" fmla="*/ 156690 w 1034873"/>
                <a:gd name="connsiteY27" fmla="*/ 538849 h 838042"/>
                <a:gd name="connsiteX28" fmla="*/ 307185 w 1034873"/>
                <a:gd name="connsiteY28" fmla="*/ 533134 h 838042"/>
                <a:gd name="connsiteX29" fmla="*/ 322425 w 1034873"/>
                <a:gd name="connsiteY29" fmla="*/ 540754 h 838042"/>
                <a:gd name="connsiteX30" fmla="*/ 333855 w 1034873"/>
                <a:gd name="connsiteY30" fmla="*/ 546469 h 838042"/>
                <a:gd name="connsiteX31" fmla="*/ 337665 w 1034873"/>
                <a:gd name="connsiteY31" fmla="*/ 552184 h 838042"/>
                <a:gd name="connsiteX32" fmla="*/ 343380 w 1034873"/>
                <a:gd name="connsiteY32" fmla="*/ 554089 h 838042"/>
                <a:gd name="connsiteX33" fmla="*/ 354810 w 1034873"/>
                <a:gd name="connsiteY33" fmla="*/ 561709 h 838042"/>
                <a:gd name="connsiteX34" fmla="*/ 360525 w 1034873"/>
                <a:gd name="connsiteY34" fmla="*/ 565519 h 838042"/>
                <a:gd name="connsiteX35" fmla="*/ 364335 w 1034873"/>
                <a:gd name="connsiteY35" fmla="*/ 571234 h 838042"/>
                <a:gd name="connsiteX36" fmla="*/ 370050 w 1034873"/>
                <a:gd name="connsiteY36" fmla="*/ 582664 h 838042"/>
                <a:gd name="connsiteX37" fmla="*/ 366240 w 1034873"/>
                <a:gd name="connsiteY37" fmla="*/ 609334 h 838042"/>
                <a:gd name="connsiteX38" fmla="*/ 362430 w 1034873"/>
                <a:gd name="connsiteY38" fmla="*/ 615049 h 838042"/>
                <a:gd name="connsiteX39" fmla="*/ 360525 w 1034873"/>
                <a:gd name="connsiteY39" fmla="*/ 620764 h 838042"/>
                <a:gd name="connsiteX40" fmla="*/ 356715 w 1034873"/>
                <a:gd name="connsiteY40" fmla="*/ 626479 h 838042"/>
                <a:gd name="connsiteX41" fmla="*/ 354810 w 1034873"/>
                <a:gd name="connsiteY41" fmla="*/ 632194 h 838042"/>
                <a:gd name="connsiteX42" fmla="*/ 351000 w 1034873"/>
                <a:gd name="connsiteY42" fmla="*/ 637909 h 838042"/>
                <a:gd name="connsiteX43" fmla="*/ 333855 w 1034873"/>
                <a:gd name="connsiteY43" fmla="*/ 704584 h 838042"/>
                <a:gd name="connsiteX44" fmla="*/ 331950 w 1034873"/>
                <a:gd name="connsiteY44" fmla="*/ 756019 h 838042"/>
                <a:gd name="connsiteX45" fmla="*/ 333855 w 1034873"/>
                <a:gd name="connsiteY45" fmla="*/ 780784 h 838042"/>
                <a:gd name="connsiteX46" fmla="*/ 335760 w 1034873"/>
                <a:gd name="connsiteY46" fmla="*/ 786499 h 838042"/>
                <a:gd name="connsiteX47" fmla="*/ 339570 w 1034873"/>
                <a:gd name="connsiteY47" fmla="*/ 790309 h 838042"/>
                <a:gd name="connsiteX48" fmla="*/ 368145 w 1034873"/>
                <a:gd name="connsiteY48" fmla="*/ 836029 h 838042"/>
                <a:gd name="connsiteX49" fmla="*/ 391005 w 1034873"/>
                <a:gd name="connsiteY49" fmla="*/ 837934 h 838042"/>
                <a:gd name="connsiteX50" fmla="*/ 398815 w 1034873"/>
                <a:gd name="connsiteY50" fmla="*/ 833530 h 838042"/>
                <a:gd name="connsiteX51" fmla="*/ 404340 w 1034873"/>
                <a:gd name="connsiteY51" fmla="*/ 784594 h 838042"/>
                <a:gd name="connsiteX52" fmla="*/ 408150 w 1034873"/>
                <a:gd name="connsiteY52" fmla="*/ 727444 h 838042"/>
                <a:gd name="connsiteX53" fmla="*/ 425295 w 1034873"/>
                <a:gd name="connsiteY53" fmla="*/ 672199 h 838042"/>
                <a:gd name="connsiteX54" fmla="*/ 431010 w 1034873"/>
                <a:gd name="connsiteY54" fmla="*/ 658864 h 838042"/>
                <a:gd name="connsiteX55" fmla="*/ 445492 w 1034873"/>
                <a:gd name="connsiteY55" fmla="*/ 626947 h 838042"/>
                <a:gd name="connsiteX56" fmla="*/ 465697 w 1034873"/>
                <a:gd name="connsiteY56" fmla="*/ 600072 h 838042"/>
                <a:gd name="connsiteX57" fmla="*/ 524918 w 1034873"/>
                <a:gd name="connsiteY57" fmla="*/ 565123 h 838042"/>
                <a:gd name="connsiteX58" fmla="*/ 600756 w 1034873"/>
                <a:gd name="connsiteY58" fmla="*/ 550915 h 838042"/>
                <a:gd name="connsiteX59" fmla="*/ 709209 w 1034873"/>
                <a:gd name="connsiteY59" fmla="*/ 612819 h 838042"/>
                <a:gd name="connsiteX60" fmla="*/ 781530 w 1034873"/>
                <a:gd name="connsiteY60" fmla="*/ 656959 h 838042"/>
                <a:gd name="connsiteX61" fmla="*/ 806295 w 1034873"/>
                <a:gd name="connsiteY61" fmla="*/ 632194 h 838042"/>
                <a:gd name="connsiteX62" fmla="*/ 802485 w 1034873"/>
                <a:gd name="connsiteY62" fmla="*/ 601714 h 838042"/>
                <a:gd name="connsiteX63" fmla="*/ 764204 w 1034873"/>
                <a:gd name="connsiteY63" fmla="*/ 562523 h 838042"/>
                <a:gd name="connsiteX64" fmla="*/ 651990 w 1034873"/>
                <a:gd name="connsiteY64" fmla="*/ 479794 h 838042"/>
                <a:gd name="connsiteX65" fmla="*/ 648180 w 1034873"/>
                <a:gd name="connsiteY65" fmla="*/ 462649 h 838042"/>
                <a:gd name="connsiteX66" fmla="*/ 659610 w 1034873"/>
                <a:gd name="connsiteY66" fmla="*/ 426454 h 838042"/>
                <a:gd name="connsiteX67" fmla="*/ 728190 w 1034873"/>
                <a:gd name="connsiteY67" fmla="*/ 405499 h 838042"/>
                <a:gd name="connsiteX68" fmla="*/ 815146 w 1034873"/>
                <a:gd name="connsiteY68" fmla="*/ 406906 h 838042"/>
                <a:gd name="connsiteX69" fmla="*/ 907639 w 1034873"/>
                <a:gd name="connsiteY69" fmla="*/ 417646 h 838042"/>
                <a:gd name="connsiteX70" fmla="*/ 1003698 w 1034873"/>
                <a:gd name="connsiteY70" fmla="*/ 426835 h 838042"/>
                <a:gd name="connsiteX71" fmla="*/ 1033857 w 1034873"/>
                <a:gd name="connsiteY71" fmla="*/ 402711 h 838042"/>
                <a:gd name="connsiteX72" fmla="*/ 1021922 w 1034873"/>
                <a:gd name="connsiteY72" fmla="*/ 377797 h 838042"/>
                <a:gd name="connsiteX73" fmla="*/ 966297 w 1034873"/>
                <a:gd name="connsiteY73" fmla="*/ 358029 h 838042"/>
                <a:gd name="connsiteX74" fmla="*/ 829155 w 1034873"/>
                <a:gd name="connsiteY74" fmla="*/ 357874 h 838042"/>
                <a:gd name="connsiteX75" fmla="*/ 757219 w 1034873"/>
                <a:gd name="connsiteY75" fmla="*/ 361702 h 838042"/>
                <a:gd name="connsiteX76" fmla="*/ 672945 w 1034873"/>
                <a:gd name="connsiteY76" fmla="*/ 369304 h 838042"/>
                <a:gd name="connsiteX77" fmla="*/ 646275 w 1034873"/>
                <a:gd name="connsiteY77" fmla="*/ 338824 h 838042"/>
                <a:gd name="connsiteX78" fmla="*/ 677811 w 1034873"/>
                <a:gd name="connsiteY78" fmla="*/ 304962 h 838042"/>
                <a:gd name="connsiteX79" fmla="*/ 709140 w 1034873"/>
                <a:gd name="connsiteY79" fmla="*/ 283579 h 838042"/>
                <a:gd name="connsiteX80" fmla="*/ 745335 w 1034873"/>
                <a:gd name="connsiteY80" fmla="*/ 251194 h 838042"/>
                <a:gd name="connsiteX81" fmla="*/ 784427 w 1034873"/>
                <a:gd name="connsiteY81" fmla="*/ 213846 h 838042"/>
                <a:gd name="connsiteX82" fmla="*/ 747809 w 1034873"/>
                <a:gd name="connsiteY82" fmla="*/ 201789 h 838042"/>
                <a:gd name="connsiteX83" fmla="*/ 695805 w 1034873"/>
                <a:gd name="connsiteY83" fmla="*/ 226429 h 838042"/>
                <a:gd name="connsiteX84" fmla="*/ 658086 w 1034873"/>
                <a:gd name="connsiteY84" fmla="*/ 257626 h 838042"/>
                <a:gd name="connsiteX85" fmla="*/ 617409 w 1034873"/>
                <a:gd name="connsiteY85" fmla="*/ 286712 h 838042"/>
                <a:gd name="connsiteX86" fmla="*/ 566265 w 1034873"/>
                <a:gd name="connsiteY86" fmla="*/ 287389 h 838042"/>
                <a:gd name="connsiteX87" fmla="*/ 531975 w 1034873"/>
                <a:gd name="connsiteY87" fmla="*/ 274054 h 838042"/>
                <a:gd name="connsiteX88" fmla="*/ 509115 w 1034873"/>
                <a:gd name="connsiteY88" fmla="*/ 235954 h 838042"/>
                <a:gd name="connsiteX89" fmla="*/ 511020 w 1034873"/>
                <a:gd name="connsiteY89" fmla="*/ 171184 h 838042"/>
                <a:gd name="connsiteX90" fmla="*/ 509722 w 1034873"/>
                <a:gd name="connsiteY90" fmla="*/ 73485 h 838042"/>
                <a:gd name="connsiteX91" fmla="*/ 455524 w 1034873"/>
                <a:gd name="connsiteY91" fmla="*/ 11248 h 838042"/>
                <a:gd name="connsiteX92" fmla="*/ 443878 w 1034873"/>
                <a:gd name="connsiteY92" fmla="*/ 75864 h 838042"/>
                <a:gd name="connsiteX93" fmla="*/ 440634 w 1034873"/>
                <a:gd name="connsiteY93" fmla="*/ 132660 h 838042"/>
                <a:gd name="connsiteX94" fmla="*/ 437462 w 1034873"/>
                <a:gd name="connsiteY94"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84090 w 1035345"/>
                <a:gd name="connsiteY17" fmla="*/ 354067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294677 w 1035345"/>
                <a:gd name="connsiteY18" fmla="*/ 404246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38137 w 1035345"/>
                <a:gd name="connsiteY30" fmla="*/ 552184 h 838042"/>
                <a:gd name="connsiteX31" fmla="*/ 343852 w 1035345"/>
                <a:gd name="connsiteY31" fmla="*/ 554089 h 838042"/>
                <a:gd name="connsiteX32" fmla="*/ 355282 w 1035345"/>
                <a:gd name="connsiteY32" fmla="*/ 561709 h 838042"/>
                <a:gd name="connsiteX33" fmla="*/ 360997 w 1035345"/>
                <a:gd name="connsiteY33" fmla="*/ 565519 h 838042"/>
                <a:gd name="connsiteX34" fmla="*/ 364807 w 1035345"/>
                <a:gd name="connsiteY34" fmla="*/ 571234 h 838042"/>
                <a:gd name="connsiteX35" fmla="*/ 370522 w 1035345"/>
                <a:gd name="connsiteY35" fmla="*/ 582664 h 838042"/>
                <a:gd name="connsiteX36" fmla="*/ 366712 w 1035345"/>
                <a:gd name="connsiteY36" fmla="*/ 609334 h 838042"/>
                <a:gd name="connsiteX37" fmla="*/ 362902 w 1035345"/>
                <a:gd name="connsiteY37" fmla="*/ 615049 h 838042"/>
                <a:gd name="connsiteX38" fmla="*/ 360997 w 1035345"/>
                <a:gd name="connsiteY38" fmla="*/ 620764 h 838042"/>
                <a:gd name="connsiteX39" fmla="*/ 357187 w 1035345"/>
                <a:gd name="connsiteY39" fmla="*/ 626479 h 838042"/>
                <a:gd name="connsiteX40" fmla="*/ 355282 w 1035345"/>
                <a:gd name="connsiteY40" fmla="*/ 632194 h 838042"/>
                <a:gd name="connsiteX41" fmla="*/ 351472 w 1035345"/>
                <a:gd name="connsiteY41" fmla="*/ 637909 h 838042"/>
                <a:gd name="connsiteX42" fmla="*/ 334327 w 1035345"/>
                <a:gd name="connsiteY42" fmla="*/ 704584 h 838042"/>
                <a:gd name="connsiteX43" fmla="*/ 332422 w 1035345"/>
                <a:gd name="connsiteY43" fmla="*/ 756019 h 838042"/>
                <a:gd name="connsiteX44" fmla="*/ 334327 w 1035345"/>
                <a:gd name="connsiteY44" fmla="*/ 780784 h 838042"/>
                <a:gd name="connsiteX45" fmla="*/ 336232 w 1035345"/>
                <a:gd name="connsiteY45" fmla="*/ 786499 h 838042"/>
                <a:gd name="connsiteX46" fmla="*/ 340042 w 1035345"/>
                <a:gd name="connsiteY46" fmla="*/ 790309 h 838042"/>
                <a:gd name="connsiteX47" fmla="*/ 368617 w 1035345"/>
                <a:gd name="connsiteY47" fmla="*/ 836029 h 838042"/>
                <a:gd name="connsiteX48" fmla="*/ 391477 w 1035345"/>
                <a:gd name="connsiteY48" fmla="*/ 837934 h 838042"/>
                <a:gd name="connsiteX49" fmla="*/ 399287 w 1035345"/>
                <a:gd name="connsiteY49" fmla="*/ 833530 h 838042"/>
                <a:gd name="connsiteX50" fmla="*/ 404812 w 1035345"/>
                <a:gd name="connsiteY50" fmla="*/ 784594 h 838042"/>
                <a:gd name="connsiteX51" fmla="*/ 408622 w 1035345"/>
                <a:gd name="connsiteY51" fmla="*/ 727444 h 838042"/>
                <a:gd name="connsiteX52" fmla="*/ 425767 w 1035345"/>
                <a:gd name="connsiteY52" fmla="*/ 672199 h 838042"/>
                <a:gd name="connsiteX53" fmla="*/ 431482 w 1035345"/>
                <a:gd name="connsiteY53" fmla="*/ 658864 h 838042"/>
                <a:gd name="connsiteX54" fmla="*/ 445964 w 1035345"/>
                <a:gd name="connsiteY54" fmla="*/ 626947 h 838042"/>
                <a:gd name="connsiteX55" fmla="*/ 466169 w 1035345"/>
                <a:gd name="connsiteY55" fmla="*/ 600072 h 838042"/>
                <a:gd name="connsiteX56" fmla="*/ 525390 w 1035345"/>
                <a:gd name="connsiteY56" fmla="*/ 565123 h 838042"/>
                <a:gd name="connsiteX57" fmla="*/ 601228 w 1035345"/>
                <a:gd name="connsiteY57" fmla="*/ 550915 h 838042"/>
                <a:gd name="connsiteX58" fmla="*/ 709681 w 1035345"/>
                <a:gd name="connsiteY58" fmla="*/ 612819 h 838042"/>
                <a:gd name="connsiteX59" fmla="*/ 782002 w 1035345"/>
                <a:gd name="connsiteY59" fmla="*/ 656959 h 838042"/>
                <a:gd name="connsiteX60" fmla="*/ 806767 w 1035345"/>
                <a:gd name="connsiteY60" fmla="*/ 632194 h 838042"/>
                <a:gd name="connsiteX61" fmla="*/ 802957 w 1035345"/>
                <a:gd name="connsiteY61" fmla="*/ 601714 h 838042"/>
                <a:gd name="connsiteX62" fmla="*/ 764676 w 1035345"/>
                <a:gd name="connsiteY62" fmla="*/ 562523 h 838042"/>
                <a:gd name="connsiteX63" fmla="*/ 652462 w 1035345"/>
                <a:gd name="connsiteY63" fmla="*/ 479794 h 838042"/>
                <a:gd name="connsiteX64" fmla="*/ 648652 w 1035345"/>
                <a:gd name="connsiteY64" fmla="*/ 462649 h 838042"/>
                <a:gd name="connsiteX65" fmla="*/ 660082 w 1035345"/>
                <a:gd name="connsiteY65" fmla="*/ 426454 h 838042"/>
                <a:gd name="connsiteX66" fmla="*/ 728662 w 1035345"/>
                <a:gd name="connsiteY66" fmla="*/ 405499 h 838042"/>
                <a:gd name="connsiteX67" fmla="*/ 815618 w 1035345"/>
                <a:gd name="connsiteY67" fmla="*/ 406906 h 838042"/>
                <a:gd name="connsiteX68" fmla="*/ 908111 w 1035345"/>
                <a:gd name="connsiteY68" fmla="*/ 417646 h 838042"/>
                <a:gd name="connsiteX69" fmla="*/ 1004170 w 1035345"/>
                <a:gd name="connsiteY69" fmla="*/ 426835 h 838042"/>
                <a:gd name="connsiteX70" fmla="*/ 1034329 w 1035345"/>
                <a:gd name="connsiteY70" fmla="*/ 402711 h 838042"/>
                <a:gd name="connsiteX71" fmla="*/ 1022394 w 1035345"/>
                <a:gd name="connsiteY71" fmla="*/ 377797 h 838042"/>
                <a:gd name="connsiteX72" fmla="*/ 966769 w 1035345"/>
                <a:gd name="connsiteY72" fmla="*/ 358029 h 838042"/>
                <a:gd name="connsiteX73" fmla="*/ 829627 w 1035345"/>
                <a:gd name="connsiteY73" fmla="*/ 357874 h 838042"/>
                <a:gd name="connsiteX74" fmla="*/ 757691 w 1035345"/>
                <a:gd name="connsiteY74" fmla="*/ 361702 h 838042"/>
                <a:gd name="connsiteX75" fmla="*/ 673417 w 1035345"/>
                <a:gd name="connsiteY75" fmla="*/ 369304 h 838042"/>
                <a:gd name="connsiteX76" fmla="*/ 646747 w 1035345"/>
                <a:gd name="connsiteY76" fmla="*/ 338824 h 838042"/>
                <a:gd name="connsiteX77" fmla="*/ 678283 w 1035345"/>
                <a:gd name="connsiteY77" fmla="*/ 304962 h 838042"/>
                <a:gd name="connsiteX78" fmla="*/ 709612 w 1035345"/>
                <a:gd name="connsiteY78" fmla="*/ 283579 h 838042"/>
                <a:gd name="connsiteX79" fmla="*/ 745807 w 1035345"/>
                <a:gd name="connsiteY79" fmla="*/ 251194 h 838042"/>
                <a:gd name="connsiteX80" fmla="*/ 784899 w 1035345"/>
                <a:gd name="connsiteY80" fmla="*/ 213846 h 838042"/>
                <a:gd name="connsiteX81" fmla="*/ 748281 w 1035345"/>
                <a:gd name="connsiteY81" fmla="*/ 201789 h 838042"/>
                <a:gd name="connsiteX82" fmla="*/ 696277 w 1035345"/>
                <a:gd name="connsiteY82" fmla="*/ 226429 h 838042"/>
                <a:gd name="connsiteX83" fmla="*/ 658558 w 1035345"/>
                <a:gd name="connsiteY83" fmla="*/ 257626 h 838042"/>
                <a:gd name="connsiteX84" fmla="*/ 617881 w 1035345"/>
                <a:gd name="connsiteY84" fmla="*/ 286712 h 838042"/>
                <a:gd name="connsiteX85" fmla="*/ 566737 w 1035345"/>
                <a:gd name="connsiteY85" fmla="*/ 287389 h 838042"/>
                <a:gd name="connsiteX86" fmla="*/ 532447 w 1035345"/>
                <a:gd name="connsiteY86" fmla="*/ 274054 h 838042"/>
                <a:gd name="connsiteX87" fmla="*/ 509587 w 1035345"/>
                <a:gd name="connsiteY87" fmla="*/ 235954 h 838042"/>
                <a:gd name="connsiteX88" fmla="*/ 511492 w 1035345"/>
                <a:gd name="connsiteY88" fmla="*/ 171184 h 838042"/>
                <a:gd name="connsiteX89" fmla="*/ 510194 w 1035345"/>
                <a:gd name="connsiteY89" fmla="*/ 73485 h 838042"/>
                <a:gd name="connsiteX90" fmla="*/ 455996 w 1035345"/>
                <a:gd name="connsiteY90" fmla="*/ 11248 h 838042"/>
                <a:gd name="connsiteX91" fmla="*/ 444350 w 1035345"/>
                <a:gd name="connsiteY91" fmla="*/ 75864 h 838042"/>
                <a:gd name="connsiteX92" fmla="*/ 441106 w 1035345"/>
                <a:gd name="connsiteY92" fmla="*/ 132660 h 838042"/>
                <a:gd name="connsiteX93" fmla="*/ 437934 w 1035345"/>
                <a:gd name="connsiteY9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43852 w 1035345"/>
                <a:gd name="connsiteY30" fmla="*/ 554089 h 838042"/>
                <a:gd name="connsiteX31" fmla="*/ 355282 w 1035345"/>
                <a:gd name="connsiteY31" fmla="*/ 561709 h 838042"/>
                <a:gd name="connsiteX32" fmla="*/ 360997 w 1035345"/>
                <a:gd name="connsiteY32" fmla="*/ 565519 h 838042"/>
                <a:gd name="connsiteX33" fmla="*/ 364807 w 1035345"/>
                <a:gd name="connsiteY33" fmla="*/ 571234 h 838042"/>
                <a:gd name="connsiteX34" fmla="*/ 370522 w 1035345"/>
                <a:gd name="connsiteY34" fmla="*/ 582664 h 838042"/>
                <a:gd name="connsiteX35" fmla="*/ 366712 w 1035345"/>
                <a:gd name="connsiteY35" fmla="*/ 609334 h 838042"/>
                <a:gd name="connsiteX36" fmla="*/ 362902 w 1035345"/>
                <a:gd name="connsiteY36" fmla="*/ 615049 h 838042"/>
                <a:gd name="connsiteX37" fmla="*/ 360997 w 1035345"/>
                <a:gd name="connsiteY37" fmla="*/ 620764 h 838042"/>
                <a:gd name="connsiteX38" fmla="*/ 357187 w 1035345"/>
                <a:gd name="connsiteY38" fmla="*/ 626479 h 838042"/>
                <a:gd name="connsiteX39" fmla="*/ 355282 w 1035345"/>
                <a:gd name="connsiteY39" fmla="*/ 632194 h 838042"/>
                <a:gd name="connsiteX40" fmla="*/ 351472 w 1035345"/>
                <a:gd name="connsiteY40" fmla="*/ 637909 h 838042"/>
                <a:gd name="connsiteX41" fmla="*/ 334327 w 1035345"/>
                <a:gd name="connsiteY41" fmla="*/ 704584 h 838042"/>
                <a:gd name="connsiteX42" fmla="*/ 332422 w 1035345"/>
                <a:gd name="connsiteY42" fmla="*/ 756019 h 838042"/>
                <a:gd name="connsiteX43" fmla="*/ 334327 w 1035345"/>
                <a:gd name="connsiteY43" fmla="*/ 780784 h 838042"/>
                <a:gd name="connsiteX44" fmla="*/ 336232 w 1035345"/>
                <a:gd name="connsiteY44" fmla="*/ 786499 h 838042"/>
                <a:gd name="connsiteX45" fmla="*/ 340042 w 1035345"/>
                <a:gd name="connsiteY45" fmla="*/ 790309 h 838042"/>
                <a:gd name="connsiteX46" fmla="*/ 368617 w 1035345"/>
                <a:gd name="connsiteY46" fmla="*/ 836029 h 838042"/>
                <a:gd name="connsiteX47" fmla="*/ 391477 w 1035345"/>
                <a:gd name="connsiteY47" fmla="*/ 837934 h 838042"/>
                <a:gd name="connsiteX48" fmla="*/ 399287 w 1035345"/>
                <a:gd name="connsiteY48" fmla="*/ 833530 h 838042"/>
                <a:gd name="connsiteX49" fmla="*/ 404812 w 1035345"/>
                <a:gd name="connsiteY49" fmla="*/ 784594 h 838042"/>
                <a:gd name="connsiteX50" fmla="*/ 408622 w 1035345"/>
                <a:gd name="connsiteY50" fmla="*/ 727444 h 838042"/>
                <a:gd name="connsiteX51" fmla="*/ 425767 w 1035345"/>
                <a:gd name="connsiteY51" fmla="*/ 672199 h 838042"/>
                <a:gd name="connsiteX52" fmla="*/ 431482 w 1035345"/>
                <a:gd name="connsiteY52" fmla="*/ 658864 h 838042"/>
                <a:gd name="connsiteX53" fmla="*/ 445964 w 1035345"/>
                <a:gd name="connsiteY53" fmla="*/ 626947 h 838042"/>
                <a:gd name="connsiteX54" fmla="*/ 466169 w 1035345"/>
                <a:gd name="connsiteY54" fmla="*/ 600072 h 838042"/>
                <a:gd name="connsiteX55" fmla="*/ 525390 w 1035345"/>
                <a:gd name="connsiteY55" fmla="*/ 565123 h 838042"/>
                <a:gd name="connsiteX56" fmla="*/ 601228 w 1035345"/>
                <a:gd name="connsiteY56" fmla="*/ 550915 h 838042"/>
                <a:gd name="connsiteX57" fmla="*/ 709681 w 1035345"/>
                <a:gd name="connsiteY57" fmla="*/ 612819 h 838042"/>
                <a:gd name="connsiteX58" fmla="*/ 782002 w 1035345"/>
                <a:gd name="connsiteY58" fmla="*/ 656959 h 838042"/>
                <a:gd name="connsiteX59" fmla="*/ 806767 w 1035345"/>
                <a:gd name="connsiteY59" fmla="*/ 632194 h 838042"/>
                <a:gd name="connsiteX60" fmla="*/ 802957 w 1035345"/>
                <a:gd name="connsiteY60" fmla="*/ 601714 h 838042"/>
                <a:gd name="connsiteX61" fmla="*/ 764676 w 1035345"/>
                <a:gd name="connsiteY61" fmla="*/ 562523 h 838042"/>
                <a:gd name="connsiteX62" fmla="*/ 652462 w 1035345"/>
                <a:gd name="connsiteY62" fmla="*/ 479794 h 838042"/>
                <a:gd name="connsiteX63" fmla="*/ 648652 w 1035345"/>
                <a:gd name="connsiteY63" fmla="*/ 462649 h 838042"/>
                <a:gd name="connsiteX64" fmla="*/ 660082 w 1035345"/>
                <a:gd name="connsiteY64" fmla="*/ 426454 h 838042"/>
                <a:gd name="connsiteX65" fmla="*/ 728662 w 1035345"/>
                <a:gd name="connsiteY65" fmla="*/ 405499 h 838042"/>
                <a:gd name="connsiteX66" fmla="*/ 815618 w 1035345"/>
                <a:gd name="connsiteY66" fmla="*/ 406906 h 838042"/>
                <a:gd name="connsiteX67" fmla="*/ 908111 w 1035345"/>
                <a:gd name="connsiteY67" fmla="*/ 417646 h 838042"/>
                <a:gd name="connsiteX68" fmla="*/ 1004170 w 1035345"/>
                <a:gd name="connsiteY68" fmla="*/ 426835 h 838042"/>
                <a:gd name="connsiteX69" fmla="*/ 1034329 w 1035345"/>
                <a:gd name="connsiteY69" fmla="*/ 402711 h 838042"/>
                <a:gd name="connsiteX70" fmla="*/ 1022394 w 1035345"/>
                <a:gd name="connsiteY70" fmla="*/ 377797 h 838042"/>
                <a:gd name="connsiteX71" fmla="*/ 966769 w 1035345"/>
                <a:gd name="connsiteY71" fmla="*/ 358029 h 838042"/>
                <a:gd name="connsiteX72" fmla="*/ 829627 w 1035345"/>
                <a:gd name="connsiteY72" fmla="*/ 357874 h 838042"/>
                <a:gd name="connsiteX73" fmla="*/ 757691 w 1035345"/>
                <a:gd name="connsiteY73" fmla="*/ 361702 h 838042"/>
                <a:gd name="connsiteX74" fmla="*/ 673417 w 1035345"/>
                <a:gd name="connsiteY74" fmla="*/ 369304 h 838042"/>
                <a:gd name="connsiteX75" fmla="*/ 646747 w 1035345"/>
                <a:gd name="connsiteY75" fmla="*/ 338824 h 838042"/>
                <a:gd name="connsiteX76" fmla="*/ 678283 w 1035345"/>
                <a:gd name="connsiteY76" fmla="*/ 304962 h 838042"/>
                <a:gd name="connsiteX77" fmla="*/ 709612 w 1035345"/>
                <a:gd name="connsiteY77" fmla="*/ 283579 h 838042"/>
                <a:gd name="connsiteX78" fmla="*/ 745807 w 1035345"/>
                <a:gd name="connsiteY78" fmla="*/ 251194 h 838042"/>
                <a:gd name="connsiteX79" fmla="*/ 784899 w 1035345"/>
                <a:gd name="connsiteY79" fmla="*/ 213846 h 838042"/>
                <a:gd name="connsiteX80" fmla="*/ 748281 w 1035345"/>
                <a:gd name="connsiteY80" fmla="*/ 201789 h 838042"/>
                <a:gd name="connsiteX81" fmla="*/ 696277 w 1035345"/>
                <a:gd name="connsiteY81" fmla="*/ 226429 h 838042"/>
                <a:gd name="connsiteX82" fmla="*/ 658558 w 1035345"/>
                <a:gd name="connsiteY82" fmla="*/ 257626 h 838042"/>
                <a:gd name="connsiteX83" fmla="*/ 617881 w 1035345"/>
                <a:gd name="connsiteY83" fmla="*/ 286712 h 838042"/>
                <a:gd name="connsiteX84" fmla="*/ 566737 w 1035345"/>
                <a:gd name="connsiteY84" fmla="*/ 287389 h 838042"/>
                <a:gd name="connsiteX85" fmla="*/ 532447 w 1035345"/>
                <a:gd name="connsiteY85" fmla="*/ 274054 h 838042"/>
                <a:gd name="connsiteX86" fmla="*/ 509587 w 1035345"/>
                <a:gd name="connsiteY86" fmla="*/ 235954 h 838042"/>
                <a:gd name="connsiteX87" fmla="*/ 511492 w 1035345"/>
                <a:gd name="connsiteY87" fmla="*/ 171184 h 838042"/>
                <a:gd name="connsiteX88" fmla="*/ 510194 w 1035345"/>
                <a:gd name="connsiteY88" fmla="*/ 73485 h 838042"/>
                <a:gd name="connsiteX89" fmla="*/ 455996 w 1035345"/>
                <a:gd name="connsiteY89" fmla="*/ 11248 h 838042"/>
                <a:gd name="connsiteX90" fmla="*/ 444350 w 1035345"/>
                <a:gd name="connsiteY90" fmla="*/ 75864 h 838042"/>
                <a:gd name="connsiteX91" fmla="*/ 441106 w 1035345"/>
                <a:gd name="connsiteY91" fmla="*/ 132660 h 838042"/>
                <a:gd name="connsiteX92" fmla="*/ 437934 w 1035345"/>
                <a:gd name="connsiteY92"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43852 w 1035345"/>
                <a:gd name="connsiteY30" fmla="*/ 554089 h 838042"/>
                <a:gd name="connsiteX31" fmla="*/ 355282 w 1035345"/>
                <a:gd name="connsiteY31" fmla="*/ 561709 h 838042"/>
                <a:gd name="connsiteX32" fmla="*/ 360997 w 1035345"/>
                <a:gd name="connsiteY32" fmla="*/ 565519 h 838042"/>
                <a:gd name="connsiteX33" fmla="*/ 364807 w 1035345"/>
                <a:gd name="connsiteY33" fmla="*/ 571234 h 838042"/>
                <a:gd name="connsiteX34" fmla="*/ 366712 w 1035345"/>
                <a:gd name="connsiteY34" fmla="*/ 609334 h 838042"/>
                <a:gd name="connsiteX35" fmla="*/ 362902 w 1035345"/>
                <a:gd name="connsiteY35" fmla="*/ 615049 h 838042"/>
                <a:gd name="connsiteX36" fmla="*/ 360997 w 1035345"/>
                <a:gd name="connsiteY36" fmla="*/ 620764 h 838042"/>
                <a:gd name="connsiteX37" fmla="*/ 357187 w 1035345"/>
                <a:gd name="connsiteY37" fmla="*/ 626479 h 838042"/>
                <a:gd name="connsiteX38" fmla="*/ 355282 w 1035345"/>
                <a:gd name="connsiteY38" fmla="*/ 632194 h 838042"/>
                <a:gd name="connsiteX39" fmla="*/ 351472 w 1035345"/>
                <a:gd name="connsiteY39" fmla="*/ 637909 h 838042"/>
                <a:gd name="connsiteX40" fmla="*/ 334327 w 1035345"/>
                <a:gd name="connsiteY40" fmla="*/ 704584 h 838042"/>
                <a:gd name="connsiteX41" fmla="*/ 332422 w 1035345"/>
                <a:gd name="connsiteY41" fmla="*/ 756019 h 838042"/>
                <a:gd name="connsiteX42" fmla="*/ 334327 w 1035345"/>
                <a:gd name="connsiteY42" fmla="*/ 780784 h 838042"/>
                <a:gd name="connsiteX43" fmla="*/ 336232 w 1035345"/>
                <a:gd name="connsiteY43" fmla="*/ 786499 h 838042"/>
                <a:gd name="connsiteX44" fmla="*/ 340042 w 1035345"/>
                <a:gd name="connsiteY44" fmla="*/ 790309 h 838042"/>
                <a:gd name="connsiteX45" fmla="*/ 368617 w 1035345"/>
                <a:gd name="connsiteY45" fmla="*/ 836029 h 838042"/>
                <a:gd name="connsiteX46" fmla="*/ 391477 w 1035345"/>
                <a:gd name="connsiteY46" fmla="*/ 837934 h 838042"/>
                <a:gd name="connsiteX47" fmla="*/ 399287 w 1035345"/>
                <a:gd name="connsiteY47" fmla="*/ 833530 h 838042"/>
                <a:gd name="connsiteX48" fmla="*/ 404812 w 1035345"/>
                <a:gd name="connsiteY48" fmla="*/ 784594 h 838042"/>
                <a:gd name="connsiteX49" fmla="*/ 408622 w 1035345"/>
                <a:gd name="connsiteY49" fmla="*/ 727444 h 838042"/>
                <a:gd name="connsiteX50" fmla="*/ 425767 w 1035345"/>
                <a:gd name="connsiteY50" fmla="*/ 672199 h 838042"/>
                <a:gd name="connsiteX51" fmla="*/ 431482 w 1035345"/>
                <a:gd name="connsiteY51" fmla="*/ 658864 h 838042"/>
                <a:gd name="connsiteX52" fmla="*/ 445964 w 1035345"/>
                <a:gd name="connsiteY52" fmla="*/ 626947 h 838042"/>
                <a:gd name="connsiteX53" fmla="*/ 466169 w 1035345"/>
                <a:gd name="connsiteY53" fmla="*/ 600072 h 838042"/>
                <a:gd name="connsiteX54" fmla="*/ 525390 w 1035345"/>
                <a:gd name="connsiteY54" fmla="*/ 565123 h 838042"/>
                <a:gd name="connsiteX55" fmla="*/ 601228 w 1035345"/>
                <a:gd name="connsiteY55" fmla="*/ 550915 h 838042"/>
                <a:gd name="connsiteX56" fmla="*/ 709681 w 1035345"/>
                <a:gd name="connsiteY56" fmla="*/ 612819 h 838042"/>
                <a:gd name="connsiteX57" fmla="*/ 782002 w 1035345"/>
                <a:gd name="connsiteY57" fmla="*/ 656959 h 838042"/>
                <a:gd name="connsiteX58" fmla="*/ 806767 w 1035345"/>
                <a:gd name="connsiteY58" fmla="*/ 632194 h 838042"/>
                <a:gd name="connsiteX59" fmla="*/ 802957 w 1035345"/>
                <a:gd name="connsiteY59" fmla="*/ 601714 h 838042"/>
                <a:gd name="connsiteX60" fmla="*/ 764676 w 1035345"/>
                <a:gd name="connsiteY60" fmla="*/ 562523 h 838042"/>
                <a:gd name="connsiteX61" fmla="*/ 652462 w 1035345"/>
                <a:gd name="connsiteY61" fmla="*/ 479794 h 838042"/>
                <a:gd name="connsiteX62" fmla="*/ 648652 w 1035345"/>
                <a:gd name="connsiteY62" fmla="*/ 462649 h 838042"/>
                <a:gd name="connsiteX63" fmla="*/ 660082 w 1035345"/>
                <a:gd name="connsiteY63" fmla="*/ 426454 h 838042"/>
                <a:gd name="connsiteX64" fmla="*/ 728662 w 1035345"/>
                <a:gd name="connsiteY64" fmla="*/ 405499 h 838042"/>
                <a:gd name="connsiteX65" fmla="*/ 815618 w 1035345"/>
                <a:gd name="connsiteY65" fmla="*/ 406906 h 838042"/>
                <a:gd name="connsiteX66" fmla="*/ 908111 w 1035345"/>
                <a:gd name="connsiteY66" fmla="*/ 417646 h 838042"/>
                <a:gd name="connsiteX67" fmla="*/ 1004170 w 1035345"/>
                <a:gd name="connsiteY67" fmla="*/ 426835 h 838042"/>
                <a:gd name="connsiteX68" fmla="*/ 1034329 w 1035345"/>
                <a:gd name="connsiteY68" fmla="*/ 402711 h 838042"/>
                <a:gd name="connsiteX69" fmla="*/ 1022394 w 1035345"/>
                <a:gd name="connsiteY69" fmla="*/ 377797 h 838042"/>
                <a:gd name="connsiteX70" fmla="*/ 966769 w 1035345"/>
                <a:gd name="connsiteY70" fmla="*/ 358029 h 838042"/>
                <a:gd name="connsiteX71" fmla="*/ 829627 w 1035345"/>
                <a:gd name="connsiteY71" fmla="*/ 357874 h 838042"/>
                <a:gd name="connsiteX72" fmla="*/ 757691 w 1035345"/>
                <a:gd name="connsiteY72" fmla="*/ 361702 h 838042"/>
                <a:gd name="connsiteX73" fmla="*/ 673417 w 1035345"/>
                <a:gd name="connsiteY73" fmla="*/ 369304 h 838042"/>
                <a:gd name="connsiteX74" fmla="*/ 646747 w 1035345"/>
                <a:gd name="connsiteY74" fmla="*/ 338824 h 838042"/>
                <a:gd name="connsiteX75" fmla="*/ 678283 w 1035345"/>
                <a:gd name="connsiteY75" fmla="*/ 304962 h 838042"/>
                <a:gd name="connsiteX76" fmla="*/ 709612 w 1035345"/>
                <a:gd name="connsiteY76" fmla="*/ 283579 h 838042"/>
                <a:gd name="connsiteX77" fmla="*/ 745807 w 1035345"/>
                <a:gd name="connsiteY77" fmla="*/ 251194 h 838042"/>
                <a:gd name="connsiteX78" fmla="*/ 784899 w 1035345"/>
                <a:gd name="connsiteY78" fmla="*/ 213846 h 838042"/>
                <a:gd name="connsiteX79" fmla="*/ 748281 w 1035345"/>
                <a:gd name="connsiteY79" fmla="*/ 201789 h 838042"/>
                <a:gd name="connsiteX80" fmla="*/ 696277 w 1035345"/>
                <a:gd name="connsiteY80" fmla="*/ 226429 h 838042"/>
                <a:gd name="connsiteX81" fmla="*/ 658558 w 1035345"/>
                <a:gd name="connsiteY81" fmla="*/ 257626 h 838042"/>
                <a:gd name="connsiteX82" fmla="*/ 617881 w 1035345"/>
                <a:gd name="connsiteY82" fmla="*/ 286712 h 838042"/>
                <a:gd name="connsiteX83" fmla="*/ 566737 w 1035345"/>
                <a:gd name="connsiteY83" fmla="*/ 287389 h 838042"/>
                <a:gd name="connsiteX84" fmla="*/ 532447 w 1035345"/>
                <a:gd name="connsiteY84" fmla="*/ 274054 h 838042"/>
                <a:gd name="connsiteX85" fmla="*/ 509587 w 1035345"/>
                <a:gd name="connsiteY85" fmla="*/ 235954 h 838042"/>
                <a:gd name="connsiteX86" fmla="*/ 511492 w 1035345"/>
                <a:gd name="connsiteY86" fmla="*/ 171184 h 838042"/>
                <a:gd name="connsiteX87" fmla="*/ 510194 w 1035345"/>
                <a:gd name="connsiteY87" fmla="*/ 73485 h 838042"/>
                <a:gd name="connsiteX88" fmla="*/ 455996 w 1035345"/>
                <a:gd name="connsiteY88" fmla="*/ 11248 h 838042"/>
                <a:gd name="connsiteX89" fmla="*/ 444350 w 1035345"/>
                <a:gd name="connsiteY89" fmla="*/ 75864 h 838042"/>
                <a:gd name="connsiteX90" fmla="*/ 441106 w 1035345"/>
                <a:gd name="connsiteY90" fmla="*/ 132660 h 838042"/>
                <a:gd name="connsiteX91" fmla="*/ 437934 w 1035345"/>
                <a:gd name="connsiteY91"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43852 w 1035345"/>
                <a:gd name="connsiteY30" fmla="*/ 554089 h 838042"/>
                <a:gd name="connsiteX31" fmla="*/ 355282 w 1035345"/>
                <a:gd name="connsiteY31" fmla="*/ 561709 h 838042"/>
                <a:gd name="connsiteX32" fmla="*/ 360997 w 1035345"/>
                <a:gd name="connsiteY32" fmla="*/ 565519 h 838042"/>
                <a:gd name="connsiteX33" fmla="*/ 366712 w 1035345"/>
                <a:gd name="connsiteY33" fmla="*/ 609334 h 838042"/>
                <a:gd name="connsiteX34" fmla="*/ 362902 w 1035345"/>
                <a:gd name="connsiteY34" fmla="*/ 615049 h 838042"/>
                <a:gd name="connsiteX35" fmla="*/ 360997 w 1035345"/>
                <a:gd name="connsiteY35" fmla="*/ 620764 h 838042"/>
                <a:gd name="connsiteX36" fmla="*/ 357187 w 1035345"/>
                <a:gd name="connsiteY36" fmla="*/ 626479 h 838042"/>
                <a:gd name="connsiteX37" fmla="*/ 355282 w 1035345"/>
                <a:gd name="connsiteY37" fmla="*/ 632194 h 838042"/>
                <a:gd name="connsiteX38" fmla="*/ 351472 w 1035345"/>
                <a:gd name="connsiteY38" fmla="*/ 637909 h 838042"/>
                <a:gd name="connsiteX39" fmla="*/ 334327 w 1035345"/>
                <a:gd name="connsiteY39" fmla="*/ 704584 h 838042"/>
                <a:gd name="connsiteX40" fmla="*/ 332422 w 1035345"/>
                <a:gd name="connsiteY40" fmla="*/ 756019 h 838042"/>
                <a:gd name="connsiteX41" fmla="*/ 334327 w 1035345"/>
                <a:gd name="connsiteY41" fmla="*/ 780784 h 838042"/>
                <a:gd name="connsiteX42" fmla="*/ 336232 w 1035345"/>
                <a:gd name="connsiteY42" fmla="*/ 786499 h 838042"/>
                <a:gd name="connsiteX43" fmla="*/ 340042 w 1035345"/>
                <a:gd name="connsiteY43" fmla="*/ 790309 h 838042"/>
                <a:gd name="connsiteX44" fmla="*/ 368617 w 1035345"/>
                <a:gd name="connsiteY44" fmla="*/ 836029 h 838042"/>
                <a:gd name="connsiteX45" fmla="*/ 391477 w 1035345"/>
                <a:gd name="connsiteY45" fmla="*/ 837934 h 838042"/>
                <a:gd name="connsiteX46" fmla="*/ 399287 w 1035345"/>
                <a:gd name="connsiteY46" fmla="*/ 833530 h 838042"/>
                <a:gd name="connsiteX47" fmla="*/ 404812 w 1035345"/>
                <a:gd name="connsiteY47" fmla="*/ 784594 h 838042"/>
                <a:gd name="connsiteX48" fmla="*/ 408622 w 1035345"/>
                <a:gd name="connsiteY48" fmla="*/ 727444 h 838042"/>
                <a:gd name="connsiteX49" fmla="*/ 425767 w 1035345"/>
                <a:gd name="connsiteY49" fmla="*/ 672199 h 838042"/>
                <a:gd name="connsiteX50" fmla="*/ 431482 w 1035345"/>
                <a:gd name="connsiteY50" fmla="*/ 658864 h 838042"/>
                <a:gd name="connsiteX51" fmla="*/ 445964 w 1035345"/>
                <a:gd name="connsiteY51" fmla="*/ 626947 h 838042"/>
                <a:gd name="connsiteX52" fmla="*/ 466169 w 1035345"/>
                <a:gd name="connsiteY52" fmla="*/ 600072 h 838042"/>
                <a:gd name="connsiteX53" fmla="*/ 525390 w 1035345"/>
                <a:gd name="connsiteY53" fmla="*/ 565123 h 838042"/>
                <a:gd name="connsiteX54" fmla="*/ 601228 w 1035345"/>
                <a:gd name="connsiteY54" fmla="*/ 550915 h 838042"/>
                <a:gd name="connsiteX55" fmla="*/ 709681 w 1035345"/>
                <a:gd name="connsiteY55" fmla="*/ 612819 h 838042"/>
                <a:gd name="connsiteX56" fmla="*/ 782002 w 1035345"/>
                <a:gd name="connsiteY56" fmla="*/ 656959 h 838042"/>
                <a:gd name="connsiteX57" fmla="*/ 806767 w 1035345"/>
                <a:gd name="connsiteY57" fmla="*/ 632194 h 838042"/>
                <a:gd name="connsiteX58" fmla="*/ 802957 w 1035345"/>
                <a:gd name="connsiteY58" fmla="*/ 601714 h 838042"/>
                <a:gd name="connsiteX59" fmla="*/ 764676 w 1035345"/>
                <a:gd name="connsiteY59" fmla="*/ 562523 h 838042"/>
                <a:gd name="connsiteX60" fmla="*/ 652462 w 1035345"/>
                <a:gd name="connsiteY60" fmla="*/ 479794 h 838042"/>
                <a:gd name="connsiteX61" fmla="*/ 648652 w 1035345"/>
                <a:gd name="connsiteY61" fmla="*/ 462649 h 838042"/>
                <a:gd name="connsiteX62" fmla="*/ 660082 w 1035345"/>
                <a:gd name="connsiteY62" fmla="*/ 426454 h 838042"/>
                <a:gd name="connsiteX63" fmla="*/ 728662 w 1035345"/>
                <a:gd name="connsiteY63" fmla="*/ 405499 h 838042"/>
                <a:gd name="connsiteX64" fmla="*/ 815618 w 1035345"/>
                <a:gd name="connsiteY64" fmla="*/ 406906 h 838042"/>
                <a:gd name="connsiteX65" fmla="*/ 908111 w 1035345"/>
                <a:gd name="connsiteY65" fmla="*/ 417646 h 838042"/>
                <a:gd name="connsiteX66" fmla="*/ 1004170 w 1035345"/>
                <a:gd name="connsiteY66" fmla="*/ 426835 h 838042"/>
                <a:gd name="connsiteX67" fmla="*/ 1034329 w 1035345"/>
                <a:gd name="connsiteY67" fmla="*/ 402711 h 838042"/>
                <a:gd name="connsiteX68" fmla="*/ 1022394 w 1035345"/>
                <a:gd name="connsiteY68" fmla="*/ 377797 h 838042"/>
                <a:gd name="connsiteX69" fmla="*/ 966769 w 1035345"/>
                <a:gd name="connsiteY69" fmla="*/ 358029 h 838042"/>
                <a:gd name="connsiteX70" fmla="*/ 829627 w 1035345"/>
                <a:gd name="connsiteY70" fmla="*/ 357874 h 838042"/>
                <a:gd name="connsiteX71" fmla="*/ 757691 w 1035345"/>
                <a:gd name="connsiteY71" fmla="*/ 361702 h 838042"/>
                <a:gd name="connsiteX72" fmla="*/ 673417 w 1035345"/>
                <a:gd name="connsiteY72" fmla="*/ 369304 h 838042"/>
                <a:gd name="connsiteX73" fmla="*/ 646747 w 1035345"/>
                <a:gd name="connsiteY73" fmla="*/ 338824 h 838042"/>
                <a:gd name="connsiteX74" fmla="*/ 678283 w 1035345"/>
                <a:gd name="connsiteY74" fmla="*/ 304962 h 838042"/>
                <a:gd name="connsiteX75" fmla="*/ 709612 w 1035345"/>
                <a:gd name="connsiteY75" fmla="*/ 283579 h 838042"/>
                <a:gd name="connsiteX76" fmla="*/ 745807 w 1035345"/>
                <a:gd name="connsiteY76" fmla="*/ 251194 h 838042"/>
                <a:gd name="connsiteX77" fmla="*/ 784899 w 1035345"/>
                <a:gd name="connsiteY77" fmla="*/ 213846 h 838042"/>
                <a:gd name="connsiteX78" fmla="*/ 748281 w 1035345"/>
                <a:gd name="connsiteY78" fmla="*/ 201789 h 838042"/>
                <a:gd name="connsiteX79" fmla="*/ 696277 w 1035345"/>
                <a:gd name="connsiteY79" fmla="*/ 226429 h 838042"/>
                <a:gd name="connsiteX80" fmla="*/ 658558 w 1035345"/>
                <a:gd name="connsiteY80" fmla="*/ 257626 h 838042"/>
                <a:gd name="connsiteX81" fmla="*/ 617881 w 1035345"/>
                <a:gd name="connsiteY81" fmla="*/ 286712 h 838042"/>
                <a:gd name="connsiteX82" fmla="*/ 566737 w 1035345"/>
                <a:gd name="connsiteY82" fmla="*/ 287389 h 838042"/>
                <a:gd name="connsiteX83" fmla="*/ 532447 w 1035345"/>
                <a:gd name="connsiteY83" fmla="*/ 274054 h 838042"/>
                <a:gd name="connsiteX84" fmla="*/ 509587 w 1035345"/>
                <a:gd name="connsiteY84" fmla="*/ 235954 h 838042"/>
                <a:gd name="connsiteX85" fmla="*/ 511492 w 1035345"/>
                <a:gd name="connsiteY85" fmla="*/ 171184 h 838042"/>
                <a:gd name="connsiteX86" fmla="*/ 510194 w 1035345"/>
                <a:gd name="connsiteY86" fmla="*/ 73485 h 838042"/>
                <a:gd name="connsiteX87" fmla="*/ 455996 w 1035345"/>
                <a:gd name="connsiteY87" fmla="*/ 11248 h 838042"/>
                <a:gd name="connsiteX88" fmla="*/ 444350 w 1035345"/>
                <a:gd name="connsiteY88" fmla="*/ 75864 h 838042"/>
                <a:gd name="connsiteX89" fmla="*/ 441106 w 1035345"/>
                <a:gd name="connsiteY89" fmla="*/ 132660 h 838042"/>
                <a:gd name="connsiteX90" fmla="*/ 437934 w 1035345"/>
                <a:gd name="connsiteY90"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34327 w 1035345"/>
                <a:gd name="connsiteY29" fmla="*/ 546469 h 838042"/>
                <a:gd name="connsiteX30" fmla="*/ 355282 w 1035345"/>
                <a:gd name="connsiteY30" fmla="*/ 561709 h 838042"/>
                <a:gd name="connsiteX31" fmla="*/ 360997 w 1035345"/>
                <a:gd name="connsiteY31" fmla="*/ 565519 h 838042"/>
                <a:gd name="connsiteX32" fmla="*/ 366712 w 1035345"/>
                <a:gd name="connsiteY32" fmla="*/ 609334 h 838042"/>
                <a:gd name="connsiteX33" fmla="*/ 362902 w 1035345"/>
                <a:gd name="connsiteY33" fmla="*/ 615049 h 838042"/>
                <a:gd name="connsiteX34" fmla="*/ 360997 w 1035345"/>
                <a:gd name="connsiteY34" fmla="*/ 620764 h 838042"/>
                <a:gd name="connsiteX35" fmla="*/ 357187 w 1035345"/>
                <a:gd name="connsiteY35" fmla="*/ 626479 h 838042"/>
                <a:gd name="connsiteX36" fmla="*/ 355282 w 1035345"/>
                <a:gd name="connsiteY36" fmla="*/ 632194 h 838042"/>
                <a:gd name="connsiteX37" fmla="*/ 351472 w 1035345"/>
                <a:gd name="connsiteY37" fmla="*/ 637909 h 838042"/>
                <a:gd name="connsiteX38" fmla="*/ 334327 w 1035345"/>
                <a:gd name="connsiteY38" fmla="*/ 704584 h 838042"/>
                <a:gd name="connsiteX39" fmla="*/ 332422 w 1035345"/>
                <a:gd name="connsiteY39" fmla="*/ 756019 h 838042"/>
                <a:gd name="connsiteX40" fmla="*/ 334327 w 1035345"/>
                <a:gd name="connsiteY40" fmla="*/ 780784 h 838042"/>
                <a:gd name="connsiteX41" fmla="*/ 336232 w 1035345"/>
                <a:gd name="connsiteY41" fmla="*/ 786499 h 838042"/>
                <a:gd name="connsiteX42" fmla="*/ 340042 w 1035345"/>
                <a:gd name="connsiteY42" fmla="*/ 790309 h 838042"/>
                <a:gd name="connsiteX43" fmla="*/ 368617 w 1035345"/>
                <a:gd name="connsiteY43" fmla="*/ 836029 h 838042"/>
                <a:gd name="connsiteX44" fmla="*/ 391477 w 1035345"/>
                <a:gd name="connsiteY44" fmla="*/ 837934 h 838042"/>
                <a:gd name="connsiteX45" fmla="*/ 399287 w 1035345"/>
                <a:gd name="connsiteY45" fmla="*/ 833530 h 838042"/>
                <a:gd name="connsiteX46" fmla="*/ 404812 w 1035345"/>
                <a:gd name="connsiteY46" fmla="*/ 784594 h 838042"/>
                <a:gd name="connsiteX47" fmla="*/ 408622 w 1035345"/>
                <a:gd name="connsiteY47" fmla="*/ 727444 h 838042"/>
                <a:gd name="connsiteX48" fmla="*/ 425767 w 1035345"/>
                <a:gd name="connsiteY48" fmla="*/ 672199 h 838042"/>
                <a:gd name="connsiteX49" fmla="*/ 431482 w 1035345"/>
                <a:gd name="connsiteY49" fmla="*/ 658864 h 838042"/>
                <a:gd name="connsiteX50" fmla="*/ 445964 w 1035345"/>
                <a:gd name="connsiteY50" fmla="*/ 626947 h 838042"/>
                <a:gd name="connsiteX51" fmla="*/ 466169 w 1035345"/>
                <a:gd name="connsiteY51" fmla="*/ 600072 h 838042"/>
                <a:gd name="connsiteX52" fmla="*/ 525390 w 1035345"/>
                <a:gd name="connsiteY52" fmla="*/ 565123 h 838042"/>
                <a:gd name="connsiteX53" fmla="*/ 601228 w 1035345"/>
                <a:gd name="connsiteY53" fmla="*/ 550915 h 838042"/>
                <a:gd name="connsiteX54" fmla="*/ 709681 w 1035345"/>
                <a:gd name="connsiteY54" fmla="*/ 612819 h 838042"/>
                <a:gd name="connsiteX55" fmla="*/ 782002 w 1035345"/>
                <a:gd name="connsiteY55" fmla="*/ 656959 h 838042"/>
                <a:gd name="connsiteX56" fmla="*/ 806767 w 1035345"/>
                <a:gd name="connsiteY56" fmla="*/ 632194 h 838042"/>
                <a:gd name="connsiteX57" fmla="*/ 802957 w 1035345"/>
                <a:gd name="connsiteY57" fmla="*/ 601714 h 838042"/>
                <a:gd name="connsiteX58" fmla="*/ 764676 w 1035345"/>
                <a:gd name="connsiteY58" fmla="*/ 562523 h 838042"/>
                <a:gd name="connsiteX59" fmla="*/ 652462 w 1035345"/>
                <a:gd name="connsiteY59" fmla="*/ 479794 h 838042"/>
                <a:gd name="connsiteX60" fmla="*/ 648652 w 1035345"/>
                <a:gd name="connsiteY60" fmla="*/ 462649 h 838042"/>
                <a:gd name="connsiteX61" fmla="*/ 660082 w 1035345"/>
                <a:gd name="connsiteY61" fmla="*/ 426454 h 838042"/>
                <a:gd name="connsiteX62" fmla="*/ 728662 w 1035345"/>
                <a:gd name="connsiteY62" fmla="*/ 405499 h 838042"/>
                <a:gd name="connsiteX63" fmla="*/ 815618 w 1035345"/>
                <a:gd name="connsiteY63" fmla="*/ 406906 h 838042"/>
                <a:gd name="connsiteX64" fmla="*/ 908111 w 1035345"/>
                <a:gd name="connsiteY64" fmla="*/ 417646 h 838042"/>
                <a:gd name="connsiteX65" fmla="*/ 1004170 w 1035345"/>
                <a:gd name="connsiteY65" fmla="*/ 426835 h 838042"/>
                <a:gd name="connsiteX66" fmla="*/ 1034329 w 1035345"/>
                <a:gd name="connsiteY66" fmla="*/ 402711 h 838042"/>
                <a:gd name="connsiteX67" fmla="*/ 1022394 w 1035345"/>
                <a:gd name="connsiteY67" fmla="*/ 377797 h 838042"/>
                <a:gd name="connsiteX68" fmla="*/ 966769 w 1035345"/>
                <a:gd name="connsiteY68" fmla="*/ 358029 h 838042"/>
                <a:gd name="connsiteX69" fmla="*/ 829627 w 1035345"/>
                <a:gd name="connsiteY69" fmla="*/ 357874 h 838042"/>
                <a:gd name="connsiteX70" fmla="*/ 757691 w 1035345"/>
                <a:gd name="connsiteY70" fmla="*/ 361702 h 838042"/>
                <a:gd name="connsiteX71" fmla="*/ 673417 w 1035345"/>
                <a:gd name="connsiteY71" fmla="*/ 369304 h 838042"/>
                <a:gd name="connsiteX72" fmla="*/ 646747 w 1035345"/>
                <a:gd name="connsiteY72" fmla="*/ 338824 h 838042"/>
                <a:gd name="connsiteX73" fmla="*/ 678283 w 1035345"/>
                <a:gd name="connsiteY73" fmla="*/ 304962 h 838042"/>
                <a:gd name="connsiteX74" fmla="*/ 709612 w 1035345"/>
                <a:gd name="connsiteY74" fmla="*/ 283579 h 838042"/>
                <a:gd name="connsiteX75" fmla="*/ 745807 w 1035345"/>
                <a:gd name="connsiteY75" fmla="*/ 251194 h 838042"/>
                <a:gd name="connsiteX76" fmla="*/ 784899 w 1035345"/>
                <a:gd name="connsiteY76" fmla="*/ 213846 h 838042"/>
                <a:gd name="connsiteX77" fmla="*/ 748281 w 1035345"/>
                <a:gd name="connsiteY77" fmla="*/ 201789 h 838042"/>
                <a:gd name="connsiteX78" fmla="*/ 696277 w 1035345"/>
                <a:gd name="connsiteY78" fmla="*/ 226429 h 838042"/>
                <a:gd name="connsiteX79" fmla="*/ 658558 w 1035345"/>
                <a:gd name="connsiteY79" fmla="*/ 257626 h 838042"/>
                <a:gd name="connsiteX80" fmla="*/ 617881 w 1035345"/>
                <a:gd name="connsiteY80" fmla="*/ 286712 h 838042"/>
                <a:gd name="connsiteX81" fmla="*/ 566737 w 1035345"/>
                <a:gd name="connsiteY81" fmla="*/ 287389 h 838042"/>
                <a:gd name="connsiteX82" fmla="*/ 532447 w 1035345"/>
                <a:gd name="connsiteY82" fmla="*/ 274054 h 838042"/>
                <a:gd name="connsiteX83" fmla="*/ 509587 w 1035345"/>
                <a:gd name="connsiteY83" fmla="*/ 235954 h 838042"/>
                <a:gd name="connsiteX84" fmla="*/ 511492 w 1035345"/>
                <a:gd name="connsiteY84" fmla="*/ 171184 h 838042"/>
                <a:gd name="connsiteX85" fmla="*/ 510194 w 1035345"/>
                <a:gd name="connsiteY85" fmla="*/ 73485 h 838042"/>
                <a:gd name="connsiteX86" fmla="*/ 455996 w 1035345"/>
                <a:gd name="connsiteY86" fmla="*/ 11248 h 838042"/>
                <a:gd name="connsiteX87" fmla="*/ 444350 w 1035345"/>
                <a:gd name="connsiteY87" fmla="*/ 75864 h 838042"/>
                <a:gd name="connsiteX88" fmla="*/ 441106 w 1035345"/>
                <a:gd name="connsiteY88" fmla="*/ 132660 h 838042"/>
                <a:gd name="connsiteX89" fmla="*/ 437934 w 1035345"/>
                <a:gd name="connsiteY89"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22897 w 1035345"/>
                <a:gd name="connsiteY28" fmla="*/ 540754 h 838042"/>
                <a:gd name="connsiteX29" fmla="*/ 355282 w 1035345"/>
                <a:gd name="connsiteY29" fmla="*/ 561709 h 838042"/>
                <a:gd name="connsiteX30" fmla="*/ 360997 w 1035345"/>
                <a:gd name="connsiteY30" fmla="*/ 565519 h 838042"/>
                <a:gd name="connsiteX31" fmla="*/ 366712 w 1035345"/>
                <a:gd name="connsiteY31" fmla="*/ 609334 h 838042"/>
                <a:gd name="connsiteX32" fmla="*/ 362902 w 1035345"/>
                <a:gd name="connsiteY32" fmla="*/ 615049 h 838042"/>
                <a:gd name="connsiteX33" fmla="*/ 360997 w 1035345"/>
                <a:gd name="connsiteY33" fmla="*/ 620764 h 838042"/>
                <a:gd name="connsiteX34" fmla="*/ 357187 w 1035345"/>
                <a:gd name="connsiteY34" fmla="*/ 626479 h 838042"/>
                <a:gd name="connsiteX35" fmla="*/ 355282 w 1035345"/>
                <a:gd name="connsiteY35" fmla="*/ 632194 h 838042"/>
                <a:gd name="connsiteX36" fmla="*/ 351472 w 1035345"/>
                <a:gd name="connsiteY36" fmla="*/ 637909 h 838042"/>
                <a:gd name="connsiteX37" fmla="*/ 334327 w 1035345"/>
                <a:gd name="connsiteY37" fmla="*/ 704584 h 838042"/>
                <a:gd name="connsiteX38" fmla="*/ 332422 w 1035345"/>
                <a:gd name="connsiteY38" fmla="*/ 756019 h 838042"/>
                <a:gd name="connsiteX39" fmla="*/ 334327 w 1035345"/>
                <a:gd name="connsiteY39" fmla="*/ 780784 h 838042"/>
                <a:gd name="connsiteX40" fmla="*/ 336232 w 1035345"/>
                <a:gd name="connsiteY40" fmla="*/ 786499 h 838042"/>
                <a:gd name="connsiteX41" fmla="*/ 340042 w 1035345"/>
                <a:gd name="connsiteY41" fmla="*/ 790309 h 838042"/>
                <a:gd name="connsiteX42" fmla="*/ 368617 w 1035345"/>
                <a:gd name="connsiteY42" fmla="*/ 836029 h 838042"/>
                <a:gd name="connsiteX43" fmla="*/ 391477 w 1035345"/>
                <a:gd name="connsiteY43" fmla="*/ 837934 h 838042"/>
                <a:gd name="connsiteX44" fmla="*/ 399287 w 1035345"/>
                <a:gd name="connsiteY44" fmla="*/ 833530 h 838042"/>
                <a:gd name="connsiteX45" fmla="*/ 404812 w 1035345"/>
                <a:gd name="connsiteY45" fmla="*/ 784594 h 838042"/>
                <a:gd name="connsiteX46" fmla="*/ 408622 w 1035345"/>
                <a:gd name="connsiteY46" fmla="*/ 727444 h 838042"/>
                <a:gd name="connsiteX47" fmla="*/ 425767 w 1035345"/>
                <a:gd name="connsiteY47" fmla="*/ 672199 h 838042"/>
                <a:gd name="connsiteX48" fmla="*/ 431482 w 1035345"/>
                <a:gd name="connsiteY48" fmla="*/ 658864 h 838042"/>
                <a:gd name="connsiteX49" fmla="*/ 445964 w 1035345"/>
                <a:gd name="connsiteY49" fmla="*/ 626947 h 838042"/>
                <a:gd name="connsiteX50" fmla="*/ 466169 w 1035345"/>
                <a:gd name="connsiteY50" fmla="*/ 600072 h 838042"/>
                <a:gd name="connsiteX51" fmla="*/ 525390 w 1035345"/>
                <a:gd name="connsiteY51" fmla="*/ 565123 h 838042"/>
                <a:gd name="connsiteX52" fmla="*/ 601228 w 1035345"/>
                <a:gd name="connsiteY52" fmla="*/ 550915 h 838042"/>
                <a:gd name="connsiteX53" fmla="*/ 709681 w 1035345"/>
                <a:gd name="connsiteY53" fmla="*/ 612819 h 838042"/>
                <a:gd name="connsiteX54" fmla="*/ 782002 w 1035345"/>
                <a:gd name="connsiteY54" fmla="*/ 656959 h 838042"/>
                <a:gd name="connsiteX55" fmla="*/ 806767 w 1035345"/>
                <a:gd name="connsiteY55" fmla="*/ 632194 h 838042"/>
                <a:gd name="connsiteX56" fmla="*/ 802957 w 1035345"/>
                <a:gd name="connsiteY56" fmla="*/ 601714 h 838042"/>
                <a:gd name="connsiteX57" fmla="*/ 764676 w 1035345"/>
                <a:gd name="connsiteY57" fmla="*/ 562523 h 838042"/>
                <a:gd name="connsiteX58" fmla="*/ 652462 w 1035345"/>
                <a:gd name="connsiteY58" fmla="*/ 479794 h 838042"/>
                <a:gd name="connsiteX59" fmla="*/ 648652 w 1035345"/>
                <a:gd name="connsiteY59" fmla="*/ 462649 h 838042"/>
                <a:gd name="connsiteX60" fmla="*/ 660082 w 1035345"/>
                <a:gd name="connsiteY60" fmla="*/ 426454 h 838042"/>
                <a:gd name="connsiteX61" fmla="*/ 728662 w 1035345"/>
                <a:gd name="connsiteY61" fmla="*/ 405499 h 838042"/>
                <a:gd name="connsiteX62" fmla="*/ 815618 w 1035345"/>
                <a:gd name="connsiteY62" fmla="*/ 406906 h 838042"/>
                <a:gd name="connsiteX63" fmla="*/ 908111 w 1035345"/>
                <a:gd name="connsiteY63" fmla="*/ 417646 h 838042"/>
                <a:gd name="connsiteX64" fmla="*/ 1004170 w 1035345"/>
                <a:gd name="connsiteY64" fmla="*/ 426835 h 838042"/>
                <a:gd name="connsiteX65" fmla="*/ 1034329 w 1035345"/>
                <a:gd name="connsiteY65" fmla="*/ 402711 h 838042"/>
                <a:gd name="connsiteX66" fmla="*/ 1022394 w 1035345"/>
                <a:gd name="connsiteY66" fmla="*/ 377797 h 838042"/>
                <a:gd name="connsiteX67" fmla="*/ 966769 w 1035345"/>
                <a:gd name="connsiteY67" fmla="*/ 358029 h 838042"/>
                <a:gd name="connsiteX68" fmla="*/ 829627 w 1035345"/>
                <a:gd name="connsiteY68" fmla="*/ 357874 h 838042"/>
                <a:gd name="connsiteX69" fmla="*/ 757691 w 1035345"/>
                <a:gd name="connsiteY69" fmla="*/ 361702 h 838042"/>
                <a:gd name="connsiteX70" fmla="*/ 673417 w 1035345"/>
                <a:gd name="connsiteY70" fmla="*/ 369304 h 838042"/>
                <a:gd name="connsiteX71" fmla="*/ 646747 w 1035345"/>
                <a:gd name="connsiteY71" fmla="*/ 338824 h 838042"/>
                <a:gd name="connsiteX72" fmla="*/ 678283 w 1035345"/>
                <a:gd name="connsiteY72" fmla="*/ 304962 h 838042"/>
                <a:gd name="connsiteX73" fmla="*/ 709612 w 1035345"/>
                <a:gd name="connsiteY73" fmla="*/ 283579 h 838042"/>
                <a:gd name="connsiteX74" fmla="*/ 745807 w 1035345"/>
                <a:gd name="connsiteY74" fmla="*/ 251194 h 838042"/>
                <a:gd name="connsiteX75" fmla="*/ 784899 w 1035345"/>
                <a:gd name="connsiteY75" fmla="*/ 213846 h 838042"/>
                <a:gd name="connsiteX76" fmla="*/ 748281 w 1035345"/>
                <a:gd name="connsiteY76" fmla="*/ 201789 h 838042"/>
                <a:gd name="connsiteX77" fmla="*/ 696277 w 1035345"/>
                <a:gd name="connsiteY77" fmla="*/ 226429 h 838042"/>
                <a:gd name="connsiteX78" fmla="*/ 658558 w 1035345"/>
                <a:gd name="connsiteY78" fmla="*/ 257626 h 838042"/>
                <a:gd name="connsiteX79" fmla="*/ 617881 w 1035345"/>
                <a:gd name="connsiteY79" fmla="*/ 286712 h 838042"/>
                <a:gd name="connsiteX80" fmla="*/ 566737 w 1035345"/>
                <a:gd name="connsiteY80" fmla="*/ 287389 h 838042"/>
                <a:gd name="connsiteX81" fmla="*/ 532447 w 1035345"/>
                <a:gd name="connsiteY81" fmla="*/ 274054 h 838042"/>
                <a:gd name="connsiteX82" fmla="*/ 509587 w 1035345"/>
                <a:gd name="connsiteY82" fmla="*/ 235954 h 838042"/>
                <a:gd name="connsiteX83" fmla="*/ 511492 w 1035345"/>
                <a:gd name="connsiteY83" fmla="*/ 171184 h 838042"/>
                <a:gd name="connsiteX84" fmla="*/ 510194 w 1035345"/>
                <a:gd name="connsiteY84" fmla="*/ 73485 h 838042"/>
                <a:gd name="connsiteX85" fmla="*/ 455996 w 1035345"/>
                <a:gd name="connsiteY85" fmla="*/ 11248 h 838042"/>
                <a:gd name="connsiteX86" fmla="*/ 444350 w 1035345"/>
                <a:gd name="connsiteY86" fmla="*/ 75864 h 838042"/>
                <a:gd name="connsiteX87" fmla="*/ 441106 w 1035345"/>
                <a:gd name="connsiteY87" fmla="*/ 132660 h 838042"/>
                <a:gd name="connsiteX88" fmla="*/ 437934 w 1035345"/>
                <a:gd name="connsiteY88"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0997 w 1035345"/>
                <a:gd name="connsiteY29" fmla="*/ 565519 h 838042"/>
                <a:gd name="connsiteX30" fmla="*/ 366712 w 1035345"/>
                <a:gd name="connsiteY30" fmla="*/ 609334 h 838042"/>
                <a:gd name="connsiteX31" fmla="*/ 362902 w 1035345"/>
                <a:gd name="connsiteY31" fmla="*/ 615049 h 838042"/>
                <a:gd name="connsiteX32" fmla="*/ 360997 w 1035345"/>
                <a:gd name="connsiteY32" fmla="*/ 620764 h 838042"/>
                <a:gd name="connsiteX33" fmla="*/ 357187 w 1035345"/>
                <a:gd name="connsiteY33" fmla="*/ 626479 h 838042"/>
                <a:gd name="connsiteX34" fmla="*/ 355282 w 1035345"/>
                <a:gd name="connsiteY34" fmla="*/ 632194 h 838042"/>
                <a:gd name="connsiteX35" fmla="*/ 351472 w 1035345"/>
                <a:gd name="connsiteY35" fmla="*/ 637909 h 838042"/>
                <a:gd name="connsiteX36" fmla="*/ 334327 w 1035345"/>
                <a:gd name="connsiteY36" fmla="*/ 704584 h 838042"/>
                <a:gd name="connsiteX37" fmla="*/ 332422 w 1035345"/>
                <a:gd name="connsiteY37" fmla="*/ 756019 h 838042"/>
                <a:gd name="connsiteX38" fmla="*/ 334327 w 1035345"/>
                <a:gd name="connsiteY38" fmla="*/ 780784 h 838042"/>
                <a:gd name="connsiteX39" fmla="*/ 336232 w 1035345"/>
                <a:gd name="connsiteY39" fmla="*/ 786499 h 838042"/>
                <a:gd name="connsiteX40" fmla="*/ 340042 w 1035345"/>
                <a:gd name="connsiteY40" fmla="*/ 790309 h 838042"/>
                <a:gd name="connsiteX41" fmla="*/ 368617 w 1035345"/>
                <a:gd name="connsiteY41" fmla="*/ 836029 h 838042"/>
                <a:gd name="connsiteX42" fmla="*/ 391477 w 1035345"/>
                <a:gd name="connsiteY42" fmla="*/ 837934 h 838042"/>
                <a:gd name="connsiteX43" fmla="*/ 399287 w 1035345"/>
                <a:gd name="connsiteY43" fmla="*/ 833530 h 838042"/>
                <a:gd name="connsiteX44" fmla="*/ 404812 w 1035345"/>
                <a:gd name="connsiteY44" fmla="*/ 784594 h 838042"/>
                <a:gd name="connsiteX45" fmla="*/ 408622 w 1035345"/>
                <a:gd name="connsiteY45" fmla="*/ 727444 h 838042"/>
                <a:gd name="connsiteX46" fmla="*/ 425767 w 1035345"/>
                <a:gd name="connsiteY46" fmla="*/ 672199 h 838042"/>
                <a:gd name="connsiteX47" fmla="*/ 431482 w 1035345"/>
                <a:gd name="connsiteY47" fmla="*/ 658864 h 838042"/>
                <a:gd name="connsiteX48" fmla="*/ 445964 w 1035345"/>
                <a:gd name="connsiteY48" fmla="*/ 626947 h 838042"/>
                <a:gd name="connsiteX49" fmla="*/ 466169 w 1035345"/>
                <a:gd name="connsiteY49" fmla="*/ 600072 h 838042"/>
                <a:gd name="connsiteX50" fmla="*/ 525390 w 1035345"/>
                <a:gd name="connsiteY50" fmla="*/ 565123 h 838042"/>
                <a:gd name="connsiteX51" fmla="*/ 601228 w 1035345"/>
                <a:gd name="connsiteY51" fmla="*/ 550915 h 838042"/>
                <a:gd name="connsiteX52" fmla="*/ 709681 w 1035345"/>
                <a:gd name="connsiteY52" fmla="*/ 612819 h 838042"/>
                <a:gd name="connsiteX53" fmla="*/ 782002 w 1035345"/>
                <a:gd name="connsiteY53" fmla="*/ 656959 h 838042"/>
                <a:gd name="connsiteX54" fmla="*/ 806767 w 1035345"/>
                <a:gd name="connsiteY54" fmla="*/ 632194 h 838042"/>
                <a:gd name="connsiteX55" fmla="*/ 802957 w 1035345"/>
                <a:gd name="connsiteY55" fmla="*/ 601714 h 838042"/>
                <a:gd name="connsiteX56" fmla="*/ 764676 w 1035345"/>
                <a:gd name="connsiteY56" fmla="*/ 562523 h 838042"/>
                <a:gd name="connsiteX57" fmla="*/ 652462 w 1035345"/>
                <a:gd name="connsiteY57" fmla="*/ 479794 h 838042"/>
                <a:gd name="connsiteX58" fmla="*/ 648652 w 1035345"/>
                <a:gd name="connsiteY58" fmla="*/ 462649 h 838042"/>
                <a:gd name="connsiteX59" fmla="*/ 660082 w 1035345"/>
                <a:gd name="connsiteY59" fmla="*/ 426454 h 838042"/>
                <a:gd name="connsiteX60" fmla="*/ 728662 w 1035345"/>
                <a:gd name="connsiteY60" fmla="*/ 405499 h 838042"/>
                <a:gd name="connsiteX61" fmla="*/ 815618 w 1035345"/>
                <a:gd name="connsiteY61" fmla="*/ 406906 h 838042"/>
                <a:gd name="connsiteX62" fmla="*/ 908111 w 1035345"/>
                <a:gd name="connsiteY62" fmla="*/ 417646 h 838042"/>
                <a:gd name="connsiteX63" fmla="*/ 1004170 w 1035345"/>
                <a:gd name="connsiteY63" fmla="*/ 426835 h 838042"/>
                <a:gd name="connsiteX64" fmla="*/ 1034329 w 1035345"/>
                <a:gd name="connsiteY64" fmla="*/ 402711 h 838042"/>
                <a:gd name="connsiteX65" fmla="*/ 1022394 w 1035345"/>
                <a:gd name="connsiteY65" fmla="*/ 377797 h 838042"/>
                <a:gd name="connsiteX66" fmla="*/ 966769 w 1035345"/>
                <a:gd name="connsiteY66" fmla="*/ 358029 h 838042"/>
                <a:gd name="connsiteX67" fmla="*/ 829627 w 1035345"/>
                <a:gd name="connsiteY67" fmla="*/ 357874 h 838042"/>
                <a:gd name="connsiteX68" fmla="*/ 757691 w 1035345"/>
                <a:gd name="connsiteY68" fmla="*/ 361702 h 838042"/>
                <a:gd name="connsiteX69" fmla="*/ 673417 w 1035345"/>
                <a:gd name="connsiteY69" fmla="*/ 369304 h 838042"/>
                <a:gd name="connsiteX70" fmla="*/ 646747 w 1035345"/>
                <a:gd name="connsiteY70" fmla="*/ 338824 h 838042"/>
                <a:gd name="connsiteX71" fmla="*/ 678283 w 1035345"/>
                <a:gd name="connsiteY71" fmla="*/ 304962 h 838042"/>
                <a:gd name="connsiteX72" fmla="*/ 709612 w 1035345"/>
                <a:gd name="connsiteY72" fmla="*/ 283579 h 838042"/>
                <a:gd name="connsiteX73" fmla="*/ 745807 w 1035345"/>
                <a:gd name="connsiteY73" fmla="*/ 251194 h 838042"/>
                <a:gd name="connsiteX74" fmla="*/ 784899 w 1035345"/>
                <a:gd name="connsiteY74" fmla="*/ 213846 h 838042"/>
                <a:gd name="connsiteX75" fmla="*/ 748281 w 1035345"/>
                <a:gd name="connsiteY75" fmla="*/ 201789 h 838042"/>
                <a:gd name="connsiteX76" fmla="*/ 696277 w 1035345"/>
                <a:gd name="connsiteY76" fmla="*/ 226429 h 838042"/>
                <a:gd name="connsiteX77" fmla="*/ 658558 w 1035345"/>
                <a:gd name="connsiteY77" fmla="*/ 257626 h 838042"/>
                <a:gd name="connsiteX78" fmla="*/ 617881 w 1035345"/>
                <a:gd name="connsiteY78" fmla="*/ 286712 h 838042"/>
                <a:gd name="connsiteX79" fmla="*/ 566737 w 1035345"/>
                <a:gd name="connsiteY79" fmla="*/ 287389 h 838042"/>
                <a:gd name="connsiteX80" fmla="*/ 532447 w 1035345"/>
                <a:gd name="connsiteY80" fmla="*/ 274054 h 838042"/>
                <a:gd name="connsiteX81" fmla="*/ 509587 w 1035345"/>
                <a:gd name="connsiteY81" fmla="*/ 235954 h 838042"/>
                <a:gd name="connsiteX82" fmla="*/ 511492 w 1035345"/>
                <a:gd name="connsiteY82" fmla="*/ 171184 h 838042"/>
                <a:gd name="connsiteX83" fmla="*/ 510194 w 1035345"/>
                <a:gd name="connsiteY83" fmla="*/ 73485 h 838042"/>
                <a:gd name="connsiteX84" fmla="*/ 455996 w 1035345"/>
                <a:gd name="connsiteY84" fmla="*/ 11248 h 838042"/>
                <a:gd name="connsiteX85" fmla="*/ 444350 w 1035345"/>
                <a:gd name="connsiteY85" fmla="*/ 75864 h 838042"/>
                <a:gd name="connsiteX86" fmla="*/ 441106 w 1035345"/>
                <a:gd name="connsiteY86" fmla="*/ 132660 h 838042"/>
                <a:gd name="connsiteX87" fmla="*/ 437934 w 1035345"/>
                <a:gd name="connsiteY87"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62902 w 1035345"/>
                <a:gd name="connsiteY30" fmla="*/ 615049 h 838042"/>
                <a:gd name="connsiteX31" fmla="*/ 360997 w 1035345"/>
                <a:gd name="connsiteY31" fmla="*/ 620764 h 838042"/>
                <a:gd name="connsiteX32" fmla="*/ 357187 w 1035345"/>
                <a:gd name="connsiteY32" fmla="*/ 626479 h 838042"/>
                <a:gd name="connsiteX33" fmla="*/ 355282 w 1035345"/>
                <a:gd name="connsiteY33" fmla="*/ 632194 h 838042"/>
                <a:gd name="connsiteX34" fmla="*/ 351472 w 1035345"/>
                <a:gd name="connsiteY34" fmla="*/ 637909 h 838042"/>
                <a:gd name="connsiteX35" fmla="*/ 334327 w 1035345"/>
                <a:gd name="connsiteY35" fmla="*/ 704584 h 838042"/>
                <a:gd name="connsiteX36" fmla="*/ 332422 w 1035345"/>
                <a:gd name="connsiteY36" fmla="*/ 756019 h 838042"/>
                <a:gd name="connsiteX37" fmla="*/ 334327 w 1035345"/>
                <a:gd name="connsiteY37" fmla="*/ 780784 h 838042"/>
                <a:gd name="connsiteX38" fmla="*/ 336232 w 1035345"/>
                <a:gd name="connsiteY38" fmla="*/ 786499 h 838042"/>
                <a:gd name="connsiteX39" fmla="*/ 340042 w 1035345"/>
                <a:gd name="connsiteY39" fmla="*/ 790309 h 838042"/>
                <a:gd name="connsiteX40" fmla="*/ 368617 w 1035345"/>
                <a:gd name="connsiteY40" fmla="*/ 836029 h 838042"/>
                <a:gd name="connsiteX41" fmla="*/ 391477 w 1035345"/>
                <a:gd name="connsiteY41" fmla="*/ 837934 h 838042"/>
                <a:gd name="connsiteX42" fmla="*/ 399287 w 1035345"/>
                <a:gd name="connsiteY42" fmla="*/ 833530 h 838042"/>
                <a:gd name="connsiteX43" fmla="*/ 404812 w 1035345"/>
                <a:gd name="connsiteY43" fmla="*/ 784594 h 838042"/>
                <a:gd name="connsiteX44" fmla="*/ 408622 w 1035345"/>
                <a:gd name="connsiteY44" fmla="*/ 727444 h 838042"/>
                <a:gd name="connsiteX45" fmla="*/ 425767 w 1035345"/>
                <a:gd name="connsiteY45" fmla="*/ 672199 h 838042"/>
                <a:gd name="connsiteX46" fmla="*/ 431482 w 1035345"/>
                <a:gd name="connsiteY46" fmla="*/ 658864 h 838042"/>
                <a:gd name="connsiteX47" fmla="*/ 445964 w 1035345"/>
                <a:gd name="connsiteY47" fmla="*/ 626947 h 838042"/>
                <a:gd name="connsiteX48" fmla="*/ 466169 w 1035345"/>
                <a:gd name="connsiteY48" fmla="*/ 600072 h 838042"/>
                <a:gd name="connsiteX49" fmla="*/ 525390 w 1035345"/>
                <a:gd name="connsiteY49" fmla="*/ 565123 h 838042"/>
                <a:gd name="connsiteX50" fmla="*/ 601228 w 1035345"/>
                <a:gd name="connsiteY50" fmla="*/ 550915 h 838042"/>
                <a:gd name="connsiteX51" fmla="*/ 709681 w 1035345"/>
                <a:gd name="connsiteY51" fmla="*/ 612819 h 838042"/>
                <a:gd name="connsiteX52" fmla="*/ 782002 w 1035345"/>
                <a:gd name="connsiteY52" fmla="*/ 656959 h 838042"/>
                <a:gd name="connsiteX53" fmla="*/ 806767 w 1035345"/>
                <a:gd name="connsiteY53" fmla="*/ 632194 h 838042"/>
                <a:gd name="connsiteX54" fmla="*/ 802957 w 1035345"/>
                <a:gd name="connsiteY54" fmla="*/ 601714 h 838042"/>
                <a:gd name="connsiteX55" fmla="*/ 764676 w 1035345"/>
                <a:gd name="connsiteY55" fmla="*/ 562523 h 838042"/>
                <a:gd name="connsiteX56" fmla="*/ 652462 w 1035345"/>
                <a:gd name="connsiteY56" fmla="*/ 479794 h 838042"/>
                <a:gd name="connsiteX57" fmla="*/ 648652 w 1035345"/>
                <a:gd name="connsiteY57" fmla="*/ 462649 h 838042"/>
                <a:gd name="connsiteX58" fmla="*/ 660082 w 1035345"/>
                <a:gd name="connsiteY58" fmla="*/ 426454 h 838042"/>
                <a:gd name="connsiteX59" fmla="*/ 728662 w 1035345"/>
                <a:gd name="connsiteY59" fmla="*/ 405499 h 838042"/>
                <a:gd name="connsiteX60" fmla="*/ 815618 w 1035345"/>
                <a:gd name="connsiteY60" fmla="*/ 406906 h 838042"/>
                <a:gd name="connsiteX61" fmla="*/ 908111 w 1035345"/>
                <a:gd name="connsiteY61" fmla="*/ 417646 h 838042"/>
                <a:gd name="connsiteX62" fmla="*/ 1004170 w 1035345"/>
                <a:gd name="connsiteY62" fmla="*/ 426835 h 838042"/>
                <a:gd name="connsiteX63" fmla="*/ 1034329 w 1035345"/>
                <a:gd name="connsiteY63" fmla="*/ 402711 h 838042"/>
                <a:gd name="connsiteX64" fmla="*/ 1022394 w 1035345"/>
                <a:gd name="connsiteY64" fmla="*/ 377797 h 838042"/>
                <a:gd name="connsiteX65" fmla="*/ 966769 w 1035345"/>
                <a:gd name="connsiteY65" fmla="*/ 358029 h 838042"/>
                <a:gd name="connsiteX66" fmla="*/ 829627 w 1035345"/>
                <a:gd name="connsiteY66" fmla="*/ 357874 h 838042"/>
                <a:gd name="connsiteX67" fmla="*/ 757691 w 1035345"/>
                <a:gd name="connsiteY67" fmla="*/ 361702 h 838042"/>
                <a:gd name="connsiteX68" fmla="*/ 673417 w 1035345"/>
                <a:gd name="connsiteY68" fmla="*/ 369304 h 838042"/>
                <a:gd name="connsiteX69" fmla="*/ 646747 w 1035345"/>
                <a:gd name="connsiteY69" fmla="*/ 338824 h 838042"/>
                <a:gd name="connsiteX70" fmla="*/ 678283 w 1035345"/>
                <a:gd name="connsiteY70" fmla="*/ 304962 h 838042"/>
                <a:gd name="connsiteX71" fmla="*/ 709612 w 1035345"/>
                <a:gd name="connsiteY71" fmla="*/ 283579 h 838042"/>
                <a:gd name="connsiteX72" fmla="*/ 745807 w 1035345"/>
                <a:gd name="connsiteY72" fmla="*/ 251194 h 838042"/>
                <a:gd name="connsiteX73" fmla="*/ 784899 w 1035345"/>
                <a:gd name="connsiteY73" fmla="*/ 213846 h 838042"/>
                <a:gd name="connsiteX74" fmla="*/ 748281 w 1035345"/>
                <a:gd name="connsiteY74" fmla="*/ 201789 h 838042"/>
                <a:gd name="connsiteX75" fmla="*/ 696277 w 1035345"/>
                <a:gd name="connsiteY75" fmla="*/ 226429 h 838042"/>
                <a:gd name="connsiteX76" fmla="*/ 658558 w 1035345"/>
                <a:gd name="connsiteY76" fmla="*/ 257626 h 838042"/>
                <a:gd name="connsiteX77" fmla="*/ 617881 w 1035345"/>
                <a:gd name="connsiteY77" fmla="*/ 286712 h 838042"/>
                <a:gd name="connsiteX78" fmla="*/ 566737 w 1035345"/>
                <a:gd name="connsiteY78" fmla="*/ 287389 h 838042"/>
                <a:gd name="connsiteX79" fmla="*/ 532447 w 1035345"/>
                <a:gd name="connsiteY79" fmla="*/ 274054 h 838042"/>
                <a:gd name="connsiteX80" fmla="*/ 509587 w 1035345"/>
                <a:gd name="connsiteY80" fmla="*/ 235954 h 838042"/>
                <a:gd name="connsiteX81" fmla="*/ 511492 w 1035345"/>
                <a:gd name="connsiteY81" fmla="*/ 171184 h 838042"/>
                <a:gd name="connsiteX82" fmla="*/ 510194 w 1035345"/>
                <a:gd name="connsiteY82" fmla="*/ 73485 h 838042"/>
                <a:gd name="connsiteX83" fmla="*/ 455996 w 1035345"/>
                <a:gd name="connsiteY83" fmla="*/ 11248 h 838042"/>
                <a:gd name="connsiteX84" fmla="*/ 444350 w 1035345"/>
                <a:gd name="connsiteY84" fmla="*/ 75864 h 838042"/>
                <a:gd name="connsiteX85" fmla="*/ 441106 w 1035345"/>
                <a:gd name="connsiteY85" fmla="*/ 132660 h 838042"/>
                <a:gd name="connsiteX86" fmla="*/ 437934 w 1035345"/>
                <a:gd name="connsiteY86"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62902 w 1035345"/>
                <a:gd name="connsiteY30" fmla="*/ 615049 h 838042"/>
                <a:gd name="connsiteX31" fmla="*/ 357187 w 1035345"/>
                <a:gd name="connsiteY31" fmla="*/ 626479 h 838042"/>
                <a:gd name="connsiteX32" fmla="*/ 355282 w 1035345"/>
                <a:gd name="connsiteY32" fmla="*/ 632194 h 838042"/>
                <a:gd name="connsiteX33" fmla="*/ 351472 w 1035345"/>
                <a:gd name="connsiteY33" fmla="*/ 637909 h 838042"/>
                <a:gd name="connsiteX34" fmla="*/ 334327 w 1035345"/>
                <a:gd name="connsiteY34" fmla="*/ 704584 h 838042"/>
                <a:gd name="connsiteX35" fmla="*/ 332422 w 1035345"/>
                <a:gd name="connsiteY35" fmla="*/ 756019 h 838042"/>
                <a:gd name="connsiteX36" fmla="*/ 334327 w 1035345"/>
                <a:gd name="connsiteY36" fmla="*/ 780784 h 838042"/>
                <a:gd name="connsiteX37" fmla="*/ 336232 w 1035345"/>
                <a:gd name="connsiteY37" fmla="*/ 786499 h 838042"/>
                <a:gd name="connsiteX38" fmla="*/ 340042 w 1035345"/>
                <a:gd name="connsiteY38" fmla="*/ 790309 h 838042"/>
                <a:gd name="connsiteX39" fmla="*/ 368617 w 1035345"/>
                <a:gd name="connsiteY39" fmla="*/ 836029 h 838042"/>
                <a:gd name="connsiteX40" fmla="*/ 391477 w 1035345"/>
                <a:gd name="connsiteY40" fmla="*/ 837934 h 838042"/>
                <a:gd name="connsiteX41" fmla="*/ 399287 w 1035345"/>
                <a:gd name="connsiteY41" fmla="*/ 833530 h 838042"/>
                <a:gd name="connsiteX42" fmla="*/ 404812 w 1035345"/>
                <a:gd name="connsiteY42" fmla="*/ 784594 h 838042"/>
                <a:gd name="connsiteX43" fmla="*/ 408622 w 1035345"/>
                <a:gd name="connsiteY43" fmla="*/ 727444 h 838042"/>
                <a:gd name="connsiteX44" fmla="*/ 425767 w 1035345"/>
                <a:gd name="connsiteY44" fmla="*/ 672199 h 838042"/>
                <a:gd name="connsiteX45" fmla="*/ 431482 w 1035345"/>
                <a:gd name="connsiteY45" fmla="*/ 658864 h 838042"/>
                <a:gd name="connsiteX46" fmla="*/ 445964 w 1035345"/>
                <a:gd name="connsiteY46" fmla="*/ 626947 h 838042"/>
                <a:gd name="connsiteX47" fmla="*/ 466169 w 1035345"/>
                <a:gd name="connsiteY47" fmla="*/ 600072 h 838042"/>
                <a:gd name="connsiteX48" fmla="*/ 525390 w 1035345"/>
                <a:gd name="connsiteY48" fmla="*/ 565123 h 838042"/>
                <a:gd name="connsiteX49" fmla="*/ 601228 w 1035345"/>
                <a:gd name="connsiteY49" fmla="*/ 550915 h 838042"/>
                <a:gd name="connsiteX50" fmla="*/ 709681 w 1035345"/>
                <a:gd name="connsiteY50" fmla="*/ 612819 h 838042"/>
                <a:gd name="connsiteX51" fmla="*/ 782002 w 1035345"/>
                <a:gd name="connsiteY51" fmla="*/ 656959 h 838042"/>
                <a:gd name="connsiteX52" fmla="*/ 806767 w 1035345"/>
                <a:gd name="connsiteY52" fmla="*/ 632194 h 838042"/>
                <a:gd name="connsiteX53" fmla="*/ 802957 w 1035345"/>
                <a:gd name="connsiteY53" fmla="*/ 601714 h 838042"/>
                <a:gd name="connsiteX54" fmla="*/ 764676 w 1035345"/>
                <a:gd name="connsiteY54" fmla="*/ 562523 h 838042"/>
                <a:gd name="connsiteX55" fmla="*/ 652462 w 1035345"/>
                <a:gd name="connsiteY55" fmla="*/ 479794 h 838042"/>
                <a:gd name="connsiteX56" fmla="*/ 648652 w 1035345"/>
                <a:gd name="connsiteY56" fmla="*/ 462649 h 838042"/>
                <a:gd name="connsiteX57" fmla="*/ 660082 w 1035345"/>
                <a:gd name="connsiteY57" fmla="*/ 426454 h 838042"/>
                <a:gd name="connsiteX58" fmla="*/ 728662 w 1035345"/>
                <a:gd name="connsiteY58" fmla="*/ 405499 h 838042"/>
                <a:gd name="connsiteX59" fmla="*/ 815618 w 1035345"/>
                <a:gd name="connsiteY59" fmla="*/ 406906 h 838042"/>
                <a:gd name="connsiteX60" fmla="*/ 908111 w 1035345"/>
                <a:gd name="connsiteY60" fmla="*/ 417646 h 838042"/>
                <a:gd name="connsiteX61" fmla="*/ 1004170 w 1035345"/>
                <a:gd name="connsiteY61" fmla="*/ 426835 h 838042"/>
                <a:gd name="connsiteX62" fmla="*/ 1034329 w 1035345"/>
                <a:gd name="connsiteY62" fmla="*/ 402711 h 838042"/>
                <a:gd name="connsiteX63" fmla="*/ 1022394 w 1035345"/>
                <a:gd name="connsiteY63" fmla="*/ 377797 h 838042"/>
                <a:gd name="connsiteX64" fmla="*/ 966769 w 1035345"/>
                <a:gd name="connsiteY64" fmla="*/ 358029 h 838042"/>
                <a:gd name="connsiteX65" fmla="*/ 829627 w 1035345"/>
                <a:gd name="connsiteY65" fmla="*/ 357874 h 838042"/>
                <a:gd name="connsiteX66" fmla="*/ 757691 w 1035345"/>
                <a:gd name="connsiteY66" fmla="*/ 361702 h 838042"/>
                <a:gd name="connsiteX67" fmla="*/ 673417 w 1035345"/>
                <a:gd name="connsiteY67" fmla="*/ 369304 h 838042"/>
                <a:gd name="connsiteX68" fmla="*/ 646747 w 1035345"/>
                <a:gd name="connsiteY68" fmla="*/ 338824 h 838042"/>
                <a:gd name="connsiteX69" fmla="*/ 678283 w 1035345"/>
                <a:gd name="connsiteY69" fmla="*/ 304962 h 838042"/>
                <a:gd name="connsiteX70" fmla="*/ 709612 w 1035345"/>
                <a:gd name="connsiteY70" fmla="*/ 283579 h 838042"/>
                <a:gd name="connsiteX71" fmla="*/ 745807 w 1035345"/>
                <a:gd name="connsiteY71" fmla="*/ 251194 h 838042"/>
                <a:gd name="connsiteX72" fmla="*/ 784899 w 1035345"/>
                <a:gd name="connsiteY72" fmla="*/ 213846 h 838042"/>
                <a:gd name="connsiteX73" fmla="*/ 748281 w 1035345"/>
                <a:gd name="connsiteY73" fmla="*/ 201789 h 838042"/>
                <a:gd name="connsiteX74" fmla="*/ 696277 w 1035345"/>
                <a:gd name="connsiteY74" fmla="*/ 226429 h 838042"/>
                <a:gd name="connsiteX75" fmla="*/ 658558 w 1035345"/>
                <a:gd name="connsiteY75" fmla="*/ 257626 h 838042"/>
                <a:gd name="connsiteX76" fmla="*/ 617881 w 1035345"/>
                <a:gd name="connsiteY76" fmla="*/ 286712 h 838042"/>
                <a:gd name="connsiteX77" fmla="*/ 566737 w 1035345"/>
                <a:gd name="connsiteY77" fmla="*/ 287389 h 838042"/>
                <a:gd name="connsiteX78" fmla="*/ 532447 w 1035345"/>
                <a:gd name="connsiteY78" fmla="*/ 274054 h 838042"/>
                <a:gd name="connsiteX79" fmla="*/ 509587 w 1035345"/>
                <a:gd name="connsiteY79" fmla="*/ 235954 h 838042"/>
                <a:gd name="connsiteX80" fmla="*/ 511492 w 1035345"/>
                <a:gd name="connsiteY80" fmla="*/ 171184 h 838042"/>
                <a:gd name="connsiteX81" fmla="*/ 510194 w 1035345"/>
                <a:gd name="connsiteY81" fmla="*/ 73485 h 838042"/>
                <a:gd name="connsiteX82" fmla="*/ 455996 w 1035345"/>
                <a:gd name="connsiteY82" fmla="*/ 11248 h 838042"/>
                <a:gd name="connsiteX83" fmla="*/ 444350 w 1035345"/>
                <a:gd name="connsiteY83" fmla="*/ 75864 h 838042"/>
                <a:gd name="connsiteX84" fmla="*/ 441106 w 1035345"/>
                <a:gd name="connsiteY84" fmla="*/ 132660 h 838042"/>
                <a:gd name="connsiteX85" fmla="*/ 437934 w 1035345"/>
                <a:gd name="connsiteY85"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62902 w 1035345"/>
                <a:gd name="connsiteY30" fmla="*/ 615049 h 838042"/>
                <a:gd name="connsiteX31" fmla="*/ 355282 w 1035345"/>
                <a:gd name="connsiteY31" fmla="*/ 632194 h 838042"/>
                <a:gd name="connsiteX32" fmla="*/ 351472 w 1035345"/>
                <a:gd name="connsiteY32" fmla="*/ 637909 h 838042"/>
                <a:gd name="connsiteX33" fmla="*/ 334327 w 1035345"/>
                <a:gd name="connsiteY33" fmla="*/ 704584 h 838042"/>
                <a:gd name="connsiteX34" fmla="*/ 332422 w 1035345"/>
                <a:gd name="connsiteY34" fmla="*/ 756019 h 838042"/>
                <a:gd name="connsiteX35" fmla="*/ 334327 w 1035345"/>
                <a:gd name="connsiteY35" fmla="*/ 780784 h 838042"/>
                <a:gd name="connsiteX36" fmla="*/ 336232 w 1035345"/>
                <a:gd name="connsiteY36" fmla="*/ 786499 h 838042"/>
                <a:gd name="connsiteX37" fmla="*/ 340042 w 1035345"/>
                <a:gd name="connsiteY37" fmla="*/ 790309 h 838042"/>
                <a:gd name="connsiteX38" fmla="*/ 368617 w 1035345"/>
                <a:gd name="connsiteY38" fmla="*/ 836029 h 838042"/>
                <a:gd name="connsiteX39" fmla="*/ 391477 w 1035345"/>
                <a:gd name="connsiteY39" fmla="*/ 837934 h 838042"/>
                <a:gd name="connsiteX40" fmla="*/ 399287 w 1035345"/>
                <a:gd name="connsiteY40" fmla="*/ 833530 h 838042"/>
                <a:gd name="connsiteX41" fmla="*/ 404812 w 1035345"/>
                <a:gd name="connsiteY41" fmla="*/ 784594 h 838042"/>
                <a:gd name="connsiteX42" fmla="*/ 408622 w 1035345"/>
                <a:gd name="connsiteY42" fmla="*/ 727444 h 838042"/>
                <a:gd name="connsiteX43" fmla="*/ 425767 w 1035345"/>
                <a:gd name="connsiteY43" fmla="*/ 672199 h 838042"/>
                <a:gd name="connsiteX44" fmla="*/ 431482 w 1035345"/>
                <a:gd name="connsiteY44" fmla="*/ 658864 h 838042"/>
                <a:gd name="connsiteX45" fmla="*/ 445964 w 1035345"/>
                <a:gd name="connsiteY45" fmla="*/ 626947 h 838042"/>
                <a:gd name="connsiteX46" fmla="*/ 466169 w 1035345"/>
                <a:gd name="connsiteY46" fmla="*/ 600072 h 838042"/>
                <a:gd name="connsiteX47" fmla="*/ 525390 w 1035345"/>
                <a:gd name="connsiteY47" fmla="*/ 565123 h 838042"/>
                <a:gd name="connsiteX48" fmla="*/ 601228 w 1035345"/>
                <a:gd name="connsiteY48" fmla="*/ 550915 h 838042"/>
                <a:gd name="connsiteX49" fmla="*/ 709681 w 1035345"/>
                <a:gd name="connsiteY49" fmla="*/ 612819 h 838042"/>
                <a:gd name="connsiteX50" fmla="*/ 782002 w 1035345"/>
                <a:gd name="connsiteY50" fmla="*/ 656959 h 838042"/>
                <a:gd name="connsiteX51" fmla="*/ 806767 w 1035345"/>
                <a:gd name="connsiteY51" fmla="*/ 632194 h 838042"/>
                <a:gd name="connsiteX52" fmla="*/ 802957 w 1035345"/>
                <a:gd name="connsiteY52" fmla="*/ 601714 h 838042"/>
                <a:gd name="connsiteX53" fmla="*/ 764676 w 1035345"/>
                <a:gd name="connsiteY53" fmla="*/ 562523 h 838042"/>
                <a:gd name="connsiteX54" fmla="*/ 652462 w 1035345"/>
                <a:gd name="connsiteY54" fmla="*/ 479794 h 838042"/>
                <a:gd name="connsiteX55" fmla="*/ 648652 w 1035345"/>
                <a:gd name="connsiteY55" fmla="*/ 462649 h 838042"/>
                <a:gd name="connsiteX56" fmla="*/ 660082 w 1035345"/>
                <a:gd name="connsiteY56" fmla="*/ 426454 h 838042"/>
                <a:gd name="connsiteX57" fmla="*/ 728662 w 1035345"/>
                <a:gd name="connsiteY57" fmla="*/ 405499 h 838042"/>
                <a:gd name="connsiteX58" fmla="*/ 815618 w 1035345"/>
                <a:gd name="connsiteY58" fmla="*/ 406906 h 838042"/>
                <a:gd name="connsiteX59" fmla="*/ 908111 w 1035345"/>
                <a:gd name="connsiteY59" fmla="*/ 417646 h 838042"/>
                <a:gd name="connsiteX60" fmla="*/ 1004170 w 1035345"/>
                <a:gd name="connsiteY60" fmla="*/ 426835 h 838042"/>
                <a:gd name="connsiteX61" fmla="*/ 1034329 w 1035345"/>
                <a:gd name="connsiteY61" fmla="*/ 402711 h 838042"/>
                <a:gd name="connsiteX62" fmla="*/ 1022394 w 1035345"/>
                <a:gd name="connsiteY62" fmla="*/ 377797 h 838042"/>
                <a:gd name="connsiteX63" fmla="*/ 966769 w 1035345"/>
                <a:gd name="connsiteY63" fmla="*/ 358029 h 838042"/>
                <a:gd name="connsiteX64" fmla="*/ 829627 w 1035345"/>
                <a:gd name="connsiteY64" fmla="*/ 357874 h 838042"/>
                <a:gd name="connsiteX65" fmla="*/ 757691 w 1035345"/>
                <a:gd name="connsiteY65" fmla="*/ 361702 h 838042"/>
                <a:gd name="connsiteX66" fmla="*/ 673417 w 1035345"/>
                <a:gd name="connsiteY66" fmla="*/ 369304 h 838042"/>
                <a:gd name="connsiteX67" fmla="*/ 646747 w 1035345"/>
                <a:gd name="connsiteY67" fmla="*/ 338824 h 838042"/>
                <a:gd name="connsiteX68" fmla="*/ 678283 w 1035345"/>
                <a:gd name="connsiteY68" fmla="*/ 304962 h 838042"/>
                <a:gd name="connsiteX69" fmla="*/ 709612 w 1035345"/>
                <a:gd name="connsiteY69" fmla="*/ 283579 h 838042"/>
                <a:gd name="connsiteX70" fmla="*/ 745807 w 1035345"/>
                <a:gd name="connsiteY70" fmla="*/ 251194 h 838042"/>
                <a:gd name="connsiteX71" fmla="*/ 784899 w 1035345"/>
                <a:gd name="connsiteY71" fmla="*/ 213846 h 838042"/>
                <a:gd name="connsiteX72" fmla="*/ 748281 w 1035345"/>
                <a:gd name="connsiteY72" fmla="*/ 201789 h 838042"/>
                <a:gd name="connsiteX73" fmla="*/ 696277 w 1035345"/>
                <a:gd name="connsiteY73" fmla="*/ 226429 h 838042"/>
                <a:gd name="connsiteX74" fmla="*/ 658558 w 1035345"/>
                <a:gd name="connsiteY74" fmla="*/ 257626 h 838042"/>
                <a:gd name="connsiteX75" fmla="*/ 617881 w 1035345"/>
                <a:gd name="connsiteY75" fmla="*/ 286712 h 838042"/>
                <a:gd name="connsiteX76" fmla="*/ 566737 w 1035345"/>
                <a:gd name="connsiteY76" fmla="*/ 287389 h 838042"/>
                <a:gd name="connsiteX77" fmla="*/ 532447 w 1035345"/>
                <a:gd name="connsiteY77" fmla="*/ 274054 h 838042"/>
                <a:gd name="connsiteX78" fmla="*/ 509587 w 1035345"/>
                <a:gd name="connsiteY78" fmla="*/ 235954 h 838042"/>
                <a:gd name="connsiteX79" fmla="*/ 511492 w 1035345"/>
                <a:gd name="connsiteY79" fmla="*/ 171184 h 838042"/>
                <a:gd name="connsiteX80" fmla="*/ 510194 w 1035345"/>
                <a:gd name="connsiteY80" fmla="*/ 73485 h 838042"/>
                <a:gd name="connsiteX81" fmla="*/ 455996 w 1035345"/>
                <a:gd name="connsiteY81" fmla="*/ 11248 h 838042"/>
                <a:gd name="connsiteX82" fmla="*/ 444350 w 1035345"/>
                <a:gd name="connsiteY82" fmla="*/ 75864 h 838042"/>
                <a:gd name="connsiteX83" fmla="*/ 441106 w 1035345"/>
                <a:gd name="connsiteY83" fmla="*/ 132660 h 838042"/>
                <a:gd name="connsiteX84" fmla="*/ 437934 w 1035345"/>
                <a:gd name="connsiteY84"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62902 w 1035345"/>
                <a:gd name="connsiteY30" fmla="*/ 615049 h 838042"/>
                <a:gd name="connsiteX31" fmla="*/ 355282 w 1035345"/>
                <a:gd name="connsiteY31" fmla="*/ 632194 h 838042"/>
                <a:gd name="connsiteX32" fmla="*/ 334327 w 1035345"/>
                <a:gd name="connsiteY32" fmla="*/ 704584 h 838042"/>
                <a:gd name="connsiteX33" fmla="*/ 332422 w 1035345"/>
                <a:gd name="connsiteY33" fmla="*/ 756019 h 838042"/>
                <a:gd name="connsiteX34" fmla="*/ 334327 w 1035345"/>
                <a:gd name="connsiteY34" fmla="*/ 780784 h 838042"/>
                <a:gd name="connsiteX35" fmla="*/ 336232 w 1035345"/>
                <a:gd name="connsiteY35" fmla="*/ 786499 h 838042"/>
                <a:gd name="connsiteX36" fmla="*/ 340042 w 1035345"/>
                <a:gd name="connsiteY36" fmla="*/ 790309 h 838042"/>
                <a:gd name="connsiteX37" fmla="*/ 368617 w 1035345"/>
                <a:gd name="connsiteY37" fmla="*/ 836029 h 838042"/>
                <a:gd name="connsiteX38" fmla="*/ 391477 w 1035345"/>
                <a:gd name="connsiteY38" fmla="*/ 837934 h 838042"/>
                <a:gd name="connsiteX39" fmla="*/ 399287 w 1035345"/>
                <a:gd name="connsiteY39" fmla="*/ 833530 h 838042"/>
                <a:gd name="connsiteX40" fmla="*/ 404812 w 1035345"/>
                <a:gd name="connsiteY40" fmla="*/ 784594 h 838042"/>
                <a:gd name="connsiteX41" fmla="*/ 408622 w 1035345"/>
                <a:gd name="connsiteY41" fmla="*/ 727444 h 838042"/>
                <a:gd name="connsiteX42" fmla="*/ 425767 w 1035345"/>
                <a:gd name="connsiteY42" fmla="*/ 672199 h 838042"/>
                <a:gd name="connsiteX43" fmla="*/ 431482 w 1035345"/>
                <a:gd name="connsiteY43" fmla="*/ 658864 h 838042"/>
                <a:gd name="connsiteX44" fmla="*/ 445964 w 1035345"/>
                <a:gd name="connsiteY44" fmla="*/ 626947 h 838042"/>
                <a:gd name="connsiteX45" fmla="*/ 466169 w 1035345"/>
                <a:gd name="connsiteY45" fmla="*/ 600072 h 838042"/>
                <a:gd name="connsiteX46" fmla="*/ 525390 w 1035345"/>
                <a:gd name="connsiteY46" fmla="*/ 565123 h 838042"/>
                <a:gd name="connsiteX47" fmla="*/ 601228 w 1035345"/>
                <a:gd name="connsiteY47" fmla="*/ 550915 h 838042"/>
                <a:gd name="connsiteX48" fmla="*/ 709681 w 1035345"/>
                <a:gd name="connsiteY48" fmla="*/ 612819 h 838042"/>
                <a:gd name="connsiteX49" fmla="*/ 782002 w 1035345"/>
                <a:gd name="connsiteY49" fmla="*/ 656959 h 838042"/>
                <a:gd name="connsiteX50" fmla="*/ 806767 w 1035345"/>
                <a:gd name="connsiteY50" fmla="*/ 632194 h 838042"/>
                <a:gd name="connsiteX51" fmla="*/ 802957 w 1035345"/>
                <a:gd name="connsiteY51" fmla="*/ 601714 h 838042"/>
                <a:gd name="connsiteX52" fmla="*/ 764676 w 1035345"/>
                <a:gd name="connsiteY52" fmla="*/ 562523 h 838042"/>
                <a:gd name="connsiteX53" fmla="*/ 652462 w 1035345"/>
                <a:gd name="connsiteY53" fmla="*/ 479794 h 838042"/>
                <a:gd name="connsiteX54" fmla="*/ 648652 w 1035345"/>
                <a:gd name="connsiteY54" fmla="*/ 462649 h 838042"/>
                <a:gd name="connsiteX55" fmla="*/ 660082 w 1035345"/>
                <a:gd name="connsiteY55" fmla="*/ 426454 h 838042"/>
                <a:gd name="connsiteX56" fmla="*/ 728662 w 1035345"/>
                <a:gd name="connsiteY56" fmla="*/ 405499 h 838042"/>
                <a:gd name="connsiteX57" fmla="*/ 815618 w 1035345"/>
                <a:gd name="connsiteY57" fmla="*/ 406906 h 838042"/>
                <a:gd name="connsiteX58" fmla="*/ 908111 w 1035345"/>
                <a:gd name="connsiteY58" fmla="*/ 417646 h 838042"/>
                <a:gd name="connsiteX59" fmla="*/ 1004170 w 1035345"/>
                <a:gd name="connsiteY59" fmla="*/ 426835 h 838042"/>
                <a:gd name="connsiteX60" fmla="*/ 1034329 w 1035345"/>
                <a:gd name="connsiteY60" fmla="*/ 402711 h 838042"/>
                <a:gd name="connsiteX61" fmla="*/ 1022394 w 1035345"/>
                <a:gd name="connsiteY61" fmla="*/ 377797 h 838042"/>
                <a:gd name="connsiteX62" fmla="*/ 966769 w 1035345"/>
                <a:gd name="connsiteY62" fmla="*/ 358029 h 838042"/>
                <a:gd name="connsiteX63" fmla="*/ 829627 w 1035345"/>
                <a:gd name="connsiteY63" fmla="*/ 357874 h 838042"/>
                <a:gd name="connsiteX64" fmla="*/ 757691 w 1035345"/>
                <a:gd name="connsiteY64" fmla="*/ 361702 h 838042"/>
                <a:gd name="connsiteX65" fmla="*/ 673417 w 1035345"/>
                <a:gd name="connsiteY65" fmla="*/ 369304 h 838042"/>
                <a:gd name="connsiteX66" fmla="*/ 646747 w 1035345"/>
                <a:gd name="connsiteY66" fmla="*/ 338824 h 838042"/>
                <a:gd name="connsiteX67" fmla="*/ 678283 w 1035345"/>
                <a:gd name="connsiteY67" fmla="*/ 304962 h 838042"/>
                <a:gd name="connsiteX68" fmla="*/ 709612 w 1035345"/>
                <a:gd name="connsiteY68" fmla="*/ 283579 h 838042"/>
                <a:gd name="connsiteX69" fmla="*/ 745807 w 1035345"/>
                <a:gd name="connsiteY69" fmla="*/ 251194 h 838042"/>
                <a:gd name="connsiteX70" fmla="*/ 784899 w 1035345"/>
                <a:gd name="connsiteY70" fmla="*/ 213846 h 838042"/>
                <a:gd name="connsiteX71" fmla="*/ 748281 w 1035345"/>
                <a:gd name="connsiteY71" fmla="*/ 201789 h 838042"/>
                <a:gd name="connsiteX72" fmla="*/ 696277 w 1035345"/>
                <a:gd name="connsiteY72" fmla="*/ 226429 h 838042"/>
                <a:gd name="connsiteX73" fmla="*/ 658558 w 1035345"/>
                <a:gd name="connsiteY73" fmla="*/ 257626 h 838042"/>
                <a:gd name="connsiteX74" fmla="*/ 617881 w 1035345"/>
                <a:gd name="connsiteY74" fmla="*/ 286712 h 838042"/>
                <a:gd name="connsiteX75" fmla="*/ 566737 w 1035345"/>
                <a:gd name="connsiteY75" fmla="*/ 287389 h 838042"/>
                <a:gd name="connsiteX76" fmla="*/ 532447 w 1035345"/>
                <a:gd name="connsiteY76" fmla="*/ 274054 h 838042"/>
                <a:gd name="connsiteX77" fmla="*/ 509587 w 1035345"/>
                <a:gd name="connsiteY77" fmla="*/ 235954 h 838042"/>
                <a:gd name="connsiteX78" fmla="*/ 511492 w 1035345"/>
                <a:gd name="connsiteY78" fmla="*/ 171184 h 838042"/>
                <a:gd name="connsiteX79" fmla="*/ 510194 w 1035345"/>
                <a:gd name="connsiteY79" fmla="*/ 73485 h 838042"/>
                <a:gd name="connsiteX80" fmla="*/ 455996 w 1035345"/>
                <a:gd name="connsiteY80" fmla="*/ 11248 h 838042"/>
                <a:gd name="connsiteX81" fmla="*/ 444350 w 1035345"/>
                <a:gd name="connsiteY81" fmla="*/ 75864 h 838042"/>
                <a:gd name="connsiteX82" fmla="*/ 441106 w 1035345"/>
                <a:gd name="connsiteY82" fmla="*/ 132660 h 838042"/>
                <a:gd name="connsiteX83" fmla="*/ 437934 w 1035345"/>
                <a:gd name="connsiteY83"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62902 w 1035345"/>
                <a:gd name="connsiteY30" fmla="*/ 615049 h 838042"/>
                <a:gd name="connsiteX31" fmla="*/ 334327 w 1035345"/>
                <a:gd name="connsiteY31" fmla="*/ 704584 h 838042"/>
                <a:gd name="connsiteX32" fmla="*/ 332422 w 1035345"/>
                <a:gd name="connsiteY32" fmla="*/ 756019 h 838042"/>
                <a:gd name="connsiteX33" fmla="*/ 334327 w 1035345"/>
                <a:gd name="connsiteY33" fmla="*/ 780784 h 838042"/>
                <a:gd name="connsiteX34" fmla="*/ 336232 w 1035345"/>
                <a:gd name="connsiteY34" fmla="*/ 786499 h 838042"/>
                <a:gd name="connsiteX35" fmla="*/ 340042 w 1035345"/>
                <a:gd name="connsiteY35" fmla="*/ 790309 h 838042"/>
                <a:gd name="connsiteX36" fmla="*/ 368617 w 1035345"/>
                <a:gd name="connsiteY36" fmla="*/ 836029 h 838042"/>
                <a:gd name="connsiteX37" fmla="*/ 391477 w 1035345"/>
                <a:gd name="connsiteY37" fmla="*/ 837934 h 838042"/>
                <a:gd name="connsiteX38" fmla="*/ 399287 w 1035345"/>
                <a:gd name="connsiteY38" fmla="*/ 833530 h 838042"/>
                <a:gd name="connsiteX39" fmla="*/ 404812 w 1035345"/>
                <a:gd name="connsiteY39" fmla="*/ 784594 h 838042"/>
                <a:gd name="connsiteX40" fmla="*/ 408622 w 1035345"/>
                <a:gd name="connsiteY40" fmla="*/ 727444 h 838042"/>
                <a:gd name="connsiteX41" fmla="*/ 425767 w 1035345"/>
                <a:gd name="connsiteY41" fmla="*/ 672199 h 838042"/>
                <a:gd name="connsiteX42" fmla="*/ 431482 w 1035345"/>
                <a:gd name="connsiteY42" fmla="*/ 658864 h 838042"/>
                <a:gd name="connsiteX43" fmla="*/ 445964 w 1035345"/>
                <a:gd name="connsiteY43" fmla="*/ 626947 h 838042"/>
                <a:gd name="connsiteX44" fmla="*/ 466169 w 1035345"/>
                <a:gd name="connsiteY44" fmla="*/ 600072 h 838042"/>
                <a:gd name="connsiteX45" fmla="*/ 525390 w 1035345"/>
                <a:gd name="connsiteY45" fmla="*/ 565123 h 838042"/>
                <a:gd name="connsiteX46" fmla="*/ 601228 w 1035345"/>
                <a:gd name="connsiteY46" fmla="*/ 550915 h 838042"/>
                <a:gd name="connsiteX47" fmla="*/ 709681 w 1035345"/>
                <a:gd name="connsiteY47" fmla="*/ 612819 h 838042"/>
                <a:gd name="connsiteX48" fmla="*/ 782002 w 1035345"/>
                <a:gd name="connsiteY48" fmla="*/ 656959 h 838042"/>
                <a:gd name="connsiteX49" fmla="*/ 806767 w 1035345"/>
                <a:gd name="connsiteY49" fmla="*/ 632194 h 838042"/>
                <a:gd name="connsiteX50" fmla="*/ 802957 w 1035345"/>
                <a:gd name="connsiteY50" fmla="*/ 601714 h 838042"/>
                <a:gd name="connsiteX51" fmla="*/ 764676 w 1035345"/>
                <a:gd name="connsiteY51" fmla="*/ 562523 h 838042"/>
                <a:gd name="connsiteX52" fmla="*/ 652462 w 1035345"/>
                <a:gd name="connsiteY52" fmla="*/ 479794 h 838042"/>
                <a:gd name="connsiteX53" fmla="*/ 648652 w 1035345"/>
                <a:gd name="connsiteY53" fmla="*/ 462649 h 838042"/>
                <a:gd name="connsiteX54" fmla="*/ 660082 w 1035345"/>
                <a:gd name="connsiteY54" fmla="*/ 426454 h 838042"/>
                <a:gd name="connsiteX55" fmla="*/ 728662 w 1035345"/>
                <a:gd name="connsiteY55" fmla="*/ 405499 h 838042"/>
                <a:gd name="connsiteX56" fmla="*/ 815618 w 1035345"/>
                <a:gd name="connsiteY56" fmla="*/ 406906 h 838042"/>
                <a:gd name="connsiteX57" fmla="*/ 908111 w 1035345"/>
                <a:gd name="connsiteY57" fmla="*/ 417646 h 838042"/>
                <a:gd name="connsiteX58" fmla="*/ 1004170 w 1035345"/>
                <a:gd name="connsiteY58" fmla="*/ 426835 h 838042"/>
                <a:gd name="connsiteX59" fmla="*/ 1034329 w 1035345"/>
                <a:gd name="connsiteY59" fmla="*/ 402711 h 838042"/>
                <a:gd name="connsiteX60" fmla="*/ 1022394 w 1035345"/>
                <a:gd name="connsiteY60" fmla="*/ 377797 h 838042"/>
                <a:gd name="connsiteX61" fmla="*/ 966769 w 1035345"/>
                <a:gd name="connsiteY61" fmla="*/ 358029 h 838042"/>
                <a:gd name="connsiteX62" fmla="*/ 829627 w 1035345"/>
                <a:gd name="connsiteY62" fmla="*/ 357874 h 838042"/>
                <a:gd name="connsiteX63" fmla="*/ 757691 w 1035345"/>
                <a:gd name="connsiteY63" fmla="*/ 361702 h 838042"/>
                <a:gd name="connsiteX64" fmla="*/ 673417 w 1035345"/>
                <a:gd name="connsiteY64" fmla="*/ 369304 h 838042"/>
                <a:gd name="connsiteX65" fmla="*/ 646747 w 1035345"/>
                <a:gd name="connsiteY65" fmla="*/ 338824 h 838042"/>
                <a:gd name="connsiteX66" fmla="*/ 678283 w 1035345"/>
                <a:gd name="connsiteY66" fmla="*/ 304962 h 838042"/>
                <a:gd name="connsiteX67" fmla="*/ 709612 w 1035345"/>
                <a:gd name="connsiteY67" fmla="*/ 283579 h 838042"/>
                <a:gd name="connsiteX68" fmla="*/ 745807 w 1035345"/>
                <a:gd name="connsiteY68" fmla="*/ 251194 h 838042"/>
                <a:gd name="connsiteX69" fmla="*/ 784899 w 1035345"/>
                <a:gd name="connsiteY69" fmla="*/ 213846 h 838042"/>
                <a:gd name="connsiteX70" fmla="*/ 748281 w 1035345"/>
                <a:gd name="connsiteY70" fmla="*/ 201789 h 838042"/>
                <a:gd name="connsiteX71" fmla="*/ 696277 w 1035345"/>
                <a:gd name="connsiteY71" fmla="*/ 226429 h 838042"/>
                <a:gd name="connsiteX72" fmla="*/ 658558 w 1035345"/>
                <a:gd name="connsiteY72" fmla="*/ 257626 h 838042"/>
                <a:gd name="connsiteX73" fmla="*/ 617881 w 1035345"/>
                <a:gd name="connsiteY73" fmla="*/ 286712 h 838042"/>
                <a:gd name="connsiteX74" fmla="*/ 566737 w 1035345"/>
                <a:gd name="connsiteY74" fmla="*/ 287389 h 838042"/>
                <a:gd name="connsiteX75" fmla="*/ 532447 w 1035345"/>
                <a:gd name="connsiteY75" fmla="*/ 274054 h 838042"/>
                <a:gd name="connsiteX76" fmla="*/ 509587 w 1035345"/>
                <a:gd name="connsiteY76" fmla="*/ 235954 h 838042"/>
                <a:gd name="connsiteX77" fmla="*/ 511492 w 1035345"/>
                <a:gd name="connsiteY77" fmla="*/ 171184 h 838042"/>
                <a:gd name="connsiteX78" fmla="*/ 510194 w 1035345"/>
                <a:gd name="connsiteY78" fmla="*/ 73485 h 838042"/>
                <a:gd name="connsiteX79" fmla="*/ 455996 w 1035345"/>
                <a:gd name="connsiteY79" fmla="*/ 11248 h 838042"/>
                <a:gd name="connsiteX80" fmla="*/ 444350 w 1035345"/>
                <a:gd name="connsiteY80" fmla="*/ 75864 h 838042"/>
                <a:gd name="connsiteX81" fmla="*/ 441106 w 1035345"/>
                <a:gd name="connsiteY81" fmla="*/ 132660 h 838042"/>
                <a:gd name="connsiteX82" fmla="*/ 437934 w 1035345"/>
                <a:gd name="connsiteY82"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307657 w 1035345"/>
                <a:gd name="connsiteY27" fmla="*/ 533134 h 838042"/>
                <a:gd name="connsiteX28" fmla="*/ 355282 w 1035345"/>
                <a:gd name="connsiteY28" fmla="*/ 561709 h 838042"/>
                <a:gd name="connsiteX29" fmla="*/ 366712 w 1035345"/>
                <a:gd name="connsiteY29" fmla="*/ 609334 h 838042"/>
                <a:gd name="connsiteX30" fmla="*/ 334327 w 1035345"/>
                <a:gd name="connsiteY30" fmla="*/ 704584 h 838042"/>
                <a:gd name="connsiteX31" fmla="*/ 332422 w 1035345"/>
                <a:gd name="connsiteY31" fmla="*/ 756019 h 838042"/>
                <a:gd name="connsiteX32" fmla="*/ 334327 w 1035345"/>
                <a:gd name="connsiteY32" fmla="*/ 780784 h 838042"/>
                <a:gd name="connsiteX33" fmla="*/ 336232 w 1035345"/>
                <a:gd name="connsiteY33" fmla="*/ 786499 h 838042"/>
                <a:gd name="connsiteX34" fmla="*/ 340042 w 1035345"/>
                <a:gd name="connsiteY34" fmla="*/ 790309 h 838042"/>
                <a:gd name="connsiteX35" fmla="*/ 368617 w 1035345"/>
                <a:gd name="connsiteY35" fmla="*/ 836029 h 838042"/>
                <a:gd name="connsiteX36" fmla="*/ 391477 w 1035345"/>
                <a:gd name="connsiteY36" fmla="*/ 837934 h 838042"/>
                <a:gd name="connsiteX37" fmla="*/ 399287 w 1035345"/>
                <a:gd name="connsiteY37" fmla="*/ 833530 h 838042"/>
                <a:gd name="connsiteX38" fmla="*/ 404812 w 1035345"/>
                <a:gd name="connsiteY38" fmla="*/ 784594 h 838042"/>
                <a:gd name="connsiteX39" fmla="*/ 408622 w 1035345"/>
                <a:gd name="connsiteY39" fmla="*/ 727444 h 838042"/>
                <a:gd name="connsiteX40" fmla="*/ 425767 w 1035345"/>
                <a:gd name="connsiteY40" fmla="*/ 672199 h 838042"/>
                <a:gd name="connsiteX41" fmla="*/ 431482 w 1035345"/>
                <a:gd name="connsiteY41" fmla="*/ 658864 h 838042"/>
                <a:gd name="connsiteX42" fmla="*/ 445964 w 1035345"/>
                <a:gd name="connsiteY42" fmla="*/ 626947 h 838042"/>
                <a:gd name="connsiteX43" fmla="*/ 466169 w 1035345"/>
                <a:gd name="connsiteY43" fmla="*/ 600072 h 838042"/>
                <a:gd name="connsiteX44" fmla="*/ 525390 w 1035345"/>
                <a:gd name="connsiteY44" fmla="*/ 565123 h 838042"/>
                <a:gd name="connsiteX45" fmla="*/ 601228 w 1035345"/>
                <a:gd name="connsiteY45" fmla="*/ 550915 h 838042"/>
                <a:gd name="connsiteX46" fmla="*/ 709681 w 1035345"/>
                <a:gd name="connsiteY46" fmla="*/ 612819 h 838042"/>
                <a:gd name="connsiteX47" fmla="*/ 782002 w 1035345"/>
                <a:gd name="connsiteY47" fmla="*/ 656959 h 838042"/>
                <a:gd name="connsiteX48" fmla="*/ 806767 w 1035345"/>
                <a:gd name="connsiteY48" fmla="*/ 632194 h 838042"/>
                <a:gd name="connsiteX49" fmla="*/ 802957 w 1035345"/>
                <a:gd name="connsiteY49" fmla="*/ 601714 h 838042"/>
                <a:gd name="connsiteX50" fmla="*/ 764676 w 1035345"/>
                <a:gd name="connsiteY50" fmla="*/ 562523 h 838042"/>
                <a:gd name="connsiteX51" fmla="*/ 652462 w 1035345"/>
                <a:gd name="connsiteY51" fmla="*/ 479794 h 838042"/>
                <a:gd name="connsiteX52" fmla="*/ 648652 w 1035345"/>
                <a:gd name="connsiteY52" fmla="*/ 462649 h 838042"/>
                <a:gd name="connsiteX53" fmla="*/ 660082 w 1035345"/>
                <a:gd name="connsiteY53" fmla="*/ 426454 h 838042"/>
                <a:gd name="connsiteX54" fmla="*/ 728662 w 1035345"/>
                <a:gd name="connsiteY54" fmla="*/ 405499 h 838042"/>
                <a:gd name="connsiteX55" fmla="*/ 815618 w 1035345"/>
                <a:gd name="connsiteY55" fmla="*/ 406906 h 838042"/>
                <a:gd name="connsiteX56" fmla="*/ 908111 w 1035345"/>
                <a:gd name="connsiteY56" fmla="*/ 417646 h 838042"/>
                <a:gd name="connsiteX57" fmla="*/ 1004170 w 1035345"/>
                <a:gd name="connsiteY57" fmla="*/ 426835 h 838042"/>
                <a:gd name="connsiteX58" fmla="*/ 1034329 w 1035345"/>
                <a:gd name="connsiteY58" fmla="*/ 402711 h 838042"/>
                <a:gd name="connsiteX59" fmla="*/ 1022394 w 1035345"/>
                <a:gd name="connsiteY59" fmla="*/ 377797 h 838042"/>
                <a:gd name="connsiteX60" fmla="*/ 966769 w 1035345"/>
                <a:gd name="connsiteY60" fmla="*/ 358029 h 838042"/>
                <a:gd name="connsiteX61" fmla="*/ 829627 w 1035345"/>
                <a:gd name="connsiteY61" fmla="*/ 357874 h 838042"/>
                <a:gd name="connsiteX62" fmla="*/ 757691 w 1035345"/>
                <a:gd name="connsiteY62" fmla="*/ 361702 h 838042"/>
                <a:gd name="connsiteX63" fmla="*/ 673417 w 1035345"/>
                <a:gd name="connsiteY63" fmla="*/ 369304 h 838042"/>
                <a:gd name="connsiteX64" fmla="*/ 646747 w 1035345"/>
                <a:gd name="connsiteY64" fmla="*/ 338824 h 838042"/>
                <a:gd name="connsiteX65" fmla="*/ 678283 w 1035345"/>
                <a:gd name="connsiteY65" fmla="*/ 304962 h 838042"/>
                <a:gd name="connsiteX66" fmla="*/ 709612 w 1035345"/>
                <a:gd name="connsiteY66" fmla="*/ 283579 h 838042"/>
                <a:gd name="connsiteX67" fmla="*/ 745807 w 1035345"/>
                <a:gd name="connsiteY67" fmla="*/ 251194 h 838042"/>
                <a:gd name="connsiteX68" fmla="*/ 784899 w 1035345"/>
                <a:gd name="connsiteY68" fmla="*/ 213846 h 838042"/>
                <a:gd name="connsiteX69" fmla="*/ 748281 w 1035345"/>
                <a:gd name="connsiteY69" fmla="*/ 201789 h 838042"/>
                <a:gd name="connsiteX70" fmla="*/ 696277 w 1035345"/>
                <a:gd name="connsiteY70" fmla="*/ 226429 h 838042"/>
                <a:gd name="connsiteX71" fmla="*/ 658558 w 1035345"/>
                <a:gd name="connsiteY71" fmla="*/ 257626 h 838042"/>
                <a:gd name="connsiteX72" fmla="*/ 617881 w 1035345"/>
                <a:gd name="connsiteY72" fmla="*/ 286712 h 838042"/>
                <a:gd name="connsiteX73" fmla="*/ 566737 w 1035345"/>
                <a:gd name="connsiteY73" fmla="*/ 287389 h 838042"/>
                <a:gd name="connsiteX74" fmla="*/ 532447 w 1035345"/>
                <a:gd name="connsiteY74" fmla="*/ 274054 h 838042"/>
                <a:gd name="connsiteX75" fmla="*/ 509587 w 1035345"/>
                <a:gd name="connsiteY75" fmla="*/ 235954 h 838042"/>
                <a:gd name="connsiteX76" fmla="*/ 511492 w 1035345"/>
                <a:gd name="connsiteY76" fmla="*/ 171184 h 838042"/>
                <a:gd name="connsiteX77" fmla="*/ 510194 w 1035345"/>
                <a:gd name="connsiteY77" fmla="*/ 73485 h 838042"/>
                <a:gd name="connsiteX78" fmla="*/ 455996 w 1035345"/>
                <a:gd name="connsiteY78" fmla="*/ 11248 h 838042"/>
                <a:gd name="connsiteX79" fmla="*/ 444350 w 1035345"/>
                <a:gd name="connsiteY79" fmla="*/ 75864 h 838042"/>
                <a:gd name="connsiteX80" fmla="*/ 441106 w 1035345"/>
                <a:gd name="connsiteY80" fmla="*/ 132660 h 838042"/>
                <a:gd name="connsiteX81" fmla="*/ 437934 w 1035345"/>
                <a:gd name="connsiteY81"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272301 w 1035345"/>
                <a:gd name="connsiteY27" fmla="*/ 519747 h 838042"/>
                <a:gd name="connsiteX28" fmla="*/ 355282 w 1035345"/>
                <a:gd name="connsiteY28" fmla="*/ 561709 h 838042"/>
                <a:gd name="connsiteX29" fmla="*/ 366712 w 1035345"/>
                <a:gd name="connsiteY29" fmla="*/ 609334 h 838042"/>
                <a:gd name="connsiteX30" fmla="*/ 334327 w 1035345"/>
                <a:gd name="connsiteY30" fmla="*/ 704584 h 838042"/>
                <a:gd name="connsiteX31" fmla="*/ 332422 w 1035345"/>
                <a:gd name="connsiteY31" fmla="*/ 756019 h 838042"/>
                <a:gd name="connsiteX32" fmla="*/ 334327 w 1035345"/>
                <a:gd name="connsiteY32" fmla="*/ 780784 h 838042"/>
                <a:gd name="connsiteX33" fmla="*/ 336232 w 1035345"/>
                <a:gd name="connsiteY33" fmla="*/ 786499 h 838042"/>
                <a:gd name="connsiteX34" fmla="*/ 340042 w 1035345"/>
                <a:gd name="connsiteY34" fmla="*/ 790309 h 838042"/>
                <a:gd name="connsiteX35" fmla="*/ 368617 w 1035345"/>
                <a:gd name="connsiteY35" fmla="*/ 836029 h 838042"/>
                <a:gd name="connsiteX36" fmla="*/ 391477 w 1035345"/>
                <a:gd name="connsiteY36" fmla="*/ 837934 h 838042"/>
                <a:gd name="connsiteX37" fmla="*/ 399287 w 1035345"/>
                <a:gd name="connsiteY37" fmla="*/ 833530 h 838042"/>
                <a:gd name="connsiteX38" fmla="*/ 404812 w 1035345"/>
                <a:gd name="connsiteY38" fmla="*/ 784594 h 838042"/>
                <a:gd name="connsiteX39" fmla="*/ 408622 w 1035345"/>
                <a:gd name="connsiteY39" fmla="*/ 727444 h 838042"/>
                <a:gd name="connsiteX40" fmla="*/ 425767 w 1035345"/>
                <a:gd name="connsiteY40" fmla="*/ 672199 h 838042"/>
                <a:gd name="connsiteX41" fmla="*/ 431482 w 1035345"/>
                <a:gd name="connsiteY41" fmla="*/ 658864 h 838042"/>
                <a:gd name="connsiteX42" fmla="*/ 445964 w 1035345"/>
                <a:gd name="connsiteY42" fmla="*/ 626947 h 838042"/>
                <a:gd name="connsiteX43" fmla="*/ 466169 w 1035345"/>
                <a:gd name="connsiteY43" fmla="*/ 600072 h 838042"/>
                <a:gd name="connsiteX44" fmla="*/ 525390 w 1035345"/>
                <a:gd name="connsiteY44" fmla="*/ 565123 h 838042"/>
                <a:gd name="connsiteX45" fmla="*/ 601228 w 1035345"/>
                <a:gd name="connsiteY45" fmla="*/ 550915 h 838042"/>
                <a:gd name="connsiteX46" fmla="*/ 709681 w 1035345"/>
                <a:gd name="connsiteY46" fmla="*/ 612819 h 838042"/>
                <a:gd name="connsiteX47" fmla="*/ 782002 w 1035345"/>
                <a:gd name="connsiteY47" fmla="*/ 656959 h 838042"/>
                <a:gd name="connsiteX48" fmla="*/ 806767 w 1035345"/>
                <a:gd name="connsiteY48" fmla="*/ 632194 h 838042"/>
                <a:gd name="connsiteX49" fmla="*/ 802957 w 1035345"/>
                <a:gd name="connsiteY49" fmla="*/ 601714 h 838042"/>
                <a:gd name="connsiteX50" fmla="*/ 764676 w 1035345"/>
                <a:gd name="connsiteY50" fmla="*/ 562523 h 838042"/>
                <a:gd name="connsiteX51" fmla="*/ 652462 w 1035345"/>
                <a:gd name="connsiteY51" fmla="*/ 479794 h 838042"/>
                <a:gd name="connsiteX52" fmla="*/ 648652 w 1035345"/>
                <a:gd name="connsiteY52" fmla="*/ 462649 h 838042"/>
                <a:gd name="connsiteX53" fmla="*/ 660082 w 1035345"/>
                <a:gd name="connsiteY53" fmla="*/ 426454 h 838042"/>
                <a:gd name="connsiteX54" fmla="*/ 728662 w 1035345"/>
                <a:gd name="connsiteY54" fmla="*/ 405499 h 838042"/>
                <a:gd name="connsiteX55" fmla="*/ 815618 w 1035345"/>
                <a:gd name="connsiteY55" fmla="*/ 406906 h 838042"/>
                <a:gd name="connsiteX56" fmla="*/ 908111 w 1035345"/>
                <a:gd name="connsiteY56" fmla="*/ 417646 h 838042"/>
                <a:gd name="connsiteX57" fmla="*/ 1004170 w 1035345"/>
                <a:gd name="connsiteY57" fmla="*/ 426835 h 838042"/>
                <a:gd name="connsiteX58" fmla="*/ 1034329 w 1035345"/>
                <a:gd name="connsiteY58" fmla="*/ 402711 h 838042"/>
                <a:gd name="connsiteX59" fmla="*/ 1022394 w 1035345"/>
                <a:gd name="connsiteY59" fmla="*/ 377797 h 838042"/>
                <a:gd name="connsiteX60" fmla="*/ 966769 w 1035345"/>
                <a:gd name="connsiteY60" fmla="*/ 358029 h 838042"/>
                <a:gd name="connsiteX61" fmla="*/ 829627 w 1035345"/>
                <a:gd name="connsiteY61" fmla="*/ 357874 h 838042"/>
                <a:gd name="connsiteX62" fmla="*/ 757691 w 1035345"/>
                <a:gd name="connsiteY62" fmla="*/ 361702 h 838042"/>
                <a:gd name="connsiteX63" fmla="*/ 673417 w 1035345"/>
                <a:gd name="connsiteY63" fmla="*/ 369304 h 838042"/>
                <a:gd name="connsiteX64" fmla="*/ 646747 w 1035345"/>
                <a:gd name="connsiteY64" fmla="*/ 338824 h 838042"/>
                <a:gd name="connsiteX65" fmla="*/ 678283 w 1035345"/>
                <a:gd name="connsiteY65" fmla="*/ 304962 h 838042"/>
                <a:gd name="connsiteX66" fmla="*/ 709612 w 1035345"/>
                <a:gd name="connsiteY66" fmla="*/ 283579 h 838042"/>
                <a:gd name="connsiteX67" fmla="*/ 745807 w 1035345"/>
                <a:gd name="connsiteY67" fmla="*/ 251194 h 838042"/>
                <a:gd name="connsiteX68" fmla="*/ 784899 w 1035345"/>
                <a:gd name="connsiteY68" fmla="*/ 213846 h 838042"/>
                <a:gd name="connsiteX69" fmla="*/ 748281 w 1035345"/>
                <a:gd name="connsiteY69" fmla="*/ 201789 h 838042"/>
                <a:gd name="connsiteX70" fmla="*/ 696277 w 1035345"/>
                <a:gd name="connsiteY70" fmla="*/ 226429 h 838042"/>
                <a:gd name="connsiteX71" fmla="*/ 658558 w 1035345"/>
                <a:gd name="connsiteY71" fmla="*/ 257626 h 838042"/>
                <a:gd name="connsiteX72" fmla="*/ 617881 w 1035345"/>
                <a:gd name="connsiteY72" fmla="*/ 286712 h 838042"/>
                <a:gd name="connsiteX73" fmla="*/ 566737 w 1035345"/>
                <a:gd name="connsiteY73" fmla="*/ 287389 h 838042"/>
                <a:gd name="connsiteX74" fmla="*/ 532447 w 1035345"/>
                <a:gd name="connsiteY74" fmla="*/ 274054 h 838042"/>
                <a:gd name="connsiteX75" fmla="*/ 509587 w 1035345"/>
                <a:gd name="connsiteY75" fmla="*/ 235954 h 838042"/>
                <a:gd name="connsiteX76" fmla="*/ 511492 w 1035345"/>
                <a:gd name="connsiteY76" fmla="*/ 171184 h 838042"/>
                <a:gd name="connsiteX77" fmla="*/ 510194 w 1035345"/>
                <a:gd name="connsiteY77" fmla="*/ 73485 h 838042"/>
                <a:gd name="connsiteX78" fmla="*/ 455996 w 1035345"/>
                <a:gd name="connsiteY78" fmla="*/ 11248 h 838042"/>
                <a:gd name="connsiteX79" fmla="*/ 444350 w 1035345"/>
                <a:gd name="connsiteY79" fmla="*/ 75864 h 838042"/>
                <a:gd name="connsiteX80" fmla="*/ 441106 w 1035345"/>
                <a:gd name="connsiteY80" fmla="*/ 132660 h 838042"/>
                <a:gd name="connsiteX81" fmla="*/ 437934 w 1035345"/>
                <a:gd name="connsiteY81"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272301 w 1035345"/>
                <a:gd name="connsiteY27" fmla="*/ 519747 h 838042"/>
                <a:gd name="connsiteX28" fmla="*/ 355282 w 1035345"/>
                <a:gd name="connsiteY28" fmla="*/ 561709 h 838042"/>
                <a:gd name="connsiteX29" fmla="*/ 366712 w 1035345"/>
                <a:gd name="connsiteY29" fmla="*/ 609334 h 838042"/>
                <a:gd name="connsiteX30" fmla="*/ 334327 w 1035345"/>
                <a:gd name="connsiteY30" fmla="*/ 704584 h 838042"/>
                <a:gd name="connsiteX31" fmla="*/ 332422 w 1035345"/>
                <a:gd name="connsiteY31" fmla="*/ 756019 h 838042"/>
                <a:gd name="connsiteX32" fmla="*/ 334327 w 1035345"/>
                <a:gd name="connsiteY32" fmla="*/ 780784 h 838042"/>
                <a:gd name="connsiteX33" fmla="*/ 336232 w 1035345"/>
                <a:gd name="connsiteY33" fmla="*/ 786499 h 838042"/>
                <a:gd name="connsiteX34" fmla="*/ 340042 w 1035345"/>
                <a:gd name="connsiteY34" fmla="*/ 790309 h 838042"/>
                <a:gd name="connsiteX35" fmla="*/ 368617 w 1035345"/>
                <a:gd name="connsiteY35" fmla="*/ 836029 h 838042"/>
                <a:gd name="connsiteX36" fmla="*/ 391477 w 1035345"/>
                <a:gd name="connsiteY36" fmla="*/ 837934 h 838042"/>
                <a:gd name="connsiteX37" fmla="*/ 399287 w 1035345"/>
                <a:gd name="connsiteY37" fmla="*/ 833530 h 838042"/>
                <a:gd name="connsiteX38" fmla="*/ 404812 w 1035345"/>
                <a:gd name="connsiteY38" fmla="*/ 784594 h 838042"/>
                <a:gd name="connsiteX39" fmla="*/ 408622 w 1035345"/>
                <a:gd name="connsiteY39" fmla="*/ 727444 h 838042"/>
                <a:gd name="connsiteX40" fmla="*/ 425767 w 1035345"/>
                <a:gd name="connsiteY40" fmla="*/ 672199 h 838042"/>
                <a:gd name="connsiteX41" fmla="*/ 431482 w 1035345"/>
                <a:gd name="connsiteY41" fmla="*/ 658864 h 838042"/>
                <a:gd name="connsiteX42" fmla="*/ 445964 w 1035345"/>
                <a:gd name="connsiteY42" fmla="*/ 626947 h 838042"/>
                <a:gd name="connsiteX43" fmla="*/ 466169 w 1035345"/>
                <a:gd name="connsiteY43" fmla="*/ 600072 h 838042"/>
                <a:gd name="connsiteX44" fmla="*/ 525390 w 1035345"/>
                <a:gd name="connsiteY44" fmla="*/ 565123 h 838042"/>
                <a:gd name="connsiteX45" fmla="*/ 601228 w 1035345"/>
                <a:gd name="connsiteY45" fmla="*/ 550915 h 838042"/>
                <a:gd name="connsiteX46" fmla="*/ 709681 w 1035345"/>
                <a:gd name="connsiteY46" fmla="*/ 612819 h 838042"/>
                <a:gd name="connsiteX47" fmla="*/ 782002 w 1035345"/>
                <a:gd name="connsiteY47" fmla="*/ 656959 h 838042"/>
                <a:gd name="connsiteX48" fmla="*/ 806767 w 1035345"/>
                <a:gd name="connsiteY48" fmla="*/ 632194 h 838042"/>
                <a:gd name="connsiteX49" fmla="*/ 802957 w 1035345"/>
                <a:gd name="connsiteY49" fmla="*/ 601714 h 838042"/>
                <a:gd name="connsiteX50" fmla="*/ 764676 w 1035345"/>
                <a:gd name="connsiteY50" fmla="*/ 562523 h 838042"/>
                <a:gd name="connsiteX51" fmla="*/ 652462 w 1035345"/>
                <a:gd name="connsiteY51" fmla="*/ 479794 h 838042"/>
                <a:gd name="connsiteX52" fmla="*/ 648652 w 1035345"/>
                <a:gd name="connsiteY52" fmla="*/ 462649 h 838042"/>
                <a:gd name="connsiteX53" fmla="*/ 660082 w 1035345"/>
                <a:gd name="connsiteY53" fmla="*/ 426454 h 838042"/>
                <a:gd name="connsiteX54" fmla="*/ 728662 w 1035345"/>
                <a:gd name="connsiteY54" fmla="*/ 405499 h 838042"/>
                <a:gd name="connsiteX55" fmla="*/ 815618 w 1035345"/>
                <a:gd name="connsiteY55" fmla="*/ 406906 h 838042"/>
                <a:gd name="connsiteX56" fmla="*/ 908111 w 1035345"/>
                <a:gd name="connsiteY56" fmla="*/ 417646 h 838042"/>
                <a:gd name="connsiteX57" fmla="*/ 1004170 w 1035345"/>
                <a:gd name="connsiteY57" fmla="*/ 426835 h 838042"/>
                <a:gd name="connsiteX58" fmla="*/ 1034329 w 1035345"/>
                <a:gd name="connsiteY58" fmla="*/ 402711 h 838042"/>
                <a:gd name="connsiteX59" fmla="*/ 1022394 w 1035345"/>
                <a:gd name="connsiteY59" fmla="*/ 377797 h 838042"/>
                <a:gd name="connsiteX60" fmla="*/ 966769 w 1035345"/>
                <a:gd name="connsiteY60" fmla="*/ 358029 h 838042"/>
                <a:gd name="connsiteX61" fmla="*/ 829627 w 1035345"/>
                <a:gd name="connsiteY61" fmla="*/ 357874 h 838042"/>
                <a:gd name="connsiteX62" fmla="*/ 757691 w 1035345"/>
                <a:gd name="connsiteY62" fmla="*/ 361702 h 838042"/>
                <a:gd name="connsiteX63" fmla="*/ 673417 w 1035345"/>
                <a:gd name="connsiteY63" fmla="*/ 369304 h 838042"/>
                <a:gd name="connsiteX64" fmla="*/ 646747 w 1035345"/>
                <a:gd name="connsiteY64" fmla="*/ 338824 h 838042"/>
                <a:gd name="connsiteX65" fmla="*/ 678283 w 1035345"/>
                <a:gd name="connsiteY65" fmla="*/ 304962 h 838042"/>
                <a:gd name="connsiteX66" fmla="*/ 709612 w 1035345"/>
                <a:gd name="connsiteY66" fmla="*/ 283579 h 838042"/>
                <a:gd name="connsiteX67" fmla="*/ 745807 w 1035345"/>
                <a:gd name="connsiteY67" fmla="*/ 251194 h 838042"/>
                <a:gd name="connsiteX68" fmla="*/ 784899 w 1035345"/>
                <a:gd name="connsiteY68" fmla="*/ 213846 h 838042"/>
                <a:gd name="connsiteX69" fmla="*/ 748281 w 1035345"/>
                <a:gd name="connsiteY69" fmla="*/ 201789 h 838042"/>
                <a:gd name="connsiteX70" fmla="*/ 696277 w 1035345"/>
                <a:gd name="connsiteY70" fmla="*/ 226429 h 838042"/>
                <a:gd name="connsiteX71" fmla="*/ 658558 w 1035345"/>
                <a:gd name="connsiteY71" fmla="*/ 257626 h 838042"/>
                <a:gd name="connsiteX72" fmla="*/ 617881 w 1035345"/>
                <a:gd name="connsiteY72" fmla="*/ 286712 h 838042"/>
                <a:gd name="connsiteX73" fmla="*/ 566737 w 1035345"/>
                <a:gd name="connsiteY73" fmla="*/ 287389 h 838042"/>
                <a:gd name="connsiteX74" fmla="*/ 532447 w 1035345"/>
                <a:gd name="connsiteY74" fmla="*/ 274054 h 838042"/>
                <a:gd name="connsiteX75" fmla="*/ 509587 w 1035345"/>
                <a:gd name="connsiteY75" fmla="*/ 235954 h 838042"/>
                <a:gd name="connsiteX76" fmla="*/ 511492 w 1035345"/>
                <a:gd name="connsiteY76" fmla="*/ 171184 h 838042"/>
                <a:gd name="connsiteX77" fmla="*/ 510194 w 1035345"/>
                <a:gd name="connsiteY77" fmla="*/ 73485 h 838042"/>
                <a:gd name="connsiteX78" fmla="*/ 455996 w 1035345"/>
                <a:gd name="connsiteY78" fmla="*/ 11248 h 838042"/>
                <a:gd name="connsiteX79" fmla="*/ 444350 w 1035345"/>
                <a:gd name="connsiteY79" fmla="*/ 75864 h 838042"/>
                <a:gd name="connsiteX80" fmla="*/ 441106 w 1035345"/>
                <a:gd name="connsiteY80" fmla="*/ 132660 h 838042"/>
                <a:gd name="connsiteX81" fmla="*/ 437934 w 1035345"/>
                <a:gd name="connsiteY81" fmla="*/ 214465 h 838042"/>
                <a:gd name="connsiteX0" fmla="*/ 437934 w 1035345"/>
                <a:gd name="connsiteY0" fmla="*/ 214465 h 838042"/>
                <a:gd name="connsiteX1" fmla="*/ 425767 w 1035345"/>
                <a:gd name="connsiteY1" fmla="*/ 253099 h 838042"/>
                <a:gd name="connsiteX2" fmla="*/ 399097 w 1035345"/>
                <a:gd name="connsiteY2" fmla="*/ 262624 h 838042"/>
                <a:gd name="connsiteX3" fmla="*/ 360469 w 1035345"/>
                <a:gd name="connsiteY3" fmla="*/ 271935 h 838042"/>
                <a:gd name="connsiteX4" fmla="*/ 317182 w 1035345"/>
                <a:gd name="connsiteY4" fmla="*/ 289293 h 838042"/>
                <a:gd name="connsiteX5" fmla="*/ 269557 w 1035345"/>
                <a:gd name="connsiteY5" fmla="*/ 285484 h 838042"/>
                <a:gd name="connsiteX6" fmla="*/ 223837 w 1035345"/>
                <a:gd name="connsiteY6" fmla="*/ 272149 h 838042"/>
                <a:gd name="connsiteX7" fmla="*/ 193357 w 1035345"/>
                <a:gd name="connsiteY7" fmla="*/ 262624 h 838042"/>
                <a:gd name="connsiteX8" fmla="*/ 160972 w 1035345"/>
                <a:gd name="connsiteY8" fmla="*/ 239764 h 838042"/>
                <a:gd name="connsiteX9" fmla="*/ 126212 w 1035345"/>
                <a:gd name="connsiteY9" fmla="*/ 218050 h 838042"/>
                <a:gd name="connsiteX10" fmla="*/ 105727 w 1035345"/>
                <a:gd name="connsiteY10" fmla="*/ 203569 h 838042"/>
                <a:gd name="connsiteX11" fmla="*/ 63817 w 1035345"/>
                <a:gd name="connsiteY11" fmla="*/ 197854 h 838042"/>
                <a:gd name="connsiteX12" fmla="*/ 52469 w 1035345"/>
                <a:gd name="connsiteY12" fmla="*/ 241190 h 838042"/>
                <a:gd name="connsiteX13" fmla="*/ 67628 w 1035345"/>
                <a:gd name="connsiteY13" fmla="*/ 272150 h 838042"/>
                <a:gd name="connsiteX14" fmla="*/ 128587 w 1035345"/>
                <a:gd name="connsiteY14" fmla="*/ 289294 h 838042"/>
                <a:gd name="connsiteX15" fmla="*/ 195262 w 1035345"/>
                <a:gd name="connsiteY15" fmla="*/ 308344 h 838042"/>
                <a:gd name="connsiteX16" fmla="*/ 230691 w 1035345"/>
                <a:gd name="connsiteY16" fmla="*/ 323832 h 838042"/>
                <a:gd name="connsiteX17" fmla="*/ 295347 w 1035345"/>
                <a:gd name="connsiteY17" fmla="*/ 364030 h 838042"/>
                <a:gd name="connsiteX18" fmla="*/ 305151 w 1035345"/>
                <a:gd name="connsiteY18" fmla="*/ 410802 h 838042"/>
                <a:gd name="connsiteX19" fmla="*/ 267652 w 1035345"/>
                <a:gd name="connsiteY19" fmla="*/ 447409 h 838042"/>
                <a:gd name="connsiteX20" fmla="*/ 221378 w 1035345"/>
                <a:gd name="connsiteY20" fmla="*/ 459458 h 838042"/>
                <a:gd name="connsiteX21" fmla="*/ 140965 w 1035345"/>
                <a:gd name="connsiteY21" fmla="*/ 465397 h 838042"/>
                <a:gd name="connsiteX22" fmla="*/ 92392 w 1035345"/>
                <a:gd name="connsiteY22" fmla="*/ 468364 h 838042"/>
                <a:gd name="connsiteX23" fmla="*/ 31432 w 1035345"/>
                <a:gd name="connsiteY23" fmla="*/ 477889 h 838042"/>
                <a:gd name="connsiteX24" fmla="*/ 4762 w 1035345"/>
                <a:gd name="connsiteY24" fmla="*/ 504559 h 838042"/>
                <a:gd name="connsiteX25" fmla="*/ 16192 w 1035345"/>
                <a:gd name="connsiteY25" fmla="*/ 540754 h 838042"/>
                <a:gd name="connsiteX26" fmla="*/ 157162 w 1035345"/>
                <a:gd name="connsiteY26" fmla="*/ 538849 h 838042"/>
                <a:gd name="connsiteX27" fmla="*/ 272301 w 1035345"/>
                <a:gd name="connsiteY27" fmla="*/ 519747 h 838042"/>
                <a:gd name="connsiteX28" fmla="*/ 355282 w 1035345"/>
                <a:gd name="connsiteY28" fmla="*/ 561709 h 838042"/>
                <a:gd name="connsiteX29" fmla="*/ 366712 w 1035345"/>
                <a:gd name="connsiteY29" fmla="*/ 609334 h 838042"/>
                <a:gd name="connsiteX30" fmla="*/ 334327 w 1035345"/>
                <a:gd name="connsiteY30" fmla="*/ 704584 h 838042"/>
                <a:gd name="connsiteX31" fmla="*/ 332422 w 1035345"/>
                <a:gd name="connsiteY31" fmla="*/ 756019 h 838042"/>
                <a:gd name="connsiteX32" fmla="*/ 334327 w 1035345"/>
                <a:gd name="connsiteY32" fmla="*/ 780784 h 838042"/>
                <a:gd name="connsiteX33" fmla="*/ 336232 w 1035345"/>
                <a:gd name="connsiteY33" fmla="*/ 786499 h 838042"/>
                <a:gd name="connsiteX34" fmla="*/ 340042 w 1035345"/>
                <a:gd name="connsiteY34" fmla="*/ 790309 h 838042"/>
                <a:gd name="connsiteX35" fmla="*/ 368617 w 1035345"/>
                <a:gd name="connsiteY35" fmla="*/ 836029 h 838042"/>
                <a:gd name="connsiteX36" fmla="*/ 391477 w 1035345"/>
                <a:gd name="connsiteY36" fmla="*/ 837934 h 838042"/>
                <a:gd name="connsiteX37" fmla="*/ 399287 w 1035345"/>
                <a:gd name="connsiteY37" fmla="*/ 833530 h 838042"/>
                <a:gd name="connsiteX38" fmla="*/ 404812 w 1035345"/>
                <a:gd name="connsiteY38" fmla="*/ 784594 h 838042"/>
                <a:gd name="connsiteX39" fmla="*/ 408622 w 1035345"/>
                <a:gd name="connsiteY39" fmla="*/ 727444 h 838042"/>
                <a:gd name="connsiteX40" fmla="*/ 425767 w 1035345"/>
                <a:gd name="connsiteY40" fmla="*/ 672199 h 838042"/>
                <a:gd name="connsiteX41" fmla="*/ 431482 w 1035345"/>
                <a:gd name="connsiteY41" fmla="*/ 658864 h 838042"/>
                <a:gd name="connsiteX42" fmla="*/ 445964 w 1035345"/>
                <a:gd name="connsiteY42" fmla="*/ 626947 h 838042"/>
                <a:gd name="connsiteX43" fmla="*/ 466169 w 1035345"/>
                <a:gd name="connsiteY43" fmla="*/ 600072 h 838042"/>
                <a:gd name="connsiteX44" fmla="*/ 525390 w 1035345"/>
                <a:gd name="connsiteY44" fmla="*/ 565123 h 838042"/>
                <a:gd name="connsiteX45" fmla="*/ 601228 w 1035345"/>
                <a:gd name="connsiteY45" fmla="*/ 550915 h 838042"/>
                <a:gd name="connsiteX46" fmla="*/ 709681 w 1035345"/>
                <a:gd name="connsiteY46" fmla="*/ 612819 h 838042"/>
                <a:gd name="connsiteX47" fmla="*/ 782002 w 1035345"/>
                <a:gd name="connsiteY47" fmla="*/ 656959 h 838042"/>
                <a:gd name="connsiteX48" fmla="*/ 806767 w 1035345"/>
                <a:gd name="connsiteY48" fmla="*/ 632194 h 838042"/>
                <a:gd name="connsiteX49" fmla="*/ 802957 w 1035345"/>
                <a:gd name="connsiteY49" fmla="*/ 601714 h 838042"/>
                <a:gd name="connsiteX50" fmla="*/ 764676 w 1035345"/>
                <a:gd name="connsiteY50" fmla="*/ 562523 h 838042"/>
                <a:gd name="connsiteX51" fmla="*/ 652462 w 1035345"/>
                <a:gd name="connsiteY51" fmla="*/ 479794 h 838042"/>
                <a:gd name="connsiteX52" fmla="*/ 648652 w 1035345"/>
                <a:gd name="connsiteY52" fmla="*/ 462649 h 838042"/>
                <a:gd name="connsiteX53" fmla="*/ 660082 w 1035345"/>
                <a:gd name="connsiteY53" fmla="*/ 426454 h 838042"/>
                <a:gd name="connsiteX54" fmla="*/ 728662 w 1035345"/>
                <a:gd name="connsiteY54" fmla="*/ 405499 h 838042"/>
                <a:gd name="connsiteX55" fmla="*/ 815618 w 1035345"/>
                <a:gd name="connsiteY55" fmla="*/ 406906 h 838042"/>
                <a:gd name="connsiteX56" fmla="*/ 908111 w 1035345"/>
                <a:gd name="connsiteY56" fmla="*/ 417646 h 838042"/>
                <a:gd name="connsiteX57" fmla="*/ 1004170 w 1035345"/>
                <a:gd name="connsiteY57" fmla="*/ 426835 h 838042"/>
                <a:gd name="connsiteX58" fmla="*/ 1034329 w 1035345"/>
                <a:gd name="connsiteY58" fmla="*/ 402711 h 838042"/>
                <a:gd name="connsiteX59" fmla="*/ 1022394 w 1035345"/>
                <a:gd name="connsiteY59" fmla="*/ 377797 h 838042"/>
                <a:gd name="connsiteX60" fmla="*/ 966769 w 1035345"/>
                <a:gd name="connsiteY60" fmla="*/ 358029 h 838042"/>
                <a:gd name="connsiteX61" fmla="*/ 829627 w 1035345"/>
                <a:gd name="connsiteY61" fmla="*/ 357874 h 838042"/>
                <a:gd name="connsiteX62" fmla="*/ 757691 w 1035345"/>
                <a:gd name="connsiteY62" fmla="*/ 361702 h 838042"/>
                <a:gd name="connsiteX63" fmla="*/ 673417 w 1035345"/>
                <a:gd name="connsiteY63" fmla="*/ 369304 h 838042"/>
                <a:gd name="connsiteX64" fmla="*/ 646747 w 1035345"/>
                <a:gd name="connsiteY64" fmla="*/ 338824 h 838042"/>
                <a:gd name="connsiteX65" fmla="*/ 678283 w 1035345"/>
                <a:gd name="connsiteY65" fmla="*/ 304962 h 838042"/>
                <a:gd name="connsiteX66" fmla="*/ 709612 w 1035345"/>
                <a:gd name="connsiteY66" fmla="*/ 283579 h 838042"/>
                <a:gd name="connsiteX67" fmla="*/ 745807 w 1035345"/>
                <a:gd name="connsiteY67" fmla="*/ 251194 h 838042"/>
                <a:gd name="connsiteX68" fmla="*/ 784899 w 1035345"/>
                <a:gd name="connsiteY68" fmla="*/ 213846 h 838042"/>
                <a:gd name="connsiteX69" fmla="*/ 748281 w 1035345"/>
                <a:gd name="connsiteY69" fmla="*/ 201789 h 838042"/>
                <a:gd name="connsiteX70" fmla="*/ 696277 w 1035345"/>
                <a:gd name="connsiteY70" fmla="*/ 226429 h 838042"/>
                <a:gd name="connsiteX71" fmla="*/ 658558 w 1035345"/>
                <a:gd name="connsiteY71" fmla="*/ 257626 h 838042"/>
                <a:gd name="connsiteX72" fmla="*/ 617881 w 1035345"/>
                <a:gd name="connsiteY72" fmla="*/ 286712 h 838042"/>
                <a:gd name="connsiteX73" fmla="*/ 566737 w 1035345"/>
                <a:gd name="connsiteY73" fmla="*/ 287389 h 838042"/>
                <a:gd name="connsiteX74" fmla="*/ 532447 w 1035345"/>
                <a:gd name="connsiteY74" fmla="*/ 274054 h 838042"/>
                <a:gd name="connsiteX75" fmla="*/ 509587 w 1035345"/>
                <a:gd name="connsiteY75" fmla="*/ 235954 h 838042"/>
                <a:gd name="connsiteX76" fmla="*/ 511492 w 1035345"/>
                <a:gd name="connsiteY76" fmla="*/ 171184 h 838042"/>
                <a:gd name="connsiteX77" fmla="*/ 510194 w 1035345"/>
                <a:gd name="connsiteY77" fmla="*/ 73485 h 838042"/>
                <a:gd name="connsiteX78" fmla="*/ 455996 w 1035345"/>
                <a:gd name="connsiteY78" fmla="*/ 11248 h 838042"/>
                <a:gd name="connsiteX79" fmla="*/ 444350 w 1035345"/>
                <a:gd name="connsiteY79" fmla="*/ 75864 h 838042"/>
                <a:gd name="connsiteX80" fmla="*/ 441106 w 1035345"/>
                <a:gd name="connsiteY80" fmla="*/ 132660 h 838042"/>
                <a:gd name="connsiteX81" fmla="*/ 437934 w 1035345"/>
                <a:gd name="connsiteY81" fmla="*/ 214465 h 838042"/>
                <a:gd name="connsiteX0" fmla="*/ 433796 w 1031207"/>
                <a:gd name="connsiteY0" fmla="*/ 214465 h 838042"/>
                <a:gd name="connsiteX1" fmla="*/ 421629 w 1031207"/>
                <a:gd name="connsiteY1" fmla="*/ 253099 h 838042"/>
                <a:gd name="connsiteX2" fmla="*/ 394959 w 1031207"/>
                <a:gd name="connsiteY2" fmla="*/ 262624 h 838042"/>
                <a:gd name="connsiteX3" fmla="*/ 356331 w 1031207"/>
                <a:gd name="connsiteY3" fmla="*/ 271935 h 838042"/>
                <a:gd name="connsiteX4" fmla="*/ 313044 w 1031207"/>
                <a:gd name="connsiteY4" fmla="*/ 289293 h 838042"/>
                <a:gd name="connsiteX5" fmla="*/ 265419 w 1031207"/>
                <a:gd name="connsiteY5" fmla="*/ 285484 h 838042"/>
                <a:gd name="connsiteX6" fmla="*/ 219699 w 1031207"/>
                <a:gd name="connsiteY6" fmla="*/ 272149 h 838042"/>
                <a:gd name="connsiteX7" fmla="*/ 189219 w 1031207"/>
                <a:gd name="connsiteY7" fmla="*/ 262624 h 838042"/>
                <a:gd name="connsiteX8" fmla="*/ 156834 w 1031207"/>
                <a:gd name="connsiteY8" fmla="*/ 239764 h 838042"/>
                <a:gd name="connsiteX9" fmla="*/ 122074 w 1031207"/>
                <a:gd name="connsiteY9" fmla="*/ 218050 h 838042"/>
                <a:gd name="connsiteX10" fmla="*/ 101589 w 1031207"/>
                <a:gd name="connsiteY10" fmla="*/ 203569 h 838042"/>
                <a:gd name="connsiteX11" fmla="*/ 59679 w 1031207"/>
                <a:gd name="connsiteY11" fmla="*/ 197854 h 838042"/>
                <a:gd name="connsiteX12" fmla="*/ 48331 w 1031207"/>
                <a:gd name="connsiteY12" fmla="*/ 241190 h 838042"/>
                <a:gd name="connsiteX13" fmla="*/ 63490 w 1031207"/>
                <a:gd name="connsiteY13" fmla="*/ 272150 h 838042"/>
                <a:gd name="connsiteX14" fmla="*/ 124449 w 1031207"/>
                <a:gd name="connsiteY14" fmla="*/ 289294 h 838042"/>
                <a:gd name="connsiteX15" fmla="*/ 191124 w 1031207"/>
                <a:gd name="connsiteY15" fmla="*/ 308344 h 838042"/>
                <a:gd name="connsiteX16" fmla="*/ 226553 w 1031207"/>
                <a:gd name="connsiteY16" fmla="*/ 323832 h 838042"/>
                <a:gd name="connsiteX17" fmla="*/ 291209 w 1031207"/>
                <a:gd name="connsiteY17" fmla="*/ 364030 h 838042"/>
                <a:gd name="connsiteX18" fmla="*/ 301013 w 1031207"/>
                <a:gd name="connsiteY18" fmla="*/ 410802 h 838042"/>
                <a:gd name="connsiteX19" fmla="*/ 263514 w 1031207"/>
                <a:gd name="connsiteY19" fmla="*/ 447409 h 838042"/>
                <a:gd name="connsiteX20" fmla="*/ 217240 w 1031207"/>
                <a:gd name="connsiteY20" fmla="*/ 459458 h 838042"/>
                <a:gd name="connsiteX21" fmla="*/ 136827 w 1031207"/>
                <a:gd name="connsiteY21" fmla="*/ 465397 h 838042"/>
                <a:gd name="connsiteX22" fmla="*/ 88254 w 1031207"/>
                <a:gd name="connsiteY22" fmla="*/ 468364 h 838042"/>
                <a:gd name="connsiteX23" fmla="*/ 27294 w 1031207"/>
                <a:gd name="connsiteY23" fmla="*/ 477889 h 838042"/>
                <a:gd name="connsiteX24" fmla="*/ 624 w 1031207"/>
                <a:gd name="connsiteY24" fmla="*/ 504559 h 838042"/>
                <a:gd name="connsiteX25" fmla="*/ 51344 w 1031207"/>
                <a:gd name="connsiteY25" fmla="*/ 547857 h 838042"/>
                <a:gd name="connsiteX26" fmla="*/ 153024 w 1031207"/>
                <a:gd name="connsiteY26" fmla="*/ 538849 h 838042"/>
                <a:gd name="connsiteX27" fmla="*/ 268163 w 1031207"/>
                <a:gd name="connsiteY27" fmla="*/ 519747 h 838042"/>
                <a:gd name="connsiteX28" fmla="*/ 351144 w 1031207"/>
                <a:gd name="connsiteY28" fmla="*/ 561709 h 838042"/>
                <a:gd name="connsiteX29" fmla="*/ 362574 w 1031207"/>
                <a:gd name="connsiteY29" fmla="*/ 609334 h 838042"/>
                <a:gd name="connsiteX30" fmla="*/ 330189 w 1031207"/>
                <a:gd name="connsiteY30" fmla="*/ 704584 h 838042"/>
                <a:gd name="connsiteX31" fmla="*/ 328284 w 1031207"/>
                <a:gd name="connsiteY31" fmla="*/ 756019 h 838042"/>
                <a:gd name="connsiteX32" fmla="*/ 330189 w 1031207"/>
                <a:gd name="connsiteY32" fmla="*/ 780784 h 838042"/>
                <a:gd name="connsiteX33" fmla="*/ 332094 w 1031207"/>
                <a:gd name="connsiteY33" fmla="*/ 786499 h 838042"/>
                <a:gd name="connsiteX34" fmla="*/ 335904 w 1031207"/>
                <a:gd name="connsiteY34" fmla="*/ 790309 h 838042"/>
                <a:gd name="connsiteX35" fmla="*/ 364479 w 1031207"/>
                <a:gd name="connsiteY35" fmla="*/ 836029 h 838042"/>
                <a:gd name="connsiteX36" fmla="*/ 387339 w 1031207"/>
                <a:gd name="connsiteY36" fmla="*/ 837934 h 838042"/>
                <a:gd name="connsiteX37" fmla="*/ 395149 w 1031207"/>
                <a:gd name="connsiteY37" fmla="*/ 833530 h 838042"/>
                <a:gd name="connsiteX38" fmla="*/ 400674 w 1031207"/>
                <a:gd name="connsiteY38" fmla="*/ 784594 h 838042"/>
                <a:gd name="connsiteX39" fmla="*/ 404484 w 1031207"/>
                <a:gd name="connsiteY39" fmla="*/ 727444 h 838042"/>
                <a:gd name="connsiteX40" fmla="*/ 421629 w 1031207"/>
                <a:gd name="connsiteY40" fmla="*/ 672199 h 838042"/>
                <a:gd name="connsiteX41" fmla="*/ 427344 w 1031207"/>
                <a:gd name="connsiteY41" fmla="*/ 658864 h 838042"/>
                <a:gd name="connsiteX42" fmla="*/ 441826 w 1031207"/>
                <a:gd name="connsiteY42" fmla="*/ 626947 h 838042"/>
                <a:gd name="connsiteX43" fmla="*/ 462031 w 1031207"/>
                <a:gd name="connsiteY43" fmla="*/ 600072 h 838042"/>
                <a:gd name="connsiteX44" fmla="*/ 521252 w 1031207"/>
                <a:gd name="connsiteY44" fmla="*/ 565123 h 838042"/>
                <a:gd name="connsiteX45" fmla="*/ 597090 w 1031207"/>
                <a:gd name="connsiteY45" fmla="*/ 550915 h 838042"/>
                <a:gd name="connsiteX46" fmla="*/ 705543 w 1031207"/>
                <a:gd name="connsiteY46" fmla="*/ 612819 h 838042"/>
                <a:gd name="connsiteX47" fmla="*/ 777864 w 1031207"/>
                <a:gd name="connsiteY47" fmla="*/ 656959 h 838042"/>
                <a:gd name="connsiteX48" fmla="*/ 802629 w 1031207"/>
                <a:gd name="connsiteY48" fmla="*/ 632194 h 838042"/>
                <a:gd name="connsiteX49" fmla="*/ 798819 w 1031207"/>
                <a:gd name="connsiteY49" fmla="*/ 601714 h 838042"/>
                <a:gd name="connsiteX50" fmla="*/ 760538 w 1031207"/>
                <a:gd name="connsiteY50" fmla="*/ 562523 h 838042"/>
                <a:gd name="connsiteX51" fmla="*/ 648324 w 1031207"/>
                <a:gd name="connsiteY51" fmla="*/ 479794 h 838042"/>
                <a:gd name="connsiteX52" fmla="*/ 644514 w 1031207"/>
                <a:gd name="connsiteY52" fmla="*/ 462649 h 838042"/>
                <a:gd name="connsiteX53" fmla="*/ 655944 w 1031207"/>
                <a:gd name="connsiteY53" fmla="*/ 426454 h 838042"/>
                <a:gd name="connsiteX54" fmla="*/ 724524 w 1031207"/>
                <a:gd name="connsiteY54" fmla="*/ 405499 h 838042"/>
                <a:gd name="connsiteX55" fmla="*/ 811480 w 1031207"/>
                <a:gd name="connsiteY55" fmla="*/ 406906 h 838042"/>
                <a:gd name="connsiteX56" fmla="*/ 903973 w 1031207"/>
                <a:gd name="connsiteY56" fmla="*/ 417646 h 838042"/>
                <a:gd name="connsiteX57" fmla="*/ 1000032 w 1031207"/>
                <a:gd name="connsiteY57" fmla="*/ 426835 h 838042"/>
                <a:gd name="connsiteX58" fmla="*/ 1030191 w 1031207"/>
                <a:gd name="connsiteY58" fmla="*/ 402711 h 838042"/>
                <a:gd name="connsiteX59" fmla="*/ 1018256 w 1031207"/>
                <a:gd name="connsiteY59" fmla="*/ 377797 h 838042"/>
                <a:gd name="connsiteX60" fmla="*/ 962631 w 1031207"/>
                <a:gd name="connsiteY60" fmla="*/ 358029 h 838042"/>
                <a:gd name="connsiteX61" fmla="*/ 825489 w 1031207"/>
                <a:gd name="connsiteY61" fmla="*/ 357874 h 838042"/>
                <a:gd name="connsiteX62" fmla="*/ 753553 w 1031207"/>
                <a:gd name="connsiteY62" fmla="*/ 361702 h 838042"/>
                <a:gd name="connsiteX63" fmla="*/ 669279 w 1031207"/>
                <a:gd name="connsiteY63" fmla="*/ 369304 h 838042"/>
                <a:gd name="connsiteX64" fmla="*/ 642609 w 1031207"/>
                <a:gd name="connsiteY64" fmla="*/ 338824 h 838042"/>
                <a:gd name="connsiteX65" fmla="*/ 674145 w 1031207"/>
                <a:gd name="connsiteY65" fmla="*/ 304962 h 838042"/>
                <a:gd name="connsiteX66" fmla="*/ 705474 w 1031207"/>
                <a:gd name="connsiteY66" fmla="*/ 283579 h 838042"/>
                <a:gd name="connsiteX67" fmla="*/ 741669 w 1031207"/>
                <a:gd name="connsiteY67" fmla="*/ 251194 h 838042"/>
                <a:gd name="connsiteX68" fmla="*/ 780761 w 1031207"/>
                <a:gd name="connsiteY68" fmla="*/ 213846 h 838042"/>
                <a:gd name="connsiteX69" fmla="*/ 744143 w 1031207"/>
                <a:gd name="connsiteY69" fmla="*/ 201789 h 838042"/>
                <a:gd name="connsiteX70" fmla="*/ 692139 w 1031207"/>
                <a:gd name="connsiteY70" fmla="*/ 226429 h 838042"/>
                <a:gd name="connsiteX71" fmla="*/ 654420 w 1031207"/>
                <a:gd name="connsiteY71" fmla="*/ 257626 h 838042"/>
                <a:gd name="connsiteX72" fmla="*/ 613743 w 1031207"/>
                <a:gd name="connsiteY72" fmla="*/ 286712 h 838042"/>
                <a:gd name="connsiteX73" fmla="*/ 562599 w 1031207"/>
                <a:gd name="connsiteY73" fmla="*/ 287389 h 838042"/>
                <a:gd name="connsiteX74" fmla="*/ 528309 w 1031207"/>
                <a:gd name="connsiteY74" fmla="*/ 274054 h 838042"/>
                <a:gd name="connsiteX75" fmla="*/ 505449 w 1031207"/>
                <a:gd name="connsiteY75" fmla="*/ 235954 h 838042"/>
                <a:gd name="connsiteX76" fmla="*/ 507354 w 1031207"/>
                <a:gd name="connsiteY76" fmla="*/ 171184 h 838042"/>
                <a:gd name="connsiteX77" fmla="*/ 506056 w 1031207"/>
                <a:gd name="connsiteY77" fmla="*/ 73485 h 838042"/>
                <a:gd name="connsiteX78" fmla="*/ 451858 w 1031207"/>
                <a:gd name="connsiteY78" fmla="*/ 11248 h 838042"/>
                <a:gd name="connsiteX79" fmla="*/ 440212 w 1031207"/>
                <a:gd name="connsiteY79" fmla="*/ 75864 h 838042"/>
                <a:gd name="connsiteX80" fmla="*/ 436968 w 1031207"/>
                <a:gd name="connsiteY80" fmla="*/ 132660 h 838042"/>
                <a:gd name="connsiteX81" fmla="*/ 433796 w 1031207"/>
                <a:gd name="connsiteY81" fmla="*/ 214465 h 838042"/>
                <a:gd name="connsiteX0" fmla="*/ 433796 w 1031207"/>
                <a:gd name="connsiteY0" fmla="*/ 214465 h 838042"/>
                <a:gd name="connsiteX1" fmla="*/ 421629 w 1031207"/>
                <a:gd name="connsiteY1" fmla="*/ 253099 h 838042"/>
                <a:gd name="connsiteX2" fmla="*/ 394959 w 1031207"/>
                <a:gd name="connsiteY2" fmla="*/ 262624 h 838042"/>
                <a:gd name="connsiteX3" fmla="*/ 356331 w 1031207"/>
                <a:gd name="connsiteY3" fmla="*/ 271935 h 838042"/>
                <a:gd name="connsiteX4" fmla="*/ 313044 w 1031207"/>
                <a:gd name="connsiteY4" fmla="*/ 289293 h 838042"/>
                <a:gd name="connsiteX5" fmla="*/ 265419 w 1031207"/>
                <a:gd name="connsiteY5" fmla="*/ 285484 h 838042"/>
                <a:gd name="connsiteX6" fmla="*/ 219699 w 1031207"/>
                <a:gd name="connsiteY6" fmla="*/ 272149 h 838042"/>
                <a:gd name="connsiteX7" fmla="*/ 189219 w 1031207"/>
                <a:gd name="connsiteY7" fmla="*/ 262624 h 838042"/>
                <a:gd name="connsiteX8" fmla="*/ 156834 w 1031207"/>
                <a:gd name="connsiteY8" fmla="*/ 239764 h 838042"/>
                <a:gd name="connsiteX9" fmla="*/ 122074 w 1031207"/>
                <a:gd name="connsiteY9" fmla="*/ 218050 h 838042"/>
                <a:gd name="connsiteX10" fmla="*/ 101589 w 1031207"/>
                <a:gd name="connsiteY10" fmla="*/ 203569 h 838042"/>
                <a:gd name="connsiteX11" fmla="*/ 59679 w 1031207"/>
                <a:gd name="connsiteY11" fmla="*/ 197854 h 838042"/>
                <a:gd name="connsiteX12" fmla="*/ 48331 w 1031207"/>
                <a:gd name="connsiteY12" fmla="*/ 241190 h 838042"/>
                <a:gd name="connsiteX13" fmla="*/ 63490 w 1031207"/>
                <a:gd name="connsiteY13" fmla="*/ 272150 h 838042"/>
                <a:gd name="connsiteX14" fmla="*/ 124449 w 1031207"/>
                <a:gd name="connsiteY14" fmla="*/ 289294 h 838042"/>
                <a:gd name="connsiteX15" fmla="*/ 191124 w 1031207"/>
                <a:gd name="connsiteY15" fmla="*/ 308344 h 838042"/>
                <a:gd name="connsiteX16" fmla="*/ 226553 w 1031207"/>
                <a:gd name="connsiteY16" fmla="*/ 323832 h 838042"/>
                <a:gd name="connsiteX17" fmla="*/ 291209 w 1031207"/>
                <a:gd name="connsiteY17" fmla="*/ 364030 h 838042"/>
                <a:gd name="connsiteX18" fmla="*/ 301013 w 1031207"/>
                <a:gd name="connsiteY18" fmla="*/ 410802 h 838042"/>
                <a:gd name="connsiteX19" fmla="*/ 263514 w 1031207"/>
                <a:gd name="connsiteY19" fmla="*/ 447409 h 838042"/>
                <a:gd name="connsiteX20" fmla="*/ 217240 w 1031207"/>
                <a:gd name="connsiteY20" fmla="*/ 459458 h 838042"/>
                <a:gd name="connsiteX21" fmla="*/ 136827 w 1031207"/>
                <a:gd name="connsiteY21" fmla="*/ 465397 h 838042"/>
                <a:gd name="connsiteX22" fmla="*/ 88254 w 1031207"/>
                <a:gd name="connsiteY22" fmla="*/ 468364 h 838042"/>
                <a:gd name="connsiteX23" fmla="*/ 27294 w 1031207"/>
                <a:gd name="connsiteY23" fmla="*/ 477889 h 838042"/>
                <a:gd name="connsiteX24" fmla="*/ 624 w 1031207"/>
                <a:gd name="connsiteY24" fmla="*/ 504559 h 838042"/>
                <a:gd name="connsiteX25" fmla="*/ 51344 w 1031207"/>
                <a:gd name="connsiteY25" fmla="*/ 547857 h 838042"/>
                <a:gd name="connsiteX26" fmla="*/ 153024 w 1031207"/>
                <a:gd name="connsiteY26" fmla="*/ 538849 h 838042"/>
                <a:gd name="connsiteX27" fmla="*/ 268163 w 1031207"/>
                <a:gd name="connsiteY27" fmla="*/ 519747 h 838042"/>
                <a:gd name="connsiteX28" fmla="*/ 351144 w 1031207"/>
                <a:gd name="connsiteY28" fmla="*/ 561709 h 838042"/>
                <a:gd name="connsiteX29" fmla="*/ 362574 w 1031207"/>
                <a:gd name="connsiteY29" fmla="*/ 609334 h 838042"/>
                <a:gd name="connsiteX30" fmla="*/ 330189 w 1031207"/>
                <a:gd name="connsiteY30" fmla="*/ 704584 h 838042"/>
                <a:gd name="connsiteX31" fmla="*/ 328284 w 1031207"/>
                <a:gd name="connsiteY31" fmla="*/ 756019 h 838042"/>
                <a:gd name="connsiteX32" fmla="*/ 330189 w 1031207"/>
                <a:gd name="connsiteY32" fmla="*/ 780784 h 838042"/>
                <a:gd name="connsiteX33" fmla="*/ 332094 w 1031207"/>
                <a:gd name="connsiteY33" fmla="*/ 786499 h 838042"/>
                <a:gd name="connsiteX34" fmla="*/ 335904 w 1031207"/>
                <a:gd name="connsiteY34" fmla="*/ 790309 h 838042"/>
                <a:gd name="connsiteX35" fmla="*/ 364479 w 1031207"/>
                <a:gd name="connsiteY35" fmla="*/ 836029 h 838042"/>
                <a:gd name="connsiteX36" fmla="*/ 387339 w 1031207"/>
                <a:gd name="connsiteY36" fmla="*/ 837934 h 838042"/>
                <a:gd name="connsiteX37" fmla="*/ 395149 w 1031207"/>
                <a:gd name="connsiteY37" fmla="*/ 833530 h 838042"/>
                <a:gd name="connsiteX38" fmla="*/ 400674 w 1031207"/>
                <a:gd name="connsiteY38" fmla="*/ 784594 h 838042"/>
                <a:gd name="connsiteX39" fmla="*/ 404484 w 1031207"/>
                <a:gd name="connsiteY39" fmla="*/ 727444 h 838042"/>
                <a:gd name="connsiteX40" fmla="*/ 421629 w 1031207"/>
                <a:gd name="connsiteY40" fmla="*/ 672199 h 838042"/>
                <a:gd name="connsiteX41" fmla="*/ 427344 w 1031207"/>
                <a:gd name="connsiteY41" fmla="*/ 658864 h 838042"/>
                <a:gd name="connsiteX42" fmla="*/ 462031 w 1031207"/>
                <a:gd name="connsiteY42" fmla="*/ 600072 h 838042"/>
                <a:gd name="connsiteX43" fmla="*/ 521252 w 1031207"/>
                <a:gd name="connsiteY43" fmla="*/ 565123 h 838042"/>
                <a:gd name="connsiteX44" fmla="*/ 597090 w 1031207"/>
                <a:gd name="connsiteY44" fmla="*/ 550915 h 838042"/>
                <a:gd name="connsiteX45" fmla="*/ 705543 w 1031207"/>
                <a:gd name="connsiteY45" fmla="*/ 612819 h 838042"/>
                <a:gd name="connsiteX46" fmla="*/ 777864 w 1031207"/>
                <a:gd name="connsiteY46" fmla="*/ 656959 h 838042"/>
                <a:gd name="connsiteX47" fmla="*/ 802629 w 1031207"/>
                <a:gd name="connsiteY47" fmla="*/ 632194 h 838042"/>
                <a:gd name="connsiteX48" fmla="*/ 798819 w 1031207"/>
                <a:gd name="connsiteY48" fmla="*/ 601714 h 838042"/>
                <a:gd name="connsiteX49" fmla="*/ 760538 w 1031207"/>
                <a:gd name="connsiteY49" fmla="*/ 562523 h 838042"/>
                <a:gd name="connsiteX50" fmla="*/ 648324 w 1031207"/>
                <a:gd name="connsiteY50" fmla="*/ 479794 h 838042"/>
                <a:gd name="connsiteX51" fmla="*/ 644514 w 1031207"/>
                <a:gd name="connsiteY51" fmla="*/ 462649 h 838042"/>
                <a:gd name="connsiteX52" fmla="*/ 655944 w 1031207"/>
                <a:gd name="connsiteY52" fmla="*/ 426454 h 838042"/>
                <a:gd name="connsiteX53" fmla="*/ 724524 w 1031207"/>
                <a:gd name="connsiteY53" fmla="*/ 405499 h 838042"/>
                <a:gd name="connsiteX54" fmla="*/ 811480 w 1031207"/>
                <a:gd name="connsiteY54" fmla="*/ 406906 h 838042"/>
                <a:gd name="connsiteX55" fmla="*/ 903973 w 1031207"/>
                <a:gd name="connsiteY55" fmla="*/ 417646 h 838042"/>
                <a:gd name="connsiteX56" fmla="*/ 1000032 w 1031207"/>
                <a:gd name="connsiteY56" fmla="*/ 426835 h 838042"/>
                <a:gd name="connsiteX57" fmla="*/ 1030191 w 1031207"/>
                <a:gd name="connsiteY57" fmla="*/ 402711 h 838042"/>
                <a:gd name="connsiteX58" fmla="*/ 1018256 w 1031207"/>
                <a:gd name="connsiteY58" fmla="*/ 377797 h 838042"/>
                <a:gd name="connsiteX59" fmla="*/ 962631 w 1031207"/>
                <a:gd name="connsiteY59" fmla="*/ 358029 h 838042"/>
                <a:gd name="connsiteX60" fmla="*/ 825489 w 1031207"/>
                <a:gd name="connsiteY60" fmla="*/ 357874 h 838042"/>
                <a:gd name="connsiteX61" fmla="*/ 753553 w 1031207"/>
                <a:gd name="connsiteY61" fmla="*/ 361702 h 838042"/>
                <a:gd name="connsiteX62" fmla="*/ 669279 w 1031207"/>
                <a:gd name="connsiteY62" fmla="*/ 369304 h 838042"/>
                <a:gd name="connsiteX63" fmla="*/ 642609 w 1031207"/>
                <a:gd name="connsiteY63" fmla="*/ 338824 h 838042"/>
                <a:gd name="connsiteX64" fmla="*/ 674145 w 1031207"/>
                <a:gd name="connsiteY64" fmla="*/ 304962 h 838042"/>
                <a:gd name="connsiteX65" fmla="*/ 705474 w 1031207"/>
                <a:gd name="connsiteY65" fmla="*/ 283579 h 838042"/>
                <a:gd name="connsiteX66" fmla="*/ 741669 w 1031207"/>
                <a:gd name="connsiteY66" fmla="*/ 251194 h 838042"/>
                <a:gd name="connsiteX67" fmla="*/ 780761 w 1031207"/>
                <a:gd name="connsiteY67" fmla="*/ 213846 h 838042"/>
                <a:gd name="connsiteX68" fmla="*/ 744143 w 1031207"/>
                <a:gd name="connsiteY68" fmla="*/ 201789 h 838042"/>
                <a:gd name="connsiteX69" fmla="*/ 692139 w 1031207"/>
                <a:gd name="connsiteY69" fmla="*/ 226429 h 838042"/>
                <a:gd name="connsiteX70" fmla="*/ 654420 w 1031207"/>
                <a:gd name="connsiteY70" fmla="*/ 257626 h 838042"/>
                <a:gd name="connsiteX71" fmla="*/ 613743 w 1031207"/>
                <a:gd name="connsiteY71" fmla="*/ 286712 h 838042"/>
                <a:gd name="connsiteX72" fmla="*/ 562599 w 1031207"/>
                <a:gd name="connsiteY72" fmla="*/ 287389 h 838042"/>
                <a:gd name="connsiteX73" fmla="*/ 528309 w 1031207"/>
                <a:gd name="connsiteY73" fmla="*/ 274054 h 838042"/>
                <a:gd name="connsiteX74" fmla="*/ 505449 w 1031207"/>
                <a:gd name="connsiteY74" fmla="*/ 235954 h 838042"/>
                <a:gd name="connsiteX75" fmla="*/ 507354 w 1031207"/>
                <a:gd name="connsiteY75" fmla="*/ 171184 h 838042"/>
                <a:gd name="connsiteX76" fmla="*/ 506056 w 1031207"/>
                <a:gd name="connsiteY76" fmla="*/ 73485 h 838042"/>
                <a:gd name="connsiteX77" fmla="*/ 451858 w 1031207"/>
                <a:gd name="connsiteY77" fmla="*/ 11248 h 838042"/>
                <a:gd name="connsiteX78" fmla="*/ 440212 w 1031207"/>
                <a:gd name="connsiteY78" fmla="*/ 75864 h 838042"/>
                <a:gd name="connsiteX79" fmla="*/ 436968 w 1031207"/>
                <a:gd name="connsiteY79" fmla="*/ 132660 h 838042"/>
                <a:gd name="connsiteX80" fmla="*/ 433796 w 1031207"/>
                <a:gd name="connsiteY80" fmla="*/ 214465 h 838042"/>
                <a:gd name="connsiteX0" fmla="*/ 433796 w 1031207"/>
                <a:gd name="connsiteY0" fmla="*/ 214465 h 838042"/>
                <a:gd name="connsiteX1" fmla="*/ 421629 w 1031207"/>
                <a:gd name="connsiteY1" fmla="*/ 253099 h 838042"/>
                <a:gd name="connsiteX2" fmla="*/ 394959 w 1031207"/>
                <a:gd name="connsiteY2" fmla="*/ 262624 h 838042"/>
                <a:gd name="connsiteX3" fmla="*/ 356331 w 1031207"/>
                <a:gd name="connsiteY3" fmla="*/ 271935 h 838042"/>
                <a:gd name="connsiteX4" fmla="*/ 313044 w 1031207"/>
                <a:gd name="connsiteY4" fmla="*/ 289293 h 838042"/>
                <a:gd name="connsiteX5" fmla="*/ 265419 w 1031207"/>
                <a:gd name="connsiteY5" fmla="*/ 285484 h 838042"/>
                <a:gd name="connsiteX6" fmla="*/ 219699 w 1031207"/>
                <a:gd name="connsiteY6" fmla="*/ 272149 h 838042"/>
                <a:gd name="connsiteX7" fmla="*/ 189219 w 1031207"/>
                <a:gd name="connsiteY7" fmla="*/ 262624 h 838042"/>
                <a:gd name="connsiteX8" fmla="*/ 156834 w 1031207"/>
                <a:gd name="connsiteY8" fmla="*/ 239764 h 838042"/>
                <a:gd name="connsiteX9" fmla="*/ 122074 w 1031207"/>
                <a:gd name="connsiteY9" fmla="*/ 218050 h 838042"/>
                <a:gd name="connsiteX10" fmla="*/ 101589 w 1031207"/>
                <a:gd name="connsiteY10" fmla="*/ 203569 h 838042"/>
                <a:gd name="connsiteX11" fmla="*/ 59679 w 1031207"/>
                <a:gd name="connsiteY11" fmla="*/ 197854 h 838042"/>
                <a:gd name="connsiteX12" fmla="*/ 48331 w 1031207"/>
                <a:gd name="connsiteY12" fmla="*/ 241190 h 838042"/>
                <a:gd name="connsiteX13" fmla="*/ 63490 w 1031207"/>
                <a:gd name="connsiteY13" fmla="*/ 272150 h 838042"/>
                <a:gd name="connsiteX14" fmla="*/ 124449 w 1031207"/>
                <a:gd name="connsiteY14" fmla="*/ 289294 h 838042"/>
                <a:gd name="connsiteX15" fmla="*/ 191124 w 1031207"/>
                <a:gd name="connsiteY15" fmla="*/ 308344 h 838042"/>
                <a:gd name="connsiteX16" fmla="*/ 226553 w 1031207"/>
                <a:gd name="connsiteY16" fmla="*/ 323832 h 838042"/>
                <a:gd name="connsiteX17" fmla="*/ 291209 w 1031207"/>
                <a:gd name="connsiteY17" fmla="*/ 364030 h 838042"/>
                <a:gd name="connsiteX18" fmla="*/ 301013 w 1031207"/>
                <a:gd name="connsiteY18" fmla="*/ 410802 h 838042"/>
                <a:gd name="connsiteX19" fmla="*/ 263514 w 1031207"/>
                <a:gd name="connsiteY19" fmla="*/ 447409 h 838042"/>
                <a:gd name="connsiteX20" fmla="*/ 217240 w 1031207"/>
                <a:gd name="connsiteY20" fmla="*/ 459458 h 838042"/>
                <a:gd name="connsiteX21" fmla="*/ 136827 w 1031207"/>
                <a:gd name="connsiteY21" fmla="*/ 465397 h 838042"/>
                <a:gd name="connsiteX22" fmla="*/ 88254 w 1031207"/>
                <a:gd name="connsiteY22" fmla="*/ 468364 h 838042"/>
                <a:gd name="connsiteX23" fmla="*/ 27294 w 1031207"/>
                <a:gd name="connsiteY23" fmla="*/ 477889 h 838042"/>
                <a:gd name="connsiteX24" fmla="*/ 624 w 1031207"/>
                <a:gd name="connsiteY24" fmla="*/ 504559 h 838042"/>
                <a:gd name="connsiteX25" fmla="*/ 51344 w 1031207"/>
                <a:gd name="connsiteY25" fmla="*/ 547857 h 838042"/>
                <a:gd name="connsiteX26" fmla="*/ 153024 w 1031207"/>
                <a:gd name="connsiteY26" fmla="*/ 538849 h 838042"/>
                <a:gd name="connsiteX27" fmla="*/ 268163 w 1031207"/>
                <a:gd name="connsiteY27" fmla="*/ 519747 h 838042"/>
                <a:gd name="connsiteX28" fmla="*/ 351144 w 1031207"/>
                <a:gd name="connsiteY28" fmla="*/ 561709 h 838042"/>
                <a:gd name="connsiteX29" fmla="*/ 362574 w 1031207"/>
                <a:gd name="connsiteY29" fmla="*/ 609334 h 838042"/>
                <a:gd name="connsiteX30" fmla="*/ 330189 w 1031207"/>
                <a:gd name="connsiteY30" fmla="*/ 704584 h 838042"/>
                <a:gd name="connsiteX31" fmla="*/ 328284 w 1031207"/>
                <a:gd name="connsiteY31" fmla="*/ 756019 h 838042"/>
                <a:gd name="connsiteX32" fmla="*/ 330189 w 1031207"/>
                <a:gd name="connsiteY32" fmla="*/ 780784 h 838042"/>
                <a:gd name="connsiteX33" fmla="*/ 332094 w 1031207"/>
                <a:gd name="connsiteY33" fmla="*/ 786499 h 838042"/>
                <a:gd name="connsiteX34" fmla="*/ 335904 w 1031207"/>
                <a:gd name="connsiteY34" fmla="*/ 790309 h 838042"/>
                <a:gd name="connsiteX35" fmla="*/ 364479 w 1031207"/>
                <a:gd name="connsiteY35" fmla="*/ 836029 h 838042"/>
                <a:gd name="connsiteX36" fmla="*/ 387339 w 1031207"/>
                <a:gd name="connsiteY36" fmla="*/ 837934 h 838042"/>
                <a:gd name="connsiteX37" fmla="*/ 395149 w 1031207"/>
                <a:gd name="connsiteY37" fmla="*/ 833530 h 838042"/>
                <a:gd name="connsiteX38" fmla="*/ 400674 w 1031207"/>
                <a:gd name="connsiteY38" fmla="*/ 784594 h 838042"/>
                <a:gd name="connsiteX39" fmla="*/ 404484 w 1031207"/>
                <a:gd name="connsiteY39" fmla="*/ 727444 h 838042"/>
                <a:gd name="connsiteX40" fmla="*/ 421629 w 1031207"/>
                <a:gd name="connsiteY40" fmla="*/ 672199 h 838042"/>
                <a:gd name="connsiteX41" fmla="*/ 462031 w 1031207"/>
                <a:gd name="connsiteY41" fmla="*/ 600072 h 838042"/>
                <a:gd name="connsiteX42" fmla="*/ 521252 w 1031207"/>
                <a:gd name="connsiteY42" fmla="*/ 565123 h 838042"/>
                <a:gd name="connsiteX43" fmla="*/ 597090 w 1031207"/>
                <a:gd name="connsiteY43" fmla="*/ 550915 h 838042"/>
                <a:gd name="connsiteX44" fmla="*/ 705543 w 1031207"/>
                <a:gd name="connsiteY44" fmla="*/ 612819 h 838042"/>
                <a:gd name="connsiteX45" fmla="*/ 777864 w 1031207"/>
                <a:gd name="connsiteY45" fmla="*/ 656959 h 838042"/>
                <a:gd name="connsiteX46" fmla="*/ 802629 w 1031207"/>
                <a:gd name="connsiteY46" fmla="*/ 632194 h 838042"/>
                <a:gd name="connsiteX47" fmla="*/ 798819 w 1031207"/>
                <a:gd name="connsiteY47" fmla="*/ 601714 h 838042"/>
                <a:gd name="connsiteX48" fmla="*/ 760538 w 1031207"/>
                <a:gd name="connsiteY48" fmla="*/ 562523 h 838042"/>
                <a:gd name="connsiteX49" fmla="*/ 648324 w 1031207"/>
                <a:gd name="connsiteY49" fmla="*/ 479794 h 838042"/>
                <a:gd name="connsiteX50" fmla="*/ 644514 w 1031207"/>
                <a:gd name="connsiteY50" fmla="*/ 462649 h 838042"/>
                <a:gd name="connsiteX51" fmla="*/ 655944 w 1031207"/>
                <a:gd name="connsiteY51" fmla="*/ 426454 h 838042"/>
                <a:gd name="connsiteX52" fmla="*/ 724524 w 1031207"/>
                <a:gd name="connsiteY52" fmla="*/ 405499 h 838042"/>
                <a:gd name="connsiteX53" fmla="*/ 811480 w 1031207"/>
                <a:gd name="connsiteY53" fmla="*/ 406906 h 838042"/>
                <a:gd name="connsiteX54" fmla="*/ 903973 w 1031207"/>
                <a:gd name="connsiteY54" fmla="*/ 417646 h 838042"/>
                <a:gd name="connsiteX55" fmla="*/ 1000032 w 1031207"/>
                <a:gd name="connsiteY55" fmla="*/ 426835 h 838042"/>
                <a:gd name="connsiteX56" fmla="*/ 1030191 w 1031207"/>
                <a:gd name="connsiteY56" fmla="*/ 402711 h 838042"/>
                <a:gd name="connsiteX57" fmla="*/ 1018256 w 1031207"/>
                <a:gd name="connsiteY57" fmla="*/ 377797 h 838042"/>
                <a:gd name="connsiteX58" fmla="*/ 962631 w 1031207"/>
                <a:gd name="connsiteY58" fmla="*/ 358029 h 838042"/>
                <a:gd name="connsiteX59" fmla="*/ 825489 w 1031207"/>
                <a:gd name="connsiteY59" fmla="*/ 357874 h 838042"/>
                <a:gd name="connsiteX60" fmla="*/ 753553 w 1031207"/>
                <a:gd name="connsiteY60" fmla="*/ 361702 h 838042"/>
                <a:gd name="connsiteX61" fmla="*/ 669279 w 1031207"/>
                <a:gd name="connsiteY61" fmla="*/ 369304 h 838042"/>
                <a:gd name="connsiteX62" fmla="*/ 642609 w 1031207"/>
                <a:gd name="connsiteY62" fmla="*/ 338824 h 838042"/>
                <a:gd name="connsiteX63" fmla="*/ 674145 w 1031207"/>
                <a:gd name="connsiteY63" fmla="*/ 304962 h 838042"/>
                <a:gd name="connsiteX64" fmla="*/ 705474 w 1031207"/>
                <a:gd name="connsiteY64" fmla="*/ 283579 h 838042"/>
                <a:gd name="connsiteX65" fmla="*/ 741669 w 1031207"/>
                <a:gd name="connsiteY65" fmla="*/ 251194 h 838042"/>
                <a:gd name="connsiteX66" fmla="*/ 780761 w 1031207"/>
                <a:gd name="connsiteY66" fmla="*/ 213846 h 838042"/>
                <a:gd name="connsiteX67" fmla="*/ 744143 w 1031207"/>
                <a:gd name="connsiteY67" fmla="*/ 201789 h 838042"/>
                <a:gd name="connsiteX68" fmla="*/ 692139 w 1031207"/>
                <a:gd name="connsiteY68" fmla="*/ 226429 h 838042"/>
                <a:gd name="connsiteX69" fmla="*/ 654420 w 1031207"/>
                <a:gd name="connsiteY69" fmla="*/ 257626 h 838042"/>
                <a:gd name="connsiteX70" fmla="*/ 613743 w 1031207"/>
                <a:gd name="connsiteY70" fmla="*/ 286712 h 838042"/>
                <a:gd name="connsiteX71" fmla="*/ 562599 w 1031207"/>
                <a:gd name="connsiteY71" fmla="*/ 287389 h 838042"/>
                <a:gd name="connsiteX72" fmla="*/ 528309 w 1031207"/>
                <a:gd name="connsiteY72" fmla="*/ 274054 h 838042"/>
                <a:gd name="connsiteX73" fmla="*/ 505449 w 1031207"/>
                <a:gd name="connsiteY73" fmla="*/ 235954 h 838042"/>
                <a:gd name="connsiteX74" fmla="*/ 507354 w 1031207"/>
                <a:gd name="connsiteY74" fmla="*/ 171184 h 838042"/>
                <a:gd name="connsiteX75" fmla="*/ 506056 w 1031207"/>
                <a:gd name="connsiteY75" fmla="*/ 73485 h 838042"/>
                <a:gd name="connsiteX76" fmla="*/ 451858 w 1031207"/>
                <a:gd name="connsiteY76" fmla="*/ 11248 h 838042"/>
                <a:gd name="connsiteX77" fmla="*/ 440212 w 1031207"/>
                <a:gd name="connsiteY77" fmla="*/ 75864 h 838042"/>
                <a:gd name="connsiteX78" fmla="*/ 436968 w 1031207"/>
                <a:gd name="connsiteY78" fmla="*/ 132660 h 838042"/>
                <a:gd name="connsiteX79" fmla="*/ 433796 w 1031207"/>
                <a:gd name="connsiteY79" fmla="*/ 214465 h 838042"/>
                <a:gd name="connsiteX0" fmla="*/ 433796 w 1031207"/>
                <a:gd name="connsiteY0" fmla="*/ 214465 h 841594"/>
                <a:gd name="connsiteX1" fmla="*/ 421629 w 1031207"/>
                <a:gd name="connsiteY1" fmla="*/ 253099 h 841594"/>
                <a:gd name="connsiteX2" fmla="*/ 394959 w 1031207"/>
                <a:gd name="connsiteY2" fmla="*/ 262624 h 841594"/>
                <a:gd name="connsiteX3" fmla="*/ 356331 w 1031207"/>
                <a:gd name="connsiteY3" fmla="*/ 271935 h 841594"/>
                <a:gd name="connsiteX4" fmla="*/ 313044 w 1031207"/>
                <a:gd name="connsiteY4" fmla="*/ 289293 h 841594"/>
                <a:gd name="connsiteX5" fmla="*/ 265419 w 1031207"/>
                <a:gd name="connsiteY5" fmla="*/ 285484 h 841594"/>
                <a:gd name="connsiteX6" fmla="*/ 219699 w 1031207"/>
                <a:gd name="connsiteY6" fmla="*/ 272149 h 841594"/>
                <a:gd name="connsiteX7" fmla="*/ 189219 w 1031207"/>
                <a:gd name="connsiteY7" fmla="*/ 262624 h 841594"/>
                <a:gd name="connsiteX8" fmla="*/ 156834 w 1031207"/>
                <a:gd name="connsiteY8" fmla="*/ 239764 h 841594"/>
                <a:gd name="connsiteX9" fmla="*/ 122074 w 1031207"/>
                <a:gd name="connsiteY9" fmla="*/ 218050 h 841594"/>
                <a:gd name="connsiteX10" fmla="*/ 101589 w 1031207"/>
                <a:gd name="connsiteY10" fmla="*/ 203569 h 841594"/>
                <a:gd name="connsiteX11" fmla="*/ 59679 w 1031207"/>
                <a:gd name="connsiteY11" fmla="*/ 197854 h 841594"/>
                <a:gd name="connsiteX12" fmla="*/ 48331 w 1031207"/>
                <a:gd name="connsiteY12" fmla="*/ 241190 h 841594"/>
                <a:gd name="connsiteX13" fmla="*/ 63490 w 1031207"/>
                <a:gd name="connsiteY13" fmla="*/ 272150 h 841594"/>
                <a:gd name="connsiteX14" fmla="*/ 124449 w 1031207"/>
                <a:gd name="connsiteY14" fmla="*/ 289294 h 841594"/>
                <a:gd name="connsiteX15" fmla="*/ 191124 w 1031207"/>
                <a:gd name="connsiteY15" fmla="*/ 308344 h 841594"/>
                <a:gd name="connsiteX16" fmla="*/ 226553 w 1031207"/>
                <a:gd name="connsiteY16" fmla="*/ 323832 h 841594"/>
                <a:gd name="connsiteX17" fmla="*/ 291209 w 1031207"/>
                <a:gd name="connsiteY17" fmla="*/ 364030 h 841594"/>
                <a:gd name="connsiteX18" fmla="*/ 301013 w 1031207"/>
                <a:gd name="connsiteY18" fmla="*/ 410802 h 841594"/>
                <a:gd name="connsiteX19" fmla="*/ 263514 w 1031207"/>
                <a:gd name="connsiteY19" fmla="*/ 447409 h 841594"/>
                <a:gd name="connsiteX20" fmla="*/ 217240 w 1031207"/>
                <a:gd name="connsiteY20" fmla="*/ 459458 h 841594"/>
                <a:gd name="connsiteX21" fmla="*/ 136827 w 1031207"/>
                <a:gd name="connsiteY21" fmla="*/ 465397 h 841594"/>
                <a:gd name="connsiteX22" fmla="*/ 88254 w 1031207"/>
                <a:gd name="connsiteY22" fmla="*/ 468364 h 841594"/>
                <a:gd name="connsiteX23" fmla="*/ 27294 w 1031207"/>
                <a:gd name="connsiteY23" fmla="*/ 477889 h 841594"/>
                <a:gd name="connsiteX24" fmla="*/ 624 w 1031207"/>
                <a:gd name="connsiteY24" fmla="*/ 504559 h 841594"/>
                <a:gd name="connsiteX25" fmla="*/ 51344 w 1031207"/>
                <a:gd name="connsiteY25" fmla="*/ 547857 h 841594"/>
                <a:gd name="connsiteX26" fmla="*/ 153024 w 1031207"/>
                <a:gd name="connsiteY26" fmla="*/ 538849 h 841594"/>
                <a:gd name="connsiteX27" fmla="*/ 268163 w 1031207"/>
                <a:gd name="connsiteY27" fmla="*/ 519747 h 841594"/>
                <a:gd name="connsiteX28" fmla="*/ 351144 w 1031207"/>
                <a:gd name="connsiteY28" fmla="*/ 561709 h 841594"/>
                <a:gd name="connsiteX29" fmla="*/ 362574 w 1031207"/>
                <a:gd name="connsiteY29" fmla="*/ 609334 h 841594"/>
                <a:gd name="connsiteX30" fmla="*/ 330189 w 1031207"/>
                <a:gd name="connsiteY30" fmla="*/ 704584 h 841594"/>
                <a:gd name="connsiteX31" fmla="*/ 328284 w 1031207"/>
                <a:gd name="connsiteY31" fmla="*/ 756019 h 841594"/>
                <a:gd name="connsiteX32" fmla="*/ 330189 w 1031207"/>
                <a:gd name="connsiteY32" fmla="*/ 780784 h 841594"/>
                <a:gd name="connsiteX33" fmla="*/ 332094 w 1031207"/>
                <a:gd name="connsiteY33" fmla="*/ 786499 h 841594"/>
                <a:gd name="connsiteX34" fmla="*/ 335904 w 1031207"/>
                <a:gd name="connsiteY34" fmla="*/ 790309 h 841594"/>
                <a:gd name="connsiteX35" fmla="*/ 364479 w 1031207"/>
                <a:gd name="connsiteY35" fmla="*/ 836029 h 841594"/>
                <a:gd name="connsiteX36" fmla="*/ 387339 w 1031207"/>
                <a:gd name="connsiteY36" fmla="*/ 837934 h 841594"/>
                <a:gd name="connsiteX37" fmla="*/ 400674 w 1031207"/>
                <a:gd name="connsiteY37" fmla="*/ 784594 h 841594"/>
                <a:gd name="connsiteX38" fmla="*/ 404484 w 1031207"/>
                <a:gd name="connsiteY38" fmla="*/ 727444 h 841594"/>
                <a:gd name="connsiteX39" fmla="*/ 421629 w 1031207"/>
                <a:gd name="connsiteY39" fmla="*/ 672199 h 841594"/>
                <a:gd name="connsiteX40" fmla="*/ 462031 w 1031207"/>
                <a:gd name="connsiteY40" fmla="*/ 600072 h 841594"/>
                <a:gd name="connsiteX41" fmla="*/ 521252 w 1031207"/>
                <a:gd name="connsiteY41" fmla="*/ 565123 h 841594"/>
                <a:gd name="connsiteX42" fmla="*/ 597090 w 1031207"/>
                <a:gd name="connsiteY42" fmla="*/ 550915 h 841594"/>
                <a:gd name="connsiteX43" fmla="*/ 705543 w 1031207"/>
                <a:gd name="connsiteY43" fmla="*/ 612819 h 841594"/>
                <a:gd name="connsiteX44" fmla="*/ 777864 w 1031207"/>
                <a:gd name="connsiteY44" fmla="*/ 656959 h 841594"/>
                <a:gd name="connsiteX45" fmla="*/ 802629 w 1031207"/>
                <a:gd name="connsiteY45" fmla="*/ 632194 h 841594"/>
                <a:gd name="connsiteX46" fmla="*/ 798819 w 1031207"/>
                <a:gd name="connsiteY46" fmla="*/ 601714 h 841594"/>
                <a:gd name="connsiteX47" fmla="*/ 760538 w 1031207"/>
                <a:gd name="connsiteY47" fmla="*/ 562523 h 841594"/>
                <a:gd name="connsiteX48" fmla="*/ 648324 w 1031207"/>
                <a:gd name="connsiteY48" fmla="*/ 479794 h 841594"/>
                <a:gd name="connsiteX49" fmla="*/ 644514 w 1031207"/>
                <a:gd name="connsiteY49" fmla="*/ 462649 h 841594"/>
                <a:gd name="connsiteX50" fmla="*/ 655944 w 1031207"/>
                <a:gd name="connsiteY50" fmla="*/ 426454 h 841594"/>
                <a:gd name="connsiteX51" fmla="*/ 724524 w 1031207"/>
                <a:gd name="connsiteY51" fmla="*/ 405499 h 841594"/>
                <a:gd name="connsiteX52" fmla="*/ 811480 w 1031207"/>
                <a:gd name="connsiteY52" fmla="*/ 406906 h 841594"/>
                <a:gd name="connsiteX53" fmla="*/ 903973 w 1031207"/>
                <a:gd name="connsiteY53" fmla="*/ 417646 h 841594"/>
                <a:gd name="connsiteX54" fmla="*/ 1000032 w 1031207"/>
                <a:gd name="connsiteY54" fmla="*/ 426835 h 841594"/>
                <a:gd name="connsiteX55" fmla="*/ 1030191 w 1031207"/>
                <a:gd name="connsiteY55" fmla="*/ 402711 h 841594"/>
                <a:gd name="connsiteX56" fmla="*/ 1018256 w 1031207"/>
                <a:gd name="connsiteY56" fmla="*/ 377797 h 841594"/>
                <a:gd name="connsiteX57" fmla="*/ 962631 w 1031207"/>
                <a:gd name="connsiteY57" fmla="*/ 358029 h 841594"/>
                <a:gd name="connsiteX58" fmla="*/ 825489 w 1031207"/>
                <a:gd name="connsiteY58" fmla="*/ 357874 h 841594"/>
                <a:gd name="connsiteX59" fmla="*/ 753553 w 1031207"/>
                <a:gd name="connsiteY59" fmla="*/ 361702 h 841594"/>
                <a:gd name="connsiteX60" fmla="*/ 669279 w 1031207"/>
                <a:gd name="connsiteY60" fmla="*/ 369304 h 841594"/>
                <a:gd name="connsiteX61" fmla="*/ 642609 w 1031207"/>
                <a:gd name="connsiteY61" fmla="*/ 338824 h 841594"/>
                <a:gd name="connsiteX62" fmla="*/ 674145 w 1031207"/>
                <a:gd name="connsiteY62" fmla="*/ 304962 h 841594"/>
                <a:gd name="connsiteX63" fmla="*/ 705474 w 1031207"/>
                <a:gd name="connsiteY63" fmla="*/ 283579 h 841594"/>
                <a:gd name="connsiteX64" fmla="*/ 741669 w 1031207"/>
                <a:gd name="connsiteY64" fmla="*/ 251194 h 841594"/>
                <a:gd name="connsiteX65" fmla="*/ 780761 w 1031207"/>
                <a:gd name="connsiteY65" fmla="*/ 213846 h 841594"/>
                <a:gd name="connsiteX66" fmla="*/ 744143 w 1031207"/>
                <a:gd name="connsiteY66" fmla="*/ 201789 h 841594"/>
                <a:gd name="connsiteX67" fmla="*/ 692139 w 1031207"/>
                <a:gd name="connsiteY67" fmla="*/ 226429 h 841594"/>
                <a:gd name="connsiteX68" fmla="*/ 654420 w 1031207"/>
                <a:gd name="connsiteY68" fmla="*/ 257626 h 841594"/>
                <a:gd name="connsiteX69" fmla="*/ 613743 w 1031207"/>
                <a:gd name="connsiteY69" fmla="*/ 286712 h 841594"/>
                <a:gd name="connsiteX70" fmla="*/ 562599 w 1031207"/>
                <a:gd name="connsiteY70" fmla="*/ 287389 h 841594"/>
                <a:gd name="connsiteX71" fmla="*/ 528309 w 1031207"/>
                <a:gd name="connsiteY71" fmla="*/ 274054 h 841594"/>
                <a:gd name="connsiteX72" fmla="*/ 505449 w 1031207"/>
                <a:gd name="connsiteY72" fmla="*/ 235954 h 841594"/>
                <a:gd name="connsiteX73" fmla="*/ 507354 w 1031207"/>
                <a:gd name="connsiteY73" fmla="*/ 171184 h 841594"/>
                <a:gd name="connsiteX74" fmla="*/ 506056 w 1031207"/>
                <a:gd name="connsiteY74" fmla="*/ 73485 h 841594"/>
                <a:gd name="connsiteX75" fmla="*/ 451858 w 1031207"/>
                <a:gd name="connsiteY75" fmla="*/ 11248 h 841594"/>
                <a:gd name="connsiteX76" fmla="*/ 440212 w 1031207"/>
                <a:gd name="connsiteY76" fmla="*/ 75864 h 841594"/>
                <a:gd name="connsiteX77" fmla="*/ 436968 w 1031207"/>
                <a:gd name="connsiteY77" fmla="*/ 132660 h 841594"/>
                <a:gd name="connsiteX78" fmla="*/ 433796 w 1031207"/>
                <a:gd name="connsiteY78" fmla="*/ 214465 h 841594"/>
                <a:gd name="connsiteX0" fmla="*/ 433796 w 1031207"/>
                <a:gd name="connsiteY0" fmla="*/ 214465 h 839740"/>
                <a:gd name="connsiteX1" fmla="*/ 421629 w 1031207"/>
                <a:gd name="connsiteY1" fmla="*/ 253099 h 839740"/>
                <a:gd name="connsiteX2" fmla="*/ 394959 w 1031207"/>
                <a:gd name="connsiteY2" fmla="*/ 262624 h 839740"/>
                <a:gd name="connsiteX3" fmla="*/ 356331 w 1031207"/>
                <a:gd name="connsiteY3" fmla="*/ 271935 h 839740"/>
                <a:gd name="connsiteX4" fmla="*/ 313044 w 1031207"/>
                <a:gd name="connsiteY4" fmla="*/ 289293 h 839740"/>
                <a:gd name="connsiteX5" fmla="*/ 265419 w 1031207"/>
                <a:gd name="connsiteY5" fmla="*/ 285484 h 839740"/>
                <a:gd name="connsiteX6" fmla="*/ 219699 w 1031207"/>
                <a:gd name="connsiteY6" fmla="*/ 272149 h 839740"/>
                <a:gd name="connsiteX7" fmla="*/ 189219 w 1031207"/>
                <a:gd name="connsiteY7" fmla="*/ 262624 h 839740"/>
                <a:gd name="connsiteX8" fmla="*/ 156834 w 1031207"/>
                <a:gd name="connsiteY8" fmla="*/ 239764 h 839740"/>
                <a:gd name="connsiteX9" fmla="*/ 122074 w 1031207"/>
                <a:gd name="connsiteY9" fmla="*/ 218050 h 839740"/>
                <a:gd name="connsiteX10" fmla="*/ 101589 w 1031207"/>
                <a:gd name="connsiteY10" fmla="*/ 203569 h 839740"/>
                <a:gd name="connsiteX11" fmla="*/ 59679 w 1031207"/>
                <a:gd name="connsiteY11" fmla="*/ 197854 h 839740"/>
                <a:gd name="connsiteX12" fmla="*/ 48331 w 1031207"/>
                <a:gd name="connsiteY12" fmla="*/ 241190 h 839740"/>
                <a:gd name="connsiteX13" fmla="*/ 63490 w 1031207"/>
                <a:gd name="connsiteY13" fmla="*/ 272150 h 839740"/>
                <a:gd name="connsiteX14" fmla="*/ 124449 w 1031207"/>
                <a:gd name="connsiteY14" fmla="*/ 289294 h 839740"/>
                <a:gd name="connsiteX15" fmla="*/ 191124 w 1031207"/>
                <a:gd name="connsiteY15" fmla="*/ 308344 h 839740"/>
                <a:gd name="connsiteX16" fmla="*/ 226553 w 1031207"/>
                <a:gd name="connsiteY16" fmla="*/ 323832 h 839740"/>
                <a:gd name="connsiteX17" fmla="*/ 291209 w 1031207"/>
                <a:gd name="connsiteY17" fmla="*/ 364030 h 839740"/>
                <a:gd name="connsiteX18" fmla="*/ 301013 w 1031207"/>
                <a:gd name="connsiteY18" fmla="*/ 410802 h 839740"/>
                <a:gd name="connsiteX19" fmla="*/ 263514 w 1031207"/>
                <a:gd name="connsiteY19" fmla="*/ 447409 h 839740"/>
                <a:gd name="connsiteX20" fmla="*/ 217240 w 1031207"/>
                <a:gd name="connsiteY20" fmla="*/ 459458 h 839740"/>
                <a:gd name="connsiteX21" fmla="*/ 136827 w 1031207"/>
                <a:gd name="connsiteY21" fmla="*/ 465397 h 839740"/>
                <a:gd name="connsiteX22" fmla="*/ 88254 w 1031207"/>
                <a:gd name="connsiteY22" fmla="*/ 468364 h 839740"/>
                <a:gd name="connsiteX23" fmla="*/ 27294 w 1031207"/>
                <a:gd name="connsiteY23" fmla="*/ 477889 h 839740"/>
                <a:gd name="connsiteX24" fmla="*/ 624 w 1031207"/>
                <a:gd name="connsiteY24" fmla="*/ 504559 h 839740"/>
                <a:gd name="connsiteX25" fmla="*/ 51344 w 1031207"/>
                <a:gd name="connsiteY25" fmla="*/ 547857 h 839740"/>
                <a:gd name="connsiteX26" fmla="*/ 153024 w 1031207"/>
                <a:gd name="connsiteY26" fmla="*/ 538849 h 839740"/>
                <a:gd name="connsiteX27" fmla="*/ 268163 w 1031207"/>
                <a:gd name="connsiteY27" fmla="*/ 519747 h 839740"/>
                <a:gd name="connsiteX28" fmla="*/ 351144 w 1031207"/>
                <a:gd name="connsiteY28" fmla="*/ 561709 h 839740"/>
                <a:gd name="connsiteX29" fmla="*/ 362574 w 1031207"/>
                <a:gd name="connsiteY29" fmla="*/ 609334 h 839740"/>
                <a:gd name="connsiteX30" fmla="*/ 330189 w 1031207"/>
                <a:gd name="connsiteY30" fmla="*/ 704584 h 839740"/>
                <a:gd name="connsiteX31" fmla="*/ 328284 w 1031207"/>
                <a:gd name="connsiteY31" fmla="*/ 756019 h 839740"/>
                <a:gd name="connsiteX32" fmla="*/ 330189 w 1031207"/>
                <a:gd name="connsiteY32" fmla="*/ 780784 h 839740"/>
                <a:gd name="connsiteX33" fmla="*/ 332094 w 1031207"/>
                <a:gd name="connsiteY33" fmla="*/ 786499 h 839740"/>
                <a:gd name="connsiteX34" fmla="*/ 335904 w 1031207"/>
                <a:gd name="connsiteY34" fmla="*/ 790309 h 839740"/>
                <a:gd name="connsiteX35" fmla="*/ 355316 w 1031207"/>
                <a:gd name="connsiteY35" fmla="*/ 827377 h 839740"/>
                <a:gd name="connsiteX36" fmla="*/ 387339 w 1031207"/>
                <a:gd name="connsiteY36" fmla="*/ 837934 h 839740"/>
                <a:gd name="connsiteX37" fmla="*/ 400674 w 1031207"/>
                <a:gd name="connsiteY37" fmla="*/ 784594 h 839740"/>
                <a:gd name="connsiteX38" fmla="*/ 404484 w 1031207"/>
                <a:gd name="connsiteY38" fmla="*/ 727444 h 839740"/>
                <a:gd name="connsiteX39" fmla="*/ 421629 w 1031207"/>
                <a:gd name="connsiteY39" fmla="*/ 672199 h 839740"/>
                <a:gd name="connsiteX40" fmla="*/ 462031 w 1031207"/>
                <a:gd name="connsiteY40" fmla="*/ 600072 h 839740"/>
                <a:gd name="connsiteX41" fmla="*/ 521252 w 1031207"/>
                <a:gd name="connsiteY41" fmla="*/ 565123 h 839740"/>
                <a:gd name="connsiteX42" fmla="*/ 597090 w 1031207"/>
                <a:gd name="connsiteY42" fmla="*/ 550915 h 839740"/>
                <a:gd name="connsiteX43" fmla="*/ 705543 w 1031207"/>
                <a:gd name="connsiteY43" fmla="*/ 612819 h 839740"/>
                <a:gd name="connsiteX44" fmla="*/ 777864 w 1031207"/>
                <a:gd name="connsiteY44" fmla="*/ 656959 h 839740"/>
                <a:gd name="connsiteX45" fmla="*/ 802629 w 1031207"/>
                <a:gd name="connsiteY45" fmla="*/ 632194 h 839740"/>
                <a:gd name="connsiteX46" fmla="*/ 798819 w 1031207"/>
                <a:gd name="connsiteY46" fmla="*/ 601714 h 839740"/>
                <a:gd name="connsiteX47" fmla="*/ 760538 w 1031207"/>
                <a:gd name="connsiteY47" fmla="*/ 562523 h 839740"/>
                <a:gd name="connsiteX48" fmla="*/ 648324 w 1031207"/>
                <a:gd name="connsiteY48" fmla="*/ 479794 h 839740"/>
                <a:gd name="connsiteX49" fmla="*/ 644514 w 1031207"/>
                <a:gd name="connsiteY49" fmla="*/ 462649 h 839740"/>
                <a:gd name="connsiteX50" fmla="*/ 655944 w 1031207"/>
                <a:gd name="connsiteY50" fmla="*/ 426454 h 839740"/>
                <a:gd name="connsiteX51" fmla="*/ 724524 w 1031207"/>
                <a:gd name="connsiteY51" fmla="*/ 405499 h 839740"/>
                <a:gd name="connsiteX52" fmla="*/ 811480 w 1031207"/>
                <a:gd name="connsiteY52" fmla="*/ 406906 h 839740"/>
                <a:gd name="connsiteX53" fmla="*/ 903973 w 1031207"/>
                <a:gd name="connsiteY53" fmla="*/ 417646 h 839740"/>
                <a:gd name="connsiteX54" fmla="*/ 1000032 w 1031207"/>
                <a:gd name="connsiteY54" fmla="*/ 426835 h 839740"/>
                <a:gd name="connsiteX55" fmla="*/ 1030191 w 1031207"/>
                <a:gd name="connsiteY55" fmla="*/ 402711 h 839740"/>
                <a:gd name="connsiteX56" fmla="*/ 1018256 w 1031207"/>
                <a:gd name="connsiteY56" fmla="*/ 377797 h 839740"/>
                <a:gd name="connsiteX57" fmla="*/ 962631 w 1031207"/>
                <a:gd name="connsiteY57" fmla="*/ 358029 h 839740"/>
                <a:gd name="connsiteX58" fmla="*/ 825489 w 1031207"/>
                <a:gd name="connsiteY58" fmla="*/ 357874 h 839740"/>
                <a:gd name="connsiteX59" fmla="*/ 753553 w 1031207"/>
                <a:gd name="connsiteY59" fmla="*/ 361702 h 839740"/>
                <a:gd name="connsiteX60" fmla="*/ 669279 w 1031207"/>
                <a:gd name="connsiteY60" fmla="*/ 369304 h 839740"/>
                <a:gd name="connsiteX61" fmla="*/ 642609 w 1031207"/>
                <a:gd name="connsiteY61" fmla="*/ 338824 h 839740"/>
                <a:gd name="connsiteX62" fmla="*/ 674145 w 1031207"/>
                <a:gd name="connsiteY62" fmla="*/ 304962 h 839740"/>
                <a:gd name="connsiteX63" fmla="*/ 705474 w 1031207"/>
                <a:gd name="connsiteY63" fmla="*/ 283579 h 839740"/>
                <a:gd name="connsiteX64" fmla="*/ 741669 w 1031207"/>
                <a:gd name="connsiteY64" fmla="*/ 251194 h 839740"/>
                <a:gd name="connsiteX65" fmla="*/ 780761 w 1031207"/>
                <a:gd name="connsiteY65" fmla="*/ 213846 h 839740"/>
                <a:gd name="connsiteX66" fmla="*/ 744143 w 1031207"/>
                <a:gd name="connsiteY66" fmla="*/ 201789 h 839740"/>
                <a:gd name="connsiteX67" fmla="*/ 692139 w 1031207"/>
                <a:gd name="connsiteY67" fmla="*/ 226429 h 839740"/>
                <a:gd name="connsiteX68" fmla="*/ 654420 w 1031207"/>
                <a:gd name="connsiteY68" fmla="*/ 257626 h 839740"/>
                <a:gd name="connsiteX69" fmla="*/ 613743 w 1031207"/>
                <a:gd name="connsiteY69" fmla="*/ 286712 h 839740"/>
                <a:gd name="connsiteX70" fmla="*/ 562599 w 1031207"/>
                <a:gd name="connsiteY70" fmla="*/ 287389 h 839740"/>
                <a:gd name="connsiteX71" fmla="*/ 528309 w 1031207"/>
                <a:gd name="connsiteY71" fmla="*/ 274054 h 839740"/>
                <a:gd name="connsiteX72" fmla="*/ 505449 w 1031207"/>
                <a:gd name="connsiteY72" fmla="*/ 235954 h 839740"/>
                <a:gd name="connsiteX73" fmla="*/ 507354 w 1031207"/>
                <a:gd name="connsiteY73" fmla="*/ 171184 h 839740"/>
                <a:gd name="connsiteX74" fmla="*/ 506056 w 1031207"/>
                <a:gd name="connsiteY74" fmla="*/ 73485 h 839740"/>
                <a:gd name="connsiteX75" fmla="*/ 451858 w 1031207"/>
                <a:gd name="connsiteY75" fmla="*/ 11248 h 839740"/>
                <a:gd name="connsiteX76" fmla="*/ 440212 w 1031207"/>
                <a:gd name="connsiteY76" fmla="*/ 75864 h 839740"/>
                <a:gd name="connsiteX77" fmla="*/ 436968 w 1031207"/>
                <a:gd name="connsiteY77" fmla="*/ 132660 h 839740"/>
                <a:gd name="connsiteX78" fmla="*/ 433796 w 1031207"/>
                <a:gd name="connsiteY78" fmla="*/ 214465 h 839740"/>
                <a:gd name="connsiteX0" fmla="*/ 433796 w 1031207"/>
                <a:gd name="connsiteY0" fmla="*/ 214465 h 840498"/>
                <a:gd name="connsiteX1" fmla="*/ 421629 w 1031207"/>
                <a:gd name="connsiteY1" fmla="*/ 253099 h 840498"/>
                <a:gd name="connsiteX2" fmla="*/ 394959 w 1031207"/>
                <a:gd name="connsiteY2" fmla="*/ 262624 h 840498"/>
                <a:gd name="connsiteX3" fmla="*/ 356331 w 1031207"/>
                <a:gd name="connsiteY3" fmla="*/ 271935 h 840498"/>
                <a:gd name="connsiteX4" fmla="*/ 313044 w 1031207"/>
                <a:gd name="connsiteY4" fmla="*/ 289293 h 840498"/>
                <a:gd name="connsiteX5" fmla="*/ 265419 w 1031207"/>
                <a:gd name="connsiteY5" fmla="*/ 285484 h 840498"/>
                <a:gd name="connsiteX6" fmla="*/ 219699 w 1031207"/>
                <a:gd name="connsiteY6" fmla="*/ 272149 h 840498"/>
                <a:gd name="connsiteX7" fmla="*/ 189219 w 1031207"/>
                <a:gd name="connsiteY7" fmla="*/ 262624 h 840498"/>
                <a:gd name="connsiteX8" fmla="*/ 156834 w 1031207"/>
                <a:gd name="connsiteY8" fmla="*/ 239764 h 840498"/>
                <a:gd name="connsiteX9" fmla="*/ 122074 w 1031207"/>
                <a:gd name="connsiteY9" fmla="*/ 218050 h 840498"/>
                <a:gd name="connsiteX10" fmla="*/ 101589 w 1031207"/>
                <a:gd name="connsiteY10" fmla="*/ 203569 h 840498"/>
                <a:gd name="connsiteX11" fmla="*/ 59679 w 1031207"/>
                <a:gd name="connsiteY11" fmla="*/ 197854 h 840498"/>
                <a:gd name="connsiteX12" fmla="*/ 48331 w 1031207"/>
                <a:gd name="connsiteY12" fmla="*/ 241190 h 840498"/>
                <a:gd name="connsiteX13" fmla="*/ 63490 w 1031207"/>
                <a:gd name="connsiteY13" fmla="*/ 272150 h 840498"/>
                <a:gd name="connsiteX14" fmla="*/ 124449 w 1031207"/>
                <a:gd name="connsiteY14" fmla="*/ 289294 h 840498"/>
                <a:gd name="connsiteX15" fmla="*/ 191124 w 1031207"/>
                <a:gd name="connsiteY15" fmla="*/ 308344 h 840498"/>
                <a:gd name="connsiteX16" fmla="*/ 226553 w 1031207"/>
                <a:gd name="connsiteY16" fmla="*/ 323832 h 840498"/>
                <a:gd name="connsiteX17" fmla="*/ 291209 w 1031207"/>
                <a:gd name="connsiteY17" fmla="*/ 364030 h 840498"/>
                <a:gd name="connsiteX18" fmla="*/ 301013 w 1031207"/>
                <a:gd name="connsiteY18" fmla="*/ 410802 h 840498"/>
                <a:gd name="connsiteX19" fmla="*/ 263514 w 1031207"/>
                <a:gd name="connsiteY19" fmla="*/ 447409 h 840498"/>
                <a:gd name="connsiteX20" fmla="*/ 217240 w 1031207"/>
                <a:gd name="connsiteY20" fmla="*/ 459458 h 840498"/>
                <a:gd name="connsiteX21" fmla="*/ 136827 w 1031207"/>
                <a:gd name="connsiteY21" fmla="*/ 465397 h 840498"/>
                <a:gd name="connsiteX22" fmla="*/ 88254 w 1031207"/>
                <a:gd name="connsiteY22" fmla="*/ 468364 h 840498"/>
                <a:gd name="connsiteX23" fmla="*/ 27294 w 1031207"/>
                <a:gd name="connsiteY23" fmla="*/ 477889 h 840498"/>
                <a:gd name="connsiteX24" fmla="*/ 624 w 1031207"/>
                <a:gd name="connsiteY24" fmla="*/ 504559 h 840498"/>
                <a:gd name="connsiteX25" fmla="*/ 51344 w 1031207"/>
                <a:gd name="connsiteY25" fmla="*/ 547857 h 840498"/>
                <a:gd name="connsiteX26" fmla="*/ 153024 w 1031207"/>
                <a:gd name="connsiteY26" fmla="*/ 538849 h 840498"/>
                <a:gd name="connsiteX27" fmla="*/ 268163 w 1031207"/>
                <a:gd name="connsiteY27" fmla="*/ 519747 h 840498"/>
                <a:gd name="connsiteX28" fmla="*/ 351144 w 1031207"/>
                <a:gd name="connsiteY28" fmla="*/ 561709 h 840498"/>
                <a:gd name="connsiteX29" fmla="*/ 362574 w 1031207"/>
                <a:gd name="connsiteY29" fmla="*/ 609334 h 840498"/>
                <a:gd name="connsiteX30" fmla="*/ 330189 w 1031207"/>
                <a:gd name="connsiteY30" fmla="*/ 704584 h 840498"/>
                <a:gd name="connsiteX31" fmla="*/ 328284 w 1031207"/>
                <a:gd name="connsiteY31" fmla="*/ 756019 h 840498"/>
                <a:gd name="connsiteX32" fmla="*/ 330189 w 1031207"/>
                <a:gd name="connsiteY32" fmla="*/ 780784 h 840498"/>
                <a:gd name="connsiteX33" fmla="*/ 332094 w 1031207"/>
                <a:gd name="connsiteY33" fmla="*/ 786499 h 840498"/>
                <a:gd name="connsiteX34" fmla="*/ 355316 w 1031207"/>
                <a:gd name="connsiteY34" fmla="*/ 827377 h 840498"/>
                <a:gd name="connsiteX35" fmla="*/ 387339 w 1031207"/>
                <a:gd name="connsiteY35" fmla="*/ 837934 h 840498"/>
                <a:gd name="connsiteX36" fmla="*/ 400674 w 1031207"/>
                <a:gd name="connsiteY36" fmla="*/ 784594 h 840498"/>
                <a:gd name="connsiteX37" fmla="*/ 404484 w 1031207"/>
                <a:gd name="connsiteY37" fmla="*/ 727444 h 840498"/>
                <a:gd name="connsiteX38" fmla="*/ 421629 w 1031207"/>
                <a:gd name="connsiteY38" fmla="*/ 672199 h 840498"/>
                <a:gd name="connsiteX39" fmla="*/ 462031 w 1031207"/>
                <a:gd name="connsiteY39" fmla="*/ 600072 h 840498"/>
                <a:gd name="connsiteX40" fmla="*/ 521252 w 1031207"/>
                <a:gd name="connsiteY40" fmla="*/ 565123 h 840498"/>
                <a:gd name="connsiteX41" fmla="*/ 597090 w 1031207"/>
                <a:gd name="connsiteY41" fmla="*/ 550915 h 840498"/>
                <a:gd name="connsiteX42" fmla="*/ 705543 w 1031207"/>
                <a:gd name="connsiteY42" fmla="*/ 612819 h 840498"/>
                <a:gd name="connsiteX43" fmla="*/ 777864 w 1031207"/>
                <a:gd name="connsiteY43" fmla="*/ 656959 h 840498"/>
                <a:gd name="connsiteX44" fmla="*/ 802629 w 1031207"/>
                <a:gd name="connsiteY44" fmla="*/ 632194 h 840498"/>
                <a:gd name="connsiteX45" fmla="*/ 798819 w 1031207"/>
                <a:gd name="connsiteY45" fmla="*/ 601714 h 840498"/>
                <a:gd name="connsiteX46" fmla="*/ 760538 w 1031207"/>
                <a:gd name="connsiteY46" fmla="*/ 562523 h 840498"/>
                <a:gd name="connsiteX47" fmla="*/ 648324 w 1031207"/>
                <a:gd name="connsiteY47" fmla="*/ 479794 h 840498"/>
                <a:gd name="connsiteX48" fmla="*/ 644514 w 1031207"/>
                <a:gd name="connsiteY48" fmla="*/ 462649 h 840498"/>
                <a:gd name="connsiteX49" fmla="*/ 655944 w 1031207"/>
                <a:gd name="connsiteY49" fmla="*/ 426454 h 840498"/>
                <a:gd name="connsiteX50" fmla="*/ 724524 w 1031207"/>
                <a:gd name="connsiteY50" fmla="*/ 405499 h 840498"/>
                <a:gd name="connsiteX51" fmla="*/ 811480 w 1031207"/>
                <a:gd name="connsiteY51" fmla="*/ 406906 h 840498"/>
                <a:gd name="connsiteX52" fmla="*/ 903973 w 1031207"/>
                <a:gd name="connsiteY52" fmla="*/ 417646 h 840498"/>
                <a:gd name="connsiteX53" fmla="*/ 1000032 w 1031207"/>
                <a:gd name="connsiteY53" fmla="*/ 426835 h 840498"/>
                <a:gd name="connsiteX54" fmla="*/ 1030191 w 1031207"/>
                <a:gd name="connsiteY54" fmla="*/ 402711 h 840498"/>
                <a:gd name="connsiteX55" fmla="*/ 1018256 w 1031207"/>
                <a:gd name="connsiteY55" fmla="*/ 377797 h 840498"/>
                <a:gd name="connsiteX56" fmla="*/ 962631 w 1031207"/>
                <a:gd name="connsiteY56" fmla="*/ 358029 h 840498"/>
                <a:gd name="connsiteX57" fmla="*/ 825489 w 1031207"/>
                <a:gd name="connsiteY57" fmla="*/ 357874 h 840498"/>
                <a:gd name="connsiteX58" fmla="*/ 753553 w 1031207"/>
                <a:gd name="connsiteY58" fmla="*/ 361702 h 840498"/>
                <a:gd name="connsiteX59" fmla="*/ 669279 w 1031207"/>
                <a:gd name="connsiteY59" fmla="*/ 369304 h 840498"/>
                <a:gd name="connsiteX60" fmla="*/ 642609 w 1031207"/>
                <a:gd name="connsiteY60" fmla="*/ 338824 h 840498"/>
                <a:gd name="connsiteX61" fmla="*/ 674145 w 1031207"/>
                <a:gd name="connsiteY61" fmla="*/ 304962 h 840498"/>
                <a:gd name="connsiteX62" fmla="*/ 705474 w 1031207"/>
                <a:gd name="connsiteY62" fmla="*/ 283579 h 840498"/>
                <a:gd name="connsiteX63" fmla="*/ 741669 w 1031207"/>
                <a:gd name="connsiteY63" fmla="*/ 251194 h 840498"/>
                <a:gd name="connsiteX64" fmla="*/ 780761 w 1031207"/>
                <a:gd name="connsiteY64" fmla="*/ 213846 h 840498"/>
                <a:gd name="connsiteX65" fmla="*/ 744143 w 1031207"/>
                <a:gd name="connsiteY65" fmla="*/ 201789 h 840498"/>
                <a:gd name="connsiteX66" fmla="*/ 692139 w 1031207"/>
                <a:gd name="connsiteY66" fmla="*/ 226429 h 840498"/>
                <a:gd name="connsiteX67" fmla="*/ 654420 w 1031207"/>
                <a:gd name="connsiteY67" fmla="*/ 257626 h 840498"/>
                <a:gd name="connsiteX68" fmla="*/ 613743 w 1031207"/>
                <a:gd name="connsiteY68" fmla="*/ 286712 h 840498"/>
                <a:gd name="connsiteX69" fmla="*/ 562599 w 1031207"/>
                <a:gd name="connsiteY69" fmla="*/ 287389 h 840498"/>
                <a:gd name="connsiteX70" fmla="*/ 528309 w 1031207"/>
                <a:gd name="connsiteY70" fmla="*/ 274054 h 840498"/>
                <a:gd name="connsiteX71" fmla="*/ 505449 w 1031207"/>
                <a:gd name="connsiteY71" fmla="*/ 235954 h 840498"/>
                <a:gd name="connsiteX72" fmla="*/ 507354 w 1031207"/>
                <a:gd name="connsiteY72" fmla="*/ 171184 h 840498"/>
                <a:gd name="connsiteX73" fmla="*/ 506056 w 1031207"/>
                <a:gd name="connsiteY73" fmla="*/ 73485 h 840498"/>
                <a:gd name="connsiteX74" fmla="*/ 451858 w 1031207"/>
                <a:gd name="connsiteY74" fmla="*/ 11248 h 840498"/>
                <a:gd name="connsiteX75" fmla="*/ 440212 w 1031207"/>
                <a:gd name="connsiteY75" fmla="*/ 75864 h 840498"/>
                <a:gd name="connsiteX76" fmla="*/ 436968 w 1031207"/>
                <a:gd name="connsiteY76" fmla="*/ 132660 h 840498"/>
                <a:gd name="connsiteX77" fmla="*/ 433796 w 1031207"/>
                <a:gd name="connsiteY77" fmla="*/ 214465 h 840498"/>
                <a:gd name="connsiteX0" fmla="*/ 433796 w 1031207"/>
                <a:gd name="connsiteY0" fmla="*/ 214465 h 840498"/>
                <a:gd name="connsiteX1" fmla="*/ 421629 w 1031207"/>
                <a:gd name="connsiteY1" fmla="*/ 253099 h 840498"/>
                <a:gd name="connsiteX2" fmla="*/ 394959 w 1031207"/>
                <a:gd name="connsiteY2" fmla="*/ 262624 h 840498"/>
                <a:gd name="connsiteX3" fmla="*/ 356331 w 1031207"/>
                <a:gd name="connsiteY3" fmla="*/ 271935 h 840498"/>
                <a:gd name="connsiteX4" fmla="*/ 313044 w 1031207"/>
                <a:gd name="connsiteY4" fmla="*/ 289293 h 840498"/>
                <a:gd name="connsiteX5" fmla="*/ 265419 w 1031207"/>
                <a:gd name="connsiteY5" fmla="*/ 285484 h 840498"/>
                <a:gd name="connsiteX6" fmla="*/ 219699 w 1031207"/>
                <a:gd name="connsiteY6" fmla="*/ 272149 h 840498"/>
                <a:gd name="connsiteX7" fmla="*/ 189219 w 1031207"/>
                <a:gd name="connsiteY7" fmla="*/ 262624 h 840498"/>
                <a:gd name="connsiteX8" fmla="*/ 156834 w 1031207"/>
                <a:gd name="connsiteY8" fmla="*/ 239764 h 840498"/>
                <a:gd name="connsiteX9" fmla="*/ 122074 w 1031207"/>
                <a:gd name="connsiteY9" fmla="*/ 218050 h 840498"/>
                <a:gd name="connsiteX10" fmla="*/ 101589 w 1031207"/>
                <a:gd name="connsiteY10" fmla="*/ 203569 h 840498"/>
                <a:gd name="connsiteX11" fmla="*/ 59679 w 1031207"/>
                <a:gd name="connsiteY11" fmla="*/ 197854 h 840498"/>
                <a:gd name="connsiteX12" fmla="*/ 48331 w 1031207"/>
                <a:gd name="connsiteY12" fmla="*/ 241190 h 840498"/>
                <a:gd name="connsiteX13" fmla="*/ 63490 w 1031207"/>
                <a:gd name="connsiteY13" fmla="*/ 272150 h 840498"/>
                <a:gd name="connsiteX14" fmla="*/ 124449 w 1031207"/>
                <a:gd name="connsiteY14" fmla="*/ 289294 h 840498"/>
                <a:gd name="connsiteX15" fmla="*/ 191124 w 1031207"/>
                <a:gd name="connsiteY15" fmla="*/ 308344 h 840498"/>
                <a:gd name="connsiteX16" fmla="*/ 226553 w 1031207"/>
                <a:gd name="connsiteY16" fmla="*/ 323832 h 840498"/>
                <a:gd name="connsiteX17" fmla="*/ 291209 w 1031207"/>
                <a:gd name="connsiteY17" fmla="*/ 364030 h 840498"/>
                <a:gd name="connsiteX18" fmla="*/ 301013 w 1031207"/>
                <a:gd name="connsiteY18" fmla="*/ 410802 h 840498"/>
                <a:gd name="connsiteX19" fmla="*/ 263514 w 1031207"/>
                <a:gd name="connsiteY19" fmla="*/ 447409 h 840498"/>
                <a:gd name="connsiteX20" fmla="*/ 217240 w 1031207"/>
                <a:gd name="connsiteY20" fmla="*/ 459458 h 840498"/>
                <a:gd name="connsiteX21" fmla="*/ 136827 w 1031207"/>
                <a:gd name="connsiteY21" fmla="*/ 465397 h 840498"/>
                <a:gd name="connsiteX22" fmla="*/ 88254 w 1031207"/>
                <a:gd name="connsiteY22" fmla="*/ 468364 h 840498"/>
                <a:gd name="connsiteX23" fmla="*/ 27294 w 1031207"/>
                <a:gd name="connsiteY23" fmla="*/ 477889 h 840498"/>
                <a:gd name="connsiteX24" fmla="*/ 624 w 1031207"/>
                <a:gd name="connsiteY24" fmla="*/ 504559 h 840498"/>
                <a:gd name="connsiteX25" fmla="*/ 51344 w 1031207"/>
                <a:gd name="connsiteY25" fmla="*/ 547857 h 840498"/>
                <a:gd name="connsiteX26" fmla="*/ 153024 w 1031207"/>
                <a:gd name="connsiteY26" fmla="*/ 538849 h 840498"/>
                <a:gd name="connsiteX27" fmla="*/ 268163 w 1031207"/>
                <a:gd name="connsiteY27" fmla="*/ 519747 h 840498"/>
                <a:gd name="connsiteX28" fmla="*/ 351144 w 1031207"/>
                <a:gd name="connsiteY28" fmla="*/ 561709 h 840498"/>
                <a:gd name="connsiteX29" fmla="*/ 362574 w 1031207"/>
                <a:gd name="connsiteY29" fmla="*/ 609334 h 840498"/>
                <a:gd name="connsiteX30" fmla="*/ 328284 w 1031207"/>
                <a:gd name="connsiteY30" fmla="*/ 756019 h 840498"/>
                <a:gd name="connsiteX31" fmla="*/ 330189 w 1031207"/>
                <a:gd name="connsiteY31" fmla="*/ 780784 h 840498"/>
                <a:gd name="connsiteX32" fmla="*/ 332094 w 1031207"/>
                <a:gd name="connsiteY32" fmla="*/ 786499 h 840498"/>
                <a:gd name="connsiteX33" fmla="*/ 355316 w 1031207"/>
                <a:gd name="connsiteY33" fmla="*/ 827377 h 840498"/>
                <a:gd name="connsiteX34" fmla="*/ 387339 w 1031207"/>
                <a:gd name="connsiteY34" fmla="*/ 837934 h 840498"/>
                <a:gd name="connsiteX35" fmla="*/ 400674 w 1031207"/>
                <a:gd name="connsiteY35" fmla="*/ 784594 h 840498"/>
                <a:gd name="connsiteX36" fmla="*/ 404484 w 1031207"/>
                <a:gd name="connsiteY36" fmla="*/ 727444 h 840498"/>
                <a:gd name="connsiteX37" fmla="*/ 421629 w 1031207"/>
                <a:gd name="connsiteY37" fmla="*/ 672199 h 840498"/>
                <a:gd name="connsiteX38" fmla="*/ 462031 w 1031207"/>
                <a:gd name="connsiteY38" fmla="*/ 600072 h 840498"/>
                <a:gd name="connsiteX39" fmla="*/ 521252 w 1031207"/>
                <a:gd name="connsiteY39" fmla="*/ 565123 h 840498"/>
                <a:gd name="connsiteX40" fmla="*/ 597090 w 1031207"/>
                <a:gd name="connsiteY40" fmla="*/ 550915 h 840498"/>
                <a:gd name="connsiteX41" fmla="*/ 705543 w 1031207"/>
                <a:gd name="connsiteY41" fmla="*/ 612819 h 840498"/>
                <a:gd name="connsiteX42" fmla="*/ 777864 w 1031207"/>
                <a:gd name="connsiteY42" fmla="*/ 656959 h 840498"/>
                <a:gd name="connsiteX43" fmla="*/ 802629 w 1031207"/>
                <a:gd name="connsiteY43" fmla="*/ 632194 h 840498"/>
                <a:gd name="connsiteX44" fmla="*/ 798819 w 1031207"/>
                <a:gd name="connsiteY44" fmla="*/ 601714 h 840498"/>
                <a:gd name="connsiteX45" fmla="*/ 760538 w 1031207"/>
                <a:gd name="connsiteY45" fmla="*/ 562523 h 840498"/>
                <a:gd name="connsiteX46" fmla="*/ 648324 w 1031207"/>
                <a:gd name="connsiteY46" fmla="*/ 479794 h 840498"/>
                <a:gd name="connsiteX47" fmla="*/ 644514 w 1031207"/>
                <a:gd name="connsiteY47" fmla="*/ 462649 h 840498"/>
                <a:gd name="connsiteX48" fmla="*/ 655944 w 1031207"/>
                <a:gd name="connsiteY48" fmla="*/ 426454 h 840498"/>
                <a:gd name="connsiteX49" fmla="*/ 724524 w 1031207"/>
                <a:gd name="connsiteY49" fmla="*/ 405499 h 840498"/>
                <a:gd name="connsiteX50" fmla="*/ 811480 w 1031207"/>
                <a:gd name="connsiteY50" fmla="*/ 406906 h 840498"/>
                <a:gd name="connsiteX51" fmla="*/ 903973 w 1031207"/>
                <a:gd name="connsiteY51" fmla="*/ 417646 h 840498"/>
                <a:gd name="connsiteX52" fmla="*/ 1000032 w 1031207"/>
                <a:gd name="connsiteY52" fmla="*/ 426835 h 840498"/>
                <a:gd name="connsiteX53" fmla="*/ 1030191 w 1031207"/>
                <a:gd name="connsiteY53" fmla="*/ 402711 h 840498"/>
                <a:gd name="connsiteX54" fmla="*/ 1018256 w 1031207"/>
                <a:gd name="connsiteY54" fmla="*/ 377797 h 840498"/>
                <a:gd name="connsiteX55" fmla="*/ 962631 w 1031207"/>
                <a:gd name="connsiteY55" fmla="*/ 358029 h 840498"/>
                <a:gd name="connsiteX56" fmla="*/ 825489 w 1031207"/>
                <a:gd name="connsiteY56" fmla="*/ 357874 h 840498"/>
                <a:gd name="connsiteX57" fmla="*/ 753553 w 1031207"/>
                <a:gd name="connsiteY57" fmla="*/ 361702 h 840498"/>
                <a:gd name="connsiteX58" fmla="*/ 669279 w 1031207"/>
                <a:gd name="connsiteY58" fmla="*/ 369304 h 840498"/>
                <a:gd name="connsiteX59" fmla="*/ 642609 w 1031207"/>
                <a:gd name="connsiteY59" fmla="*/ 338824 h 840498"/>
                <a:gd name="connsiteX60" fmla="*/ 674145 w 1031207"/>
                <a:gd name="connsiteY60" fmla="*/ 304962 h 840498"/>
                <a:gd name="connsiteX61" fmla="*/ 705474 w 1031207"/>
                <a:gd name="connsiteY61" fmla="*/ 283579 h 840498"/>
                <a:gd name="connsiteX62" fmla="*/ 741669 w 1031207"/>
                <a:gd name="connsiteY62" fmla="*/ 251194 h 840498"/>
                <a:gd name="connsiteX63" fmla="*/ 780761 w 1031207"/>
                <a:gd name="connsiteY63" fmla="*/ 213846 h 840498"/>
                <a:gd name="connsiteX64" fmla="*/ 744143 w 1031207"/>
                <a:gd name="connsiteY64" fmla="*/ 201789 h 840498"/>
                <a:gd name="connsiteX65" fmla="*/ 692139 w 1031207"/>
                <a:gd name="connsiteY65" fmla="*/ 226429 h 840498"/>
                <a:gd name="connsiteX66" fmla="*/ 654420 w 1031207"/>
                <a:gd name="connsiteY66" fmla="*/ 257626 h 840498"/>
                <a:gd name="connsiteX67" fmla="*/ 613743 w 1031207"/>
                <a:gd name="connsiteY67" fmla="*/ 286712 h 840498"/>
                <a:gd name="connsiteX68" fmla="*/ 562599 w 1031207"/>
                <a:gd name="connsiteY68" fmla="*/ 287389 h 840498"/>
                <a:gd name="connsiteX69" fmla="*/ 528309 w 1031207"/>
                <a:gd name="connsiteY69" fmla="*/ 274054 h 840498"/>
                <a:gd name="connsiteX70" fmla="*/ 505449 w 1031207"/>
                <a:gd name="connsiteY70" fmla="*/ 235954 h 840498"/>
                <a:gd name="connsiteX71" fmla="*/ 507354 w 1031207"/>
                <a:gd name="connsiteY71" fmla="*/ 171184 h 840498"/>
                <a:gd name="connsiteX72" fmla="*/ 506056 w 1031207"/>
                <a:gd name="connsiteY72" fmla="*/ 73485 h 840498"/>
                <a:gd name="connsiteX73" fmla="*/ 451858 w 1031207"/>
                <a:gd name="connsiteY73" fmla="*/ 11248 h 840498"/>
                <a:gd name="connsiteX74" fmla="*/ 440212 w 1031207"/>
                <a:gd name="connsiteY74" fmla="*/ 75864 h 840498"/>
                <a:gd name="connsiteX75" fmla="*/ 436968 w 1031207"/>
                <a:gd name="connsiteY75" fmla="*/ 132660 h 840498"/>
                <a:gd name="connsiteX76" fmla="*/ 433796 w 1031207"/>
                <a:gd name="connsiteY76" fmla="*/ 214465 h 840498"/>
                <a:gd name="connsiteX0" fmla="*/ 433796 w 1031207"/>
                <a:gd name="connsiteY0" fmla="*/ 214465 h 840639"/>
                <a:gd name="connsiteX1" fmla="*/ 421629 w 1031207"/>
                <a:gd name="connsiteY1" fmla="*/ 253099 h 840639"/>
                <a:gd name="connsiteX2" fmla="*/ 394959 w 1031207"/>
                <a:gd name="connsiteY2" fmla="*/ 262624 h 840639"/>
                <a:gd name="connsiteX3" fmla="*/ 356331 w 1031207"/>
                <a:gd name="connsiteY3" fmla="*/ 271935 h 840639"/>
                <a:gd name="connsiteX4" fmla="*/ 313044 w 1031207"/>
                <a:gd name="connsiteY4" fmla="*/ 289293 h 840639"/>
                <a:gd name="connsiteX5" fmla="*/ 265419 w 1031207"/>
                <a:gd name="connsiteY5" fmla="*/ 285484 h 840639"/>
                <a:gd name="connsiteX6" fmla="*/ 219699 w 1031207"/>
                <a:gd name="connsiteY6" fmla="*/ 272149 h 840639"/>
                <a:gd name="connsiteX7" fmla="*/ 189219 w 1031207"/>
                <a:gd name="connsiteY7" fmla="*/ 262624 h 840639"/>
                <a:gd name="connsiteX8" fmla="*/ 156834 w 1031207"/>
                <a:gd name="connsiteY8" fmla="*/ 239764 h 840639"/>
                <a:gd name="connsiteX9" fmla="*/ 122074 w 1031207"/>
                <a:gd name="connsiteY9" fmla="*/ 218050 h 840639"/>
                <a:gd name="connsiteX10" fmla="*/ 101589 w 1031207"/>
                <a:gd name="connsiteY10" fmla="*/ 203569 h 840639"/>
                <a:gd name="connsiteX11" fmla="*/ 59679 w 1031207"/>
                <a:gd name="connsiteY11" fmla="*/ 197854 h 840639"/>
                <a:gd name="connsiteX12" fmla="*/ 48331 w 1031207"/>
                <a:gd name="connsiteY12" fmla="*/ 241190 h 840639"/>
                <a:gd name="connsiteX13" fmla="*/ 63490 w 1031207"/>
                <a:gd name="connsiteY13" fmla="*/ 272150 h 840639"/>
                <a:gd name="connsiteX14" fmla="*/ 124449 w 1031207"/>
                <a:gd name="connsiteY14" fmla="*/ 289294 h 840639"/>
                <a:gd name="connsiteX15" fmla="*/ 191124 w 1031207"/>
                <a:gd name="connsiteY15" fmla="*/ 308344 h 840639"/>
                <a:gd name="connsiteX16" fmla="*/ 226553 w 1031207"/>
                <a:gd name="connsiteY16" fmla="*/ 323832 h 840639"/>
                <a:gd name="connsiteX17" fmla="*/ 291209 w 1031207"/>
                <a:gd name="connsiteY17" fmla="*/ 364030 h 840639"/>
                <a:gd name="connsiteX18" fmla="*/ 301013 w 1031207"/>
                <a:gd name="connsiteY18" fmla="*/ 410802 h 840639"/>
                <a:gd name="connsiteX19" fmla="*/ 263514 w 1031207"/>
                <a:gd name="connsiteY19" fmla="*/ 447409 h 840639"/>
                <a:gd name="connsiteX20" fmla="*/ 217240 w 1031207"/>
                <a:gd name="connsiteY20" fmla="*/ 459458 h 840639"/>
                <a:gd name="connsiteX21" fmla="*/ 136827 w 1031207"/>
                <a:gd name="connsiteY21" fmla="*/ 465397 h 840639"/>
                <a:gd name="connsiteX22" fmla="*/ 88254 w 1031207"/>
                <a:gd name="connsiteY22" fmla="*/ 468364 h 840639"/>
                <a:gd name="connsiteX23" fmla="*/ 27294 w 1031207"/>
                <a:gd name="connsiteY23" fmla="*/ 477889 h 840639"/>
                <a:gd name="connsiteX24" fmla="*/ 624 w 1031207"/>
                <a:gd name="connsiteY24" fmla="*/ 504559 h 840639"/>
                <a:gd name="connsiteX25" fmla="*/ 51344 w 1031207"/>
                <a:gd name="connsiteY25" fmla="*/ 547857 h 840639"/>
                <a:gd name="connsiteX26" fmla="*/ 153024 w 1031207"/>
                <a:gd name="connsiteY26" fmla="*/ 538849 h 840639"/>
                <a:gd name="connsiteX27" fmla="*/ 268163 w 1031207"/>
                <a:gd name="connsiteY27" fmla="*/ 519747 h 840639"/>
                <a:gd name="connsiteX28" fmla="*/ 351144 w 1031207"/>
                <a:gd name="connsiteY28" fmla="*/ 561709 h 840639"/>
                <a:gd name="connsiteX29" fmla="*/ 362574 w 1031207"/>
                <a:gd name="connsiteY29" fmla="*/ 609334 h 840639"/>
                <a:gd name="connsiteX30" fmla="*/ 328284 w 1031207"/>
                <a:gd name="connsiteY30" fmla="*/ 756019 h 840639"/>
                <a:gd name="connsiteX31" fmla="*/ 330189 w 1031207"/>
                <a:gd name="connsiteY31" fmla="*/ 780784 h 840639"/>
                <a:gd name="connsiteX32" fmla="*/ 355316 w 1031207"/>
                <a:gd name="connsiteY32" fmla="*/ 827377 h 840639"/>
                <a:gd name="connsiteX33" fmla="*/ 387339 w 1031207"/>
                <a:gd name="connsiteY33" fmla="*/ 837934 h 840639"/>
                <a:gd name="connsiteX34" fmla="*/ 400674 w 1031207"/>
                <a:gd name="connsiteY34" fmla="*/ 784594 h 840639"/>
                <a:gd name="connsiteX35" fmla="*/ 404484 w 1031207"/>
                <a:gd name="connsiteY35" fmla="*/ 727444 h 840639"/>
                <a:gd name="connsiteX36" fmla="*/ 421629 w 1031207"/>
                <a:gd name="connsiteY36" fmla="*/ 672199 h 840639"/>
                <a:gd name="connsiteX37" fmla="*/ 462031 w 1031207"/>
                <a:gd name="connsiteY37" fmla="*/ 600072 h 840639"/>
                <a:gd name="connsiteX38" fmla="*/ 521252 w 1031207"/>
                <a:gd name="connsiteY38" fmla="*/ 565123 h 840639"/>
                <a:gd name="connsiteX39" fmla="*/ 597090 w 1031207"/>
                <a:gd name="connsiteY39" fmla="*/ 550915 h 840639"/>
                <a:gd name="connsiteX40" fmla="*/ 705543 w 1031207"/>
                <a:gd name="connsiteY40" fmla="*/ 612819 h 840639"/>
                <a:gd name="connsiteX41" fmla="*/ 777864 w 1031207"/>
                <a:gd name="connsiteY41" fmla="*/ 656959 h 840639"/>
                <a:gd name="connsiteX42" fmla="*/ 802629 w 1031207"/>
                <a:gd name="connsiteY42" fmla="*/ 632194 h 840639"/>
                <a:gd name="connsiteX43" fmla="*/ 798819 w 1031207"/>
                <a:gd name="connsiteY43" fmla="*/ 601714 h 840639"/>
                <a:gd name="connsiteX44" fmla="*/ 760538 w 1031207"/>
                <a:gd name="connsiteY44" fmla="*/ 562523 h 840639"/>
                <a:gd name="connsiteX45" fmla="*/ 648324 w 1031207"/>
                <a:gd name="connsiteY45" fmla="*/ 479794 h 840639"/>
                <a:gd name="connsiteX46" fmla="*/ 644514 w 1031207"/>
                <a:gd name="connsiteY46" fmla="*/ 462649 h 840639"/>
                <a:gd name="connsiteX47" fmla="*/ 655944 w 1031207"/>
                <a:gd name="connsiteY47" fmla="*/ 426454 h 840639"/>
                <a:gd name="connsiteX48" fmla="*/ 724524 w 1031207"/>
                <a:gd name="connsiteY48" fmla="*/ 405499 h 840639"/>
                <a:gd name="connsiteX49" fmla="*/ 811480 w 1031207"/>
                <a:gd name="connsiteY49" fmla="*/ 406906 h 840639"/>
                <a:gd name="connsiteX50" fmla="*/ 903973 w 1031207"/>
                <a:gd name="connsiteY50" fmla="*/ 417646 h 840639"/>
                <a:gd name="connsiteX51" fmla="*/ 1000032 w 1031207"/>
                <a:gd name="connsiteY51" fmla="*/ 426835 h 840639"/>
                <a:gd name="connsiteX52" fmla="*/ 1030191 w 1031207"/>
                <a:gd name="connsiteY52" fmla="*/ 402711 h 840639"/>
                <a:gd name="connsiteX53" fmla="*/ 1018256 w 1031207"/>
                <a:gd name="connsiteY53" fmla="*/ 377797 h 840639"/>
                <a:gd name="connsiteX54" fmla="*/ 962631 w 1031207"/>
                <a:gd name="connsiteY54" fmla="*/ 358029 h 840639"/>
                <a:gd name="connsiteX55" fmla="*/ 825489 w 1031207"/>
                <a:gd name="connsiteY55" fmla="*/ 357874 h 840639"/>
                <a:gd name="connsiteX56" fmla="*/ 753553 w 1031207"/>
                <a:gd name="connsiteY56" fmla="*/ 361702 h 840639"/>
                <a:gd name="connsiteX57" fmla="*/ 669279 w 1031207"/>
                <a:gd name="connsiteY57" fmla="*/ 369304 h 840639"/>
                <a:gd name="connsiteX58" fmla="*/ 642609 w 1031207"/>
                <a:gd name="connsiteY58" fmla="*/ 338824 h 840639"/>
                <a:gd name="connsiteX59" fmla="*/ 674145 w 1031207"/>
                <a:gd name="connsiteY59" fmla="*/ 304962 h 840639"/>
                <a:gd name="connsiteX60" fmla="*/ 705474 w 1031207"/>
                <a:gd name="connsiteY60" fmla="*/ 283579 h 840639"/>
                <a:gd name="connsiteX61" fmla="*/ 741669 w 1031207"/>
                <a:gd name="connsiteY61" fmla="*/ 251194 h 840639"/>
                <a:gd name="connsiteX62" fmla="*/ 780761 w 1031207"/>
                <a:gd name="connsiteY62" fmla="*/ 213846 h 840639"/>
                <a:gd name="connsiteX63" fmla="*/ 744143 w 1031207"/>
                <a:gd name="connsiteY63" fmla="*/ 201789 h 840639"/>
                <a:gd name="connsiteX64" fmla="*/ 692139 w 1031207"/>
                <a:gd name="connsiteY64" fmla="*/ 226429 h 840639"/>
                <a:gd name="connsiteX65" fmla="*/ 654420 w 1031207"/>
                <a:gd name="connsiteY65" fmla="*/ 257626 h 840639"/>
                <a:gd name="connsiteX66" fmla="*/ 613743 w 1031207"/>
                <a:gd name="connsiteY66" fmla="*/ 286712 h 840639"/>
                <a:gd name="connsiteX67" fmla="*/ 562599 w 1031207"/>
                <a:gd name="connsiteY67" fmla="*/ 287389 h 840639"/>
                <a:gd name="connsiteX68" fmla="*/ 528309 w 1031207"/>
                <a:gd name="connsiteY68" fmla="*/ 274054 h 840639"/>
                <a:gd name="connsiteX69" fmla="*/ 505449 w 1031207"/>
                <a:gd name="connsiteY69" fmla="*/ 235954 h 840639"/>
                <a:gd name="connsiteX70" fmla="*/ 507354 w 1031207"/>
                <a:gd name="connsiteY70" fmla="*/ 171184 h 840639"/>
                <a:gd name="connsiteX71" fmla="*/ 506056 w 1031207"/>
                <a:gd name="connsiteY71" fmla="*/ 73485 h 840639"/>
                <a:gd name="connsiteX72" fmla="*/ 451858 w 1031207"/>
                <a:gd name="connsiteY72" fmla="*/ 11248 h 840639"/>
                <a:gd name="connsiteX73" fmla="*/ 440212 w 1031207"/>
                <a:gd name="connsiteY73" fmla="*/ 75864 h 840639"/>
                <a:gd name="connsiteX74" fmla="*/ 436968 w 1031207"/>
                <a:gd name="connsiteY74" fmla="*/ 132660 h 840639"/>
                <a:gd name="connsiteX75" fmla="*/ 433796 w 1031207"/>
                <a:gd name="connsiteY75" fmla="*/ 214465 h 840639"/>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62599 w 1031207"/>
                <a:gd name="connsiteY66" fmla="*/ 287389 h 841401"/>
                <a:gd name="connsiteX67" fmla="*/ 528309 w 1031207"/>
                <a:gd name="connsiteY67" fmla="*/ 274054 h 841401"/>
                <a:gd name="connsiteX68" fmla="*/ 505449 w 1031207"/>
                <a:gd name="connsiteY68" fmla="*/ 235954 h 841401"/>
                <a:gd name="connsiteX69" fmla="*/ 507354 w 1031207"/>
                <a:gd name="connsiteY69" fmla="*/ 171184 h 841401"/>
                <a:gd name="connsiteX70" fmla="*/ 506056 w 1031207"/>
                <a:gd name="connsiteY70" fmla="*/ 73485 h 841401"/>
                <a:gd name="connsiteX71" fmla="*/ 451858 w 1031207"/>
                <a:gd name="connsiteY71" fmla="*/ 11248 h 841401"/>
                <a:gd name="connsiteX72" fmla="*/ 440212 w 1031207"/>
                <a:gd name="connsiteY72" fmla="*/ 75864 h 841401"/>
                <a:gd name="connsiteX73" fmla="*/ 436968 w 1031207"/>
                <a:gd name="connsiteY73" fmla="*/ 132660 h 841401"/>
                <a:gd name="connsiteX74" fmla="*/ 433796 w 1031207"/>
                <a:gd name="connsiteY74"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62599 w 1031207"/>
                <a:gd name="connsiteY66" fmla="*/ 287389 h 841401"/>
                <a:gd name="connsiteX67" fmla="*/ 528309 w 1031207"/>
                <a:gd name="connsiteY67" fmla="*/ 274054 h 841401"/>
                <a:gd name="connsiteX68" fmla="*/ 505449 w 1031207"/>
                <a:gd name="connsiteY68" fmla="*/ 235954 h 841401"/>
                <a:gd name="connsiteX69" fmla="*/ 507354 w 1031207"/>
                <a:gd name="connsiteY69" fmla="*/ 171184 h 841401"/>
                <a:gd name="connsiteX70" fmla="*/ 506056 w 1031207"/>
                <a:gd name="connsiteY70" fmla="*/ 73485 h 841401"/>
                <a:gd name="connsiteX71" fmla="*/ 451858 w 1031207"/>
                <a:gd name="connsiteY71" fmla="*/ 11248 h 841401"/>
                <a:gd name="connsiteX72" fmla="*/ 440212 w 1031207"/>
                <a:gd name="connsiteY72" fmla="*/ 75864 h 841401"/>
                <a:gd name="connsiteX73" fmla="*/ 436968 w 1031207"/>
                <a:gd name="connsiteY73" fmla="*/ 132660 h 841401"/>
                <a:gd name="connsiteX74" fmla="*/ 433796 w 1031207"/>
                <a:gd name="connsiteY74"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62599 w 1031207"/>
                <a:gd name="connsiteY66" fmla="*/ 287389 h 841401"/>
                <a:gd name="connsiteX67" fmla="*/ 528309 w 1031207"/>
                <a:gd name="connsiteY67" fmla="*/ 274054 h 841401"/>
                <a:gd name="connsiteX68" fmla="*/ 505449 w 1031207"/>
                <a:gd name="connsiteY68" fmla="*/ 235954 h 841401"/>
                <a:gd name="connsiteX69" fmla="*/ 507354 w 1031207"/>
                <a:gd name="connsiteY69" fmla="*/ 171184 h 841401"/>
                <a:gd name="connsiteX70" fmla="*/ 506056 w 1031207"/>
                <a:gd name="connsiteY70" fmla="*/ 73485 h 841401"/>
                <a:gd name="connsiteX71" fmla="*/ 451858 w 1031207"/>
                <a:gd name="connsiteY71" fmla="*/ 11248 h 841401"/>
                <a:gd name="connsiteX72" fmla="*/ 440212 w 1031207"/>
                <a:gd name="connsiteY72" fmla="*/ 75864 h 841401"/>
                <a:gd name="connsiteX73" fmla="*/ 436968 w 1031207"/>
                <a:gd name="connsiteY73" fmla="*/ 132660 h 841401"/>
                <a:gd name="connsiteX74" fmla="*/ 433796 w 1031207"/>
                <a:gd name="connsiteY74"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62599 w 1031207"/>
                <a:gd name="connsiteY66" fmla="*/ 287389 h 841401"/>
                <a:gd name="connsiteX67" fmla="*/ 528309 w 1031207"/>
                <a:gd name="connsiteY67" fmla="*/ 274054 h 841401"/>
                <a:gd name="connsiteX68" fmla="*/ 505449 w 1031207"/>
                <a:gd name="connsiteY68" fmla="*/ 235954 h 841401"/>
                <a:gd name="connsiteX69" fmla="*/ 507354 w 1031207"/>
                <a:gd name="connsiteY69" fmla="*/ 171184 h 841401"/>
                <a:gd name="connsiteX70" fmla="*/ 506056 w 1031207"/>
                <a:gd name="connsiteY70" fmla="*/ 73485 h 841401"/>
                <a:gd name="connsiteX71" fmla="*/ 451858 w 1031207"/>
                <a:gd name="connsiteY71" fmla="*/ 11248 h 841401"/>
                <a:gd name="connsiteX72" fmla="*/ 440212 w 1031207"/>
                <a:gd name="connsiteY72" fmla="*/ 75864 h 841401"/>
                <a:gd name="connsiteX73" fmla="*/ 436968 w 1031207"/>
                <a:gd name="connsiteY73" fmla="*/ 132660 h 841401"/>
                <a:gd name="connsiteX74" fmla="*/ 433796 w 1031207"/>
                <a:gd name="connsiteY74"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62599 w 1031207"/>
                <a:gd name="connsiteY66" fmla="*/ 287389 h 841401"/>
                <a:gd name="connsiteX67" fmla="*/ 528309 w 1031207"/>
                <a:gd name="connsiteY67" fmla="*/ 274054 h 841401"/>
                <a:gd name="connsiteX68" fmla="*/ 505449 w 1031207"/>
                <a:gd name="connsiteY68" fmla="*/ 235954 h 841401"/>
                <a:gd name="connsiteX69" fmla="*/ 507354 w 1031207"/>
                <a:gd name="connsiteY69" fmla="*/ 171184 h 841401"/>
                <a:gd name="connsiteX70" fmla="*/ 506056 w 1031207"/>
                <a:gd name="connsiteY70" fmla="*/ 73485 h 841401"/>
                <a:gd name="connsiteX71" fmla="*/ 451858 w 1031207"/>
                <a:gd name="connsiteY71" fmla="*/ 11248 h 841401"/>
                <a:gd name="connsiteX72" fmla="*/ 440212 w 1031207"/>
                <a:gd name="connsiteY72" fmla="*/ 75864 h 841401"/>
                <a:gd name="connsiteX73" fmla="*/ 436968 w 1031207"/>
                <a:gd name="connsiteY73" fmla="*/ 132660 h 841401"/>
                <a:gd name="connsiteX74" fmla="*/ 433796 w 1031207"/>
                <a:gd name="connsiteY74"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28309 w 1031207"/>
                <a:gd name="connsiteY66" fmla="*/ 274054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28309 w 1031207"/>
                <a:gd name="connsiteY66" fmla="*/ 274054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28309 w 1031207"/>
                <a:gd name="connsiteY66" fmla="*/ 274054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40096 w 1031207"/>
                <a:gd name="connsiteY66" fmla="*/ 278516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40096 w 1031207"/>
                <a:gd name="connsiteY66" fmla="*/ 278516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89219 w 1031207"/>
                <a:gd name="connsiteY7" fmla="*/ 262624 h 841401"/>
                <a:gd name="connsiteX8" fmla="*/ 156834 w 1031207"/>
                <a:gd name="connsiteY8" fmla="*/ 239764 h 841401"/>
                <a:gd name="connsiteX9" fmla="*/ 122074 w 1031207"/>
                <a:gd name="connsiteY9" fmla="*/ 218050 h 841401"/>
                <a:gd name="connsiteX10" fmla="*/ 101589 w 1031207"/>
                <a:gd name="connsiteY10" fmla="*/ 203569 h 841401"/>
                <a:gd name="connsiteX11" fmla="*/ 59679 w 1031207"/>
                <a:gd name="connsiteY11" fmla="*/ 197854 h 841401"/>
                <a:gd name="connsiteX12" fmla="*/ 48331 w 1031207"/>
                <a:gd name="connsiteY12" fmla="*/ 241190 h 841401"/>
                <a:gd name="connsiteX13" fmla="*/ 63490 w 1031207"/>
                <a:gd name="connsiteY13" fmla="*/ 272150 h 841401"/>
                <a:gd name="connsiteX14" fmla="*/ 124449 w 1031207"/>
                <a:gd name="connsiteY14" fmla="*/ 289294 h 841401"/>
                <a:gd name="connsiteX15" fmla="*/ 191124 w 1031207"/>
                <a:gd name="connsiteY15" fmla="*/ 308344 h 841401"/>
                <a:gd name="connsiteX16" fmla="*/ 226553 w 1031207"/>
                <a:gd name="connsiteY16" fmla="*/ 323832 h 841401"/>
                <a:gd name="connsiteX17" fmla="*/ 291209 w 1031207"/>
                <a:gd name="connsiteY17" fmla="*/ 364030 h 841401"/>
                <a:gd name="connsiteX18" fmla="*/ 301013 w 1031207"/>
                <a:gd name="connsiteY18" fmla="*/ 410802 h 841401"/>
                <a:gd name="connsiteX19" fmla="*/ 263514 w 1031207"/>
                <a:gd name="connsiteY19" fmla="*/ 447409 h 841401"/>
                <a:gd name="connsiteX20" fmla="*/ 217240 w 1031207"/>
                <a:gd name="connsiteY20" fmla="*/ 459458 h 841401"/>
                <a:gd name="connsiteX21" fmla="*/ 136827 w 1031207"/>
                <a:gd name="connsiteY21" fmla="*/ 465397 h 841401"/>
                <a:gd name="connsiteX22" fmla="*/ 88254 w 1031207"/>
                <a:gd name="connsiteY22" fmla="*/ 468364 h 841401"/>
                <a:gd name="connsiteX23" fmla="*/ 27294 w 1031207"/>
                <a:gd name="connsiteY23" fmla="*/ 477889 h 841401"/>
                <a:gd name="connsiteX24" fmla="*/ 624 w 1031207"/>
                <a:gd name="connsiteY24" fmla="*/ 504559 h 841401"/>
                <a:gd name="connsiteX25" fmla="*/ 51344 w 1031207"/>
                <a:gd name="connsiteY25" fmla="*/ 547857 h 841401"/>
                <a:gd name="connsiteX26" fmla="*/ 153024 w 1031207"/>
                <a:gd name="connsiteY26" fmla="*/ 538849 h 841401"/>
                <a:gd name="connsiteX27" fmla="*/ 268163 w 1031207"/>
                <a:gd name="connsiteY27" fmla="*/ 519747 h 841401"/>
                <a:gd name="connsiteX28" fmla="*/ 351144 w 1031207"/>
                <a:gd name="connsiteY28" fmla="*/ 561709 h 841401"/>
                <a:gd name="connsiteX29" fmla="*/ 362574 w 1031207"/>
                <a:gd name="connsiteY29" fmla="*/ 609334 h 841401"/>
                <a:gd name="connsiteX30" fmla="*/ 328284 w 1031207"/>
                <a:gd name="connsiteY30" fmla="*/ 756019 h 841401"/>
                <a:gd name="connsiteX31" fmla="*/ 355316 w 1031207"/>
                <a:gd name="connsiteY31" fmla="*/ 827377 h 841401"/>
                <a:gd name="connsiteX32" fmla="*/ 387339 w 1031207"/>
                <a:gd name="connsiteY32" fmla="*/ 837934 h 841401"/>
                <a:gd name="connsiteX33" fmla="*/ 400674 w 1031207"/>
                <a:gd name="connsiteY33" fmla="*/ 784594 h 841401"/>
                <a:gd name="connsiteX34" fmla="*/ 404484 w 1031207"/>
                <a:gd name="connsiteY34" fmla="*/ 727444 h 841401"/>
                <a:gd name="connsiteX35" fmla="*/ 421629 w 1031207"/>
                <a:gd name="connsiteY35" fmla="*/ 672199 h 841401"/>
                <a:gd name="connsiteX36" fmla="*/ 462031 w 1031207"/>
                <a:gd name="connsiteY36" fmla="*/ 600072 h 841401"/>
                <a:gd name="connsiteX37" fmla="*/ 521252 w 1031207"/>
                <a:gd name="connsiteY37" fmla="*/ 565123 h 841401"/>
                <a:gd name="connsiteX38" fmla="*/ 597090 w 1031207"/>
                <a:gd name="connsiteY38" fmla="*/ 550915 h 841401"/>
                <a:gd name="connsiteX39" fmla="*/ 705543 w 1031207"/>
                <a:gd name="connsiteY39" fmla="*/ 612819 h 841401"/>
                <a:gd name="connsiteX40" fmla="*/ 777864 w 1031207"/>
                <a:gd name="connsiteY40" fmla="*/ 656959 h 841401"/>
                <a:gd name="connsiteX41" fmla="*/ 802629 w 1031207"/>
                <a:gd name="connsiteY41" fmla="*/ 632194 h 841401"/>
                <a:gd name="connsiteX42" fmla="*/ 798819 w 1031207"/>
                <a:gd name="connsiteY42" fmla="*/ 601714 h 841401"/>
                <a:gd name="connsiteX43" fmla="*/ 760538 w 1031207"/>
                <a:gd name="connsiteY43" fmla="*/ 562523 h 841401"/>
                <a:gd name="connsiteX44" fmla="*/ 648324 w 1031207"/>
                <a:gd name="connsiteY44" fmla="*/ 479794 h 841401"/>
                <a:gd name="connsiteX45" fmla="*/ 644514 w 1031207"/>
                <a:gd name="connsiteY45" fmla="*/ 462649 h 841401"/>
                <a:gd name="connsiteX46" fmla="*/ 655944 w 1031207"/>
                <a:gd name="connsiteY46" fmla="*/ 426454 h 841401"/>
                <a:gd name="connsiteX47" fmla="*/ 724524 w 1031207"/>
                <a:gd name="connsiteY47" fmla="*/ 405499 h 841401"/>
                <a:gd name="connsiteX48" fmla="*/ 811480 w 1031207"/>
                <a:gd name="connsiteY48" fmla="*/ 406906 h 841401"/>
                <a:gd name="connsiteX49" fmla="*/ 903973 w 1031207"/>
                <a:gd name="connsiteY49" fmla="*/ 417646 h 841401"/>
                <a:gd name="connsiteX50" fmla="*/ 1000032 w 1031207"/>
                <a:gd name="connsiteY50" fmla="*/ 426835 h 841401"/>
                <a:gd name="connsiteX51" fmla="*/ 1030191 w 1031207"/>
                <a:gd name="connsiteY51" fmla="*/ 402711 h 841401"/>
                <a:gd name="connsiteX52" fmla="*/ 1018256 w 1031207"/>
                <a:gd name="connsiteY52" fmla="*/ 377797 h 841401"/>
                <a:gd name="connsiteX53" fmla="*/ 962631 w 1031207"/>
                <a:gd name="connsiteY53" fmla="*/ 358029 h 841401"/>
                <a:gd name="connsiteX54" fmla="*/ 825489 w 1031207"/>
                <a:gd name="connsiteY54" fmla="*/ 357874 h 841401"/>
                <a:gd name="connsiteX55" fmla="*/ 753553 w 1031207"/>
                <a:gd name="connsiteY55" fmla="*/ 361702 h 841401"/>
                <a:gd name="connsiteX56" fmla="*/ 669279 w 1031207"/>
                <a:gd name="connsiteY56" fmla="*/ 369304 h 841401"/>
                <a:gd name="connsiteX57" fmla="*/ 642609 w 1031207"/>
                <a:gd name="connsiteY57" fmla="*/ 338824 h 841401"/>
                <a:gd name="connsiteX58" fmla="*/ 674145 w 1031207"/>
                <a:gd name="connsiteY58" fmla="*/ 304962 h 841401"/>
                <a:gd name="connsiteX59" fmla="*/ 705474 w 1031207"/>
                <a:gd name="connsiteY59" fmla="*/ 283579 h 841401"/>
                <a:gd name="connsiteX60" fmla="*/ 741669 w 1031207"/>
                <a:gd name="connsiteY60" fmla="*/ 251194 h 841401"/>
                <a:gd name="connsiteX61" fmla="*/ 780761 w 1031207"/>
                <a:gd name="connsiteY61" fmla="*/ 213846 h 841401"/>
                <a:gd name="connsiteX62" fmla="*/ 744143 w 1031207"/>
                <a:gd name="connsiteY62" fmla="*/ 201789 h 841401"/>
                <a:gd name="connsiteX63" fmla="*/ 692139 w 1031207"/>
                <a:gd name="connsiteY63" fmla="*/ 226429 h 841401"/>
                <a:gd name="connsiteX64" fmla="*/ 654420 w 1031207"/>
                <a:gd name="connsiteY64" fmla="*/ 257626 h 841401"/>
                <a:gd name="connsiteX65" fmla="*/ 613743 w 1031207"/>
                <a:gd name="connsiteY65" fmla="*/ 286712 h 841401"/>
                <a:gd name="connsiteX66" fmla="*/ 540096 w 1031207"/>
                <a:gd name="connsiteY66" fmla="*/ 278516 h 841401"/>
                <a:gd name="connsiteX67" fmla="*/ 505449 w 1031207"/>
                <a:gd name="connsiteY67" fmla="*/ 235954 h 841401"/>
                <a:gd name="connsiteX68" fmla="*/ 507354 w 1031207"/>
                <a:gd name="connsiteY68" fmla="*/ 171184 h 841401"/>
                <a:gd name="connsiteX69" fmla="*/ 506056 w 1031207"/>
                <a:gd name="connsiteY69" fmla="*/ 73485 h 841401"/>
                <a:gd name="connsiteX70" fmla="*/ 451858 w 1031207"/>
                <a:gd name="connsiteY70" fmla="*/ 11248 h 841401"/>
                <a:gd name="connsiteX71" fmla="*/ 440212 w 1031207"/>
                <a:gd name="connsiteY71" fmla="*/ 75864 h 841401"/>
                <a:gd name="connsiteX72" fmla="*/ 436968 w 1031207"/>
                <a:gd name="connsiteY72" fmla="*/ 132660 h 841401"/>
                <a:gd name="connsiteX73" fmla="*/ 433796 w 1031207"/>
                <a:gd name="connsiteY73"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219699 w 1031207"/>
                <a:gd name="connsiteY6" fmla="*/ 272149 h 841401"/>
                <a:gd name="connsiteX7" fmla="*/ 156834 w 1031207"/>
                <a:gd name="connsiteY7" fmla="*/ 239764 h 841401"/>
                <a:gd name="connsiteX8" fmla="*/ 122074 w 1031207"/>
                <a:gd name="connsiteY8" fmla="*/ 218050 h 841401"/>
                <a:gd name="connsiteX9" fmla="*/ 101589 w 1031207"/>
                <a:gd name="connsiteY9" fmla="*/ 203569 h 841401"/>
                <a:gd name="connsiteX10" fmla="*/ 59679 w 1031207"/>
                <a:gd name="connsiteY10" fmla="*/ 197854 h 841401"/>
                <a:gd name="connsiteX11" fmla="*/ 48331 w 1031207"/>
                <a:gd name="connsiteY11" fmla="*/ 241190 h 841401"/>
                <a:gd name="connsiteX12" fmla="*/ 63490 w 1031207"/>
                <a:gd name="connsiteY12" fmla="*/ 272150 h 841401"/>
                <a:gd name="connsiteX13" fmla="*/ 124449 w 1031207"/>
                <a:gd name="connsiteY13" fmla="*/ 289294 h 841401"/>
                <a:gd name="connsiteX14" fmla="*/ 191124 w 1031207"/>
                <a:gd name="connsiteY14" fmla="*/ 308344 h 841401"/>
                <a:gd name="connsiteX15" fmla="*/ 226553 w 1031207"/>
                <a:gd name="connsiteY15" fmla="*/ 323832 h 841401"/>
                <a:gd name="connsiteX16" fmla="*/ 291209 w 1031207"/>
                <a:gd name="connsiteY16" fmla="*/ 364030 h 841401"/>
                <a:gd name="connsiteX17" fmla="*/ 301013 w 1031207"/>
                <a:gd name="connsiteY17" fmla="*/ 410802 h 841401"/>
                <a:gd name="connsiteX18" fmla="*/ 263514 w 1031207"/>
                <a:gd name="connsiteY18" fmla="*/ 447409 h 841401"/>
                <a:gd name="connsiteX19" fmla="*/ 217240 w 1031207"/>
                <a:gd name="connsiteY19" fmla="*/ 459458 h 841401"/>
                <a:gd name="connsiteX20" fmla="*/ 136827 w 1031207"/>
                <a:gd name="connsiteY20" fmla="*/ 465397 h 841401"/>
                <a:gd name="connsiteX21" fmla="*/ 88254 w 1031207"/>
                <a:gd name="connsiteY21" fmla="*/ 468364 h 841401"/>
                <a:gd name="connsiteX22" fmla="*/ 27294 w 1031207"/>
                <a:gd name="connsiteY22" fmla="*/ 477889 h 841401"/>
                <a:gd name="connsiteX23" fmla="*/ 624 w 1031207"/>
                <a:gd name="connsiteY23" fmla="*/ 504559 h 841401"/>
                <a:gd name="connsiteX24" fmla="*/ 51344 w 1031207"/>
                <a:gd name="connsiteY24" fmla="*/ 547857 h 841401"/>
                <a:gd name="connsiteX25" fmla="*/ 153024 w 1031207"/>
                <a:gd name="connsiteY25" fmla="*/ 538849 h 841401"/>
                <a:gd name="connsiteX26" fmla="*/ 268163 w 1031207"/>
                <a:gd name="connsiteY26" fmla="*/ 519747 h 841401"/>
                <a:gd name="connsiteX27" fmla="*/ 351144 w 1031207"/>
                <a:gd name="connsiteY27" fmla="*/ 561709 h 841401"/>
                <a:gd name="connsiteX28" fmla="*/ 362574 w 1031207"/>
                <a:gd name="connsiteY28" fmla="*/ 609334 h 841401"/>
                <a:gd name="connsiteX29" fmla="*/ 328284 w 1031207"/>
                <a:gd name="connsiteY29" fmla="*/ 756019 h 841401"/>
                <a:gd name="connsiteX30" fmla="*/ 355316 w 1031207"/>
                <a:gd name="connsiteY30" fmla="*/ 827377 h 841401"/>
                <a:gd name="connsiteX31" fmla="*/ 387339 w 1031207"/>
                <a:gd name="connsiteY31" fmla="*/ 837934 h 841401"/>
                <a:gd name="connsiteX32" fmla="*/ 400674 w 1031207"/>
                <a:gd name="connsiteY32" fmla="*/ 784594 h 841401"/>
                <a:gd name="connsiteX33" fmla="*/ 404484 w 1031207"/>
                <a:gd name="connsiteY33" fmla="*/ 727444 h 841401"/>
                <a:gd name="connsiteX34" fmla="*/ 421629 w 1031207"/>
                <a:gd name="connsiteY34" fmla="*/ 672199 h 841401"/>
                <a:gd name="connsiteX35" fmla="*/ 462031 w 1031207"/>
                <a:gd name="connsiteY35" fmla="*/ 600072 h 841401"/>
                <a:gd name="connsiteX36" fmla="*/ 521252 w 1031207"/>
                <a:gd name="connsiteY36" fmla="*/ 565123 h 841401"/>
                <a:gd name="connsiteX37" fmla="*/ 597090 w 1031207"/>
                <a:gd name="connsiteY37" fmla="*/ 550915 h 841401"/>
                <a:gd name="connsiteX38" fmla="*/ 705543 w 1031207"/>
                <a:gd name="connsiteY38" fmla="*/ 612819 h 841401"/>
                <a:gd name="connsiteX39" fmla="*/ 777864 w 1031207"/>
                <a:gd name="connsiteY39" fmla="*/ 656959 h 841401"/>
                <a:gd name="connsiteX40" fmla="*/ 802629 w 1031207"/>
                <a:gd name="connsiteY40" fmla="*/ 632194 h 841401"/>
                <a:gd name="connsiteX41" fmla="*/ 798819 w 1031207"/>
                <a:gd name="connsiteY41" fmla="*/ 601714 h 841401"/>
                <a:gd name="connsiteX42" fmla="*/ 760538 w 1031207"/>
                <a:gd name="connsiteY42" fmla="*/ 562523 h 841401"/>
                <a:gd name="connsiteX43" fmla="*/ 648324 w 1031207"/>
                <a:gd name="connsiteY43" fmla="*/ 479794 h 841401"/>
                <a:gd name="connsiteX44" fmla="*/ 644514 w 1031207"/>
                <a:gd name="connsiteY44" fmla="*/ 462649 h 841401"/>
                <a:gd name="connsiteX45" fmla="*/ 655944 w 1031207"/>
                <a:gd name="connsiteY45" fmla="*/ 426454 h 841401"/>
                <a:gd name="connsiteX46" fmla="*/ 724524 w 1031207"/>
                <a:gd name="connsiteY46" fmla="*/ 405499 h 841401"/>
                <a:gd name="connsiteX47" fmla="*/ 811480 w 1031207"/>
                <a:gd name="connsiteY47" fmla="*/ 406906 h 841401"/>
                <a:gd name="connsiteX48" fmla="*/ 903973 w 1031207"/>
                <a:gd name="connsiteY48" fmla="*/ 417646 h 841401"/>
                <a:gd name="connsiteX49" fmla="*/ 1000032 w 1031207"/>
                <a:gd name="connsiteY49" fmla="*/ 426835 h 841401"/>
                <a:gd name="connsiteX50" fmla="*/ 1030191 w 1031207"/>
                <a:gd name="connsiteY50" fmla="*/ 402711 h 841401"/>
                <a:gd name="connsiteX51" fmla="*/ 1018256 w 1031207"/>
                <a:gd name="connsiteY51" fmla="*/ 377797 h 841401"/>
                <a:gd name="connsiteX52" fmla="*/ 962631 w 1031207"/>
                <a:gd name="connsiteY52" fmla="*/ 358029 h 841401"/>
                <a:gd name="connsiteX53" fmla="*/ 825489 w 1031207"/>
                <a:gd name="connsiteY53" fmla="*/ 357874 h 841401"/>
                <a:gd name="connsiteX54" fmla="*/ 753553 w 1031207"/>
                <a:gd name="connsiteY54" fmla="*/ 361702 h 841401"/>
                <a:gd name="connsiteX55" fmla="*/ 669279 w 1031207"/>
                <a:gd name="connsiteY55" fmla="*/ 369304 h 841401"/>
                <a:gd name="connsiteX56" fmla="*/ 642609 w 1031207"/>
                <a:gd name="connsiteY56" fmla="*/ 338824 h 841401"/>
                <a:gd name="connsiteX57" fmla="*/ 674145 w 1031207"/>
                <a:gd name="connsiteY57" fmla="*/ 304962 h 841401"/>
                <a:gd name="connsiteX58" fmla="*/ 705474 w 1031207"/>
                <a:gd name="connsiteY58" fmla="*/ 283579 h 841401"/>
                <a:gd name="connsiteX59" fmla="*/ 741669 w 1031207"/>
                <a:gd name="connsiteY59" fmla="*/ 251194 h 841401"/>
                <a:gd name="connsiteX60" fmla="*/ 780761 w 1031207"/>
                <a:gd name="connsiteY60" fmla="*/ 213846 h 841401"/>
                <a:gd name="connsiteX61" fmla="*/ 744143 w 1031207"/>
                <a:gd name="connsiteY61" fmla="*/ 201789 h 841401"/>
                <a:gd name="connsiteX62" fmla="*/ 692139 w 1031207"/>
                <a:gd name="connsiteY62" fmla="*/ 226429 h 841401"/>
                <a:gd name="connsiteX63" fmla="*/ 654420 w 1031207"/>
                <a:gd name="connsiteY63" fmla="*/ 257626 h 841401"/>
                <a:gd name="connsiteX64" fmla="*/ 613743 w 1031207"/>
                <a:gd name="connsiteY64" fmla="*/ 286712 h 841401"/>
                <a:gd name="connsiteX65" fmla="*/ 540096 w 1031207"/>
                <a:gd name="connsiteY65" fmla="*/ 278516 h 841401"/>
                <a:gd name="connsiteX66" fmla="*/ 505449 w 1031207"/>
                <a:gd name="connsiteY66" fmla="*/ 235954 h 841401"/>
                <a:gd name="connsiteX67" fmla="*/ 507354 w 1031207"/>
                <a:gd name="connsiteY67" fmla="*/ 171184 h 841401"/>
                <a:gd name="connsiteX68" fmla="*/ 506056 w 1031207"/>
                <a:gd name="connsiteY68" fmla="*/ 73485 h 841401"/>
                <a:gd name="connsiteX69" fmla="*/ 451858 w 1031207"/>
                <a:gd name="connsiteY69" fmla="*/ 11248 h 841401"/>
                <a:gd name="connsiteX70" fmla="*/ 440212 w 1031207"/>
                <a:gd name="connsiteY70" fmla="*/ 75864 h 841401"/>
                <a:gd name="connsiteX71" fmla="*/ 436968 w 1031207"/>
                <a:gd name="connsiteY71" fmla="*/ 132660 h 841401"/>
                <a:gd name="connsiteX72" fmla="*/ 433796 w 1031207"/>
                <a:gd name="connsiteY72"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156834 w 1031207"/>
                <a:gd name="connsiteY6" fmla="*/ 239764 h 841401"/>
                <a:gd name="connsiteX7" fmla="*/ 122074 w 1031207"/>
                <a:gd name="connsiteY7" fmla="*/ 218050 h 841401"/>
                <a:gd name="connsiteX8" fmla="*/ 101589 w 1031207"/>
                <a:gd name="connsiteY8" fmla="*/ 203569 h 841401"/>
                <a:gd name="connsiteX9" fmla="*/ 59679 w 1031207"/>
                <a:gd name="connsiteY9" fmla="*/ 197854 h 841401"/>
                <a:gd name="connsiteX10" fmla="*/ 48331 w 1031207"/>
                <a:gd name="connsiteY10" fmla="*/ 241190 h 841401"/>
                <a:gd name="connsiteX11" fmla="*/ 63490 w 1031207"/>
                <a:gd name="connsiteY11" fmla="*/ 272150 h 841401"/>
                <a:gd name="connsiteX12" fmla="*/ 124449 w 1031207"/>
                <a:gd name="connsiteY12" fmla="*/ 289294 h 841401"/>
                <a:gd name="connsiteX13" fmla="*/ 191124 w 1031207"/>
                <a:gd name="connsiteY13" fmla="*/ 308344 h 841401"/>
                <a:gd name="connsiteX14" fmla="*/ 226553 w 1031207"/>
                <a:gd name="connsiteY14" fmla="*/ 323832 h 841401"/>
                <a:gd name="connsiteX15" fmla="*/ 291209 w 1031207"/>
                <a:gd name="connsiteY15" fmla="*/ 364030 h 841401"/>
                <a:gd name="connsiteX16" fmla="*/ 301013 w 1031207"/>
                <a:gd name="connsiteY16" fmla="*/ 410802 h 841401"/>
                <a:gd name="connsiteX17" fmla="*/ 263514 w 1031207"/>
                <a:gd name="connsiteY17" fmla="*/ 447409 h 841401"/>
                <a:gd name="connsiteX18" fmla="*/ 217240 w 1031207"/>
                <a:gd name="connsiteY18" fmla="*/ 459458 h 841401"/>
                <a:gd name="connsiteX19" fmla="*/ 136827 w 1031207"/>
                <a:gd name="connsiteY19" fmla="*/ 465397 h 841401"/>
                <a:gd name="connsiteX20" fmla="*/ 88254 w 1031207"/>
                <a:gd name="connsiteY20" fmla="*/ 468364 h 841401"/>
                <a:gd name="connsiteX21" fmla="*/ 27294 w 1031207"/>
                <a:gd name="connsiteY21" fmla="*/ 477889 h 841401"/>
                <a:gd name="connsiteX22" fmla="*/ 624 w 1031207"/>
                <a:gd name="connsiteY22" fmla="*/ 504559 h 841401"/>
                <a:gd name="connsiteX23" fmla="*/ 51344 w 1031207"/>
                <a:gd name="connsiteY23" fmla="*/ 547857 h 841401"/>
                <a:gd name="connsiteX24" fmla="*/ 153024 w 1031207"/>
                <a:gd name="connsiteY24" fmla="*/ 538849 h 841401"/>
                <a:gd name="connsiteX25" fmla="*/ 268163 w 1031207"/>
                <a:gd name="connsiteY25" fmla="*/ 519747 h 841401"/>
                <a:gd name="connsiteX26" fmla="*/ 351144 w 1031207"/>
                <a:gd name="connsiteY26" fmla="*/ 561709 h 841401"/>
                <a:gd name="connsiteX27" fmla="*/ 362574 w 1031207"/>
                <a:gd name="connsiteY27" fmla="*/ 609334 h 841401"/>
                <a:gd name="connsiteX28" fmla="*/ 328284 w 1031207"/>
                <a:gd name="connsiteY28" fmla="*/ 756019 h 841401"/>
                <a:gd name="connsiteX29" fmla="*/ 355316 w 1031207"/>
                <a:gd name="connsiteY29" fmla="*/ 827377 h 841401"/>
                <a:gd name="connsiteX30" fmla="*/ 387339 w 1031207"/>
                <a:gd name="connsiteY30" fmla="*/ 837934 h 841401"/>
                <a:gd name="connsiteX31" fmla="*/ 400674 w 1031207"/>
                <a:gd name="connsiteY31" fmla="*/ 784594 h 841401"/>
                <a:gd name="connsiteX32" fmla="*/ 404484 w 1031207"/>
                <a:gd name="connsiteY32" fmla="*/ 727444 h 841401"/>
                <a:gd name="connsiteX33" fmla="*/ 421629 w 1031207"/>
                <a:gd name="connsiteY33" fmla="*/ 672199 h 841401"/>
                <a:gd name="connsiteX34" fmla="*/ 462031 w 1031207"/>
                <a:gd name="connsiteY34" fmla="*/ 600072 h 841401"/>
                <a:gd name="connsiteX35" fmla="*/ 521252 w 1031207"/>
                <a:gd name="connsiteY35" fmla="*/ 565123 h 841401"/>
                <a:gd name="connsiteX36" fmla="*/ 597090 w 1031207"/>
                <a:gd name="connsiteY36" fmla="*/ 550915 h 841401"/>
                <a:gd name="connsiteX37" fmla="*/ 705543 w 1031207"/>
                <a:gd name="connsiteY37" fmla="*/ 612819 h 841401"/>
                <a:gd name="connsiteX38" fmla="*/ 777864 w 1031207"/>
                <a:gd name="connsiteY38" fmla="*/ 656959 h 841401"/>
                <a:gd name="connsiteX39" fmla="*/ 802629 w 1031207"/>
                <a:gd name="connsiteY39" fmla="*/ 632194 h 841401"/>
                <a:gd name="connsiteX40" fmla="*/ 798819 w 1031207"/>
                <a:gd name="connsiteY40" fmla="*/ 601714 h 841401"/>
                <a:gd name="connsiteX41" fmla="*/ 760538 w 1031207"/>
                <a:gd name="connsiteY41" fmla="*/ 562523 h 841401"/>
                <a:gd name="connsiteX42" fmla="*/ 648324 w 1031207"/>
                <a:gd name="connsiteY42" fmla="*/ 479794 h 841401"/>
                <a:gd name="connsiteX43" fmla="*/ 644514 w 1031207"/>
                <a:gd name="connsiteY43" fmla="*/ 462649 h 841401"/>
                <a:gd name="connsiteX44" fmla="*/ 655944 w 1031207"/>
                <a:gd name="connsiteY44" fmla="*/ 426454 h 841401"/>
                <a:gd name="connsiteX45" fmla="*/ 724524 w 1031207"/>
                <a:gd name="connsiteY45" fmla="*/ 405499 h 841401"/>
                <a:gd name="connsiteX46" fmla="*/ 811480 w 1031207"/>
                <a:gd name="connsiteY46" fmla="*/ 406906 h 841401"/>
                <a:gd name="connsiteX47" fmla="*/ 903973 w 1031207"/>
                <a:gd name="connsiteY47" fmla="*/ 417646 h 841401"/>
                <a:gd name="connsiteX48" fmla="*/ 1000032 w 1031207"/>
                <a:gd name="connsiteY48" fmla="*/ 426835 h 841401"/>
                <a:gd name="connsiteX49" fmla="*/ 1030191 w 1031207"/>
                <a:gd name="connsiteY49" fmla="*/ 402711 h 841401"/>
                <a:gd name="connsiteX50" fmla="*/ 1018256 w 1031207"/>
                <a:gd name="connsiteY50" fmla="*/ 377797 h 841401"/>
                <a:gd name="connsiteX51" fmla="*/ 962631 w 1031207"/>
                <a:gd name="connsiteY51" fmla="*/ 358029 h 841401"/>
                <a:gd name="connsiteX52" fmla="*/ 825489 w 1031207"/>
                <a:gd name="connsiteY52" fmla="*/ 357874 h 841401"/>
                <a:gd name="connsiteX53" fmla="*/ 753553 w 1031207"/>
                <a:gd name="connsiteY53" fmla="*/ 361702 h 841401"/>
                <a:gd name="connsiteX54" fmla="*/ 669279 w 1031207"/>
                <a:gd name="connsiteY54" fmla="*/ 369304 h 841401"/>
                <a:gd name="connsiteX55" fmla="*/ 642609 w 1031207"/>
                <a:gd name="connsiteY55" fmla="*/ 338824 h 841401"/>
                <a:gd name="connsiteX56" fmla="*/ 674145 w 1031207"/>
                <a:gd name="connsiteY56" fmla="*/ 304962 h 841401"/>
                <a:gd name="connsiteX57" fmla="*/ 705474 w 1031207"/>
                <a:gd name="connsiteY57" fmla="*/ 283579 h 841401"/>
                <a:gd name="connsiteX58" fmla="*/ 741669 w 1031207"/>
                <a:gd name="connsiteY58" fmla="*/ 251194 h 841401"/>
                <a:gd name="connsiteX59" fmla="*/ 780761 w 1031207"/>
                <a:gd name="connsiteY59" fmla="*/ 213846 h 841401"/>
                <a:gd name="connsiteX60" fmla="*/ 744143 w 1031207"/>
                <a:gd name="connsiteY60" fmla="*/ 201789 h 841401"/>
                <a:gd name="connsiteX61" fmla="*/ 692139 w 1031207"/>
                <a:gd name="connsiteY61" fmla="*/ 226429 h 841401"/>
                <a:gd name="connsiteX62" fmla="*/ 654420 w 1031207"/>
                <a:gd name="connsiteY62" fmla="*/ 257626 h 841401"/>
                <a:gd name="connsiteX63" fmla="*/ 613743 w 1031207"/>
                <a:gd name="connsiteY63" fmla="*/ 286712 h 841401"/>
                <a:gd name="connsiteX64" fmla="*/ 540096 w 1031207"/>
                <a:gd name="connsiteY64" fmla="*/ 278516 h 841401"/>
                <a:gd name="connsiteX65" fmla="*/ 505449 w 1031207"/>
                <a:gd name="connsiteY65" fmla="*/ 235954 h 841401"/>
                <a:gd name="connsiteX66" fmla="*/ 507354 w 1031207"/>
                <a:gd name="connsiteY66" fmla="*/ 171184 h 841401"/>
                <a:gd name="connsiteX67" fmla="*/ 506056 w 1031207"/>
                <a:gd name="connsiteY67" fmla="*/ 73485 h 841401"/>
                <a:gd name="connsiteX68" fmla="*/ 451858 w 1031207"/>
                <a:gd name="connsiteY68" fmla="*/ 11248 h 841401"/>
                <a:gd name="connsiteX69" fmla="*/ 440212 w 1031207"/>
                <a:gd name="connsiteY69" fmla="*/ 75864 h 841401"/>
                <a:gd name="connsiteX70" fmla="*/ 436968 w 1031207"/>
                <a:gd name="connsiteY70" fmla="*/ 132660 h 841401"/>
                <a:gd name="connsiteX71" fmla="*/ 433796 w 1031207"/>
                <a:gd name="connsiteY71"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6331 w 1031207"/>
                <a:gd name="connsiteY3" fmla="*/ 271935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51144 w 1031207"/>
                <a:gd name="connsiteY25" fmla="*/ 561709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51144 w 1031207"/>
                <a:gd name="connsiteY25" fmla="*/ 561709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43292 w 1031207"/>
                <a:gd name="connsiteY25" fmla="*/ 550961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59012 w 1031207"/>
                <a:gd name="connsiteY25" fmla="*/ 549139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59012 w 1031207"/>
                <a:gd name="connsiteY25" fmla="*/ 549139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350633 w 1031207"/>
                <a:gd name="connsiteY25" fmla="*/ 543894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3024 w 1031207"/>
                <a:gd name="connsiteY23" fmla="*/ 538849 h 841401"/>
                <a:gd name="connsiteX24" fmla="*/ 268163 w 1031207"/>
                <a:gd name="connsiteY24" fmla="*/ 519747 h 841401"/>
                <a:gd name="connsiteX25" fmla="*/ 273404 w 1031207"/>
                <a:gd name="connsiteY25" fmla="*/ 514779 h 841401"/>
                <a:gd name="connsiteX26" fmla="*/ 350633 w 1031207"/>
                <a:gd name="connsiteY26" fmla="*/ 543894 h 841401"/>
                <a:gd name="connsiteX27" fmla="*/ 362574 w 1031207"/>
                <a:gd name="connsiteY27" fmla="*/ 609334 h 841401"/>
                <a:gd name="connsiteX28" fmla="*/ 328284 w 1031207"/>
                <a:gd name="connsiteY28" fmla="*/ 756019 h 841401"/>
                <a:gd name="connsiteX29" fmla="*/ 355316 w 1031207"/>
                <a:gd name="connsiteY29" fmla="*/ 827377 h 841401"/>
                <a:gd name="connsiteX30" fmla="*/ 387339 w 1031207"/>
                <a:gd name="connsiteY30" fmla="*/ 837934 h 841401"/>
                <a:gd name="connsiteX31" fmla="*/ 400674 w 1031207"/>
                <a:gd name="connsiteY31" fmla="*/ 784594 h 841401"/>
                <a:gd name="connsiteX32" fmla="*/ 404484 w 1031207"/>
                <a:gd name="connsiteY32" fmla="*/ 727444 h 841401"/>
                <a:gd name="connsiteX33" fmla="*/ 421629 w 1031207"/>
                <a:gd name="connsiteY33" fmla="*/ 672199 h 841401"/>
                <a:gd name="connsiteX34" fmla="*/ 462031 w 1031207"/>
                <a:gd name="connsiteY34" fmla="*/ 600072 h 841401"/>
                <a:gd name="connsiteX35" fmla="*/ 521252 w 1031207"/>
                <a:gd name="connsiteY35" fmla="*/ 565123 h 841401"/>
                <a:gd name="connsiteX36" fmla="*/ 597090 w 1031207"/>
                <a:gd name="connsiteY36" fmla="*/ 550915 h 841401"/>
                <a:gd name="connsiteX37" fmla="*/ 705543 w 1031207"/>
                <a:gd name="connsiteY37" fmla="*/ 612819 h 841401"/>
                <a:gd name="connsiteX38" fmla="*/ 777864 w 1031207"/>
                <a:gd name="connsiteY38" fmla="*/ 656959 h 841401"/>
                <a:gd name="connsiteX39" fmla="*/ 802629 w 1031207"/>
                <a:gd name="connsiteY39" fmla="*/ 632194 h 841401"/>
                <a:gd name="connsiteX40" fmla="*/ 798819 w 1031207"/>
                <a:gd name="connsiteY40" fmla="*/ 601714 h 841401"/>
                <a:gd name="connsiteX41" fmla="*/ 760538 w 1031207"/>
                <a:gd name="connsiteY41" fmla="*/ 562523 h 841401"/>
                <a:gd name="connsiteX42" fmla="*/ 648324 w 1031207"/>
                <a:gd name="connsiteY42" fmla="*/ 479794 h 841401"/>
                <a:gd name="connsiteX43" fmla="*/ 644514 w 1031207"/>
                <a:gd name="connsiteY43" fmla="*/ 462649 h 841401"/>
                <a:gd name="connsiteX44" fmla="*/ 655944 w 1031207"/>
                <a:gd name="connsiteY44" fmla="*/ 426454 h 841401"/>
                <a:gd name="connsiteX45" fmla="*/ 724524 w 1031207"/>
                <a:gd name="connsiteY45" fmla="*/ 405499 h 841401"/>
                <a:gd name="connsiteX46" fmla="*/ 811480 w 1031207"/>
                <a:gd name="connsiteY46" fmla="*/ 406906 h 841401"/>
                <a:gd name="connsiteX47" fmla="*/ 903973 w 1031207"/>
                <a:gd name="connsiteY47" fmla="*/ 417646 h 841401"/>
                <a:gd name="connsiteX48" fmla="*/ 1000032 w 1031207"/>
                <a:gd name="connsiteY48" fmla="*/ 426835 h 841401"/>
                <a:gd name="connsiteX49" fmla="*/ 1030191 w 1031207"/>
                <a:gd name="connsiteY49" fmla="*/ 402711 h 841401"/>
                <a:gd name="connsiteX50" fmla="*/ 1018256 w 1031207"/>
                <a:gd name="connsiteY50" fmla="*/ 377797 h 841401"/>
                <a:gd name="connsiteX51" fmla="*/ 962631 w 1031207"/>
                <a:gd name="connsiteY51" fmla="*/ 358029 h 841401"/>
                <a:gd name="connsiteX52" fmla="*/ 825489 w 1031207"/>
                <a:gd name="connsiteY52" fmla="*/ 357874 h 841401"/>
                <a:gd name="connsiteX53" fmla="*/ 753553 w 1031207"/>
                <a:gd name="connsiteY53" fmla="*/ 361702 h 841401"/>
                <a:gd name="connsiteX54" fmla="*/ 669279 w 1031207"/>
                <a:gd name="connsiteY54" fmla="*/ 369304 h 841401"/>
                <a:gd name="connsiteX55" fmla="*/ 642609 w 1031207"/>
                <a:gd name="connsiteY55" fmla="*/ 338824 h 841401"/>
                <a:gd name="connsiteX56" fmla="*/ 674145 w 1031207"/>
                <a:gd name="connsiteY56" fmla="*/ 304962 h 841401"/>
                <a:gd name="connsiteX57" fmla="*/ 705474 w 1031207"/>
                <a:gd name="connsiteY57" fmla="*/ 283579 h 841401"/>
                <a:gd name="connsiteX58" fmla="*/ 741669 w 1031207"/>
                <a:gd name="connsiteY58" fmla="*/ 251194 h 841401"/>
                <a:gd name="connsiteX59" fmla="*/ 780761 w 1031207"/>
                <a:gd name="connsiteY59" fmla="*/ 213846 h 841401"/>
                <a:gd name="connsiteX60" fmla="*/ 744143 w 1031207"/>
                <a:gd name="connsiteY60" fmla="*/ 201789 h 841401"/>
                <a:gd name="connsiteX61" fmla="*/ 692139 w 1031207"/>
                <a:gd name="connsiteY61" fmla="*/ 226429 h 841401"/>
                <a:gd name="connsiteX62" fmla="*/ 654420 w 1031207"/>
                <a:gd name="connsiteY62" fmla="*/ 257626 h 841401"/>
                <a:gd name="connsiteX63" fmla="*/ 613743 w 1031207"/>
                <a:gd name="connsiteY63" fmla="*/ 286712 h 841401"/>
                <a:gd name="connsiteX64" fmla="*/ 540096 w 1031207"/>
                <a:gd name="connsiteY64" fmla="*/ 278516 h 841401"/>
                <a:gd name="connsiteX65" fmla="*/ 505449 w 1031207"/>
                <a:gd name="connsiteY65" fmla="*/ 235954 h 841401"/>
                <a:gd name="connsiteX66" fmla="*/ 507354 w 1031207"/>
                <a:gd name="connsiteY66" fmla="*/ 171184 h 841401"/>
                <a:gd name="connsiteX67" fmla="*/ 506056 w 1031207"/>
                <a:gd name="connsiteY67" fmla="*/ 73485 h 841401"/>
                <a:gd name="connsiteX68" fmla="*/ 451858 w 1031207"/>
                <a:gd name="connsiteY68" fmla="*/ 11248 h 841401"/>
                <a:gd name="connsiteX69" fmla="*/ 440212 w 1031207"/>
                <a:gd name="connsiteY69" fmla="*/ 75864 h 841401"/>
                <a:gd name="connsiteX70" fmla="*/ 436968 w 1031207"/>
                <a:gd name="connsiteY70" fmla="*/ 132660 h 841401"/>
                <a:gd name="connsiteX71" fmla="*/ 433796 w 1031207"/>
                <a:gd name="connsiteY71"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8269 w 1031207"/>
                <a:gd name="connsiteY23" fmla="*/ 530469 h 841401"/>
                <a:gd name="connsiteX24" fmla="*/ 268163 w 1031207"/>
                <a:gd name="connsiteY24" fmla="*/ 519747 h 841401"/>
                <a:gd name="connsiteX25" fmla="*/ 273404 w 1031207"/>
                <a:gd name="connsiteY25" fmla="*/ 514779 h 841401"/>
                <a:gd name="connsiteX26" fmla="*/ 350633 w 1031207"/>
                <a:gd name="connsiteY26" fmla="*/ 543894 h 841401"/>
                <a:gd name="connsiteX27" fmla="*/ 362574 w 1031207"/>
                <a:gd name="connsiteY27" fmla="*/ 609334 h 841401"/>
                <a:gd name="connsiteX28" fmla="*/ 328284 w 1031207"/>
                <a:gd name="connsiteY28" fmla="*/ 756019 h 841401"/>
                <a:gd name="connsiteX29" fmla="*/ 355316 w 1031207"/>
                <a:gd name="connsiteY29" fmla="*/ 827377 h 841401"/>
                <a:gd name="connsiteX30" fmla="*/ 387339 w 1031207"/>
                <a:gd name="connsiteY30" fmla="*/ 837934 h 841401"/>
                <a:gd name="connsiteX31" fmla="*/ 400674 w 1031207"/>
                <a:gd name="connsiteY31" fmla="*/ 784594 h 841401"/>
                <a:gd name="connsiteX32" fmla="*/ 404484 w 1031207"/>
                <a:gd name="connsiteY32" fmla="*/ 727444 h 841401"/>
                <a:gd name="connsiteX33" fmla="*/ 421629 w 1031207"/>
                <a:gd name="connsiteY33" fmla="*/ 672199 h 841401"/>
                <a:gd name="connsiteX34" fmla="*/ 462031 w 1031207"/>
                <a:gd name="connsiteY34" fmla="*/ 600072 h 841401"/>
                <a:gd name="connsiteX35" fmla="*/ 521252 w 1031207"/>
                <a:gd name="connsiteY35" fmla="*/ 565123 h 841401"/>
                <a:gd name="connsiteX36" fmla="*/ 597090 w 1031207"/>
                <a:gd name="connsiteY36" fmla="*/ 550915 h 841401"/>
                <a:gd name="connsiteX37" fmla="*/ 705543 w 1031207"/>
                <a:gd name="connsiteY37" fmla="*/ 612819 h 841401"/>
                <a:gd name="connsiteX38" fmla="*/ 777864 w 1031207"/>
                <a:gd name="connsiteY38" fmla="*/ 656959 h 841401"/>
                <a:gd name="connsiteX39" fmla="*/ 802629 w 1031207"/>
                <a:gd name="connsiteY39" fmla="*/ 632194 h 841401"/>
                <a:gd name="connsiteX40" fmla="*/ 798819 w 1031207"/>
                <a:gd name="connsiteY40" fmla="*/ 601714 h 841401"/>
                <a:gd name="connsiteX41" fmla="*/ 760538 w 1031207"/>
                <a:gd name="connsiteY41" fmla="*/ 562523 h 841401"/>
                <a:gd name="connsiteX42" fmla="*/ 648324 w 1031207"/>
                <a:gd name="connsiteY42" fmla="*/ 479794 h 841401"/>
                <a:gd name="connsiteX43" fmla="*/ 644514 w 1031207"/>
                <a:gd name="connsiteY43" fmla="*/ 462649 h 841401"/>
                <a:gd name="connsiteX44" fmla="*/ 655944 w 1031207"/>
                <a:gd name="connsiteY44" fmla="*/ 426454 h 841401"/>
                <a:gd name="connsiteX45" fmla="*/ 724524 w 1031207"/>
                <a:gd name="connsiteY45" fmla="*/ 405499 h 841401"/>
                <a:gd name="connsiteX46" fmla="*/ 811480 w 1031207"/>
                <a:gd name="connsiteY46" fmla="*/ 406906 h 841401"/>
                <a:gd name="connsiteX47" fmla="*/ 903973 w 1031207"/>
                <a:gd name="connsiteY47" fmla="*/ 417646 h 841401"/>
                <a:gd name="connsiteX48" fmla="*/ 1000032 w 1031207"/>
                <a:gd name="connsiteY48" fmla="*/ 426835 h 841401"/>
                <a:gd name="connsiteX49" fmla="*/ 1030191 w 1031207"/>
                <a:gd name="connsiteY49" fmla="*/ 402711 h 841401"/>
                <a:gd name="connsiteX50" fmla="*/ 1018256 w 1031207"/>
                <a:gd name="connsiteY50" fmla="*/ 377797 h 841401"/>
                <a:gd name="connsiteX51" fmla="*/ 962631 w 1031207"/>
                <a:gd name="connsiteY51" fmla="*/ 358029 h 841401"/>
                <a:gd name="connsiteX52" fmla="*/ 825489 w 1031207"/>
                <a:gd name="connsiteY52" fmla="*/ 357874 h 841401"/>
                <a:gd name="connsiteX53" fmla="*/ 753553 w 1031207"/>
                <a:gd name="connsiteY53" fmla="*/ 361702 h 841401"/>
                <a:gd name="connsiteX54" fmla="*/ 669279 w 1031207"/>
                <a:gd name="connsiteY54" fmla="*/ 369304 h 841401"/>
                <a:gd name="connsiteX55" fmla="*/ 642609 w 1031207"/>
                <a:gd name="connsiteY55" fmla="*/ 338824 h 841401"/>
                <a:gd name="connsiteX56" fmla="*/ 674145 w 1031207"/>
                <a:gd name="connsiteY56" fmla="*/ 304962 h 841401"/>
                <a:gd name="connsiteX57" fmla="*/ 705474 w 1031207"/>
                <a:gd name="connsiteY57" fmla="*/ 283579 h 841401"/>
                <a:gd name="connsiteX58" fmla="*/ 741669 w 1031207"/>
                <a:gd name="connsiteY58" fmla="*/ 251194 h 841401"/>
                <a:gd name="connsiteX59" fmla="*/ 780761 w 1031207"/>
                <a:gd name="connsiteY59" fmla="*/ 213846 h 841401"/>
                <a:gd name="connsiteX60" fmla="*/ 744143 w 1031207"/>
                <a:gd name="connsiteY60" fmla="*/ 201789 h 841401"/>
                <a:gd name="connsiteX61" fmla="*/ 692139 w 1031207"/>
                <a:gd name="connsiteY61" fmla="*/ 226429 h 841401"/>
                <a:gd name="connsiteX62" fmla="*/ 654420 w 1031207"/>
                <a:gd name="connsiteY62" fmla="*/ 257626 h 841401"/>
                <a:gd name="connsiteX63" fmla="*/ 613743 w 1031207"/>
                <a:gd name="connsiteY63" fmla="*/ 286712 h 841401"/>
                <a:gd name="connsiteX64" fmla="*/ 540096 w 1031207"/>
                <a:gd name="connsiteY64" fmla="*/ 278516 h 841401"/>
                <a:gd name="connsiteX65" fmla="*/ 505449 w 1031207"/>
                <a:gd name="connsiteY65" fmla="*/ 235954 h 841401"/>
                <a:gd name="connsiteX66" fmla="*/ 507354 w 1031207"/>
                <a:gd name="connsiteY66" fmla="*/ 171184 h 841401"/>
                <a:gd name="connsiteX67" fmla="*/ 506056 w 1031207"/>
                <a:gd name="connsiteY67" fmla="*/ 73485 h 841401"/>
                <a:gd name="connsiteX68" fmla="*/ 451858 w 1031207"/>
                <a:gd name="connsiteY68" fmla="*/ 11248 h 841401"/>
                <a:gd name="connsiteX69" fmla="*/ 440212 w 1031207"/>
                <a:gd name="connsiteY69" fmla="*/ 75864 h 841401"/>
                <a:gd name="connsiteX70" fmla="*/ 436968 w 1031207"/>
                <a:gd name="connsiteY70" fmla="*/ 132660 h 841401"/>
                <a:gd name="connsiteX71" fmla="*/ 433796 w 1031207"/>
                <a:gd name="connsiteY71"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8269 w 1031207"/>
                <a:gd name="connsiteY23" fmla="*/ 530469 h 841401"/>
                <a:gd name="connsiteX24" fmla="*/ 268163 w 1031207"/>
                <a:gd name="connsiteY24" fmla="*/ 519747 h 841401"/>
                <a:gd name="connsiteX25" fmla="*/ 350633 w 1031207"/>
                <a:gd name="connsiteY25" fmla="*/ 543894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 name="connsiteX0" fmla="*/ 433796 w 1031207"/>
                <a:gd name="connsiteY0" fmla="*/ 214465 h 841401"/>
                <a:gd name="connsiteX1" fmla="*/ 421629 w 1031207"/>
                <a:gd name="connsiteY1" fmla="*/ 253099 h 841401"/>
                <a:gd name="connsiteX2" fmla="*/ 394959 w 1031207"/>
                <a:gd name="connsiteY2" fmla="*/ 262624 h 841401"/>
                <a:gd name="connsiteX3" fmla="*/ 351612 w 1031207"/>
                <a:gd name="connsiteY3" fmla="*/ 274814 h 841401"/>
                <a:gd name="connsiteX4" fmla="*/ 313044 w 1031207"/>
                <a:gd name="connsiteY4" fmla="*/ 289293 h 841401"/>
                <a:gd name="connsiteX5" fmla="*/ 265419 w 1031207"/>
                <a:gd name="connsiteY5" fmla="*/ 285484 h 841401"/>
                <a:gd name="connsiteX6" fmla="*/ 156834 w 1031207"/>
                <a:gd name="connsiteY6" fmla="*/ 239764 h 841401"/>
                <a:gd name="connsiteX7" fmla="*/ 101589 w 1031207"/>
                <a:gd name="connsiteY7" fmla="*/ 203569 h 841401"/>
                <a:gd name="connsiteX8" fmla="*/ 59679 w 1031207"/>
                <a:gd name="connsiteY8" fmla="*/ 197854 h 841401"/>
                <a:gd name="connsiteX9" fmla="*/ 48331 w 1031207"/>
                <a:gd name="connsiteY9" fmla="*/ 241190 h 841401"/>
                <a:gd name="connsiteX10" fmla="*/ 63490 w 1031207"/>
                <a:gd name="connsiteY10" fmla="*/ 272150 h 841401"/>
                <a:gd name="connsiteX11" fmla="*/ 124449 w 1031207"/>
                <a:gd name="connsiteY11" fmla="*/ 289294 h 841401"/>
                <a:gd name="connsiteX12" fmla="*/ 191124 w 1031207"/>
                <a:gd name="connsiteY12" fmla="*/ 308344 h 841401"/>
                <a:gd name="connsiteX13" fmla="*/ 226553 w 1031207"/>
                <a:gd name="connsiteY13" fmla="*/ 323832 h 841401"/>
                <a:gd name="connsiteX14" fmla="*/ 291209 w 1031207"/>
                <a:gd name="connsiteY14" fmla="*/ 364030 h 841401"/>
                <a:gd name="connsiteX15" fmla="*/ 301013 w 1031207"/>
                <a:gd name="connsiteY15" fmla="*/ 410802 h 841401"/>
                <a:gd name="connsiteX16" fmla="*/ 263514 w 1031207"/>
                <a:gd name="connsiteY16" fmla="*/ 447409 h 841401"/>
                <a:gd name="connsiteX17" fmla="*/ 217240 w 1031207"/>
                <a:gd name="connsiteY17" fmla="*/ 459458 h 841401"/>
                <a:gd name="connsiteX18" fmla="*/ 136827 w 1031207"/>
                <a:gd name="connsiteY18" fmla="*/ 465397 h 841401"/>
                <a:gd name="connsiteX19" fmla="*/ 88254 w 1031207"/>
                <a:gd name="connsiteY19" fmla="*/ 468364 h 841401"/>
                <a:gd name="connsiteX20" fmla="*/ 27294 w 1031207"/>
                <a:gd name="connsiteY20" fmla="*/ 477889 h 841401"/>
                <a:gd name="connsiteX21" fmla="*/ 624 w 1031207"/>
                <a:gd name="connsiteY21" fmla="*/ 504559 h 841401"/>
                <a:gd name="connsiteX22" fmla="*/ 51344 w 1031207"/>
                <a:gd name="connsiteY22" fmla="*/ 547857 h 841401"/>
                <a:gd name="connsiteX23" fmla="*/ 158269 w 1031207"/>
                <a:gd name="connsiteY23" fmla="*/ 530469 h 841401"/>
                <a:gd name="connsiteX24" fmla="*/ 266069 w 1031207"/>
                <a:gd name="connsiteY24" fmla="*/ 518436 h 841401"/>
                <a:gd name="connsiteX25" fmla="*/ 350633 w 1031207"/>
                <a:gd name="connsiteY25" fmla="*/ 543894 h 841401"/>
                <a:gd name="connsiteX26" fmla="*/ 362574 w 1031207"/>
                <a:gd name="connsiteY26" fmla="*/ 609334 h 841401"/>
                <a:gd name="connsiteX27" fmla="*/ 328284 w 1031207"/>
                <a:gd name="connsiteY27" fmla="*/ 756019 h 841401"/>
                <a:gd name="connsiteX28" fmla="*/ 355316 w 1031207"/>
                <a:gd name="connsiteY28" fmla="*/ 827377 h 841401"/>
                <a:gd name="connsiteX29" fmla="*/ 387339 w 1031207"/>
                <a:gd name="connsiteY29" fmla="*/ 837934 h 841401"/>
                <a:gd name="connsiteX30" fmla="*/ 400674 w 1031207"/>
                <a:gd name="connsiteY30" fmla="*/ 784594 h 841401"/>
                <a:gd name="connsiteX31" fmla="*/ 404484 w 1031207"/>
                <a:gd name="connsiteY31" fmla="*/ 727444 h 841401"/>
                <a:gd name="connsiteX32" fmla="*/ 421629 w 1031207"/>
                <a:gd name="connsiteY32" fmla="*/ 672199 h 841401"/>
                <a:gd name="connsiteX33" fmla="*/ 462031 w 1031207"/>
                <a:gd name="connsiteY33" fmla="*/ 600072 h 841401"/>
                <a:gd name="connsiteX34" fmla="*/ 521252 w 1031207"/>
                <a:gd name="connsiteY34" fmla="*/ 565123 h 841401"/>
                <a:gd name="connsiteX35" fmla="*/ 597090 w 1031207"/>
                <a:gd name="connsiteY35" fmla="*/ 550915 h 841401"/>
                <a:gd name="connsiteX36" fmla="*/ 705543 w 1031207"/>
                <a:gd name="connsiteY36" fmla="*/ 612819 h 841401"/>
                <a:gd name="connsiteX37" fmla="*/ 777864 w 1031207"/>
                <a:gd name="connsiteY37" fmla="*/ 656959 h 841401"/>
                <a:gd name="connsiteX38" fmla="*/ 802629 w 1031207"/>
                <a:gd name="connsiteY38" fmla="*/ 632194 h 841401"/>
                <a:gd name="connsiteX39" fmla="*/ 798819 w 1031207"/>
                <a:gd name="connsiteY39" fmla="*/ 601714 h 841401"/>
                <a:gd name="connsiteX40" fmla="*/ 760538 w 1031207"/>
                <a:gd name="connsiteY40" fmla="*/ 562523 h 841401"/>
                <a:gd name="connsiteX41" fmla="*/ 648324 w 1031207"/>
                <a:gd name="connsiteY41" fmla="*/ 479794 h 841401"/>
                <a:gd name="connsiteX42" fmla="*/ 644514 w 1031207"/>
                <a:gd name="connsiteY42" fmla="*/ 462649 h 841401"/>
                <a:gd name="connsiteX43" fmla="*/ 655944 w 1031207"/>
                <a:gd name="connsiteY43" fmla="*/ 426454 h 841401"/>
                <a:gd name="connsiteX44" fmla="*/ 724524 w 1031207"/>
                <a:gd name="connsiteY44" fmla="*/ 405499 h 841401"/>
                <a:gd name="connsiteX45" fmla="*/ 811480 w 1031207"/>
                <a:gd name="connsiteY45" fmla="*/ 406906 h 841401"/>
                <a:gd name="connsiteX46" fmla="*/ 903973 w 1031207"/>
                <a:gd name="connsiteY46" fmla="*/ 417646 h 841401"/>
                <a:gd name="connsiteX47" fmla="*/ 1000032 w 1031207"/>
                <a:gd name="connsiteY47" fmla="*/ 426835 h 841401"/>
                <a:gd name="connsiteX48" fmla="*/ 1030191 w 1031207"/>
                <a:gd name="connsiteY48" fmla="*/ 402711 h 841401"/>
                <a:gd name="connsiteX49" fmla="*/ 1018256 w 1031207"/>
                <a:gd name="connsiteY49" fmla="*/ 377797 h 841401"/>
                <a:gd name="connsiteX50" fmla="*/ 962631 w 1031207"/>
                <a:gd name="connsiteY50" fmla="*/ 358029 h 841401"/>
                <a:gd name="connsiteX51" fmla="*/ 825489 w 1031207"/>
                <a:gd name="connsiteY51" fmla="*/ 357874 h 841401"/>
                <a:gd name="connsiteX52" fmla="*/ 753553 w 1031207"/>
                <a:gd name="connsiteY52" fmla="*/ 361702 h 841401"/>
                <a:gd name="connsiteX53" fmla="*/ 669279 w 1031207"/>
                <a:gd name="connsiteY53" fmla="*/ 369304 h 841401"/>
                <a:gd name="connsiteX54" fmla="*/ 642609 w 1031207"/>
                <a:gd name="connsiteY54" fmla="*/ 338824 h 841401"/>
                <a:gd name="connsiteX55" fmla="*/ 674145 w 1031207"/>
                <a:gd name="connsiteY55" fmla="*/ 304962 h 841401"/>
                <a:gd name="connsiteX56" fmla="*/ 705474 w 1031207"/>
                <a:gd name="connsiteY56" fmla="*/ 283579 h 841401"/>
                <a:gd name="connsiteX57" fmla="*/ 741669 w 1031207"/>
                <a:gd name="connsiteY57" fmla="*/ 251194 h 841401"/>
                <a:gd name="connsiteX58" fmla="*/ 780761 w 1031207"/>
                <a:gd name="connsiteY58" fmla="*/ 213846 h 841401"/>
                <a:gd name="connsiteX59" fmla="*/ 744143 w 1031207"/>
                <a:gd name="connsiteY59" fmla="*/ 201789 h 841401"/>
                <a:gd name="connsiteX60" fmla="*/ 692139 w 1031207"/>
                <a:gd name="connsiteY60" fmla="*/ 226429 h 841401"/>
                <a:gd name="connsiteX61" fmla="*/ 654420 w 1031207"/>
                <a:gd name="connsiteY61" fmla="*/ 257626 h 841401"/>
                <a:gd name="connsiteX62" fmla="*/ 613743 w 1031207"/>
                <a:gd name="connsiteY62" fmla="*/ 286712 h 841401"/>
                <a:gd name="connsiteX63" fmla="*/ 540096 w 1031207"/>
                <a:gd name="connsiteY63" fmla="*/ 278516 h 841401"/>
                <a:gd name="connsiteX64" fmla="*/ 505449 w 1031207"/>
                <a:gd name="connsiteY64" fmla="*/ 235954 h 841401"/>
                <a:gd name="connsiteX65" fmla="*/ 507354 w 1031207"/>
                <a:gd name="connsiteY65" fmla="*/ 171184 h 841401"/>
                <a:gd name="connsiteX66" fmla="*/ 506056 w 1031207"/>
                <a:gd name="connsiteY66" fmla="*/ 73485 h 841401"/>
                <a:gd name="connsiteX67" fmla="*/ 451858 w 1031207"/>
                <a:gd name="connsiteY67" fmla="*/ 11248 h 841401"/>
                <a:gd name="connsiteX68" fmla="*/ 440212 w 1031207"/>
                <a:gd name="connsiteY68" fmla="*/ 75864 h 841401"/>
                <a:gd name="connsiteX69" fmla="*/ 436968 w 1031207"/>
                <a:gd name="connsiteY69" fmla="*/ 132660 h 841401"/>
                <a:gd name="connsiteX70" fmla="*/ 433796 w 1031207"/>
                <a:gd name="connsiteY70" fmla="*/ 214465 h 84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31207" h="841401">
                  <a:moveTo>
                    <a:pt x="433796" y="214465"/>
                  </a:moveTo>
                  <a:cubicBezTo>
                    <a:pt x="431240" y="234538"/>
                    <a:pt x="425700" y="251572"/>
                    <a:pt x="421629" y="253099"/>
                  </a:cubicBezTo>
                  <a:cubicBezTo>
                    <a:pt x="417558" y="254626"/>
                    <a:pt x="406628" y="259005"/>
                    <a:pt x="394959" y="262624"/>
                  </a:cubicBezTo>
                  <a:cubicBezTo>
                    <a:pt x="383290" y="266243"/>
                    <a:pt x="365264" y="270369"/>
                    <a:pt x="351612" y="274814"/>
                  </a:cubicBezTo>
                  <a:cubicBezTo>
                    <a:pt x="337960" y="279259"/>
                    <a:pt x="327409" y="287515"/>
                    <a:pt x="313044" y="289293"/>
                  </a:cubicBezTo>
                  <a:cubicBezTo>
                    <a:pt x="298679" y="291071"/>
                    <a:pt x="291454" y="293739"/>
                    <a:pt x="265419" y="285484"/>
                  </a:cubicBezTo>
                  <a:cubicBezTo>
                    <a:pt x="239384" y="277229"/>
                    <a:pt x="184139" y="253416"/>
                    <a:pt x="156834" y="239764"/>
                  </a:cubicBezTo>
                  <a:cubicBezTo>
                    <a:pt x="129529" y="226112"/>
                    <a:pt x="117781" y="210554"/>
                    <a:pt x="101589" y="203569"/>
                  </a:cubicBezTo>
                  <a:cubicBezTo>
                    <a:pt x="85397" y="196584"/>
                    <a:pt x="68555" y="191584"/>
                    <a:pt x="59679" y="197854"/>
                  </a:cubicBezTo>
                  <a:cubicBezTo>
                    <a:pt x="50803" y="204124"/>
                    <a:pt x="47696" y="228807"/>
                    <a:pt x="48331" y="241190"/>
                  </a:cubicBezTo>
                  <a:cubicBezTo>
                    <a:pt x="48966" y="253573"/>
                    <a:pt x="50804" y="264133"/>
                    <a:pt x="63490" y="272150"/>
                  </a:cubicBezTo>
                  <a:cubicBezTo>
                    <a:pt x="76176" y="280167"/>
                    <a:pt x="103176" y="283261"/>
                    <a:pt x="124449" y="289294"/>
                  </a:cubicBezTo>
                  <a:lnTo>
                    <a:pt x="191124" y="308344"/>
                  </a:lnTo>
                  <a:cubicBezTo>
                    <a:pt x="207189" y="313783"/>
                    <a:pt x="209872" y="314551"/>
                    <a:pt x="226553" y="323832"/>
                  </a:cubicBezTo>
                  <a:cubicBezTo>
                    <a:pt x="243234" y="333113"/>
                    <a:pt x="278799" y="349535"/>
                    <a:pt x="291209" y="364030"/>
                  </a:cubicBezTo>
                  <a:cubicBezTo>
                    <a:pt x="303619" y="378525"/>
                    <a:pt x="305629" y="396906"/>
                    <a:pt x="301013" y="410802"/>
                  </a:cubicBezTo>
                  <a:cubicBezTo>
                    <a:pt x="296397" y="424698"/>
                    <a:pt x="277476" y="439300"/>
                    <a:pt x="263514" y="447409"/>
                  </a:cubicBezTo>
                  <a:cubicBezTo>
                    <a:pt x="249552" y="455518"/>
                    <a:pt x="221584" y="458010"/>
                    <a:pt x="217240" y="459458"/>
                  </a:cubicBezTo>
                  <a:cubicBezTo>
                    <a:pt x="186945" y="459252"/>
                    <a:pt x="158325" y="463913"/>
                    <a:pt x="136827" y="465397"/>
                  </a:cubicBezTo>
                  <a:cubicBezTo>
                    <a:pt x="115329" y="466881"/>
                    <a:pt x="106509" y="466282"/>
                    <a:pt x="88254" y="468364"/>
                  </a:cubicBezTo>
                  <a:cubicBezTo>
                    <a:pt x="69999" y="470446"/>
                    <a:pt x="41899" y="471857"/>
                    <a:pt x="27294" y="477889"/>
                  </a:cubicBezTo>
                  <a:cubicBezTo>
                    <a:pt x="12689" y="483921"/>
                    <a:pt x="-3384" y="492898"/>
                    <a:pt x="624" y="504559"/>
                  </a:cubicBezTo>
                  <a:cubicBezTo>
                    <a:pt x="4632" y="516220"/>
                    <a:pt x="25070" y="543539"/>
                    <a:pt x="51344" y="547857"/>
                  </a:cubicBezTo>
                  <a:cubicBezTo>
                    <a:pt x="77618" y="552175"/>
                    <a:pt x="122481" y="535373"/>
                    <a:pt x="158269" y="530469"/>
                  </a:cubicBezTo>
                  <a:cubicBezTo>
                    <a:pt x="194057" y="525565"/>
                    <a:pt x="234008" y="516199"/>
                    <a:pt x="266069" y="518436"/>
                  </a:cubicBezTo>
                  <a:cubicBezTo>
                    <a:pt x="298130" y="520674"/>
                    <a:pt x="334549" y="528744"/>
                    <a:pt x="350633" y="543894"/>
                  </a:cubicBezTo>
                  <a:cubicBezTo>
                    <a:pt x="366717" y="559044"/>
                    <a:pt x="366299" y="573980"/>
                    <a:pt x="362574" y="609334"/>
                  </a:cubicBezTo>
                  <a:cubicBezTo>
                    <a:pt x="358849" y="644688"/>
                    <a:pt x="329494" y="719679"/>
                    <a:pt x="328284" y="756019"/>
                  </a:cubicBezTo>
                  <a:cubicBezTo>
                    <a:pt x="327074" y="792359"/>
                    <a:pt x="345474" y="813725"/>
                    <a:pt x="355316" y="827377"/>
                  </a:cubicBezTo>
                  <a:cubicBezTo>
                    <a:pt x="365158" y="841029"/>
                    <a:pt x="379779" y="845064"/>
                    <a:pt x="387339" y="837934"/>
                  </a:cubicBezTo>
                  <a:cubicBezTo>
                    <a:pt x="394899" y="830804"/>
                    <a:pt x="397817" y="803009"/>
                    <a:pt x="400674" y="784594"/>
                  </a:cubicBezTo>
                  <a:cubicBezTo>
                    <a:pt x="403531" y="766179"/>
                    <a:pt x="400992" y="746176"/>
                    <a:pt x="404484" y="727444"/>
                  </a:cubicBezTo>
                  <a:cubicBezTo>
                    <a:pt x="407976" y="708712"/>
                    <a:pt x="412038" y="693428"/>
                    <a:pt x="421629" y="672199"/>
                  </a:cubicBezTo>
                  <a:cubicBezTo>
                    <a:pt x="431220" y="650970"/>
                    <a:pt x="445427" y="617918"/>
                    <a:pt x="462031" y="600072"/>
                  </a:cubicBezTo>
                  <a:cubicBezTo>
                    <a:pt x="478635" y="582226"/>
                    <a:pt x="498742" y="573316"/>
                    <a:pt x="521252" y="565123"/>
                  </a:cubicBezTo>
                  <a:cubicBezTo>
                    <a:pt x="543762" y="556930"/>
                    <a:pt x="566375" y="542966"/>
                    <a:pt x="597090" y="550915"/>
                  </a:cubicBezTo>
                  <a:cubicBezTo>
                    <a:pt x="627805" y="558864"/>
                    <a:pt x="675414" y="595145"/>
                    <a:pt x="705543" y="612819"/>
                  </a:cubicBezTo>
                  <a:cubicBezTo>
                    <a:pt x="735672" y="630493"/>
                    <a:pt x="761683" y="653730"/>
                    <a:pt x="777864" y="656959"/>
                  </a:cubicBezTo>
                  <a:cubicBezTo>
                    <a:pt x="794045" y="660188"/>
                    <a:pt x="799137" y="641401"/>
                    <a:pt x="802629" y="632194"/>
                  </a:cubicBezTo>
                  <a:cubicBezTo>
                    <a:pt x="806121" y="622987"/>
                    <a:pt x="805834" y="613326"/>
                    <a:pt x="798819" y="601714"/>
                  </a:cubicBezTo>
                  <a:cubicBezTo>
                    <a:pt x="791804" y="590102"/>
                    <a:pt x="785620" y="582843"/>
                    <a:pt x="760538" y="562523"/>
                  </a:cubicBezTo>
                  <a:cubicBezTo>
                    <a:pt x="735456" y="542203"/>
                    <a:pt x="671502" y="498844"/>
                    <a:pt x="648324" y="479794"/>
                  </a:cubicBezTo>
                  <a:cubicBezTo>
                    <a:pt x="647054" y="474079"/>
                    <a:pt x="644963" y="468486"/>
                    <a:pt x="644514" y="462649"/>
                  </a:cubicBezTo>
                  <a:cubicBezTo>
                    <a:pt x="645784" y="453759"/>
                    <a:pt x="642609" y="435979"/>
                    <a:pt x="655944" y="426454"/>
                  </a:cubicBezTo>
                  <a:cubicBezTo>
                    <a:pt x="668962" y="418199"/>
                    <a:pt x="693409" y="408674"/>
                    <a:pt x="724524" y="405499"/>
                  </a:cubicBezTo>
                  <a:cubicBezTo>
                    <a:pt x="756132" y="401779"/>
                    <a:pt x="761662" y="404082"/>
                    <a:pt x="811480" y="406906"/>
                  </a:cubicBezTo>
                  <a:cubicBezTo>
                    <a:pt x="861298" y="409730"/>
                    <a:pt x="872548" y="414325"/>
                    <a:pt x="903973" y="417646"/>
                  </a:cubicBezTo>
                  <a:cubicBezTo>
                    <a:pt x="935398" y="420967"/>
                    <a:pt x="976552" y="427794"/>
                    <a:pt x="1000032" y="426835"/>
                  </a:cubicBezTo>
                  <a:cubicBezTo>
                    <a:pt x="1023512" y="425876"/>
                    <a:pt x="1027154" y="410884"/>
                    <a:pt x="1030191" y="402711"/>
                  </a:cubicBezTo>
                  <a:cubicBezTo>
                    <a:pt x="1033228" y="394538"/>
                    <a:pt x="1029516" y="385244"/>
                    <a:pt x="1018256" y="377797"/>
                  </a:cubicBezTo>
                  <a:cubicBezTo>
                    <a:pt x="1006996" y="370350"/>
                    <a:pt x="994759" y="361349"/>
                    <a:pt x="962631" y="358029"/>
                  </a:cubicBezTo>
                  <a:cubicBezTo>
                    <a:pt x="930503" y="354709"/>
                    <a:pt x="860335" y="357262"/>
                    <a:pt x="825489" y="357874"/>
                  </a:cubicBezTo>
                  <a:cubicBezTo>
                    <a:pt x="790643" y="358486"/>
                    <a:pt x="778636" y="360114"/>
                    <a:pt x="753553" y="361702"/>
                  </a:cubicBezTo>
                  <a:cubicBezTo>
                    <a:pt x="728470" y="363290"/>
                    <a:pt x="687770" y="373117"/>
                    <a:pt x="669279" y="369304"/>
                  </a:cubicBezTo>
                  <a:cubicBezTo>
                    <a:pt x="650788" y="365491"/>
                    <a:pt x="641798" y="349548"/>
                    <a:pt x="642609" y="338824"/>
                  </a:cubicBezTo>
                  <a:cubicBezTo>
                    <a:pt x="643420" y="328100"/>
                    <a:pt x="663668" y="314169"/>
                    <a:pt x="674145" y="304962"/>
                  </a:cubicBezTo>
                  <a:cubicBezTo>
                    <a:pt x="684622" y="295755"/>
                    <a:pt x="694220" y="292540"/>
                    <a:pt x="705474" y="283579"/>
                  </a:cubicBezTo>
                  <a:cubicBezTo>
                    <a:pt x="716728" y="274618"/>
                    <a:pt x="729121" y="262816"/>
                    <a:pt x="741669" y="251194"/>
                  </a:cubicBezTo>
                  <a:cubicBezTo>
                    <a:pt x="754217" y="239572"/>
                    <a:pt x="780349" y="222080"/>
                    <a:pt x="780761" y="213846"/>
                  </a:cubicBezTo>
                  <a:cubicBezTo>
                    <a:pt x="781173" y="205612"/>
                    <a:pt x="755256" y="196709"/>
                    <a:pt x="744143" y="201789"/>
                  </a:cubicBezTo>
                  <a:cubicBezTo>
                    <a:pt x="733030" y="206869"/>
                    <a:pt x="707093" y="217123"/>
                    <a:pt x="692139" y="226429"/>
                  </a:cubicBezTo>
                  <a:cubicBezTo>
                    <a:pt x="677185" y="235735"/>
                    <a:pt x="667486" y="247579"/>
                    <a:pt x="654420" y="257626"/>
                  </a:cubicBezTo>
                  <a:cubicBezTo>
                    <a:pt x="641354" y="267673"/>
                    <a:pt x="632797" y="283230"/>
                    <a:pt x="613743" y="286712"/>
                  </a:cubicBezTo>
                  <a:cubicBezTo>
                    <a:pt x="594689" y="290194"/>
                    <a:pt x="558145" y="286976"/>
                    <a:pt x="540096" y="278516"/>
                  </a:cubicBezTo>
                  <a:cubicBezTo>
                    <a:pt x="522047" y="270056"/>
                    <a:pt x="508941" y="253099"/>
                    <a:pt x="505449" y="235954"/>
                  </a:cubicBezTo>
                  <a:cubicBezTo>
                    <a:pt x="501957" y="218809"/>
                    <a:pt x="507253" y="198262"/>
                    <a:pt x="507354" y="171184"/>
                  </a:cubicBezTo>
                  <a:cubicBezTo>
                    <a:pt x="507455" y="144106"/>
                    <a:pt x="515305" y="100141"/>
                    <a:pt x="506056" y="73485"/>
                  </a:cubicBezTo>
                  <a:cubicBezTo>
                    <a:pt x="492086" y="-25892"/>
                    <a:pt x="462335" y="771"/>
                    <a:pt x="451858" y="11248"/>
                  </a:cubicBezTo>
                  <a:cubicBezTo>
                    <a:pt x="445620" y="30340"/>
                    <a:pt x="442694" y="55629"/>
                    <a:pt x="440212" y="75864"/>
                  </a:cubicBezTo>
                  <a:cubicBezTo>
                    <a:pt x="437730" y="96099"/>
                    <a:pt x="438037" y="109560"/>
                    <a:pt x="436968" y="132660"/>
                  </a:cubicBezTo>
                  <a:cubicBezTo>
                    <a:pt x="435899" y="155760"/>
                    <a:pt x="436352" y="194392"/>
                    <a:pt x="433796" y="214465"/>
                  </a:cubicBezTo>
                  <a:close/>
                </a:path>
              </a:pathLst>
            </a:custGeom>
            <a:solidFill>
              <a:schemeClr val="accent3">
                <a:lumMod val="20000"/>
                <a:lumOff val="80000"/>
              </a:scheme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3">
                    <a:lumMod val="75000"/>
                  </a:schemeClr>
                </a:solidFill>
                <a:effectLst/>
                <a:uLnTx/>
                <a:uFillTx/>
                <a:latin typeface="Calibri" panose="020F0502020204030204" pitchFamily="34" charset="0"/>
                <a:cs typeface="Calibri" panose="020F0502020204030204" pitchFamily="34" charset="0"/>
              </a:endParaRPr>
            </a:p>
          </p:txBody>
        </p:sp>
        <p:sp>
          <p:nvSpPr>
            <p:cNvPr id="705" name="Oval 704">
              <a:extLst>
                <a:ext uri="{FF2B5EF4-FFF2-40B4-BE49-F238E27FC236}">
                  <a16:creationId xmlns:a16="http://schemas.microsoft.com/office/drawing/2014/main" id="{514B1B8D-04E7-D861-B81E-36866310558D}"/>
                </a:ext>
              </a:extLst>
            </p:cNvPr>
            <p:cNvSpPr/>
            <p:nvPr/>
          </p:nvSpPr>
          <p:spPr>
            <a:xfrm rot="8877126">
              <a:off x="4314786" y="2746067"/>
              <a:ext cx="158387" cy="159724"/>
            </a:xfrm>
            <a:prstGeom prst="ellipse">
              <a:avLst/>
            </a:prstGeom>
            <a:solidFill>
              <a:schemeClr val="tx2">
                <a:lumMod val="40000"/>
                <a:lumOff val="60000"/>
              </a:scheme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grpSp>
      <p:grpSp>
        <p:nvGrpSpPr>
          <p:cNvPr id="852" name="B-cell">
            <a:extLst>
              <a:ext uri="{FF2B5EF4-FFF2-40B4-BE49-F238E27FC236}">
                <a16:creationId xmlns:a16="http://schemas.microsoft.com/office/drawing/2014/main" id="{F107B599-5FA0-5BC7-FBCB-BDC845ECEC3B}"/>
              </a:ext>
            </a:extLst>
          </p:cNvPr>
          <p:cNvGrpSpPr/>
          <p:nvPr/>
        </p:nvGrpSpPr>
        <p:grpSpPr>
          <a:xfrm rot="19455977">
            <a:off x="6680113" y="3375096"/>
            <a:ext cx="378401" cy="371019"/>
            <a:chOff x="9911932" y="2777814"/>
            <a:chExt cx="303568" cy="303568"/>
          </a:xfrm>
        </p:grpSpPr>
        <p:sp>
          <p:nvSpPr>
            <p:cNvPr id="853" name="Oval 852">
              <a:extLst>
                <a:ext uri="{FF2B5EF4-FFF2-40B4-BE49-F238E27FC236}">
                  <a16:creationId xmlns:a16="http://schemas.microsoft.com/office/drawing/2014/main" id="{A7B17245-6AE1-75EE-3ECE-926F0D149C5F}"/>
                </a:ext>
              </a:extLst>
            </p:cNvPr>
            <p:cNvSpPr/>
            <p:nvPr/>
          </p:nvSpPr>
          <p:spPr>
            <a:xfrm>
              <a:off x="9911932" y="2777814"/>
              <a:ext cx="303568" cy="303568"/>
            </a:xfrm>
            <a:prstGeom prst="ellipse">
              <a:avLst/>
            </a:prstGeom>
            <a:solidFill>
              <a:schemeClr val="accent3">
                <a:lumMod val="40000"/>
                <a:lumOff val="60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i "/>
              </a:endParaRPr>
            </a:p>
          </p:txBody>
        </p:sp>
        <p:sp>
          <p:nvSpPr>
            <p:cNvPr id="854" name="Oval 853">
              <a:extLst>
                <a:ext uri="{FF2B5EF4-FFF2-40B4-BE49-F238E27FC236}">
                  <a16:creationId xmlns:a16="http://schemas.microsoft.com/office/drawing/2014/main" id="{B0D2046E-5682-CD4A-109B-2B34D74D65BA}"/>
                </a:ext>
              </a:extLst>
            </p:cNvPr>
            <p:cNvSpPr/>
            <p:nvPr/>
          </p:nvSpPr>
          <p:spPr>
            <a:xfrm>
              <a:off x="9945122" y="2825966"/>
              <a:ext cx="255416" cy="255416"/>
            </a:xfrm>
            <a:prstGeom prst="ellipse">
              <a:avLst/>
            </a:prstGeom>
            <a:solidFill>
              <a:schemeClr val="accent3">
                <a:lumMod val="20000"/>
                <a:lumOff val="80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i "/>
              </a:endParaRPr>
            </a:p>
          </p:txBody>
        </p:sp>
      </p:grpSp>
      <p:grpSp>
        <p:nvGrpSpPr>
          <p:cNvPr id="855" name="Th2 Cell">
            <a:extLst>
              <a:ext uri="{FF2B5EF4-FFF2-40B4-BE49-F238E27FC236}">
                <a16:creationId xmlns:a16="http://schemas.microsoft.com/office/drawing/2014/main" id="{15FCB4AB-187A-FF7D-D04F-AD989DEE115C}"/>
              </a:ext>
            </a:extLst>
          </p:cNvPr>
          <p:cNvGrpSpPr/>
          <p:nvPr/>
        </p:nvGrpSpPr>
        <p:grpSpPr>
          <a:xfrm rot="19233248">
            <a:off x="6680113" y="2773335"/>
            <a:ext cx="378401" cy="371019"/>
            <a:chOff x="9911932" y="2777814"/>
            <a:chExt cx="303568" cy="303568"/>
          </a:xfrm>
        </p:grpSpPr>
        <p:sp>
          <p:nvSpPr>
            <p:cNvPr id="856" name="Oval 855">
              <a:extLst>
                <a:ext uri="{FF2B5EF4-FFF2-40B4-BE49-F238E27FC236}">
                  <a16:creationId xmlns:a16="http://schemas.microsoft.com/office/drawing/2014/main" id="{470D8857-5B98-7F3C-A5A2-94AB59A2009D}"/>
                </a:ext>
              </a:extLst>
            </p:cNvPr>
            <p:cNvSpPr/>
            <p:nvPr/>
          </p:nvSpPr>
          <p:spPr>
            <a:xfrm>
              <a:off x="9911932" y="2777814"/>
              <a:ext cx="303568" cy="303568"/>
            </a:xfrm>
            <a:prstGeom prst="ellipse">
              <a:avLst/>
            </a:prstGeom>
            <a:solidFill>
              <a:schemeClr val="accent6"/>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i "/>
              </a:endParaRPr>
            </a:p>
          </p:txBody>
        </p:sp>
        <p:sp>
          <p:nvSpPr>
            <p:cNvPr id="857" name="Oval 856">
              <a:extLst>
                <a:ext uri="{FF2B5EF4-FFF2-40B4-BE49-F238E27FC236}">
                  <a16:creationId xmlns:a16="http://schemas.microsoft.com/office/drawing/2014/main" id="{97DB8406-9FFA-6131-4B08-D528770795B5}"/>
                </a:ext>
              </a:extLst>
            </p:cNvPr>
            <p:cNvSpPr/>
            <p:nvPr/>
          </p:nvSpPr>
          <p:spPr>
            <a:xfrm>
              <a:off x="9945122" y="2825966"/>
              <a:ext cx="255416" cy="255416"/>
            </a:xfrm>
            <a:prstGeom prst="ellipse">
              <a:avLst/>
            </a:prstGeom>
            <a:solidFill>
              <a:schemeClr val="accent6">
                <a:lumMod val="60000"/>
                <a:lumOff val="40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5">
                    <a:lumMod val="60000"/>
                    <a:lumOff val="40000"/>
                  </a:schemeClr>
                </a:solidFill>
                <a:effectLst/>
                <a:uLnTx/>
                <a:uFillTx/>
                <a:latin typeface="Calibi "/>
              </a:endParaRPr>
            </a:p>
          </p:txBody>
        </p:sp>
      </p:grpSp>
      <p:grpSp>
        <p:nvGrpSpPr>
          <p:cNvPr id="2120" name="Group 2119">
            <a:extLst>
              <a:ext uri="{FF2B5EF4-FFF2-40B4-BE49-F238E27FC236}">
                <a16:creationId xmlns:a16="http://schemas.microsoft.com/office/drawing/2014/main" id="{DC51500A-3DE6-6818-7401-0C62F6859876}"/>
              </a:ext>
            </a:extLst>
          </p:cNvPr>
          <p:cNvGrpSpPr/>
          <p:nvPr/>
        </p:nvGrpSpPr>
        <p:grpSpPr>
          <a:xfrm>
            <a:off x="6675213" y="4708049"/>
            <a:ext cx="388200" cy="384980"/>
            <a:chOff x="10821063" y="4708049"/>
            <a:chExt cx="388200" cy="384980"/>
          </a:xfrm>
        </p:grpSpPr>
        <p:sp>
          <p:nvSpPr>
            <p:cNvPr id="1426" name="Freeform: Shape 1425">
              <a:extLst>
                <a:ext uri="{FF2B5EF4-FFF2-40B4-BE49-F238E27FC236}">
                  <a16:creationId xmlns:a16="http://schemas.microsoft.com/office/drawing/2014/main" id="{C7FE499F-BD43-1E00-2F14-DD8D6A5CC8E2}"/>
                </a:ext>
              </a:extLst>
            </p:cNvPr>
            <p:cNvSpPr/>
            <p:nvPr/>
          </p:nvSpPr>
          <p:spPr>
            <a:xfrm>
              <a:off x="10821063" y="4708049"/>
              <a:ext cx="388200" cy="384980"/>
            </a:xfrm>
            <a:custGeom>
              <a:avLst/>
              <a:gdLst>
                <a:gd name="csX0" fmla="*/ 200248 w 388200"/>
                <a:gd name="csY0" fmla="*/ 384876 h 384980"/>
                <a:gd name="csX1" fmla="*/ 104 w 388200"/>
                <a:gd name="csY1" fmla="*/ 198699 h 384980"/>
                <a:gd name="csX2" fmla="*/ 187830 w 388200"/>
                <a:gd name="csY2" fmla="*/ 104 h 384980"/>
                <a:gd name="csX3" fmla="*/ 388104 w 388200"/>
                <a:gd name="csY3" fmla="*/ 186281 h 384980"/>
                <a:gd name="csX4" fmla="*/ 200248 w 388200"/>
                <a:gd name="csY4" fmla="*/ 384876 h 384980"/>
              </a:gdLst>
              <a:ahLst/>
              <a:cxnLst>
                <a:cxn ang="0">
                  <a:pos x="csX0" y="csY0"/>
                </a:cxn>
                <a:cxn ang="0">
                  <a:pos x="csX1" y="csY1"/>
                </a:cxn>
                <a:cxn ang="0">
                  <a:pos x="csX2" y="csY2"/>
                </a:cxn>
                <a:cxn ang="0">
                  <a:pos x="csX3" y="csY3"/>
                </a:cxn>
                <a:cxn ang="0">
                  <a:pos x="csX4" y="csY4"/>
                </a:cxn>
              </a:cxnLst>
              <a:rect l="l" t="t" r="r" b="b"/>
              <a:pathLst>
                <a:path w="388200" h="384980">
                  <a:moveTo>
                    <a:pt x="200248" y="384876"/>
                  </a:moveTo>
                  <a:cubicBezTo>
                    <a:pt x="93137" y="388345"/>
                    <a:pt x="3443" y="304980"/>
                    <a:pt x="104" y="198699"/>
                  </a:cubicBezTo>
                  <a:cubicBezTo>
                    <a:pt x="-3365" y="92529"/>
                    <a:pt x="80719" y="3555"/>
                    <a:pt x="187830" y="104"/>
                  </a:cubicBezTo>
                  <a:cubicBezTo>
                    <a:pt x="295071" y="-3364"/>
                    <a:pt x="384635" y="80000"/>
                    <a:pt x="388104" y="186281"/>
                  </a:cubicBezTo>
                  <a:cubicBezTo>
                    <a:pt x="391444" y="292452"/>
                    <a:pt x="307378" y="381407"/>
                    <a:pt x="200248" y="384876"/>
                  </a:cubicBezTo>
                  <a:close/>
                </a:path>
              </a:pathLst>
            </a:custGeom>
            <a:solidFill>
              <a:schemeClr val="accent2">
                <a:lumMod val="60000"/>
                <a:lumOff val="40000"/>
              </a:schemeClr>
            </a:solidFill>
            <a:ln w="1835" cap="flat">
              <a:noFill/>
              <a:prstDash val="solid"/>
              <a:miter/>
            </a:ln>
          </p:spPr>
          <p:txBody>
            <a:bodyPr/>
            <a:lstStyle/>
            <a:p>
              <a:endParaRPr lang="en-GB"/>
            </a:p>
          </p:txBody>
        </p:sp>
        <p:sp>
          <p:nvSpPr>
            <p:cNvPr id="1428" name="Freeform: Shape 1427">
              <a:extLst>
                <a:ext uri="{FF2B5EF4-FFF2-40B4-BE49-F238E27FC236}">
                  <a16:creationId xmlns:a16="http://schemas.microsoft.com/office/drawing/2014/main" id="{608D7924-925A-7AFF-EEA5-31F7C21906F8}"/>
                </a:ext>
              </a:extLst>
            </p:cNvPr>
            <p:cNvSpPr/>
            <p:nvPr/>
          </p:nvSpPr>
          <p:spPr>
            <a:xfrm>
              <a:off x="11021330" y="4976131"/>
              <a:ext cx="19012" cy="19758"/>
            </a:xfrm>
            <a:custGeom>
              <a:avLst/>
              <a:gdLst>
                <a:gd name="csX0" fmla="*/ 8229 w 19012"/>
                <a:gd name="csY0" fmla="*/ 476 h 19758"/>
                <a:gd name="csX1" fmla="*/ 8229 w 19012"/>
                <a:gd name="csY1" fmla="*/ 476 h 19758"/>
                <a:gd name="csX2" fmla="*/ 1310 w 19012"/>
                <a:gd name="csY2" fmla="*/ 476 h 19758"/>
                <a:gd name="csX3" fmla="*/ 0 w 19012"/>
                <a:gd name="csY3" fmla="*/ 4535 h 19758"/>
                <a:gd name="csX4" fmla="*/ 1199 w 19012"/>
                <a:gd name="csY4" fmla="*/ 12303 h 19758"/>
                <a:gd name="csX5" fmla="*/ 2399 w 19012"/>
                <a:gd name="csY5" fmla="*/ 13853 h 19758"/>
                <a:gd name="csX6" fmla="*/ 3598 w 19012"/>
                <a:gd name="csY6" fmla="*/ 16012 h 19758"/>
                <a:gd name="csX7" fmla="*/ 10407 w 19012"/>
                <a:gd name="csY7" fmla="*/ 19721 h 19758"/>
                <a:gd name="csX8" fmla="*/ 16625 w 19012"/>
                <a:gd name="csY8" fmla="*/ 16492 h 19758"/>
                <a:gd name="csX9" fmla="*/ 18304 w 19012"/>
                <a:gd name="csY9" fmla="*/ 14573 h 19758"/>
                <a:gd name="csX10" fmla="*/ 18894 w 19012"/>
                <a:gd name="csY10" fmla="*/ 12543 h 19758"/>
                <a:gd name="csX11" fmla="*/ 18784 w 19012"/>
                <a:gd name="csY11" fmla="*/ 8354 h 19758"/>
                <a:gd name="csX12" fmla="*/ 14835 w 19012"/>
                <a:gd name="csY12" fmla="*/ 5845 h 19758"/>
                <a:gd name="csX13" fmla="*/ 12916 w 19012"/>
                <a:gd name="csY13" fmla="*/ 6436 h 19758"/>
                <a:gd name="csX14" fmla="*/ 9927 w 19012"/>
                <a:gd name="csY14" fmla="*/ 3686 h 19758"/>
                <a:gd name="csX15" fmla="*/ 8248 w 19012"/>
                <a:gd name="csY15" fmla="*/ 457 h 197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012" h="19758">
                  <a:moveTo>
                    <a:pt x="8229" y="476"/>
                  </a:moveTo>
                  <a:lnTo>
                    <a:pt x="8229" y="476"/>
                  </a:lnTo>
                  <a:cubicBezTo>
                    <a:pt x="5960" y="476"/>
                    <a:pt x="3580" y="-595"/>
                    <a:pt x="1310" y="476"/>
                  </a:cubicBezTo>
                  <a:cubicBezTo>
                    <a:pt x="351" y="955"/>
                    <a:pt x="0" y="4535"/>
                    <a:pt x="0" y="4535"/>
                  </a:cubicBezTo>
                  <a:cubicBezTo>
                    <a:pt x="111" y="7155"/>
                    <a:pt x="0" y="10273"/>
                    <a:pt x="1199" y="12303"/>
                  </a:cubicBezTo>
                  <a:cubicBezTo>
                    <a:pt x="1550" y="12894"/>
                    <a:pt x="2030" y="13263"/>
                    <a:pt x="2399" y="13853"/>
                  </a:cubicBezTo>
                  <a:cubicBezTo>
                    <a:pt x="2878" y="14444"/>
                    <a:pt x="3229" y="15292"/>
                    <a:pt x="3598" y="16012"/>
                  </a:cubicBezTo>
                  <a:cubicBezTo>
                    <a:pt x="7547" y="19961"/>
                    <a:pt x="5868" y="19831"/>
                    <a:pt x="10407" y="19721"/>
                  </a:cubicBezTo>
                  <a:cubicBezTo>
                    <a:pt x="10997" y="19721"/>
                    <a:pt x="15426" y="17340"/>
                    <a:pt x="16625" y="16492"/>
                  </a:cubicBezTo>
                  <a:cubicBezTo>
                    <a:pt x="17935" y="15661"/>
                    <a:pt x="17695" y="15182"/>
                    <a:pt x="18304" y="14573"/>
                  </a:cubicBezTo>
                  <a:cubicBezTo>
                    <a:pt x="18415" y="13853"/>
                    <a:pt x="18894" y="13263"/>
                    <a:pt x="18894" y="12543"/>
                  </a:cubicBezTo>
                  <a:cubicBezTo>
                    <a:pt x="19005" y="11104"/>
                    <a:pt x="19134" y="9554"/>
                    <a:pt x="18784" y="8354"/>
                  </a:cubicBezTo>
                  <a:cubicBezTo>
                    <a:pt x="18433" y="6436"/>
                    <a:pt x="15444" y="6085"/>
                    <a:pt x="14835" y="5845"/>
                  </a:cubicBezTo>
                  <a:cubicBezTo>
                    <a:pt x="14245" y="6085"/>
                    <a:pt x="13765" y="6805"/>
                    <a:pt x="12916" y="6436"/>
                  </a:cubicBezTo>
                  <a:cubicBezTo>
                    <a:pt x="12086" y="5956"/>
                    <a:pt x="9576" y="4646"/>
                    <a:pt x="9927" y="3686"/>
                  </a:cubicBezTo>
                  <a:lnTo>
                    <a:pt x="8248" y="457"/>
                  </a:lnTo>
                  <a:close/>
                </a:path>
              </a:pathLst>
            </a:custGeom>
            <a:solidFill>
              <a:srgbClr val="FFFFFF"/>
            </a:solidFill>
            <a:ln w="1835" cap="flat">
              <a:noFill/>
              <a:prstDash val="solid"/>
              <a:miter/>
            </a:ln>
          </p:spPr>
          <p:txBody>
            <a:bodyPr/>
            <a:lstStyle/>
            <a:p>
              <a:endParaRPr lang="en-GB"/>
            </a:p>
          </p:txBody>
        </p:sp>
        <p:sp>
          <p:nvSpPr>
            <p:cNvPr id="1429" name="Freeform: Shape 1428">
              <a:extLst>
                <a:ext uri="{FF2B5EF4-FFF2-40B4-BE49-F238E27FC236}">
                  <a16:creationId xmlns:a16="http://schemas.microsoft.com/office/drawing/2014/main" id="{DE17A140-6A32-5108-9B59-4553F20E924A}"/>
                </a:ext>
              </a:extLst>
            </p:cNvPr>
            <p:cNvSpPr/>
            <p:nvPr/>
          </p:nvSpPr>
          <p:spPr>
            <a:xfrm>
              <a:off x="11018322" y="4973150"/>
              <a:ext cx="24976" cy="25709"/>
            </a:xfrm>
            <a:custGeom>
              <a:avLst/>
              <a:gdLst>
                <a:gd name="csX0" fmla="*/ 12012 w 24976"/>
                <a:gd name="csY0" fmla="*/ 25691 h 25709"/>
                <a:gd name="csX1" fmla="*/ 6421 w 24976"/>
                <a:gd name="csY1" fmla="*/ 23200 h 25709"/>
                <a:gd name="csX2" fmla="*/ 4465 w 24976"/>
                <a:gd name="csY2" fmla="*/ 21078 h 25709"/>
                <a:gd name="csX3" fmla="*/ 3912 w 24976"/>
                <a:gd name="csY3" fmla="*/ 20321 h 25709"/>
                <a:gd name="csX4" fmla="*/ 3045 w 24976"/>
                <a:gd name="csY4" fmla="*/ 18698 h 25709"/>
                <a:gd name="csX5" fmla="*/ 4779 w 24976"/>
                <a:gd name="csY5" fmla="*/ 16059 h 25709"/>
                <a:gd name="csX6" fmla="*/ 2528 w 24976"/>
                <a:gd name="csY6" fmla="*/ 18015 h 25709"/>
                <a:gd name="csX7" fmla="*/ 1624 w 24976"/>
                <a:gd name="csY7" fmla="*/ 16834 h 25709"/>
                <a:gd name="csX8" fmla="*/ 55 w 24976"/>
                <a:gd name="csY8" fmla="*/ 8863 h 25709"/>
                <a:gd name="csX9" fmla="*/ 0 w 24976"/>
                <a:gd name="csY9" fmla="*/ 7645 h 25709"/>
                <a:gd name="csX10" fmla="*/ 2934 w 24976"/>
                <a:gd name="csY10" fmla="*/ 799 h 25709"/>
                <a:gd name="csX11" fmla="*/ 9392 w 24976"/>
                <a:gd name="csY11" fmla="*/ 283 h 25709"/>
                <a:gd name="csX12" fmla="*/ 13876 w 24976"/>
                <a:gd name="csY12" fmla="*/ 2091 h 25709"/>
                <a:gd name="csX13" fmla="*/ 15555 w 24976"/>
                <a:gd name="csY13" fmla="*/ 5320 h 25709"/>
                <a:gd name="csX14" fmla="*/ 15776 w 24976"/>
                <a:gd name="csY14" fmla="*/ 5892 h 25709"/>
                <a:gd name="csX15" fmla="*/ 16330 w 24976"/>
                <a:gd name="csY15" fmla="*/ 6243 h 25709"/>
                <a:gd name="csX16" fmla="*/ 16736 w 24976"/>
                <a:gd name="csY16" fmla="*/ 6058 h 25709"/>
                <a:gd name="csX17" fmla="*/ 18894 w 24976"/>
                <a:gd name="csY17" fmla="*/ 6058 h 25709"/>
                <a:gd name="csX18" fmla="*/ 24688 w 24976"/>
                <a:gd name="csY18" fmla="*/ 10782 h 25709"/>
                <a:gd name="csX19" fmla="*/ 24836 w 24976"/>
                <a:gd name="csY19" fmla="*/ 15764 h 25709"/>
                <a:gd name="csX20" fmla="*/ 24319 w 24976"/>
                <a:gd name="csY20" fmla="*/ 17812 h 25709"/>
                <a:gd name="csX21" fmla="*/ 23360 w 24976"/>
                <a:gd name="csY21" fmla="*/ 19694 h 25709"/>
                <a:gd name="csX22" fmla="*/ 21182 w 24976"/>
                <a:gd name="csY22" fmla="*/ 22000 h 25709"/>
                <a:gd name="csX23" fmla="*/ 13396 w 24976"/>
                <a:gd name="csY23" fmla="*/ 25691 h 25709"/>
                <a:gd name="csX24" fmla="*/ 12030 w 24976"/>
                <a:gd name="csY24" fmla="*/ 25709 h 25709"/>
                <a:gd name="csX25" fmla="*/ 6292 w 24976"/>
                <a:gd name="csY25" fmla="*/ 5966 h 25709"/>
                <a:gd name="csX26" fmla="*/ 5978 w 24976"/>
                <a:gd name="csY26" fmla="*/ 7811 h 25709"/>
                <a:gd name="csX27" fmla="*/ 6034 w 24976"/>
                <a:gd name="csY27" fmla="*/ 8678 h 25709"/>
                <a:gd name="csX28" fmla="*/ 6772 w 24976"/>
                <a:gd name="csY28" fmla="*/ 13771 h 25709"/>
                <a:gd name="csX29" fmla="*/ 7953 w 24976"/>
                <a:gd name="csY29" fmla="*/ 15284 h 25709"/>
                <a:gd name="csX30" fmla="*/ 9023 w 24976"/>
                <a:gd name="csY30" fmla="*/ 17166 h 25709"/>
                <a:gd name="csX31" fmla="*/ 10942 w 24976"/>
                <a:gd name="csY31" fmla="*/ 19306 h 25709"/>
                <a:gd name="csX32" fmla="*/ 11532 w 24976"/>
                <a:gd name="csY32" fmla="*/ 19952 h 25709"/>
                <a:gd name="csX33" fmla="*/ 12824 w 24976"/>
                <a:gd name="csY33" fmla="*/ 19712 h 25709"/>
                <a:gd name="csX34" fmla="*/ 17880 w 24976"/>
                <a:gd name="csY34" fmla="*/ 17018 h 25709"/>
                <a:gd name="csX35" fmla="*/ 18581 w 24976"/>
                <a:gd name="csY35" fmla="*/ 16151 h 25709"/>
                <a:gd name="csX36" fmla="*/ 18821 w 24976"/>
                <a:gd name="csY36" fmla="*/ 15524 h 25709"/>
                <a:gd name="csX37" fmla="*/ 18894 w 24976"/>
                <a:gd name="csY37" fmla="*/ 12184 h 25709"/>
                <a:gd name="csX38" fmla="*/ 18249 w 24976"/>
                <a:gd name="csY38" fmla="*/ 12037 h 25709"/>
                <a:gd name="csX39" fmla="*/ 14724 w 24976"/>
                <a:gd name="csY39" fmla="*/ 12184 h 25709"/>
                <a:gd name="csX40" fmla="*/ 9927 w 24976"/>
                <a:gd name="csY40" fmla="*/ 7387 h 25709"/>
                <a:gd name="csX41" fmla="*/ 9373 w 24976"/>
                <a:gd name="csY41" fmla="*/ 6298 h 25709"/>
                <a:gd name="csX42" fmla="*/ 8525 w 24976"/>
                <a:gd name="csY42" fmla="*/ 6187 h 25709"/>
                <a:gd name="csX43" fmla="*/ 6329 w 24976"/>
                <a:gd name="csY43" fmla="*/ 5984 h 25709"/>
                <a:gd name="csX44" fmla="*/ 6477 w 24976"/>
                <a:gd name="csY44" fmla="*/ 5394 h 25709"/>
                <a:gd name="csX45" fmla="*/ 6477 w 24976"/>
                <a:gd name="csY45" fmla="*/ 5394 h 257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Lst>
              <a:rect l="l" t="t" r="r" b="b"/>
              <a:pathLst>
                <a:path w="24976" h="25709">
                  <a:moveTo>
                    <a:pt x="12012" y="25691"/>
                  </a:moveTo>
                  <a:cubicBezTo>
                    <a:pt x="9152" y="25691"/>
                    <a:pt x="8211" y="25266"/>
                    <a:pt x="6421" y="23200"/>
                  </a:cubicBezTo>
                  <a:cubicBezTo>
                    <a:pt x="5978" y="22683"/>
                    <a:pt x="5388" y="22000"/>
                    <a:pt x="4465" y="21078"/>
                  </a:cubicBezTo>
                  <a:cubicBezTo>
                    <a:pt x="4244" y="20856"/>
                    <a:pt x="4059" y="20598"/>
                    <a:pt x="3912" y="20321"/>
                  </a:cubicBezTo>
                  <a:cubicBezTo>
                    <a:pt x="3450" y="19380"/>
                    <a:pt x="3211" y="18882"/>
                    <a:pt x="3045" y="18698"/>
                  </a:cubicBezTo>
                  <a:lnTo>
                    <a:pt x="4779" y="16059"/>
                  </a:lnTo>
                  <a:lnTo>
                    <a:pt x="2528" y="18015"/>
                  </a:lnTo>
                  <a:cubicBezTo>
                    <a:pt x="2214" y="17646"/>
                    <a:pt x="1901" y="17277"/>
                    <a:pt x="1624" y="16834"/>
                  </a:cubicBezTo>
                  <a:cubicBezTo>
                    <a:pt x="221" y="14417"/>
                    <a:pt x="111" y="11464"/>
                    <a:pt x="55" y="8863"/>
                  </a:cubicBezTo>
                  <a:lnTo>
                    <a:pt x="0" y="7645"/>
                  </a:lnTo>
                  <a:cubicBezTo>
                    <a:pt x="535" y="2017"/>
                    <a:pt x="2288" y="1132"/>
                    <a:pt x="2934" y="799"/>
                  </a:cubicBezTo>
                  <a:cubicBezTo>
                    <a:pt x="5388" y="-363"/>
                    <a:pt x="7621" y="6"/>
                    <a:pt x="9392" y="283"/>
                  </a:cubicBezTo>
                  <a:cubicBezTo>
                    <a:pt x="11182" y="560"/>
                    <a:pt x="13082" y="578"/>
                    <a:pt x="13876" y="2091"/>
                  </a:cubicBezTo>
                  <a:lnTo>
                    <a:pt x="15555" y="5320"/>
                  </a:lnTo>
                  <a:cubicBezTo>
                    <a:pt x="15647" y="5505"/>
                    <a:pt x="15721" y="5689"/>
                    <a:pt x="15776" y="5892"/>
                  </a:cubicBezTo>
                  <a:cubicBezTo>
                    <a:pt x="15924" y="5984"/>
                    <a:pt x="16108" y="6095"/>
                    <a:pt x="16330" y="6243"/>
                  </a:cubicBezTo>
                  <a:cubicBezTo>
                    <a:pt x="16459" y="6169"/>
                    <a:pt x="16606" y="6114"/>
                    <a:pt x="16736" y="6058"/>
                  </a:cubicBezTo>
                  <a:cubicBezTo>
                    <a:pt x="17455" y="5781"/>
                    <a:pt x="18212" y="5781"/>
                    <a:pt x="18894" y="6058"/>
                  </a:cubicBezTo>
                  <a:cubicBezTo>
                    <a:pt x="20407" y="6427"/>
                    <a:pt x="24042" y="7350"/>
                    <a:pt x="24688" y="10782"/>
                  </a:cubicBezTo>
                  <a:cubicBezTo>
                    <a:pt x="25131" y="12258"/>
                    <a:pt x="24965" y="14195"/>
                    <a:pt x="24836" y="15764"/>
                  </a:cubicBezTo>
                  <a:cubicBezTo>
                    <a:pt x="24836" y="16520"/>
                    <a:pt x="24541" y="17295"/>
                    <a:pt x="24319" y="17812"/>
                  </a:cubicBezTo>
                  <a:cubicBezTo>
                    <a:pt x="24209" y="18439"/>
                    <a:pt x="23803" y="19251"/>
                    <a:pt x="23360" y="19694"/>
                  </a:cubicBezTo>
                  <a:cubicBezTo>
                    <a:pt x="23083" y="20303"/>
                    <a:pt x="22566" y="21115"/>
                    <a:pt x="21182" y="22000"/>
                  </a:cubicBezTo>
                  <a:cubicBezTo>
                    <a:pt x="21127" y="22037"/>
                    <a:pt x="15426" y="25691"/>
                    <a:pt x="13396" y="25691"/>
                  </a:cubicBezTo>
                  <a:cubicBezTo>
                    <a:pt x="12898" y="25691"/>
                    <a:pt x="12436" y="25709"/>
                    <a:pt x="12030" y="25709"/>
                  </a:cubicBezTo>
                  <a:close/>
                  <a:moveTo>
                    <a:pt x="6292" y="5966"/>
                  </a:moveTo>
                  <a:cubicBezTo>
                    <a:pt x="6163" y="6483"/>
                    <a:pt x="6034" y="7202"/>
                    <a:pt x="5978" y="7811"/>
                  </a:cubicBezTo>
                  <a:lnTo>
                    <a:pt x="6034" y="8678"/>
                  </a:lnTo>
                  <a:cubicBezTo>
                    <a:pt x="6089" y="10560"/>
                    <a:pt x="6144" y="12701"/>
                    <a:pt x="6772" y="13771"/>
                  </a:cubicBezTo>
                  <a:cubicBezTo>
                    <a:pt x="7362" y="14454"/>
                    <a:pt x="7676" y="14823"/>
                    <a:pt x="7953" y="15284"/>
                  </a:cubicBezTo>
                  <a:cubicBezTo>
                    <a:pt x="8303" y="15690"/>
                    <a:pt x="8691" y="16465"/>
                    <a:pt x="9023" y="17166"/>
                  </a:cubicBezTo>
                  <a:cubicBezTo>
                    <a:pt x="9761" y="17923"/>
                    <a:pt x="10444" y="18716"/>
                    <a:pt x="10942" y="19306"/>
                  </a:cubicBezTo>
                  <a:cubicBezTo>
                    <a:pt x="11182" y="19583"/>
                    <a:pt x="11348" y="19805"/>
                    <a:pt x="11532" y="19952"/>
                  </a:cubicBezTo>
                  <a:cubicBezTo>
                    <a:pt x="11440" y="19786"/>
                    <a:pt x="11957" y="19749"/>
                    <a:pt x="12824" y="19712"/>
                  </a:cubicBezTo>
                  <a:cubicBezTo>
                    <a:pt x="13525" y="19528"/>
                    <a:pt x="16939" y="17683"/>
                    <a:pt x="17880" y="17018"/>
                  </a:cubicBezTo>
                  <a:cubicBezTo>
                    <a:pt x="18156" y="16723"/>
                    <a:pt x="18359" y="16428"/>
                    <a:pt x="18581" y="16151"/>
                  </a:cubicBezTo>
                  <a:cubicBezTo>
                    <a:pt x="18655" y="15911"/>
                    <a:pt x="18747" y="15690"/>
                    <a:pt x="18821" y="15524"/>
                  </a:cubicBezTo>
                  <a:cubicBezTo>
                    <a:pt x="18987" y="14325"/>
                    <a:pt x="19116" y="12885"/>
                    <a:pt x="18894" y="12184"/>
                  </a:cubicBezTo>
                  <a:cubicBezTo>
                    <a:pt x="18858" y="12184"/>
                    <a:pt x="18562" y="12110"/>
                    <a:pt x="18249" y="12037"/>
                  </a:cubicBezTo>
                  <a:cubicBezTo>
                    <a:pt x="17474" y="12424"/>
                    <a:pt x="16219" y="12811"/>
                    <a:pt x="14724" y="12184"/>
                  </a:cubicBezTo>
                  <a:cubicBezTo>
                    <a:pt x="13027" y="11243"/>
                    <a:pt x="10259" y="9693"/>
                    <a:pt x="9927" y="7387"/>
                  </a:cubicBezTo>
                  <a:lnTo>
                    <a:pt x="9373" y="6298"/>
                  </a:lnTo>
                  <a:cubicBezTo>
                    <a:pt x="9097" y="6261"/>
                    <a:pt x="8820" y="6224"/>
                    <a:pt x="8525" y="6187"/>
                  </a:cubicBezTo>
                  <a:cubicBezTo>
                    <a:pt x="7584" y="6040"/>
                    <a:pt x="6919" y="5892"/>
                    <a:pt x="6329" y="5984"/>
                  </a:cubicBezTo>
                  <a:close/>
                  <a:moveTo>
                    <a:pt x="6477" y="5394"/>
                  </a:moveTo>
                  <a:lnTo>
                    <a:pt x="6477" y="5394"/>
                  </a:lnTo>
                  <a:close/>
                </a:path>
              </a:pathLst>
            </a:custGeom>
            <a:solidFill>
              <a:srgbClr val="FFFFFF"/>
            </a:solidFill>
            <a:ln w="1835" cap="flat">
              <a:noFill/>
              <a:prstDash val="solid"/>
              <a:miter/>
            </a:ln>
          </p:spPr>
          <p:txBody>
            <a:bodyPr/>
            <a:lstStyle/>
            <a:p>
              <a:endParaRPr lang="en-GB"/>
            </a:p>
          </p:txBody>
        </p:sp>
        <p:sp>
          <p:nvSpPr>
            <p:cNvPr id="1430" name="Freeform: Shape 1429">
              <a:extLst>
                <a:ext uri="{FF2B5EF4-FFF2-40B4-BE49-F238E27FC236}">
                  <a16:creationId xmlns:a16="http://schemas.microsoft.com/office/drawing/2014/main" id="{927EDA1C-D887-8E36-DFED-E8488121C40D}"/>
                </a:ext>
              </a:extLst>
            </p:cNvPr>
            <p:cNvSpPr/>
            <p:nvPr/>
          </p:nvSpPr>
          <p:spPr>
            <a:xfrm>
              <a:off x="11047955" y="4951224"/>
              <a:ext cx="18142" cy="21073"/>
            </a:xfrm>
            <a:custGeom>
              <a:avLst/>
              <a:gdLst>
                <a:gd name="csX0" fmla="*/ 10389 w 18142"/>
                <a:gd name="csY0" fmla="*/ 1967 h 21073"/>
                <a:gd name="csX1" fmla="*/ 10389 w 18142"/>
                <a:gd name="csY1" fmla="*/ 1967 h 21073"/>
                <a:gd name="csX2" fmla="*/ 3580 w 18142"/>
                <a:gd name="csY2" fmla="*/ 48 h 21073"/>
                <a:gd name="csX3" fmla="*/ 1200 w 18142"/>
                <a:gd name="csY3" fmla="*/ 3627 h 21073"/>
                <a:gd name="csX4" fmla="*/ 130 w 18142"/>
                <a:gd name="csY4" fmla="*/ 11395 h 21073"/>
                <a:gd name="csX5" fmla="*/ 960 w 18142"/>
                <a:gd name="csY5" fmla="*/ 13185 h 21073"/>
                <a:gd name="csX6" fmla="*/ 1551 w 18142"/>
                <a:gd name="csY6" fmla="*/ 15695 h 21073"/>
                <a:gd name="csX7" fmla="*/ 6920 w 18142"/>
                <a:gd name="csY7" fmla="*/ 21064 h 21073"/>
                <a:gd name="csX8" fmla="*/ 13840 w 18142"/>
                <a:gd name="csY8" fmla="*/ 19754 h 21073"/>
                <a:gd name="csX9" fmla="*/ 15869 w 18142"/>
                <a:gd name="csY9" fmla="*/ 18315 h 21073"/>
                <a:gd name="csX10" fmla="*/ 17069 w 18142"/>
                <a:gd name="csY10" fmla="*/ 16525 h 21073"/>
                <a:gd name="csX11" fmla="*/ 18139 w 18142"/>
                <a:gd name="csY11" fmla="*/ 12576 h 21073"/>
                <a:gd name="csX12" fmla="*/ 15039 w 18142"/>
                <a:gd name="csY12" fmla="*/ 9107 h 21073"/>
                <a:gd name="csX13" fmla="*/ 13120 w 18142"/>
                <a:gd name="csY13" fmla="*/ 8997 h 21073"/>
                <a:gd name="csX14" fmla="*/ 10980 w 18142"/>
                <a:gd name="csY14" fmla="*/ 5528 h 21073"/>
                <a:gd name="csX15" fmla="*/ 10389 w 18142"/>
                <a:gd name="csY15" fmla="*/ 1948 h 210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8142" h="21073">
                  <a:moveTo>
                    <a:pt x="10389" y="1967"/>
                  </a:moveTo>
                  <a:lnTo>
                    <a:pt x="10389" y="1967"/>
                  </a:lnTo>
                  <a:cubicBezTo>
                    <a:pt x="8120" y="1376"/>
                    <a:pt x="6090" y="-303"/>
                    <a:pt x="3580" y="48"/>
                  </a:cubicBezTo>
                  <a:cubicBezTo>
                    <a:pt x="2621" y="288"/>
                    <a:pt x="1200" y="3627"/>
                    <a:pt x="1200" y="3627"/>
                  </a:cubicBezTo>
                  <a:cubicBezTo>
                    <a:pt x="610" y="6137"/>
                    <a:pt x="-350" y="8997"/>
                    <a:pt x="130" y="11395"/>
                  </a:cubicBezTo>
                  <a:cubicBezTo>
                    <a:pt x="370" y="12115"/>
                    <a:pt x="720" y="12595"/>
                    <a:pt x="960" y="13185"/>
                  </a:cubicBezTo>
                  <a:cubicBezTo>
                    <a:pt x="1200" y="14016"/>
                    <a:pt x="1311" y="14864"/>
                    <a:pt x="1551" y="15695"/>
                  </a:cubicBezTo>
                  <a:cubicBezTo>
                    <a:pt x="4060" y="20584"/>
                    <a:pt x="2510" y="19994"/>
                    <a:pt x="6920" y="21064"/>
                  </a:cubicBezTo>
                  <a:cubicBezTo>
                    <a:pt x="7511" y="21175"/>
                    <a:pt x="12290" y="20234"/>
                    <a:pt x="13840" y="19754"/>
                  </a:cubicBezTo>
                  <a:cubicBezTo>
                    <a:pt x="15279" y="19274"/>
                    <a:pt x="15150" y="18795"/>
                    <a:pt x="15869" y="18315"/>
                  </a:cubicBezTo>
                  <a:cubicBezTo>
                    <a:pt x="16349" y="17724"/>
                    <a:pt x="16829" y="17245"/>
                    <a:pt x="17069" y="16525"/>
                  </a:cubicBezTo>
                  <a:cubicBezTo>
                    <a:pt x="17659" y="15215"/>
                    <a:pt x="18139" y="13905"/>
                    <a:pt x="18139" y="12576"/>
                  </a:cubicBezTo>
                  <a:cubicBezTo>
                    <a:pt x="18249" y="10657"/>
                    <a:pt x="15629" y="9476"/>
                    <a:pt x="15039" y="9107"/>
                  </a:cubicBezTo>
                  <a:cubicBezTo>
                    <a:pt x="14448" y="8997"/>
                    <a:pt x="13729" y="9587"/>
                    <a:pt x="13120" y="8997"/>
                  </a:cubicBezTo>
                  <a:cubicBezTo>
                    <a:pt x="12400" y="8406"/>
                    <a:pt x="10371" y="6377"/>
                    <a:pt x="10980" y="5528"/>
                  </a:cubicBezTo>
                  <a:lnTo>
                    <a:pt x="10389" y="1948"/>
                  </a:lnTo>
                  <a:close/>
                </a:path>
              </a:pathLst>
            </a:custGeom>
            <a:solidFill>
              <a:srgbClr val="FFFFFF"/>
            </a:solidFill>
            <a:ln w="1835" cap="flat">
              <a:noFill/>
              <a:prstDash val="solid"/>
              <a:miter/>
            </a:ln>
          </p:spPr>
          <p:txBody>
            <a:bodyPr/>
            <a:lstStyle/>
            <a:p>
              <a:endParaRPr lang="en-GB"/>
            </a:p>
          </p:txBody>
        </p:sp>
        <p:sp>
          <p:nvSpPr>
            <p:cNvPr id="1431" name="Freeform: Shape 1430">
              <a:extLst>
                <a:ext uri="{FF2B5EF4-FFF2-40B4-BE49-F238E27FC236}">
                  <a16:creationId xmlns:a16="http://schemas.microsoft.com/office/drawing/2014/main" id="{180F2148-4456-9313-C95A-5322DD69B11A}"/>
                </a:ext>
              </a:extLst>
            </p:cNvPr>
            <p:cNvSpPr/>
            <p:nvPr/>
          </p:nvSpPr>
          <p:spPr>
            <a:xfrm>
              <a:off x="11045006" y="4948279"/>
              <a:ext cx="24122" cy="26998"/>
            </a:xfrm>
            <a:custGeom>
              <a:avLst/>
              <a:gdLst>
                <a:gd name="csX0" fmla="*/ 9906 w 24122"/>
                <a:gd name="csY0" fmla="*/ 26998 h 26998"/>
                <a:gd name="csX1" fmla="*/ 9297 w 24122"/>
                <a:gd name="csY1" fmla="*/ 26943 h 26998"/>
                <a:gd name="csX2" fmla="*/ 8541 w 24122"/>
                <a:gd name="csY2" fmla="*/ 26777 h 26998"/>
                <a:gd name="csX3" fmla="*/ 3024 w 24122"/>
                <a:gd name="csY3" fmla="*/ 22551 h 26998"/>
                <a:gd name="csX4" fmla="*/ 1843 w 24122"/>
                <a:gd name="csY4" fmla="*/ 20005 h 26998"/>
                <a:gd name="csX5" fmla="*/ 1308 w 24122"/>
                <a:gd name="csY5" fmla="*/ 18068 h 26998"/>
                <a:gd name="csX6" fmla="*/ 1049 w 24122"/>
                <a:gd name="csY6" fmla="*/ 16979 h 26998"/>
                <a:gd name="csX7" fmla="*/ 237 w 24122"/>
                <a:gd name="csY7" fmla="*/ 15245 h 26998"/>
                <a:gd name="csX8" fmla="*/ 938 w 24122"/>
                <a:gd name="csY8" fmla="*/ 7144 h 26998"/>
                <a:gd name="csX9" fmla="*/ 1252 w 24122"/>
                <a:gd name="csY9" fmla="*/ 5890 h 26998"/>
                <a:gd name="csX10" fmla="*/ 5791 w 24122"/>
                <a:gd name="csY10" fmla="*/ 96 h 26998"/>
                <a:gd name="csX11" fmla="*/ 12249 w 24122"/>
                <a:gd name="csY11" fmla="*/ 1295 h 26998"/>
                <a:gd name="csX12" fmla="*/ 14094 w 24122"/>
                <a:gd name="csY12" fmla="*/ 2015 h 26998"/>
                <a:gd name="csX13" fmla="*/ 16290 w 24122"/>
                <a:gd name="csY13" fmla="*/ 4413 h 26998"/>
                <a:gd name="csX14" fmla="*/ 16881 w 24122"/>
                <a:gd name="csY14" fmla="*/ 7993 h 26998"/>
                <a:gd name="csX15" fmla="*/ 16918 w 24122"/>
                <a:gd name="csY15" fmla="*/ 8528 h 26998"/>
                <a:gd name="csX16" fmla="*/ 17416 w 24122"/>
                <a:gd name="csY16" fmla="*/ 9082 h 26998"/>
                <a:gd name="csX17" fmla="*/ 18634 w 24122"/>
                <a:gd name="csY17" fmla="*/ 9155 h 26998"/>
                <a:gd name="csX18" fmla="*/ 19538 w 24122"/>
                <a:gd name="csY18" fmla="*/ 9488 h 26998"/>
                <a:gd name="csX19" fmla="*/ 24114 w 24122"/>
                <a:gd name="csY19" fmla="*/ 15724 h 26998"/>
                <a:gd name="csX20" fmla="*/ 22767 w 24122"/>
                <a:gd name="csY20" fmla="*/ 20706 h 26998"/>
                <a:gd name="csX21" fmla="*/ 21401 w 24122"/>
                <a:gd name="csY21" fmla="*/ 22865 h 26998"/>
                <a:gd name="csX22" fmla="*/ 20516 w 24122"/>
                <a:gd name="csY22" fmla="*/ 23732 h 26998"/>
                <a:gd name="csX23" fmla="*/ 17766 w 24122"/>
                <a:gd name="csY23" fmla="*/ 25522 h 26998"/>
                <a:gd name="csX24" fmla="*/ 9943 w 24122"/>
                <a:gd name="csY24" fmla="*/ 26980 h 26998"/>
                <a:gd name="csX25" fmla="*/ 7784 w 24122"/>
                <a:gd name="csY25" fmla="*/ 6000 h 26998"/>
                <a:gd name="csX26" fmla="*/ 6880 w 24122"/>
                <a:gd name="csY26" fmla="*/ 7772 h 26998"/>
                <a:gd name="csX27" fmla="*/ 6714 w 24122"/>
                <a:gd name="csY27" fmla="*/ 8639 h 26998"/>
                <a:gd name="csX28" fmla="*/ 5994 w 24122"/>
                <a:gd name="csY28" fmla="*/ 13750 h 26998"/>
                <a:gd name="csX29" fmla="*/ 6677 w 24122"/>
                <a:gd name="csY29" fmla="*/ 15042 h 26998"/>
                <a:gd name="csX30" fmla="*/ 7138 w 24122"/>
                <a:gd name="csY30" fmla="*/ 16831 h 26998"/>
                <a:gd name="csX31" fmla="*/ 7378 w 24122"/>
                <a:gd name="csY31" fmla="*/ 17828 h 26998"/>
                <a:gd name="csX32" fmla="*/ 8522 w 24122"/>
                <a:gd name="csY32" fmla="*/ 20190 h 26998"/>
                <a:gd name="csX33" fmla="*/ 8854 w 24122"/>
                <a:gd name="csY33" fmla="*/ 20965 h 26998"/>
                <a:gd name="csX34" fmla="*/ 9943 w 24122"/>
                <a:gd name="csY34" fmla="*/ 20965 h 26998"/>
                <a:gd name="csX35" fmla="*/ 15921 w 24122"/>
                <a:gd name="csY35" fmla="*/ 19839 h 26998"/>
                <a:gd name="csX36" fmla="*/ 16678 w 24122"/>
                <a:gd name="csY36" fmla="*/ 19156 h 26998"/>
                <a:gd name="csX37" fmla="*/ 17194 w 24122"/>
                <a:gd name="csY37" fmla="*/ 18492 h 26998"/>
                <a:gd name="csX38" fmla="*/ 18098 w 24122"/>
                <a:gd name="csY38" fmla="*/ 15521 h 26998"/>
                <a:gd name="csX39" fmla="*/ 17360 w 24122"/>
                <a:gd name="csY39" fmla="*/ 15134 h 26998"/>
                <a:gd name="csX40" fmla="*/ 13947 w 24122"/>
                <a:gd name="csY40" fmla="*/ 14027 h 26998"/>
                <a:gd name="csX41" fmla="*/ 10865 w 24122"/>
                <a:gd name="csY41" fmla="*/ 8233 h 26998"/>
                <a:gd name="csX42" fmla="*/ 10681 w 24122"/>
                <a:gd name="csY42" fmla="*/ 7107 h 26998"/>
                <a:gd name="csX43" fmla="*/ 9832 w 24122"/>
                <a:gd name="csY43" fmla="*/ 6738 h 26998"/>
                <a:gd name="csX44" fmla="*/ 7784 w 24122"/>
                <a:gd name="csY44" fmla="*/ 5963 h 26998"/>
                <a:gd name="csX45" fmla="*/ 16364 w 24122"/>
                <a:gd name="csY45" fmla="*/ 10207 h 26998"/>
                <a:gd name="csX46" fmla="*/ 16364 w 24122"/>
                <a:gd name="csY46" fmla="*/ 10207 h 26998"/>
                <a:gd name="csX47" fmla="*/ 16364 w 24122"/>
                <a:gd name="csY47" fmla="*/ 10207 h 26998"/>
                <a:gd name="csX48" fmla="*/ 17840 w 24122"/>
                <a:gd name="csY48" fmla="*/ 9543 h 26998"/>
                <a:gd name="csX49" fmla="*/ 17988 w 24122"/>
                <a:gd name="csY49" fmla="*/ 9654 h 26998"/>
                <a:gd name="csX50" fmla="*/ 17840 w 24122"/>
                <a:gd name="csY50" fmla="*/ 9543 h 269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Lst>
              <a:rect l="l" t="t" r="r" b="b"/>
              <a:pathLst>
                <a:path w="24122" h="26998">
                  <a:moveTo>
                    <a:pt x="9906" y="26998"/>
                  </a:moveTo>
                  <a:cubicBezTo>
                    <a:pt x="9666" y="26998"/>
                    <a:pt x="9445" y="26998"/>
                    <a:pt x="9297" y="26943"/>
                  </a:cubicBezTo>
                  <a:cubicBezTo>
                    <a:pt x="9242" y="26943"/>
                    <a:pt x="8577" y="26777"/>
                    <a:pt x="8541" y="26777"/>
                  </a:cubicBezTo>
                  <a:cubicBezTo>
                    <a:pt x="5182" y="25965"/>
                    <a:pt x="4260" y="25467"/>
                    <a:pt x="3024" y="22551"/>
                  </a:cubicBezTo>
                  <a:cubicBezTo>
                    <a:pt x="2765" y="21961"/>
                    <a:pt x="2415" y="21149"/>
                    <a:pt x="1843" y="20005"/>
                  </a:cubicBezTo>
                  <a:cubicBezTo>
                    <a:pt x="1492" y="18972"/>
                    <a:pt x="1400" y="18529"/>
                    <a:pt x="1308" y="18068"/>
                  </a:cubicBezTo>
                  <a:cubicBezTo>
                    <a:pt x="1234" y="17699"/>
                    <a:pt x="1160" y="17348"/>
                    <a:pt x="1049" y="16979"/>
                  </a:cubicBezTo>
                  <a:cubicBezTo>
                    <a:pt x="680" y="16333"/>
                    <a:pt x="440" y="15853"/>
                    <a:pt x="237" y="15245"/>
                  </a:cubicBezTo>
                  <a:cubicBezTo>
                    <a:pt x="-372" y="12255"/>
                    <a:pt x="311" y="9543"/>
                    <a:pt x="938" y="7144"/>
                  </a:cubicBezTo>
                  <a:lnTo>
                    <a:pt x="1252" y="5890"/>
                  </a:lnTo>
                  <a:cubicBezTo>
                    <a:pt x="3429" y="705"/>
                    <a:pt x="5090" y="280"/>
                    <a:pt x="5791" y="96"/>
                  </a:cubicBezTo>
                  <a:cubicBezTo>
                    <a:pt x="8688" y="-292"/>
                    <a:pt x="10626" y="575"/>
                    <a:pt x="12249" y="1295"/>
                  </a:cubicBezTo>
                  <a:cubicBezTo>
                    <a:pt x="12858" y="1572"/>
                    <a:pt x="13467" y="1849"/>
                    <a:pt x="14094" y="2015"/>
                  </a:cubicBezTo>
                  <a:cubicBezTo>
                    <a:pt x="15238" y="2310"/>
                    <a:pt x="16087" y="3269"/>
                    <a:pt x="16290" y="4413"/>
                  </a:cubicBezTo>
                  <a:lnTo>
                    <a:pt x="16881" y="7993"/>
                  </a:lnTo>
                  <a:cubicBezTo>
                    <a:pt x="16899" y="8159"/>
                    <a:pt x="16918" y="8362"/>
                    <a:pt x="16918" y="8528"/>
                  </a:cubicBezTo>
                  <a:cubicBezTo>
                    <a:pt x="17047" y="8694"/>
                    <a:pt x="17213" y="8897"/>
                    <a:pt x="17416" y="9082"/>
                  </a:cubicBezTo>
                  <a:cubicBezTo>
                    <a:pt x="17803" y="9063"/>
                    <a:pt x="18191" y="9045"/>
                    <a:pt x="18634" y="9155"/>
                  </a:cubicBezTo>
                  <a:cubicBezTo>
                    <a:pt x="18947" y="9211"/>
                    <a:pt x="19242" y="9322"/>
                    <a:pt x="19538" y="9488"/>
                  </a:cubicBezTo>
                  <a:cubicBezTo>
                    <a:pt x="20829" y="10207"/>
                    <a:pt x="24317" y="12108"/>
                    <a:pt x="24114" y="15724"/>
                  </a:cubicBezTo>
                  <a:cubicBezTo>
                    <a:pt x="24114" y="17514"/>
                    <a:pt x="23394" y="19322"/>
                    <a:pt x="22767" y="20706"/>
                  </a:cubicBezTo>
                  <a:cubicBezTo>
                    <a:pt x="22490" y="21555"/>
                    <a:pt x="21863" y="22311"/>
                    <a:pt x="21401" y="22865"/>
                  </a:cubicBezTo>
                  <a:cubicBezTo>
                    <a:pt x="21217" y="23086"/>
                    <a:pt x="20756" y="23585"/>
                    <a:pt x="20516" y="23732"/>
                  </a:cubicBezTo>
                  <a:cubicBezTo>
                    <a:pt x="20017" y="24323"/>
                    <a:pt x="19335" y="25005"/>
                    <a:pt x="17766" y="25522"/>
                  </a:cubicBezTo>
                  <a:cubicBezTo>
                    <a:pt x="17656" y="25559"/>
                    <a:pt x="12286" y="26980"/>
                    <a:pt x="9943" y="26980"/>
                  </a:cubicBezTo>
                  <a:close/>
                  <a:moveTo>
                    <a:pt x="7784" y="6000"/>
                  </a:moveTo>
                  <a:cubicBezTo>
                    <a:pt x="7489" y="6517"/>
                    <a:pt x="7120" y="7218"/>
                    <a:pt x="6880" y="7772"/>
                  </a:cubicBezTo>
                  <a:lnTo>
                    <a:pt x="6714" y="8639"/>
                  </a:lnTo>
                  <a:cubicBezTo>
                    <a:pt x="6234" y="10502"/>
                    <a:pt x="5736" y="12440"/>
                    <a:pt x="5994" y="13750"/>
                  </a:cubicBezTo>
                  <a:cubicBezTo>
                    <a:pt x="6363" y="14359"/>
                    <a:pt x="6529" y="14691"/>
                    <a:pt x="6677" y="15042"/>
                  </a:cubicBezTo>
                  <a:cubicBezTo>
                    <a:pt x="6917" y="15780"/>
                    <a:pt x="7028" y="16315"/>
                    <a:pt x="7138" y="16831"/>
                  </a:cubicBezTo>
                  <a:lnTo>
                    <a:pt x="7378" y="17828"/>
                  </a:lnTo>
                  <a:cubicBezTo>
                    <a:pt x="7821" y="18566"/>
                    <a:pt x="8227" y="19507"/>
                    <a:pt x="8522" y="20190"/>
                  </a:cubicBezTo>
                  <a:cubicBezTo>
                    <a:pt x="8670" y="20522"/>
                    <a:pt x="8762" y="20780"/>
                    <a:pt x="8854" y="20965"/>
                  </a:cubicBezTo>
                  <a:cubicBezTo>
                    <a:pt x="8707" y="20688"/>
                    <a:pt x="9186" y="20762"/>
                    <a:pt x="9943" y="20965"/>
                  </a:cubicBezTo>
                  <a:cubicBezTo>
                    <a:pt x="10755" y="20798"/>
                    <a:pt x="14593" y="20245"/>
                    <a:pt x="15921" y="19839"/>
                  </a:cubicBezTo>
                  <a:cubicBezTo>
                    <a:pt x="16013" y="19728"/>
                    <a:pt x="16364" y="19415"/>
                    <a:pt x="16678" y="19156"/>
                  </a:cubicBezTo>
                  <a:cubicBezTo>
                    <a:pt x="16881" y="18898"/>
                    <a:pt x="17194" y="18492"/>
                    <a:pt x="17194" y="18492"/>
                  </a:cubicBezTo>
                  <a:cubicBezTo>
                    <a:pt x="17674" y="17403"/>
                    <a:pt x="18098" y="16352"/>
                    <a:pt x="18098" y="15521"/>
                  </a:cubicBezTo>
                  <a:cubicBezTo>
                    <a:pt x="18098" y="15595"/>
                    <a:pt x="17877" y="15447"/>
                    <a:pt x="17360" y="15134"/>
                  </a:cubicBezTo>
                  <a:cubicBezTo>
                    <a:pt x="15884" y="15281"/>
                    <a:pt x="14814" y="14912"/>
                    <a:pt x="13947" y="14027"/>
                  </a:cubicBezTo>
                  <a:cubicBezTo>
                    <a:pt x="13153" y="13381"/>
                    <a:pt x="10404" y="10853"/>
                    <a:pt x="10865" y="8233"/>
                  </a:cubicBezTo>
                  <a:lnTo>
                    <a:pt x="10681" y="7107"/>
                  </a:lnTo>
                  <a:cubicBezTo>
                    <a:pt x="10404" y="6997"/>
                    <a:pt x="10127" y="6867"/>
                    <a:pt x="9832" y="6738"/>
                  </a:cubicBezTo>
                  <a:cubicBezTo>
                    <a:pt x="8983" y="6369"/>
                    <a:pt x="8338" y="6092"/>
                    <a:pt x="7784" y="5963"/>
                  </a:cubicBezTo>
                  <a:close/>
                  <a:moveTo>
                    <a:pt x="16364" y="10207"/>
                  </a:moveTo>
                  <a:cubicBezTo>
                    <a:pt x="16364" y="10207"/>
                    <a:pt x="16364" y="10207"/>
                    <a:pt x="16364" y="10207"/>
                  </a:cubicBezTo>
                  <a:cubicBezTo>
                    <a:pt x="16364" y="10207"/>
                    <a:pt x="16364" y="10207"/>
                    <a:pt x="16364" y="10207"/>
                  </a:cubicBezTo>
                  <a:close/>
                  <a:moveTo>
                    <a:pt x="17840" y="9543"/>
                  </a:moveTo>
                  <a:cubicBezTo>
                    <a:pt x="17840" y="9543"/>
                    <a:pt x="17932" y="9617"/>
                    <a:pt x="17988" y="9654"/>
                  </a:cubicBezTo>
                  <a:cubicBezTo>
                    <a:pt x="17932" y="9617"/>
                    <a:pt x="17896" y="9580"/>
                    <a:pt x="17840" y="9543"/>
                  </a:cubicBezTo>
                  <a:close/>
                </a:path>
              </a:pathLst>
            </a:custGeom>
            <a:solidFill>
              <a:srgbClr val="FFFFFF"/>
            </a:solidFill>
            <a:ln w="1835" cap="flat">
              <a:noFill/>
              <a:prstDash val="solid"/>
              <a:miter/>
            </a:ln>
          </p:spPr>
          <p:txBody>
            <a:bodyPr/>
            <a:lstStyle/>
            <a:p>
              <a:endParaRPr lang="en-GB"/>
            </a:p>
          </p:txBody>
        </p:sp>
        <p:sp>
          <p:nvSpPr>
            <p:cNvPr id="1432" name="Freeform: Shape 1431">
              <a:extLst>
                <a:ext uri="{FF2B5EF4-FFF2-40B4-BE49-F238E27FC236}">
                  <a16:creationId xmlns:a16="http://schemas.microsoft.com/office/drawing/2014/main" id="{D4CEE9F1-95C3-05D7-C3F2-176DCE5E8BF1}"/>
                </a:ext>
              </a:extLst>
            </p:cNvPr>
            <p:cNvSpPr/>
            <p:nvPr/>
          </p:nvSpPr>
          <p:spPr>
            <a:xfrm>
              <a:off x="10998616" y="4888241"/>
              <a:ext cx="19381" cy="19582"/>
            </a:xfrm>
            <a:custGeom>
              <a:avLst/>
              <a:gdLst>
                <a:gd name="csX0" fmla="*/ 18 w 19381"/>
                <a:gd name="csY0" fmla="*/ 11938 h 19582"/>
                <a:gd name="csX1" fmla="*/ 18 w 19381"/>
                <a:gd name="csY1" fmla="*/ 11938 h 19582"/>
                <a:gd name="csX2" fmla="*/ 978 w 19381"/>
                <a:gd name="csY2" fmla="*/ 18747 h 19582"/>
                <a:gd name="csX3" fmla="*/ 5166 w 19381"/>
                <a:gd name="csY3" fmla="*/ 19577 h 19582"/>
                <a:gd name="csX4" fmla="*/ 12805 w 19381"/>
                <a:gd name="csY4" fmla="*/ 17437 h 19582"/>
                <a:gd name="csX5" fmla="*/ 14115 w 19381"/>
                <a:gd name="csY5" fmla="*/ 16127 h 19582"/>
                <a:gd name="csX6" fmla="*/ 16145 w 19381"/>
                <a:gd name="csY6" fmla="*/ 14577 h 19582"/>
                <a:gd name="csX7" fmla="*/ 19005 w 19381"/>
                <a:gd name="csY7" fmla="*/ 7528 h 19582"/>
                <a:gd name="csX8" fmla="*/ 15057 w 19381"/>
                <a:gd name="csY8" fmla="*/ 1790 h 19582"/>
                <a:gd name="csX9" fmla="*/ 12916 w 19381"/>
                <a:gd name="csY9" fmla="*/ 480 h 19582"/>
                <a:gd name="csX10" fmla="*/ 10757 w 19381"/>
                <a:gd name="csY10" fmla="*/ 0 h 19582"/>
                <a:gd name="csX11" fmla="*/ 6569 w 19381"/>
                <a:gd name="csY11" fmla="*/ 590 h 19582"/>
                <a:gd name="csX12" fmla="*/ 4650 w 19381"/>
                <a:gd name="csY12" fmla="*/ 4890 h 19582"/>
                <a:gd name="csX13" fmla="*/ 5369 w 19381"/>
                <a:gd name="csY13" fmla="*/ 6679 h 19582"/>
                <a:gd name="csX14" fmla="*/ 2989 w 19381"/>
                <a:gd name="csY14" fmla="*/ 9909 h 19582"/>
                <a:gd name="csX15" fmla="*/ 0 w 19381"/>
                <a:gd name="csY15" fmla="*/ 11938 h 195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381" h="19582">
                  <a:moveTo>
                    <a:pt x="18" y="11938"/>
                  </a:moveTo>
                  <a:lnTo>
                    <a:pt x="18" y="11938"/>
                  </a:lnTo>
                  <a:cubicBezTo>
                    <a:pt x="258" y="14208"/>
                    <a:pt x="-461" y="16717"/>
                    <a:pt x="978" y="18747"/>
                  </a:cubicBezTo>
                  <a:cubicBezTo>
                    <a:pt x="1568" y="19706"/>
                    <a:pt x="5166" y="19577"/>
                    <a:pt x="5166" y="19577"/>
                  </a:cubicBezTo>
                  <a:cubicBezTo>
                    <a:pt x="7676" y="19097"/>
                    <a:pt x="10776" y="18858"/>
                    <a:pt x="12805" y="17437"/>
                  </a:cubicBezTo>
                  <a:cubicBezTo>
                    <a:pt x="13396" y="17086"/>
                    <a:pt x="13636" y="16477"/>
                    <a:pt x="14115" y="16127"/>
                  </a:cubicBezTo>
                  <a:cubicBezTo>
                    <a:pt x="14706" y="15536"/>
                    <a:pt x="15426" y="15057"/>
                    <a:pt x="16145" y="14577"/>
                  </a:cubicBezTo>
                  <a:cubicBezTo>
                    <a:pt x="19725" y="10278"/>
                    <a:pt x="19725" y="11957"/>
                    <a:pt x="19005" y="7528"/>
                  </a:cubicBezTo>
                  <a:cubicBezTo>
                    <a:pt x="18894" y="6938"/>
                    <a:pt x="16016" y="2878"/>
                    <a:pt x="15057" y="1790"/>
                  </a:cubicBezTo>
                  <a:cubicBezTo>
                    <a:pt x="13986" y="590"/>
                    <a:pt x="13617" y="830"/>
                    <a:pt x="12916" y="480"/>
                  </a:cubicBezTo>
                  <a:cubicBezTo>
                    <a:pt x="12197" y="369"/>
                    <a:pt x="11477" y="0"/>
                    <a:pt x="10757" y="0"/>
                  </a:cubicBezTo>
                  <a:cubicBezTo>
                    <a:pt x="9318" y="111"/>
                    <a:pt x="7897" y="111"/>
                    <a:pt x="6569" y="590"/>
                  </a:cubicBezTo>
                  <a:cubicBezTo>
                    <a:pt x="4890" y="1310"/>
                    <a:pt x="4779" y="4170"/>
                    <a:pt x="4650" y="4890"/>
                  </a:cubicBezTo>
                  <a:cubicBezTo>
                    <a:pt x="4890" y="5480"/>
                    <a:pt x="5720" y="5849"/>
                    <a:pt x="5369" y="6679"/>
                  </a:cubicBezTo>
                  <a:cubicBezTo>
                    <a:pt x="5130" y="7510"/>
                    <a:pt x="4059" y="10148"/>
                    <a:pt x="2989" y="9909"/>
                  </a:cubicBezTo>
                  <a:lnTo>
                    <a:pt x="0" y="11938"/>
                  </a:lnTo>
                  <a:close/>
                </a:path>
              </a:pathLst>
            </a:custGeom>
            <a:solidFill>
              <a:srgbClr val="FFFFFF"/>
            </a:solidFill>
            <a:ln w="1835" cap="flat">
              <a:noFill/>
              <a:prstDash val="solid"/>
              <a:miter/>
            </a:ln>
          </p:spPr>
          <p:txBody>
            <a:bodyPr/>
            <a:lstStyle/>
            <a:p>
              <a:endParaRPr lang="en-GB"/>
            </a:p>
          </p:txBody>
        </p:sp>
        <p:sp>
          <p:nvSpPr>
            <p:cNvPr id="1433" name="Freeform: Shape 1432">
              <a:extLst>
                <a:ext uri="{FF2B5EF4-FFF2-40B4-BE49-F238E27FC236}">
                  <a16:creationId xmlns:a16="http://schemas.microsoft.com/office/drawing/2014/main" id="{6CE55AF6-04A6-D56C-DFB0-561994287258}"/>
                </a:ext>
              </a:extLst>
            </p:cNvPr>
            <p:cNvSpPr/>
            <p:nvPr/>
          </p:nvSpPr>
          <p:spPr>
            <a:xfrm>
              <a:off x="10995630" y="4885271"/>
              <a:ext cx="25339" cy="25500"/>
            </a:xfrm>
            <a:custGeom>
              <a:avLst/>
              <a:gdLst>
                <a:gd name="csX0" fmla="*/ 7746 w 25339"/>
                <a:gd name="csY0" fmla="*/ 25500 h 25500"/>
                <a:gd name="csX1" fmla="*/ 1418 w 25339"/>
                <a:gd name="csY1" fmla="*/ 23286 h 25500"/>
                <a:gd name="csX2" fmla="*/ 52 w 25339"/>
                <a:gd name="csY2" fmla="*/ 16994 h 25500"/>
                <a:gd name="csX3" fmla="*/ 15 w 25339"/>
                <a:gd name="csY3" fmla="*/ 15241 h 25500"/>
                <a:gd name="csX4" fmla="*/ 1307 w 25339"/>
                <a:gd name="csY4" fmla="*/ 12436 h 25500"/>
                <a:gd name="csX5" fmla="*/ 4296 w 25339"/>
                <a:gd name="csY5" fmla="*/ 10407 h 25500"/>
                <a:gd name="csX6" fmla="*/ 4960 w 25339"/>
                <a:gd name="csY6" fmla="*/ 10075 h 25500"/>
                <a:gd name="csX7" fmla="*/ 5200 w 25339"/>
                <a:gd name="csY7" fmla="*/ 9595 h 25500"/>
                <a:gd name="csX8" fmla="*/ 4868 w 25339"/>
                <a:gd name="csY8" fmla="*/ 8931 h 25500"/>
                <a:gd name="csX9" fmla="*/ 4702 w 25339"/>
                <a:gd name="csY9" fmla="*/ 7381 h 25500"/>
                <a:gd name="csX10" fmla="*/ 8392 w 25339"/>
                <a:gd name="csY10" fmla="*/ 830 h 25500"/>
                <a:gd name="csX11" fmla="*/ 12710 w 25339"/>
                <a:gd name="csY11" fmla="*/ 55 h 25500"/>
                <a:gd name="csX12" fmla="*/ 13485 w 25339"/>
                <a:gd name="csY12" fmla="*/ 0 h 25500"/>
                <a:gd name="csX13" fmla="*/ 15902 w 25339"/>
                <a:gd name="csY13" fmla="*/ 369 h 25500"/>
                <a:gd name="csX14" fmla="*/ 17194 w 25339"/>
                <a:gd name="csY14" fmla="*/ 757 h 25500"/>
                <a:gd name="csX15" fmla="*/ 20257 w 25339"/>
                <a:gd name="csY15" fmla="*/ 2749 h 25500"/>
                <a:gd name="csX16" fmla="*/ 24906 w 25339"/>
                <a:gd name="csY16" fmla="*/ 9909 h 25500"/>
                <a:gd name="csX17" fmla="*/ 25054 w 25339"/>
                <a:gd name="csY17" fmla="*/ 10739 h 25500"/>
                <a:gd name="csX18" fmla="*/ 23320 w 25339"/>
                <a:gd name="csY18" fmla="*/ 17326 h 25500"/>
                <a:gd name="csX19" fmla="*/ 21438 w 25339"/>
                <a:gd name="csY19" fmla="*/ 19430 h 25500"/>
                <a:gd name="csX20" fmla="*/ 20792 w 25339"/>
                <a:gd name="csY20" fmla="*/ 20020 h 25500"/>
                <a:gd name="csX21" fmla="*/ 19223 w 25339"/>
                <a:gd name="csY21" fmla="*/ 21182 h 25500"/>
                <a:gd name="csX22" fmla="*/ 17341 w 25339"/>
                <a:gd name="csY22" fmla="*/ 22935 h 25500"/>
                <a:gd name="csX23" fmla="*/ 10201 w 25339"/>
                <a:gd name="csY23" fmla="*/ 25205 h 25500"/>
                <a:gd name="csX24" fmla="*/ 8724 w 25339"/>
                <a:gd name="csY24" fmla="*/ 25445 h 25500"/>
                <a:gd name="csX25" fmla="*/ 7783 w 25339"/>
                <a:gd name="csY25" fmla="*/ 25463 h 25500"/>
                <a:gd name="csX26" fmla="*/ 6344 w 25339"/>
                <a:gd name="csY26" fmla="*/ 19909 h 25500"/>
                <a:gd name="csX27" fmla="*/ 6400 w 25339"/>
                <a:gd name="csY27" fmla="*/ 19983 h 25500"/>
                <a:gd name="csX28" fmla="*/ 6344 w 25339"/>
                <a:gd name="csY28" fmla="*/ 19909 h 25500"/>
                <a:gd name="csX29" fmla="*/ 6160 w 25339"/>
                <a:gd name="csY29" fmla="*/ 19466 h 25500"/>
                <a:gd name="csX30" fmla="*/ 8042 w 25339"/>
                <a:gd name="csY30" fmla="*/ 19559 h 25500"/>
                <a:gd name="csX31" fmla="*/ 9204 w 25339"/>
                <a:gd name="csY31" fmla="*/ 19319 h 25500"/>
                <a:gd name="csX32" fmla="*/ 14038 w 25339"/>
                <a:gd name="csY32" fmla="*/ 17953 h 25500"/>
                <a:gd name="csX33" fmla="*/ 15293 w 25339"/>
                <a:gd name="csY33" fmla="*/ 16699 h 25500"/>
                <a:gd name="csX34" fmla="*/ 17120 w 25339"/>
                <a:gd name="csY34" fmla="*/ 15278 h 25500"/>
                <a:gd name="csX35" fmla="*/ 19002 w 25339"/>
                <a:gd name="csY35" fmla="*/ 13193 h 25500"/>
                <a:gd name="csX36" fmla="*/ 19555 w 25339"/>
                <a:gd name="csY36" fmla="*/ 12584 h 25500"/>
                <a:gd name="csX37" fmla="*/ 19168 w 25339"/>
                <a:gd name="csY37" fmla="*/ 11717 h 25500"/>
                <a:gd name="csX38" fmla="*/ 19039 w 25339"/>
                <a:gd name="csY38" fmla="*/ 10942 h 25500"/>
                <a:gd name="csX39" fmla="*/ 15828 w 25339"/>
                <a:gd name="csY39" fmla="*/ 6716 h 25500"/>
                <a:gd name="csX40" fmla="*/ 14887 w 25339"/>
                <a:gd name="csY40" fmla="*/ 6255 h 25500"/>
                <a:gd name="csX41" fmla="*/ 14241 w 25339"/>
                <a:gd name="csY41" fmla="*/ 6071 h 25500"/>
                <a:gd name="csX42" fmla="*/ 13134 w 25339"/>
                <a:gd name="csY42" fmla="*/ 5997 h 25500"/>
                <a:gd name="csX43" fmla="*/ 10606 w 25339"/>
                <a:gd name="csY43" fmla="*/ 6366 h 25500"/>
                <a:gd name="csX44" fmla="*/ 10791 w 25339"/>
                <a:gd name="csY44" fmla="*/ 7141 h 25500"/>
                <a:gd name="csX45" fmla="*/ 11142 w 25339"/>
                <a:gd name="csY45" fmla="*/ 10813 h 25500"/>
                <a:gd name="csX46" fmla="*/ 7045 w 25339"/>
                <a:gd name="csY46" fmla="*/ 15776 h 25500"/>
                <a:gd name="csX47" fmla="*/ 6086 w 25339"/>
                <a:gd name="csY47" fmla="*/ 16422 h 25500"/>
                <a:gd name="csX48" fmla="*/ 6086 w 25339"/>
                <a:gd name="csY48" fmla="*/ 17105 h 25500"/>
                <a:gd name="csX49" fmla="*/ 6215 w 25339"/>
                <a:gd name="csY49" fmla="*/ 19448 h 25500"/>
                <a:gd name="csX50" fmla="*/ 6602 w 25339"/>
                <a:gd name="csY50" fmla="*/ 9964 h 25500"/>
                <a:gd name="csX51" fmla="*/ 6602 w 25339"/>
                <a:gd name="csY51" fmla="*/ 9964 h 25500"/>
                <a:gd name="csX52" fmla="*/ 5495 w 25339"/>
                <a:gd name="csY52" fmla="*/ 8838 h 25500"/>
                <a:gd name="csX53" fmla="*/ 5440 w 25339"/>
                <a:gd name="csY53" fmla="*/ 9004 h 25500"/>
                <a:gd name="csX54" fmla="*/ 5495 w 25339"/>
                <a:gd name="csY54" fmla="*/ 8838 h 255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25339" h="25500">
                  <a:moveTo>
                    <a:pt x="7746" y="25500"/>
                  </a:moveTo>
                  <a:cubicBezTo>
                    <a:pt x="2783" y="25500"/>
                    <a:pt x="1768" y="23858"/>
                    <a:pt x="1418" y="23286"/>
                  </a:cubicBezTo>
                  <a:cubicBezTo>
                    <a:pt x="-59" y="21238"/>
                    <a:pt x="15" y="18876"/>
                    <a:pt x="52" y="16994"/>
                  </a:cubicBezTo>
                  <a:cubicBezTo>
                    <a:pt x="52" y="16403"/>
                    <a:pt x="89" y="15813"/>
                    <a:pt x="15" y="15241"/>
                  </a:cubicBezTo>
                  <a:cubicBezTo>
                    <a:pt x="-95" y="14134"/>
                    <a:pt x="403" y="13064"/>
                    <a:pt x="1307" y="12436"/>
                  </a:cubicBezTo>
                  <a:lnTo>
                    <a:pt x="4296" y="10407"/>
                  </a:lnTo>
                  <a:cubicBezTo>
                    <a:pt x="4499" y="10259"/>
                    <a:pt x="4720" y="10148"/>
                    <a:pt x="4960" y="10075"/>
                  </a:cubicBezTo>
                  <a:cubicBezTo>
                    <a:pt x="5034" y="9927"/>
                    <a:pt x="5126" y="9779"/>
                    <a:pt x="5200" y="9595"/>
                  </a:cubicBezTo>
                  <a:cubicBezTo>
                    <a:pt x="5071" y="9392"/>
                    <a:pt x="4960" y="9170"/>
                    <a:pt x="4868" y="8931"/>
                  </a:cubicBezTo>
                  <a:cubicBezTo>
                    <a:pt x="4684" y="8432"/>
                    <a:pt x="4628" y="7897"/>
                    <a:pt x="4702" y="7381"/>
                  </a:cubicBezTo>
                  <a:cubicBezTo>
                    <a:pt x="4905" y="5775"/>
                    <a:pt x="5329" y="2122"/>
                    <a:pt x="8392" y="830"/>
                  </a:cubicBezTo>
                  <a:cubicBezTo>
                    <a:pt x="9998" y="240"/>
                    <a:pt x="11455" y="148"/>
                    <a:pt x="12710" y="55"/>
                  </a:cubicBezTo>
                  <a:lnTo>
                    <a:pt x="13485" y="0"/>
                  </a:lnTo>
                  <a:cubicBezTo>
                    <a:pt x="14740" y="166"/>
                    <a:pt x="15349" y="221"/>
                    <a:pt x="15902" y="369"/>
                  </a:cubicBezTo>
                  <a:cubicBezTo>
                    <a:pt x="16179" y="424"/>
                    <a:pt x="16935" y="646"/>
                    <a:pt x="17194" y="757"/>
                  </a:cubicBezTo>
                  <a:cubicBezTo>
                    <a:pt x="18301" y="1089"/>
                    <a:pt x="19150" y="1513"/>
                    <a:pt x="20257" y="2749"/>
                  </a:cubicBezTo>
                  <a:cubicBezTo>
                    <a:pt x="20312" y="2805"/>
                    <a:pt x="24556" y="8026"/>
                    <a:pt x="24906" y="9909"/>
                  </a:cubicBezTo>
                  <a:lnTo>
                    <a:pt x="25054" y="10739"/>
                  </a:lnTo>
                  <a:cubicBezTo>
                    <a:pt x="25608" y="14023"/>
                    <a:pt x="25515" y="15020"/>
                    <a:pt x="23320" y="17326"/>
                  </a:cubicBezTo>
                  <a:cubicBezTo>
                    <a:pt x="22858" y="17806"/>
                    <a:pt x="22249" y="18452"/>
                    <a:pt x="21438" y="19430"/>
                  </a:cubicBezTo>
                  <a:cubicBezTo>
                    <a:pt x="21253" y="19651"/>
                    <a:pt x="21032" y="19854"/>
                    <a:pt x="20792" y="20020"/>
                  </a:cubicBezTo>
                  <a:cubicBezTo>
                    <a:pt x="20238" y="20389"/>
                    <a:pt x="19685" y="20740"/>
                    <a:pt x="19223" y="21182"/>
                  </a:cubicBezTo>
                  <a:cubicBezTo>
                    <a:pt x="18614" y="21865"/>
                    <a:pt x="18135" y="22474"/>
                    <a:pt x="17341" y="22935"/>
                  </a:cubicBezTo>
                  <a:cubicBezTo>
                    <a:pt x="15330" y="24375"/>
                    <a:pt x="12599" y="24817"/>
                    <a:pt x="10201" y="25205"/>
                  </a:cubicBezTo>
                  <a:lnTo>
                    <a:pt x="8724" y="25445"/>
                  </a:lnTo>
                  <a:cubicBezTo>
                    <a:pt x="8392" y="25463"/>
                    <a:pt x="8079" y="25463"/>
                    <a:pt x="7783" y="25463"/>
                  </a:cubicBezTo>
                  <a:close/>
                  <a:moveTo>
                    <a:pt x="6344" y="19909"/>
                  </a:moveTo>
                  <a:cubicBezTo>
                    <a:pt x="6344" y="19909"/>
                    <a:pt x="6381" y="19965"/>
                    <a:pt x="6400" y="19983"/>
                  </a:cubicBezTo>
                  <a:cubicBezTo>
                    <a:pt x="6400" y="19965"/>
                    <a:pt x="6363" y="19928"/>
                    <a:pt x="6344" y="19909"/>
                  </a:cubicBezTo>
                  <a:close/>
                  <a:moveTo>
                    <a:pt x="6160" y="19466"/>
                  </a:moveTo>
                  <a:cubicBezTo>
                    <a:pt x="6676" y="19540"/>
                    <a:pt x="7470" y="19577"/>
                    <a:pt x="8042" y="19559"/>
                  </a:cubicBezTo>
                  <a:lnTo>
                    <a:pt x="9204" y="19319"/>
                  </a:lnTo>
                  <a:cubicBezTo>
                    <a:pt x="10975" y="19042"/>
                    <a:pt x="12987" y="18710"/>
                    <a:pt x="14038" y="17953"/>
                  </a:cubicBezTo>
                  <a:cubicBezTo>
                    <a:pt x="14444" y="17492"/>
                    <a:pt x="14777" y="17068"/>
                    <a:pt x="15293" y="16699"/>
                  </a:cubicBezTo>
                  <a:cubicBezTo>
                    <a:pt x="15662" y="16293"/>
                    <a:pt x="16363" y="15795"/>
                    <a:pt x="17120" y="15278"/>
                  </a:cubicBezTo>
                  <a:cubicBezTo>
                    <a:pt x="17913" y="14337"/>
                    <a:pt x="18522" y="13710"/>
                    <a:pt x="19002" y="13193"/>
                  </a:cubicBezTo>
                  <a:cubicBezTo>
                    <a:pt x="19242" y="12935"/>
                    <a:pt x="19426" y="12750"/>
                    <a:pt x="19555" y="12584"/>
                  </a:cubicBezTo>
                  <a:cubicBezTo>
                    <a:pt x="19389" y="12750"/>
                    <a:pt x="19279" y="12418"/>
                    <a:pt x="19168" y="11717"/>
                  </a:cubicBezTo>
                  <a:lnTo>
                    <a:pt x="19039" y="10942"/>
                  </a:lnTo>
                  <a:cubicBezTo>
                    <a:pt x="18854" y="10794"/>
                    <a:pt x="16566" y="7565"/>
                    <a:pt x="15828" y="6716"/>
                  </a:cubicBezTo>
                  <a:cubicBezTo>
                    <a:pt x="15718" y="6698"/>
                    <a:pt x="15219" y="6421"/>
                    <a:pt x="14887" y="6255"/>
                  </a:cubicBezTo>
                  <a:cubicBezTo>
                    <a:pt x="14684" y="6200"/>
                    <a:pt x="14463" y="6144"/>
                    <a:pt x="14241" y="6071"/>
                  </a:cubicBezTo>
                  <a:lnTo>
                    <a:pt x="13134" y="5997"/>
                  </a:lnTo>
                  <a:cubicBezTo>
                    <a:pt x="12138" y="6052"/>
                    <a:pt x="11271" y="6107"/>
                    <a:pt x="10606" y="6366"/>
                  </a:cubicBezTo>
                  <a:cubicBezTo>
                    <a:pt x="11105" y="6163"/>
                    <a:pt x="10865" y="6624"/>
                    <a:pt x="10791" y="7141"/>
                  </a:cubicBezTo>
                  <a:cubicBezTo>
                    <a:pt x="11566" y="8174"/>
                    <a:pt x="11714" y="9484"/>
                    <a:pt x="11142" y="10813"/>
                  </a:cubicBezTo>
                  <a:cubicBezTo>
                    <a:pt x="10606" y="12824"/>
                    <a:pt x="9186" y="15259"/>
                    <a:pt x="7045" y="15776"/>
                  </a:cubicBezTo>
                  <a:lnTo>
                    <a:pt x="6086" y="16422"/>
                  </a:lnTo>
                  <a:cubicBezTo>
                    <a:pt x="6086" y="16662"/>
                    <a:pt x="6086" y="16883"/>
                    <a:pt x="6086" y="17105"/>
                  </a:cubicBezTo>
                  <a:cubicBezTo>
                    <a:pt x="6049" y="18138"/>
                    <a:pt x="6049" y="18894"/>
                    <a:pt x="6215" y="19448"/>
                  </a:cubicBezTo>
                  <a:close/>
                  <a:moveTo>
                    <a:pt x="6602" y="9964"/>
                  </a:moveTo>
                  <a:lnTo>
                    <a:pt x="6602" y="9964"/>
                  </a:lnTo>
                  <a:close/>
                  <a:moveTo>
                    <a:pt x="5495" y="8838"/>
                  </a:moveTo>
                  <a:cubicBezTo>
                    <a:pt x="5495" y="8838"/>
                    <a:pt x="5458" y="8949"/>
                    <a:pt x="5440" y="9004"/>
                  </a:cubicBezTo>
                  <a:cubicBezTo>
                    <a:pt x="5458" y="8949"/>
                    <a:pt x="5477" y="8894"/>
                    <a:pt x="5495" y="8838"/>
                  </a:cubicBezTo>
                  <a:close/>
                </a:path>
              </a:pathLst>
            </a:custGeom>
            <a:solidFill>
              <a:srgbClr val="FFFFFF"/>
            </a:solidFill>
            <a:ln w="1835" cap="flat">
              <a:noFill/>
              <a:prstDash val="solid"/>
              <a:miter/>
            </a:ln>
          </p:spPr>
          <p:txBody>
            <a:bodyPr/>
            <a:lstStyle/>
            <a:p>
              <a:endParaRPr lang="en-GB"/>
            </a:p>
          </p:txBody>
        </p:sp>
        <p:sp>
          <p:nvSpPr>
            <p:cNvPr id="1434" name="Freeform: Shape 1433">
              <a:extLst>
                <a:ext uri="{FF2B5EF4-FFF2-40B4-BE49-F238E27FC236}">
                  <a16:creationId xmlns:a16="http://schemas.microsoft.com/office/drawing/2014/main" id="{9DE0515B-0F0B-7EE8-B0F2-68155839E3D8}"/>
                </a:ext>
              </a:extLst>
            </p:cNvPr>
            <p:cNvSpPr/>
            <p:nvPr/>
          </p:nvSpPr>
          <p:spPr>
            <a:xfrm>
              <a:off x="10970938" y="4958969"/>
              <a:ext cx="21265" cy="18227"/>
            </a:xfrm>
            <a:custGeom>
              <a:avLst/>
              <a:gdLst>
                <a:gd name="csX0" fmla="*/ 14558 w 21265"/>
                <a:gd name="csY0" fmla="*/ 18228 h 18227"/>
                <a:gd name="csX1" fmla="*/ 14558 w 21265"/>
                <a:gd name="csY1" fmla="*/ 18228 h 18227"/>
                <a:gd name="csX2" fmla="*/ 21016 w 21265"/>
                <a:gd name="csY2" fmla="*/ 15478 h 18227"/>
                <a:gd name="csX3" fmla="*/ 20666 w 21265"/>
                <a:gd name="csY3" fmla="*/ 11179 h 18227"/>
                <a:gd name="csX4" fmla="*/ 16606 w 21265"/>
                <a:gd name="csY4" fmla="*/ 4500 h 18227"/>
                <a:gd name="csX5" fmla="*/ 14927 w 21265"/>
                <a:gd name="csY5" fmla="*/ 3540 h 18227"/>
                <a:gd name="csX6" fmla="*/ 12898 w 21265"/>
                <a:gd name="csY6" fmla="*/ 1990 h 18227"/>
                <a:gd name="csX7" fmla="*/ 5259 w 21265"/>
                <a:gd name="csY7" fmla="*/ 1160 h 18227"/>
                <a:gd name="csX8" fmla="*/ 720 w 21265"/>
                <a:gd name="csY8" fmla="*/ 6529 h 18227"/>
                <a:gd name="csX9" fmla="*/ 0 w 21265"/>
                <a:gd name="csY9" fmla="*/ 8910 h 18227"/>
                <a:gd name="csX10" fmla="*/ 111 w 21265"/>
                <a:gd name="csY10" fmla="*/ 11050 h 18227"/>
                <a:gd name="csX11" fmla="*/ 1790 w 21265"/>
                <a:gd name="csY11" fmla="*/ 14869 h 18227"/>
                <a:gd name="csX12" fmla="*/ 6440 w 21265"/>
                <a:gd name="csY12" fmla="*/ 15589 h 18227"/>
                <a:gd name="csX13" fmla="*/ 7990 w 21265"/>
                <a:gd name="csY13" fmla="*/ 14390 h 18227"/>
                <a:gd name="csX14" fmla="*/ 11809 w 21265"/>
                <a:gd name="csY14" fmla="*/ 15829 h 18227"/>
                <a:gd name="csX15" fmla="*/ 14558 w 21265"/>
                <a:gd name="csY15" fmla="*/ 18209 h 182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265" h="18227">
                  <a:moveTo>
                    <a:pt x="14558" y="18228"/>
                  </a:moveTo>
                  <a:lnTo>
                    <a:pt x="14558" y="18228"/>
                  </a:lnTo>
                  <a:cubicBezTo>
                    <a:pt x="16717" y="17268"/>
                    <a:pt x="19337" y="17397"/>
                    <a:pt x="21016" y="15478"/>
                  </a:cubicBezTo>
                  <a:cubicBezTo>
                    <a:pt x="21736" y="14648"/>
                    <a:pt x="20666" y="11179"/>
                    <a:pt x="20666" y="11179"/>
                  </a:cubicBezTo>
                  <a:cubicBezTo>
                    <a:pt x="19596" y="8910"/>
                    <a:pt x="18525" y="6049"/>
                    <a:pt x="16606" y="4500"/>
                  </a:cubicBezTo>
                  <a:cubicBezTo>
                    <a:pt x="16127" y="4020"/>
                    <a:pt x="15407" y="4020"/>
                    <a:pt x="14927" y="3540"/>
                  </a:cubicBezTo>
                  <a:cubicBezTo>
                    <a:pt x="14208" y="3189"/>
                    <a:pt x="13617" y="2581"/>
                    <a:pt x="12898" y="1990"/>
                  </a:cubicBezTo>
                  <a:cubicBezTo>
                    <a:pt x="7768" y="-169"/>
                    <a:pt x="9429" y="-759"/>
                    <a:pt x="5259" y="1160"/>
                  </a:cubicBezTo>
                  <a:cubicBezTo>
                    <a:pt x="4779" y="1400"/>
                    <a:pt x="1550" y="5219"/>
                    <a:pt x="720" y="6529"/>
                  </a:cubicBezTo>
                  <a:cubicBezTo>
                    <a:pt x="-111" y="7839"/>
                    <a:pt x="240" y="8079"/>
                    <a:pt x="0" y="8910"/>
                  </a:cubicBezTo>
                  <a:cubicBezTo>
                    <a:pt x="0" y="9629"/>
                    <a:pt x="0" y="10349"/>
                    <a:pt x="111" y="11050"/>
                  </a:cubicBezTo>
                  <a:cubicBezTo>
                    <a:pt x="590" y="12360"/>
                    <a:pt x="1070" y="13799"/>
                    <a:pt x="1790" y="14869"/>
                  </a:cubicBezTo>
                  <a:cubicBezTo>
                    <a:pt x="2860" y="16309"/>
                    <a:pt x="5738" y="15589"/>
                    <a:pt x="6440" y="15589"/>
                  </a:cubicBezTo>
                  <a:cubicBezTo>
                    <a:pt x="6919" y="15238"/>
                    <a:pt x="7030" y="14390"/>
                    <a:pt x="7990" y="14390"/>
                  </a:cubicBezTo>
                  <a:cubicBezTo>
                    <a:pt x="8949" y="14390"/>
                    <a:pt x="11698" y="14740"/>
                    <a:pt x="11809" y="15829"/>
                  </a:cubicBezTo>
                  <a:lnTo>
                    <a:pt x="14558" y="18209"/>
                  </a:lnTo>
                  <a:close/>
                </a:path>
              </a:pathLst>
            </a:custGeom>
            <a:solidFill>
              <a:srgbClr val="FFFFFF"/>
            </a:solidFill>
            <a:ln w="1835" cap="flat">
              <a:noFill/>
              <a:prstDash val="solid"/>
              <a:miter/>
            </a:ln>
          </p:spPr>
          <p:txBody>
            <a:bodyPr/>
            <a:lstStyle/>
            <a:p>
              <a:endParaRPr lang="en-GB"/>
            </a:p>
          </p:txBody>
        </p:sp>
        <p:sp>
          <p:nvSpPr>
            <p:cNvPr id="1435" name="Freeform: Shape 1434">
              <a:extLst>
                <a:ext uri="{FF2B5EF4-FFF2-40B4-BE49-F238E27FC236}">
                  <a16:creationId xmlns:a16="http://schemas.microsoft.com/office/drawing/2014/main" id="{30F5795A-6A15-49E9-7035-E9751FF59670}"/>
                </a:ext>
              </a:extLst>
            </p:cNvPr>
            <p:cNvSpPr/>
            <p:nvPr/>
          </p:nvSpPr>
          <p:spPr>
            <a:xfrm>
              <a:off x="10967949" y="4956034"/>
              <a:ext cx="27146" cy="24151"/>
            </a:xfrm>
            <a:custGeom>
              <a:avLst/>
              <a:gdLst>
                <a:gd name="csX0" fmla="*/ 17547 w 27146"/>
                <a:gd name="csY0" fmla="*/ 24151 h 24151"/>
                <a:gd name="csX1" fmla="*/ 15592 w 27146"/>
                <a:gd name="csY1" fmla="*/ 23432 h 24151"/>
                <a:gd name="csX2" fmla="*/ 12842 w 27146"/>
                <a:gd name="csY2" fmla="*/ 21052 h 24151"/>
                <a:gd name="csX3" fmla="*/ 12363 w 27146"/>
                <a:gd name="csY3" fmla="*/ 20535 h 24151"/>
                <a:gd name="csX4" fmla="*/ 11772 w 27146"/>
                <a:gd name="csY4" fmla="*/ 20424 h 24151"/>
                <a:gd name="csX5" fmla="*/ 11255 w 27146"/>
                <a:gd name="csY5" fmla="*/ 20922 h 24151"/>
                <a:gd name="csX6" fmla="*/ 9429 w 27146"/>
                <a:gd name="csY6" fmla="*/ 21550 h 24151"/>
                <a:gd name="csX7" fmla="*/ 2380 w 27146"/>
                <a:gd name="csY7" fmla="*/ 19631 h 24151"/>
                <a:gd name="csX8" fmla="*/ 443 w 27146"/>
                <a:gd name="csY8" fmla="*/ 15442 h 24151"/>
                <a:gd name="csX9" fmla="*/ 148 w 27146"/>
                <a:gd name="csY9" fmla="*/ 14501 h 24151"/>
                <a:gd name="csX10" fmla="*/ 0 w 27146"/>
                <a:gd name="csY10" fmla="*/ 11881 h 24151"/>
                <a:gd name="csX11" fmla="*/ 111 w 27146"/>
                <a:gd name="csY11" fmla="*/ 11069 h 24151"/>
                <a:gd name="csX12" fmla="*/ 1181 w 27146"/>
                <a:gd name="csY12" fmla="*/ 7877 h 24151"/>
                <a:gd name="csX13" fmla="*/ 6864 w 27146"/>
                <a:gd name="csY13" fmla="*/ 1456 h 24151"/>
                <a:gd name="csX14" fmla="*/ 14374 w 27146"/>
                <a:gd name="csY14" fmla="*/ 939 h 24151"/>
                <a:gd name="csX15" fmla="*/ 17012 w 27146"/>
                <a:gd name="csY15" fmla="*/ 2194 h 24151"/>
                <a:gd name="csX16" fmla="*/ 17750 w 27146"/>
                <a:gd name="csY16" fmla="*/ 2637 h 24151"/>
                <a:gd name="csX17" fmla="*/ 19227 w 27146"/>
                <a:gd name="csY17" fmla="*/ 3818 h 24151"/>
                <a:gd name="csX18" fmla="*/ 20002 w 27146"/>
                <a:gd name="csY18" fmla="*/ 4371 h 24151"/>
                <a:gd name="csX19" fmla="*/ 20002 w 27146"/>
                <a:gd name="csY19" fmla="*/ 4371 h 24151"/>
                <a:gd name="csX20" fmla="*/ 21662 w 27146"/>
                <a:gd name="csY20" fmla="*/ 5331 h 24151"/>
                <a:gd name="csX21" fmla="*/ 25795 w 27146"/>
                <a:gd name="csY21" fmla="*/ 11752 h 24151"/>
                <a:gd name="csX22" fmla="*/ 26294 w 27146"/>
                <a:gd name="csY22" fmla="*/ 12841 h 24151"/>
                <a:gd name="csX23" fmla="*/ 26238 w 27146"/>
                <a:gd name="csY23" fmla="*/ 20350 h 24151"/>
                <a:gd name="csX24" fmla="*/ 20574 w 27146"/>
                <a:gd name="csY24" fmla="*/ 23321 h 24151"/>
                <a:gd name="csX25" fmla="*/ 18728 w 27146"/>
                <a:gd name="csY25" fmla="*/ 23893 h 24151"/>
                <a:gd name="csX26" fmla="*/ 17511 w 27146"/>
                <a:gd name="csY26" fmla="*/ 24151 h 24151"/>
                <a:gd name="csX27" fmla="*/ 11809 w 27146"/>
                <a:gd name="csY27" fmla="*/ 19096 h 24151"/>
                <a:gd name="csX28" fmla="*/ 11809 w 27146"/>
                <a:gd name="csY28" fmla="*/ 19096 h 24151"/>
                <a:gd name="csX29" fmla="*/ 11809 w 27146"/>
                <a:gd name="csY29" fmla="*/ 19096 h 24151"/>
                <a:gd name="csX30" fmla="*/ 17289 w 27146"/>
                <a:gd name="csY30" fmla="*/ 16992 h 24151"/>
                <a:gd name="csX31" fmla="*/ 18193 w 27146"/>
                <a:gd name="csY31" fmla="*/ 17767 h 24151"/>
                <a:gd name="csX32" fmla="*/ 19153 w 27146"/>
                <a:gd name="csY32" fmla="*/ 17527 h 24151"/>
                <a:gd name="csX33" fmla="*/ 21201 w 27146"/>
                <a:gd name="csY33" fmla="*/ 16863 h 24151"/>
                <a:gd name="csX34" fmla="*/ 20777 w 27146"/>
                <a:gd name="csY34" fmla="*/ 15000 h 24151"/>
                <a:gd name="csX35" fmla="*/ 20389 w 27146"/>
                <a:gd name="csY35" fmla="*/ 14225 h 24151"/>
                <a:gd name="csX36" fmla="*/ 17695 w 27146"/>
                <a:gd name="csY36" fmla="*/ 9759 h 24151"/>
                <a:gd name="csX37" fmla="*/ 16201 w 27146"/>
                <a:gd name="csY37" fmla="*/ 8947 h 24151"/>
                <a:gd name="csX38" fmla="*/ 14429 w 27146"/>
                <a:gd name="csY38" fmla="*/ 7619 h 24151"/>
                <a:gd name="csX39" fmla="*/ 11606 w 27146"/>
                <a:gd name="csY39" fmla="*/ 6217 h 24151"/>
                <a:gd name="csX40" fmla="*/ 10923 w 27146"/>
                <a:gd name="csY40" fmla="*/ 5866 h 24151"/>
                <a:gd name="csX41" fmla="*/ 9927 w 27146"/>
                <a:gd name="csY41" fmla="*/ 6604 h 24151"/>
                <a:gd name="csX42" fmla="*/ 6218 w 27146"/>
                <a:gd name="csY42" fmla="*/ 11088 h 24151"/>
                <a:gd name="csX43" fmla="*/ 5978 w 27146"/>
                <a:gd name="csY43" fmla="*/ 12250 h 24151"/>
                <a:gd name="csX44" fmla="*/ 6052 w 27146"/>
                <a:gd name="csY44" fmla="*/ 13542 h 24151"/>
                <a:gd name="csX45" fmla="*/ 7251 w 27146"/>
                <a:gd name="csY45" fmla="*/ 16199 h 24151"/>
                <a:gd name="csX46" fmla="*/ 7916 w 27146"/>
                <a:gd name="csY46" fmla="*/ 15738 h 24151"/>
                <a:gd name="csX47" fmla="*/ 10979 w 27146"/>
                <a:gd name="csY47" fmla="*/ 14391 h 24151"/>
                <a:gd name="csX48" fmla="*/ 17308 w 27146"/>
                <a:gd name="csY48" fmla="*/ 17029 h 241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27146" h="24151">
                  <a:moveTo>
                    <a:pt x="17547" y="24151"/>
                  </a:moveTo>
                  <a:cubicBezTo>
                    <a:pt x="16846" y="24151"/>
                    <a:pt x="16145" y="23912"/>
                    <a:pt x="15592" y="23432"/>
                  </a:cubicBezTo>
                  <a:lnTo>
                    <a:pt x="12842" y="21052"/>
                  </a:lnTo>
                  <a:cubicBezTo>
                    <a:pt x="12658" y="20886"/>
                    <a:pt x="12510" y="20719"/>
                    <a:pt x="12363" y="20535"/>
                  </a:cubicBezTo>
                  <a:cubicBezTo>
                    <a:pt x="12197" y="20498"/>
                    <a:pt x="11994" y="20461"/>
                    <a:pt x="11772" y="20424"/>
                  </a:cubicBezTo>
                  <a:cubicBezTo>
                    <a:pt x="11625" y="20590"/>
                    <a:pt x="11440" y="20756"/>
                    <a:pt x="11255" y="20922"/>
                  </a:cubicBezTo>
                  <a:cubicBezTo>
                    <a:pt x="10739" y="21328"/>
                    <a:pt x="10093" y="21550"/>
                    <a:pt x="9429" y="21550"/>
                  </a:cubicBezTo>
                  <a:cubicBezTo>
                    <a:pt x="7713" y="21771"/>
                    <a:pt x="4281" y="22196"/>
                    <a:pt x="2380" y="19631"/>
                  </a:cubicBezTo>
                  <a:cubicBezTo>
                    <a:pt x="1439" y="18229"/>
                    <a:pt x="904" y="16752"/>
                    <a:pt x="443" y="15442"/>
                  </a:cubicBezTo>
                  <a:cubicBezTo>
                    <a:pt x="387" y="15276"/>
                    <a:pt x="185" y="14686"/>
                    <a:pt x="148" y="14501"/>
                  </a:cubicBezTo>
                  <a:cubicBezTo>
                    <a:pt x="0" y="13634"/>
                    <a:pt x="0" y="12748"/>
                    <a:pt x="0" y="11881"/>
                  </a:cubicBezTo>
                  <a:cubicBezTo>
                    <a:pt x="0" y="11604"/>
                    <a:pt x="37" y="11346"/>
                    <a:pt x="111" y="11069"/>
                  </a:cubicBezTo>
                  <a:cubicBezTo>
                    <a:pt x="166" y="10202"/>
                    <a:pt x="277" y="9298"/>
                    <a:pt x="1181" y="7877"/>
                  </a:cubicBezTo>
                  <a:cubicBezTo>
                    <a:pt x="1550" y="7324"/>
                    <a:pt x="5333" y="2249"/>
                    <a:pt x="6864" y="1456"/>
                  </a:cubicBezTo>
                  <a:cubicBezTo>
                    <a:pt x="10462" y="-205"/>
                    <a:pt x="11569" y="-537"/>
                    <a:pt x="14374" y="939"/>
                  </a:cubicBezTo>
                  <a:cubicBezTo>
                    <a:pt x="14964" y="1253"/>
                    <a:pt x="15776" y="1677"/>
                    <a:pt x="17012" y="2194"/>
                  </a:cubicBezTo>
                  <a:cubicBezTo>
                    <a:pt x="17289" y="2305"/>
                    <a:pt x="17529" y="2471"/>
                    <a:pt x="17750" y="2637"/>
                  </a:cubicBezTo>
                  <a:cubicBezTo>
                    <a:pt x="18673" y="3412"/>
                    <a:pt x="19005" y="3726"/>
                    <a:pt x="19227" y="3818"/>
                  </a:cubicBezTo>
                  <a:cubicBezTo>
                    <a:pt x="19522" y="3965"/>
                    <a:pt x="19780" y="4150"/>
                    <a:pt x="20002" y="4371"/>
                  </a:cubicBezTo>
                  <a:lnTo>
                    <a:pt x="20002" y="4371"/>
                  </a:lnTo>
                  <a:cubicBezTo>
                    <a:pt x="20278" y="4371"/>
                    <a:pt x="20998" y="4667"/>
                    <a:pt x="21662" y="5331"/>
                  </a:cubicBezTo>
                  <a:cubicBezTo>
                    <a:pt x="23581" y="6862"/>
                    <a:pt x="24762" y="9464"/>
                    <a:pt x="25795" y="11752"/>
                  </a:cubicBezTo>
                  <a:lnTo>
                    <a:pt x="26294" y="12841"/>
                  </a:lnTo>
                  <a:cubicBezTo>
                    <a:pt x="28010" y="18265"/>
                    <a:pt x="26681" y="19834"/>
                    <a:pt x="26238" y="20350"/>
                  </a:cubicBezTo>
                  <a:cubicBezTo>
                    <a:pt x="24504" y="22343"/>
                    <a:pt x="22326" y="22897"/>
                    <a:pt x="20574" y="23321"/>
                  </a:cubicBezTo>
                  <a:cubicBezTo>
                    <a:pt x="19946" y="23487"/>
                    <a:pt x="19300" y="23616"/>
                    <a:pt x="18728" y="23893"/>
                  </a:cubicBezTo>
                  <a:cubicBezTo>
                    <a:pt x="18341" y="24059"/>
                    <a:pt x="17917" y="24151"/>
                    <a:pt x="17511" y="24151"/>
                  </a:cubicBezTo>
                  <a:close/>
                  <a:moveTo>
                    <a:pt x="11809" y="19096"/>
                  </a:moveTo>
                  <a:lnTo>
                    <a:pt x="11809" y="19096"/>
                  </a:lnTo>
                  <a:cubicBezTo>
                    <a:pt x="11809" y="19096"/>
                    <a:pt x="11809" y="19096"/>
                    <a:pt x="11809" y="19096"/>
                  </a:cubicBezTo>
                  <a:close/>
                  <a:moveTo>
                    <a:pt x="17289" y="16992"/>
                  </a:moveTo>
                  <a:lnTo>
                    <a:pt x="18193" y="17767"/>
                  </a:lnTo>
                  <a:cubicBezTo>
                    <a:pt x="18525" y="17693"/>
                    <a:pt x="18839" y="17601"/>
                    <a:pt x="19153" y="17527"/>
                  </a:cubicBezTo>
                  <a:cubicBezTo>
                    <a:pt x="20057" y="17306"/>
                    <a:pt x="20721" y="17121"/>
                    <a:pt x="21201" y="16863"/>
                  </a:cubicBezTo>
                  <a:cubicBezTo>
                    <a:pt x="21127" y="16310"/>
                    <a:pt x="20943" y="15535"/>
                    <a:pt x="20777" y="15000"/>
                  </a:cubicBezTo>
                  <a:lnTo>
                    <a:pt x="20389" y="14225"/>
                  </a:lnTo>
                  <a:cubicBezTo>
                    <a:pt x="19614" y="12527"/>
                    <a:pt x="18765" y="10608"/>
                    <a:pt x="17695" y="9759"/>
                  </a:cubicBezTo>
                  <a:cubicBezTo>
                    <a:pt x="17289" y="9593"/>
                    <a:pt x="16754" y="9372"/>
                    <a:pt x="16201" y="8947"/>
                  </a:cubicBezTo>
                  <a:cubicBezTo>
                    <a:pt x="15499" y="8541"/>
                    <a:pt x="14927" y="8062"/>
                    <a:pt x="14429" y="7619"/>
                  </a:cubicBezTo>
                  <a:cubicBezTo>
                    <a:pt x="13248" y="7065"/>
                    <a:pt x="12289" y="6567"/>
                    <a:pt x="11606" y="6217"/>
                  </a:cubicBezTo>
                  <a:cubicBezTo>
                    <a:pt x="11311" y="6069"/>
                    <a:pt x="11108" y="5940"/>
                    <a:pt x="10923" y="5866"/>
                  </a:cubicBezTo>
                  <a:cubicBezTo>
                    <a:pt x="11182" y="5995"/>
                    <a:pt x="10702" y="6235"/>
                    <a:pt x="9927" y="6604"/>
                  </a:cubicBezTo>
                  <a:cubicBezTo>
                    <a:pt x="9429" y="7010"/>
                    <a:pt x="6846" y="10091"/>
                    <a:pt x="6218" y="11088"/>
                  </a:cubicBezTo>
                  <a:cubicBezTo>
                    <a:pt x="6218" y="11235"/>
                    <a:pt x="6071" y="11807"/>
                    <a:pt x="5978" y="12250"/>
                  </a:cubicBezTo>
                  <a:cubicBezTo>
                    <a:pt x="5978" y="12675"/>
                    <a:pt x="5978" y="13117"/>
                    <a:pt x="6052" y="13542"/>
                  </a:cubicBezTo>
                  <a:cubicBezTo>
                    <a:pt x="6440" y="14464"/>
                    <a:pt x="6827" y="15535"/>
                    <a:pt x="7251" y="16199"/>
                  </a:cubicBezTo>
                  <a:cubicBezTo>
                    <a:pt x="7141" y="15941"/>
                    <a:pt x="7528" y="15811"/>
                    <a:pt x="7916" y="15738"/>
                  </a:cubicBezTo>
                  <a:cubicBezTo>
                    <a:pt x="8377" y="15184"/>
                    <a:pt x="9392" y="14391"/>
                    <a:pt x="10979" y="14391"/>
                  </a:cubicBezTo>
                  <a:cubicBezTo>
                    <a:pt x="11532" y="14391"/>
                    <a:pt x="15831" y="14464"/>
                    <a:pt x="17308" y="17029"/>
                  </a:cubicBezTo>
                  <a:close/>
                </a:path>
              </a:pathLst>
            </a:custGeom>
            <a:solidFill>
              <a:srgbClr val="FFFFFF"/>
            </a:solidFill>
            <a:ln w="1835" cap="flat">
              <a:noFill/>
              <a:prstDash val="solid"/>
              <a:miter/>
            </a:ln>
          </p:spPr>
          <p:txBody>
            <a:bodyPr/>
            <a:lstStyle/>
            <a:p>
              <a:endParaRPr lang="en-GB"/>
            </a:p>
          </p:txBody>
        </p:sp>
        <p:sp>
          <p:nvSpPr>
            <p:cNvPr id="1436" name="Freeform: Shape 1435">
              <a:extLst>
                <a:ext uri="{FF2B5EF4-FFF2-40B4-BE49-F238E27FC236}">
                  <a16:creationId xmlns:a16="http://schemas.microsoft.com/office/drawing/2014/main" id="{3BC1F19B-2A92-7C2C-D0F0-DDD62F507A61}"/>
                </a:ext>
              </a:extLst>
            </p:cNvPr>
            <p:cNvSpPr/>
            <p:nvPr/>
          </p:nvSpPr>
          <p:spPr>
            <a:xfrm>
              <a:off x="11139996" y="4882614"/>
              <a:ext cx="21787" cy="17203"/>
            </a:xfrm>
            <a:custGeom>
              <a:avLst/>
              <a:gdLst>
                <a:gd name="csX0" fmla="*/ 6233 w 21787"/>
                <a:gd name="csY0" fmla="*/ 0 h 17203"/>
                <a:gd name="csX1" fmla="*/ 6233 w 21787"/>
                <a:gd name="csY1" fmla="*/ 0 h 17203"/>
                <a:gd name="csX2" fmla="*/ 144 w 21787"/>
                <a:gd name="csY2" fmla="*/ 3469 h 17203"/>
                <a:gd name="csX3" fmla="*/ 974 w 21787"/>
                <a:gd name="csY3" fmla="*/ 7657 h 17203"/>
                <a:gd name="csX4" fmla="*/ 5864 w 21787"/>
                <a:gd name="csY4" fmla="*/ 13876 h 17203"/>
                <a:gd name="csX5" fmla="*/ 7783 w 21787"/>
                <a:gd name="csY5" fmla="*/ 14466 h 17203"/>
                <a:gd name="csX6" fmla="*/ 9923 w 21787"/>
                <a:gd name="csY6" fmla="*/ 15776 h 17203"/>
                <a:gd name="csX7" fmla="*/ 17562 w 21787"/>
                <a:gd name="csY7" fmla="*/ 15665 h 17203"/>
                <a:gd name="csX8" fmla="*/ 21381 w 21787"/>
                <a:gd name="csY8" fmla="*/ 9816 h 17203"/>
                <a:gd name="csX9" fmla="*/ 21732 w 21787"/>
                <a:gd name="csY9" fmla="*/ 7307 h 17203"/>
                <a:gd name="csX10" fmla="*/ 21381 w 21787"/>
                <a:gd name="csY10" fmla="*/ 5277 h 17203"/>
                <a:gd name="csX11" fmla="*/ 19241 w 21787"/>
                <a:gd name="csY11" fmla="*/ 1698 h 17203"/>
                <a:gd name="csX12" fmla="*/ 14591 w 21787"/>
                <a:gd name="csY12" fmla="*/ 1458 h 17203"/>
                <a:gd name="csX13" fmla="*/ 13152 w 21787"/>
                <a:gd name="csY13" fmla="*/ 2897 h 17203"/>
                <a:gd name="csX14" fmla="*/ 9203 w 21787"/>
                <a:gd name="csY14" fmla="*/ 2067 h 17203"/>
                <a:gd name="csX15" fmla="*/ 6214 w 21787"/>
                <a:gd name="csY15" fmla="*/ 37 h 172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787" h="17203">
                  <a:moveTo>
                    <a:pt x="6233" y="0"/>
                  </a:moveTo>
                  <a:lnTo>
                    <a:pt x="6233" y="0"/>
                  </a:lnTo>
                  <a:cubicBezTo>
                    <a:pt x="4203" y="1199"/>
                    <a:pt x="1583" y="1439"/>
                    <a:pt x="144" y="3469"/>
                  </a:cubicBezTo>
                  <a:cubicBezTo>
                    <a:pt x="-447" y="4428"/>
                    <a:pt x="974" y="7657"/>
                    <a:pt x="974" y="7657"/>
                  </a:cubicBezTo>
                  <a:cubicBezTo>
                    <a:pt x="2413" y="9927"/>
                    <a:pt x="3834" y="12547"/>
                    <a:pt x="5864" y="13876"/>
                  </a:cubicBezTo>
                  <a:cubicBezTo>
                    <a:pt x="6454" y="14226"/>
                    <a:pt x="7174" y="14226"/>
                    <a:pt x="7783" y="14466"/>
                  </a:cubicBezTo>
                  <a:cubicBezTo>
                    <a:pt x="8502" y="14817"/>
                    <a:pt x="9222" y="15426"/>
                    <a:pt x="9923" y="15776"/>
                  </a:cubicBezTo>
                  <a:cubicBezTo>
                    <a:pt x="15292" y="17326"/>
                    <a:pt x="13742" y="18046"/>
                    <a:pt x="17562" y="15665"/>
                  </a:cubicBezTo>
                  <a:cubicBezTo>
                    <a:pt x="18042" y="15426"/>
                    <a:pt x="20662" y="11126"/>
                    <a:pt x="21381" y="9816"/>
                  </a:cubicBezTo>
                  <a:cubicBezTo>
                    <a:pt x="22101" y="8377"/>
                    <a:pt x="21621" y="8137"/>
                    <a:pt x="21732" y="7307"/>
                  </a:cubicBezTo>
                  <a:cubicBezTo>
                    <a:pt x="21621" y="6587"/>
                    <a:pt x="21621" y="5868"/>
                    <a:pt x="21381" y="5277"/>
                  </a:cubicBezTo>
                  <a:cubicBezTo>
                    <a:pt x="20791" y="3967"/>
                    <a:pt x="20071" y="2657"/>
                    <a:pt x="19241" y="1698"/>
                  </a:cubicBezTo>
                  <a:cubicBezTo>
                    <a:pt x="17931" y="258"/>
                    <a:pt x="15182" y="1347"/>
                    <a:pt x="14591" y="1458"/>
                  </a:cubicBezTo>
                  <a:cubicBezTo>
                    <a:pt x="14111" y="1937"/>
                    <a:pt x="14001" y="2768"/>
                    <a:pt x="13152" y="2897"/>
                  </a:cubicBezTo>
                  <a:cubicBezTo>
                    <a:pt x="12193" y="3008"/>
                    <a:pt x="9333" y="3008"/>
                    <a:pt x="9203" y="2067"/>
                  </a:cubicBezTo>
                  <a:lnTo>
                    <a:pt x="6214" y="37"/>
                  </a:lnTo>
                  <a:close/>
                </a:path>
              </a:pathLst>
            </a:custGeom>
            <a:solidFill>
              <a:srgbClr val="FFFFFF"/>
            </a:solidFill>
            <a:ln w="1835" cap="flat">
              <a:noFill/>
              <a:prstDash val="solid"/>
              <a:miter/>
            </a:ln>
          </p:spPr>
          <p:txBody>
            <a:bodyPr/>
            <a:lstStyle/>
            <a:p>
              <a:endParaRPr lang="en-GB"/>
            </a:p>
          </p:txBody>
        </p:sp>
        <p:sp>
          <p:nvSpPr>
            <p:cNvPr id="1437" name="Freeform: Shape 1436">
              <a:extLst>
                <a:ext uri="{FF2B5EF4-FFF2-40B4-BE49-F238E27FC236}">
                  <a16:creationId xmlns:a16="http://schemas.microsoft.com/office/drawing/2014/main" id="{DB745539-7FAA-2ACF-26E9-8B52412F775C}"/>
                </a:ext>
              </a:extLst>
            </p:cNvPr>
            <p:cNvSpPr/>
            <p:nvPr/>
          </p:nvSpPr>
          <p:spPr>
            <a:xfrm>
              <a:off x="11137027" y="4879649"/>
              <a:ext cx="27715" cy="23132"/>
            </a:xfrm>
            <a:custGeom>
              <a:avLst/>
              <a:gdLst>
                <a:gd name="csX0" fmla="*/ 17486 w 27715"/>
                <a:gd name="csY0" fmla="*/ 23133 h 23132"/>
                <a:gd name="csX1" fmla="*/ 14810 w 27715"/>
                <a:gd name="csY1" fmla="*/ 22524 h 23132"/>
                <a:gd name="csX2" fmla="*/ 12061 w 27715"/>
                <a:gd name="csY2" fmla="*/ 21620 h 23132"/>
                <a:gd name="csX3" fmla="*/ 10161 w 27715"/>
                <a:gd name="csY3" fmla="*/ 20586 h 23132"/>
                <a:gd name="csX4" fmla="*/ 9386 w 27715"/>
                <a:gd name="csY4" fmla="*/ 20088 h 23132"/>
                <a:gd name="csX5" fmla="*/ 7282 w 27715"/>
                <a:gd name="csY5" fmla="*/ 19387 h 23132"/>
                <a:gd name="csX6" fmla="*/ 2005 w 27715"/>
                <a:gd name="csY6" fmla="*/ 13169 h 23132"/>
                <a:gd name="csX7" fmla="*/ 1415 w 27715"/>
                <a:gd name="csY7" fmla="*/ 12228 h 23132"/>
                <a:gd name="csX8" fmla="*/ 584 w 27715"/>
                <a:gd name="csY8" fmla="*/ 4847 h 23132"/>
                <a:gd name="csX9" fmla="*/ 5861 w 27715"/>
                <a:gd name="csY9" fmla="*/ 1212 h 23132"/>
                <a:gd name="csX10" fmla="*/ 7670 w 27715"/>
                <a:gd name="csY10" fmla="*/ 419 h 23132"/>
                <a:gd name="csX11" fmla="*/ 10862 w 27715"/>
                <a:gd name="csY11" fmla="*/ 511 h 23132"/>
                <a:gd name="csX12" fmla="*/ 13851 w 27715"/>
                <a:gd name="csY12" fmla="*/ 2541 h 23132"/>
                <a:gd name="csX13" fmla="*/ 14257 w 27715"/>
                <a:gd name="csY13" fmla="*/ 2873 h 23132"/>
                <a:gd name="csX14" fmla="*/ 14921 w 27715"/>
                <a:gd name="csY14" fmla="*/ 2910 h 23132"/>
                <a:gd name="csX15" fmla="*/ 15438 w 27715"/>
                <a:gd name="csY15" fmla="*/ 2301 h 23132"/>
                <a:gd name="csX16" fmla="*/ 16969 w 27715"/>
                <a:gd name="csY16" fmla="*/ 1489 h 23132"/>
                <a:gd name="csX17" fmla="*/ 24405 w 27715"/>
                <a:gd name="csY17" fmla="*/ 2651 h 23132"/>
                <a:gd name="csX18" fmla="*/ 27062 w 27715"/>
                <a:gd name="csY18" fmla="*/ 7024 h 23132"/>
                <a:gd name="csX19" fmla="*/ 27579 w 27715"/>
                <a:gd name="csY19" fmla="*/ 9276 h 23132"/>
                <a:gd name="csX20" fmla="*/ 27653 w 27715"/>
                <a:gd name="csY20" fmla="*/ 10678 h 23132"/>
                <a:gd name="csX21" fmla="*/ 27007 w 27715"/>
                <a:gd name="csY21" fmla="*/ 14110 h 23132"/>
                <a:gd name="csX22" fmla="*/ 21896 w 27715"/>
                <a:gd name="csY22" fmla="*/ 21288 h 23132"/>
                <a:gd name="csX23" fmla="*/ 17467 w 27715"/>
                <a:gd name="csY23" fmla="*/ 23133 h 23132"/>
                <a:gd name="csX24" fmla="*/ 6064 w 27715"/>
                <a:gd name="csY24" fmla="*/ 7689 h 23132"/>
                <a:gd name="csX25" fmla="*/ 6673 w 27715"/>
                <a:gd name="csY25" fmla="*/ 9423 h 23132"/>
                <a:gd name="csX26" fmla="*/ 7079 w 27715"/>
                <a:gd name="csY26" fmla="*/ 10032 h 23132"/>
                <a:gd name="csX27" fmla="*/ 10456 w 27715"/>
                <a:gd name="csY27" fmla="*/ 14331 h 23132"/>
                <a:gd name="csX28" fmla="*/ 11840 w 27715"/>
                <a:gd name="csY28" fmla="*/ 14663 h 23132"/>
                <a:gd name="csX29" fmla="*/ 13482 w 27715"/>
                <a:gd name="csY29" fmla="*/ 15604 h 23132"/>
                <a:gd name="csX30" fmla="*/ 14257 w 27715"/>
                <a:gd name="csY30" fmla="*/ 16103 h 23132"/>
                <a:gd name="csX31" fmla="*/ 16895 w 27715"/>
                <a:gd name="csY31" fmla="*/ 16951 h 23132"/>
                <a:gd name="csX32" fmla="*/ 17670 w 27715"/>
                <a:gd name="csY32" fmla="*/ 17228 h 23132"/>
                <a:gd name="csX33" fmla="*/ 18427 w 27715"/>
                <a:gd name="csY33" fmla="*/ 16453 h 23132"/>
                <a:gd name="csX34" fmla="*/ 18630 w 27715"/>
                <a:gd name="csY34" fmla="*/ 16324 h 23132"/>
                <a:gd name="csX35" fmla="*/ 21711 w 27715"/>
                <a:gd name="csY35" fmla="*/ 11379 h 23132"/>
                <a:gd name="csX36" fmla="*/ 21711 w 27715"/>
                <a:gd name="csY36" fmla="*/ 10364 h 23132"/>
                <a:gd name="csX37" fmla="*/ 21656 w 27715"/>
                <a:gd name="csY37" fmla="*/ 9958 h 23132"/>
                <a:gd name="csX38" fmla="*/ 19958 w 27715"/>
                <a:gd name="csY38" fmla="*/ 6655 h 23132"/>
                <a:gd name="csX39" fmla="*/ 19350 w 27715"/>
                <a:gd name="csY39" fmla="*/ 7043 h 23132"/>
                <a:gd name="csX40" fmla="*/ 16526 w 27715"/>
                <a:gd name="csY40" fmla="*/ 8833 h 23132"/>
                <a:gd name="csX41" fmla="*/ 9865 w 27715"/>
                <a:gd name="csY41" fmla="*/ 7098 h 23132"/>
                <a:gd name="csX42" fmla="*/ 8924 w 27715"/>
                <a:gd name="csY42" fmla="*/ 6452 h 23132"/>
                <a:gd name="csX43" fmla="*/ 8002 w 27715"/>
                <a:gd name="csY43" fmla="*/ 6821 h 23132"/>
                <a:gd name="csX44" fmla="*/ 6046 w 27715"/>
                <a:gd name="csY44" fmla="*/ 7726 h 23132"/>
                <a:gd name="csX45" fmla="*/ 19183 w 27715"/>
                <a:gd name="csY45" fmla="*/ 15955 h 23132"/>
                <a:gd name="csX46" fmla="*/ 18888 w 27715"/>
                <a:gd name="csY46" fmla="*/ 16140 h 23132"/>
                <a:gd name="csX47" fmla="*/ 19183 w 27715"/>
                <a:gd name="csY47" fmla="*/ 15955 h 23132"/>
                <a:gd name="csX48" fmla="*/ 5954 w 27715"/>
                <a:gd name="csY48" fmla="*/ 7117 h 23132"/>
                <a:gd name="csX49" fmla="*/ 5954 w 27715"/>
                <a:gd name="csY49" fmla="*/ 7117 h 23132"/>
                <a:gd name="csX50" fmla="*/ 15143 w 27715"/>
                <a:gd name="csY50" fmla="*/ 4626 h 23132"/>
                <a:gd name="csX51" fmla="*/ 15143 w 27715"/>
                <a:gd name="csY51" fmla="*/ 4626 h 231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27715" h="23132">
                  <a:moveTo>
                    <a:pt x="17486" y="23133"/>
                  </a:moveTo>
                  <a:cubicBezTo>
                    <a:pt x="16729" y="23133"/>
                    <a:pt x="15899" y="22930"/>
                    <a:pt x="14810" y="22524"/>
                  </a:cubicBezTo>
                  <a:cubicBezTo>
                    <a:pt x="14183" y="22302"/>
                    <a:pt x="13334" y="21970"/>
                    <a:pt x="12061" y="21620"/>
                  </a:cubicBezTo>
                  <a:cubicBezTo>
                    <a:pt x="11083" y="21177"/>
                    <a:pt x="10622" y="20882"/>
                    <a:pt x="10161" y="20586"/>
                  </a:cubicBezTo>
                  <a:cubicBezTo>
                    <a:pt x="9902" y="20420"/>
                    <a:pt x="9644" y="20217"/>
                    <a:pt x="9386" y="20088"/>
                  </a:cubicBezTo>
                  <a:cubicBezTo>
                    <a:pt x="8832" y="20033"/>
                    <a:pt x="8057" y="19867"/>
                    <a:pt x="7282" y="19387"/>
                  </a:cubicBezTo>
                  <a:cubicBezTo>
                    <a:pt x="4902" y="17856"/>
                    <a:pt x="3370" y="15365"/>
                    <a:pt x="2005" y="13169"/>
                  </a:cubicBezTo>
                  <a:lnTo>
                    <a:pt x="1415" y="12228"/>
                  </a:lnTo>
                  <a:cubicBezTo>
                    <a:pt x="-892" y="7154"/>
                    <a:pt x="234" y="5419"/>
                    <a:pt x="584" y="4847"/>
                  </a:cubicBezTo>
                  <a:cubicBezTo>
                    <a:pt x="2116" y="2670"/>
                    <a:pt x="4201" y="1858"/>
                    <a:pt x="5861" y="1212"/>
                  </a:cubicBezTo>
                  <a:cubicBezTo>
                    <a:pt x="6470" y="972"/>
                    <a:pt x="7098" y="751"/>
                    <a:pt x="7670" y="419"/>
                  </a:cubicBezTo>
                  <a:cubicBezTo>
                    <a:pt x="8648" y="-172"/>
                    <a:pt x="9902" y="-135"/>
                    <a:pt x="10862" y="511"/>
                  </a:cubicBezTo>
                  <a:lnTo>
                    <a:pt x="13851" y="2541"/>
                  </a:lnTo>
                  <a:cubicBezTo>
                    <a:pt x="13999" y="2651"/>
                    <a:pt x="14128" y="2762"/>
                    <a:pt x="14257" y="2873"/>
                  </a:cubicBezTo>
                  <a:cubicBezTo>
                    <a:pt x="14460" y="2891"/>
                    <a:pt x="14681" y="2910"/>
                    <a:pt x="14921" y="2910"/>
                  </a:cubicBezTo>
                  <a:cubicBezTo>
                    <a:pt x="15069" y="2707"/>
                    <a:pt x="15235" y="2504"/>
                    <a:pt x="15438" y="2301"/>
                  </a:cubicBezTo>
                  <a:cubicBezTo>
                    <a:pt x="15862" y="1876"/>
                    <a:pt x="16397" y="1600"/>
                    <a:pt x="16969" y="1489"/>
                  </a:cubicBezTo>
                  <a:cubicBezTo>
                    <a:pt x="18316" y="1120"/>
                    <a:pt x="22007" y="50"/>
                    <a:pt x="24405" y="2651"/>
                  </a:cubicBezTo>
                  <a:cubicBezTo>
                    <a:pt x="25365" y="3758"/>
                    <a:pt x="26232" y="5179"/>
                    <a:pt x="27062" y="7024"/>
                  </a:cubicBezTo>
                  <a:cubicBezTo>
                    <a:pt x="27431" y="7910"/>
                    <a:pt x="27524" y="8667"/>
                    <a:pt x="27579" y="9276"/>
                  </a:cubicBezTo>
                  <a:cubicBezTo>
                    <a:pt x="27597" y="9534"/>
                    <a:pt x="27690" y="10438"/>
                    <a:pt x="27653" y="10678"/>
                  </a:cubicBezTo>
                  <a:cubicBezTo>
                    <a:pt x="27763" y="11453"/>
                    <a:pt x="27819" y="12486"/>
                    <a:pt x="27007" y="14110"/>
                  </a:cubicBezTo>
                  <a:cubicBezTo>
                    <a:pt x="26398" y="15235"/>
                    <a:pt x="23538" y="20439"/>
                    <a:pt x="21896" y="21288"/>
                  </a:cubicBezTo>
                  <a:cubicBezTo>
                    <a:pt x="19885" y="22542"/>
                    <a:pt x="18778" y="23133"/>
                    <a:pt x="17467" y="23133"/>
                  </a:cubicBezTo>
                  <a:close/>
                  <a:moveTo>
                    <a:pt x="6064" y="7689"/>
                  </a:moveTo>
                  <a:cubicBezTo>
                    <a:pt x="6212" y="8205"/>
                    <a:pt x="6452" y="8925"/>
                    <a:pt x="6673" y="9423"/>
                  </a:cubicBezTo>
                  <a:lnTo>
                    <a:pt x="7079" y="10032"/>
                  </a:lnTo>
                  <a:cubicBezTo>
                    <a:pt x="8168" y="11766"/>
                    <a:pt x="9275" y="13575"/>
                    <a:pt x="10456" y="14331"/>
                  </a:cubicBezTo>
                  <a:cubicBezTo>
                    <a:pt x="11046" y="14405"/>
                    <a:pt x="11452" y="14497"/>
                    <a:pt x="11840" y="14663"/>
                  </a:cubicBezTo>
                  <a:cubicBezTo>
                    <a:pt x="12559" y="15014"/>
                    <a:pt x="13021" y="15309"/>
                    <a:pt x="13482" y="15604"/>
                  </a:cubicBezTo>
                  <a:cubicBezTo>
                    <a:pt x="13740" y="15770"/>
                    <a:pt x="13999" y="15973"/>
                    <a:pt x="14257" y="16103"/>
                  </a:cubicBezTo>
                  <a:cubicBezTo>
                    <a:pt x="15198" y="16306"/>
                    <a:pt x="16176" y="16675"/>
                    <a:pt x="16895" y="16951"/>
                  </a:cubicBezTo>
                  <a:cubicBezTo>
                    <a:pt x="17228" y="17081"/>
                    <a:pt x="17467" y="17191"/>
                    <a:pt x="17670" y="17228"/>
                  </a:cubicBezTo>
                  <a:cubicBezTo>
                    <a:pt x="17375" y="17154"/>
                    <a:pt x="17781" y="16859"/>
                    <a:pt x="18427" y="16453"/>
                  </a:cubicBezTo>
                  <a:cubicBezTo>
                    <a:pt x="18445" y="16453"/>
                    <a:pt x="18538" y="16398"/>
                    <a:pt x="18630" y="16324"/>
                  </a:cubicBezTo>
                  <a:cubicBezTo>
                    <a:pt x="19276" y="15457"/>
                    <a:pt x="21047" y="12597"/>
                    <a:pt x="21711" y="11379"/>
                  </a:cubicBezTo>
                  <a:cubicBezTo>
                    <a:pt x="21711" y="11139"/>
                    <a:pt x="21674" y="10789"/>
                    <a:pt x="21711" y="10364"/>
                  </a:cubicBezTo>
                  <a:cubicBezTo>
                    <a:pt x="21693" y="10180"/>
                    <a:pt x="21656" y="9995"/>
                    <a:pt x="21656" y="9958"/>
                  </a:cubicBezTo>
                  <a:cubicBezTo>
                    <a:pt x="21047" y="8205"/>
                    <a:pt x="20493" y="7264"/>
                    <a:pt x="19958" y="6655"/>
                  </a:cubicBezTo>
                  <a:cubicBezTo>
                    <a:pt x="20069" y="6821"/>
                    <a:pt x="19811" y="6914"/>
                    <a:pt x="19350" y="7043"/>
                  </a:cubicBezTo>
                  <a:cubicBezTo>
                    <a:pt x="18907" y="7707"/>
                    <a:pt x="18039" y="8611"/>
                    <a:pt x="16526" y="8833"/>
                  </a:cubicBezTo>
                  <a:cubicBezTo>
                    <a:pt x="13999" y="9165"/>
                    <a:pt x="11157" y="8777"/>
                    <a:pt x="9865" y="7098"/>
                  </a:cubicBezTo>
                  <a:lnTo>
                    <a:pt x="8924" y="6452"/>
                  </a:lnTo>
                  <a:cubicBezTo>
                    <a:pt x="8629" y="6563"/>
                    <a:pt x="8315" y="6692"/>
                    <a:pt x="8002" y="6821"/>
                  </a:cubicBezTo>
                  <a:cubicBezTo>
                    <a:pt x="7135" y="7154"/>
                    <a:pt x="6489" y="7412"/>
                    <a:pt x="6046" y="7726"/>
                  </a:cubicBezTo>
                  <a:close/>
                  <a:moveTo>
                    <a:pt x="19183" y="15955"/>
                  </a:moveTo>
                  <a:cubicBezTo>
                    <a:pt x="19073" y="16010"/>
                    <a:pt x="18962" y="16084"/>
                    <a:pt x="18888" y="16140"/>
                  </a:cubicBezTo>
                  <a:cubicBezTo>
                    <a:pt x="19036" y="16047"/>
                    <a:pt x="19165" y="15973"/>
                    <a:pt x="19183" y="15955"/>
                  </a:cubicBezTo>
                  <a:close/>
                  <a:moveTo>
                    <a:pt x="5954" y="7117"/>
                  </a:moveTo>
                  <a:lnTo>
                    <a:pt x="5954" y="7117"/>
                  </a:lnTo>
                  <a:close/>
                  <a:moveTo>
                    <a:pt x="15143" y="4626"/>
                  </a:moveTo>
                  <a:lnTo>
                    <a:pt x="15143" y="4626"/>
                  </a:lnTo>
                  <a:close/>
                </a:path>
              </a:pathLst>
            </a:custGeom>
            <a:solidFill>
              <a:srgbClr val="FFFFFF"/>
            </a:solidFill>
            <a:ln w="1835" cap="flat">
              <a:noFill/>
              <a:prstDash val="solid"/>
              <a:miter/>
            </a:ln>
          </p:spPr>
          <p:txBody>
            <a:bodyPr/>
            <a:lstStyle/>
            <a:p>
              <a:endParaRPr lang="en-GB"/>
            </a:p>
          </p:txBody>
        </p:sp>
        <p:sp>
          <p:nvSpPr>
            <p:cNvPr id="1438" name="Freeform: Shape 1437">
              <a:extLst>
                <a:ext uri="{FF2B5EF4-FFF2-40B4-BE49-F238E27FC236}">
                  <a16:creationId xmlns:a16="http://schemas.microsoft.com/office/drawing/2014/main" id="{8014D951-0EEB-F722-FFD9-7E3E2A35B96B}"/>
                </a:ext>
              </a:extLst>
            </p:cNvPr>
            <p:cNvSpPr/>
            <p:nvPr/>
          </p:nvSpPr>
          <p:spPr>
            <a:xfrm>
              <a:off x="11019743" y="4937913"/>
              <a:ext cx="19363" cy="19471"/>
            </a:xfrm>
            <a:custGeom>
              <a:avLst/>
              <a:gdLst>
                <a:gd name="csX0" fmla="*/ 18 w 19363"/>
                <a:gd name="csY0" fmla="*/ 11827 h 19471"/>
                <a:gd name="csX1" fmla="*/ 18 w 19363"/>
                <a:gd name="csY1" fmla="*/ 11827 h 19471"/>
                <a:gd name="csX2" fmla="*/ 849 w 19363"/>
                <a:gd name="csY2" fmla="*/ 18747 h 19471"/>
                <a:gd name="csX3" fmla="*/ 5148 w 19363"/>
                <a:gd name="csY3" fmla="*/ 19466 h 19471"/>
                <a:gd name="csX4" fmla="*/ 12787 w 19363"/>
                <a:gd name="csY4" fmla="*/ 17437 h 19471"/>
                <a:gd name="csX5" fmla="*/ 14097 w 19363"/>
                <a:gd name="csY5" fmla="*/ 15998 h 19471"/>
                <a:gd name="csX6" fmla="*/ 16127 w 19363"/>
                <a:gd name="csY6" fmla="*/ 14558 h 19471"/>
                <a:gd name="csX7" fmla="*/ 18987 w 19363"/>
                <a:gd name="csY7" fmla="*/ 7399 h 19471"/>
                <a:gd name="csX8" fmla="*/ 15038 w 19363"/>
                <a:gd name="csY8" fmla="*/ 1661 h 19471"/>
                <a:gd name="csX9" fmla="*/ 12898 w 19363"/>
                <a:gd name="csY9" fmla="*/ 351 h 19471"/>
                <a:gd name="csX10" fmla="*/ 10757 w 19363"/>
                <a:gd name="csY10" fmla="*/ 0 h 19471"/>
                <a:gd name="csX11" fmla="*/ 6569 w 19363"/>
                <a:gd name="csY11" fmla="*/ 590 h 19471"/>
                <a:gd name="csX12" fmla="*/ 4650 w 19363"/>
                <a:gd name="csY12" fmla="*/ 4779 h 19471"/>
                <a:gd name="csX13" fmla="*/ 5369 w 19363"/>
                <a:gd name="csY13" fmla="*/ 6569 h 19471"/>
                <a:gd name="csX14" fmla="*/ 2989 w 19363"/>
                <a:gd name="csY14" fmla="*/ 9909 h 19471"/>
                <a:gd name="csX15" fmla="*/ 0 w 19363"/>
                <a:gd name="csY15" fmla="*/ 11827 h 194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363" h="19471">
                  <a:moveTo>
                    <a:pt x="18" y="11827"/>
                  </a:moveTo>
                  <a:lnTo>
                    <a:pt x="18" y="11827"/>
                  </a:lnTo>
                  <a:cubicBezTo>
                    <a:pt x="258" y="14097"/>
                    <a:pt x="-461" y="16606"/>
                    <a:pt x="849" y="18747"/>
                  </a:cubicBezTo>
                  <a:cubicBezTo>
                    <a:pt x="1439" y="19577"/>
                    <a:pt x="5148" y="19466"/>
                    <a:pt x="5148" y="19466"/>
                  </a:cubicBezTo>
                  <a:cubicBezTo>
                    <a:pt x="7657" y="19116"/>
                    <a:pt x="10757" y="18876"/>
                    <a:pt x="12787" y="17437"/>
                  </a:cubicBezTo>
                  <a:cubicBezTo>
                    <a:pt x="13267" y="17086"/>
                    <a:pt x="13507" y="16477"/>
                    <a:pt x="14097" y="15998"/>
                  </a:cubicBezTo>
                  <a:cubicBezTo>
                    <a:pt x="14687" y="15518"/>
                    <a:pt x="15407" y="15038"/>
                    <a:pt x="16127" y="14558"/>
                  </a:cubicBezTo>
                  <a:cubicBezTo>
                    <a:pt x="19706" y="10259"/>
                    <a:pt x="19706" y="11809"/>
                    <a:pt x="18987" y="7399"/>
                  </a:cubicBezTo>
                  <a:cubicBezTo>
                    <a:pt x="18876" y="6919"/>
                    <a:pt x="15998" y="2860"/>
                    <a:pt x="15038" y="1661"/>
                  </a:cubicBezTo>
                  <a:cubicBezTo>
                    <a:pt x="13968" y="461"/>
                    <a:pt x="13599" y="830"/>
                    <a:pt x="12898" y="351"/>
                  </a:cubicBezTo>
                  <a:cubicBezTo>
                    <a:pt x="12178" y="240"/>
                    <a:pt x="11458" y="0"/>
                    <a:pt x="10757" y="0"/>
                  </a:cubicBezTo>
                  <a:cubicBezTo>
                    <a:pt x="9318" y="0"/>
                    <a:pt x="7897" y="111"/>
                    <a:pt x="6569" y="590"/>
                  </a:cubicBezTo>
                  <a:cubicBezTo>
                    <a:pt x="4779" y="1181"/>
                    <a:pt x="4779" y="4059"/>
                    <a:pt x="4650" y="4779"/>
                  </a:cubicBezTo>
                  <a:cubicBezTo>
                    <a:pt x="4890" y="5369"/>
                    <a:pt x="5609" y="5738"/>
                    <a:pt x="5369" y="6569"/>
                  </a:cubicBezTo>
                  <a:cubicBezTo>
                    <a:pt x="5130" y="7399"/>
                    <a:pt x="4059" y="10148"/>
                    <a:pt x="2989" y="9909"/>
                  </a:cubicBezTo>
                  <a:lnTo>
                    <a:pt x="0" y="11827"/>
                  </a:lnTo>
                  <a:close/>
                </a:path>
              </a:pathLst>
            </a:custGeom>
            <a:solidFill>
              <a:srgbClr val="FFFFFF"/>
            </a:solidFill>
            <a:ln w="1835" cap="flat">
              <a:noFill/>
              <a:prstDash val="solid"/>
              <a:miter/>
            </a:ln>
          </p:spPr>
          <p:txBody>
            <a:bodyPr/>
            <a:lstStyle/>
            <a:p>
              <a:endParaRPr lang="en-GB"/>
            </a:p>
          </p:txBody>
        </p:sp>
        <p:sp>
          <p:nvSpPr>
            <p:cNvPr id="1439" name="Freeform: Shape 1438">
              <a:extLst>
                <a:ext uri="{FF2B5EF4-FFF2-40B4-BE49-F238E27FC236}">
                  <a16:creationId xmlns:a16="http://schemas.microsoft.com/office/drawing/2014/main" id="{CB8780B8-BC03-F8FD-32CA-36BCDACE8305}"/>
                </a:ext>
              </a:extLst>
            </p:cNvPr>
            <p:cNvSpPr/>
            <p:nvPr/>
          </p:nvSpPr>
          <p:spPr>
            <a:xfrm>
              <a:off x="11016795" y="4934887"/>
              <a:ext cx="25318" cy="25463"/>
            </a:xfrm>
            <a:custGeom>
              <a:avLst/>
              <a:gdLst>
                <a:gd name="csX0" fmla="*/ 7580 w 25318"/>
                <a:gd name="csY0" fmla="*/ 25463 h 25463"/>
                <a:gd name="csX1" fmla="*/ 1380 w 25318"/>
                <a:gd name="csY1" fmla="*/ 23507 h 25463"/>
                <a:gd name="csX2" fmla="*/ 33 w 25318"/>
                <a:gd name="csY2" fmla="*/ 16957 h 25463"/>
                <a:gd name="csX3" fmla="*/ 14 w 25318"/>
                <a:gd name="csY3" fmla="*/ 15130 h 25463"/>
                <a:gd name="csX4" fmla="*/ 1380 w 25318"/>
                <a:gd name="csY4" fmla="*/ 12307 h 25463"/>
                <a:gd name="csX5" fmla="*/ 4369 w 25318"/>
                <a:gd name="csY5" fmla="*/ 10388 h 25463"/>
                <a:gd name="csX6" fmla="*/ 4923 w 25318"/>
                <a:gd name="csY6" fmla="*/ 10111 h 25463"/>
                <a:gd name="csX7" fmla="*/ 5199 w 25318"/>
                <a:gd name="csY7" fmla="*/ 9521 h 25463"/>
                <a:gd name="csX8" fmla="*/ 4886 w 25318"/>
                <a:gd name="csY8" fmla="*/ 8894 h 25463"/>
                <a:gd name="csX9" fmla="*/ 4701 w 25318"/>
                <a:gd name="csY9" fmla="*/ 7288 h 25463"/>
                <a:gd name="csX10" fmla="*/ 8631 w 25318"/>
                <a:gd name="csY10" fmla="*/ 757 h 25463"/>
                <a:gd name="csX11" fmla="*/ 13742 w 25318"/>
                <a:gd name="csY11" fmla="*/ 0 h 25463"/>
                <a:gd name="csX12" fmla="*/ 15809 w 25318"/>
                <a:gd name="csY12" fmla="*/ 277 h 25463"/>
                <a:gd name="csX13" fmla="*/ 17562 w 25318"/>
                <a:gd name="csY13" fmla="*/ 867 h 25463"/>
                <a:gd name="csX14" fmla="*/ 20274 w 25318"/>
                <a:gd name="csY14" fmla="*/ 2657 h 25463"/>
                <a:gd name="csX15" fmla="*/ 24887 w 25318"/>
                <a:gd name="csY15" fmla="*/ 9669 h 25463"/>
                <a:gd name="csX16" fmla="*/ 25035 w 25318"/>
                <a:gd name="csY16" fmla="*/ 10591 h 25463"/>
                <a:gd name="csX17" fmla="*/ 23245 w 25318"/>
                <a:gd name="csY17" fmla="*/ 17400 h 25463"/>
                <a:gd name="csX18" fmla="*/ 21418 w 25318"/>
                <a:gd name="csY18" fmla="*/ 19466 h 25463"/>
                <a:gd name="csX19" fmla="*/ 20791 w 25318"/>
                <a:gd name="csY19" fmla="*/ 20020 h 25463"/>
                <a:gd name="csX20" fmla="*/ 18964 w 25318"/>
                <a:gd name="csY20" fmla="*/ 21312 h 25463"/>
                <a:gd name="csX21" fmla="*/ 17543 w 25318"/>
                <a:gd name="csY21" fmla="*/ 22825 h 25463"/>
                <a:gd name="csX22" fmla="*/ 9535 w 25318"/>
                <a:gd name="csY22" fmla="*/ 25279 h 25463"/>
                <a:gd name="csX23" fmla="*/ 8576 w 25318"/>
                <a:gd name="csY23" fmla="*/ 25408 h 25463"/>
                <a:gd name="csX24" fmla="*/ 7616 w 25318"/>
                <a:gd name="csY24" fmla="*/ 25426 h 25463"/>
                <a:gd name="csX25" fmla="*/ 6067 w 25318"/>
                <a:gd name="csY25" fmla="*/ 19448 h 25463"/>
                <a:gd name="csX26" fmla="*/ 8022 w 25318"/>
                <a:gd name="csY26" fmla="*/ 19522 h 25463"/>
                <a:gd name="csX27" fmla="*/ 8705 w 25318"/>
                <a:gd name="csY27" fmla="*/ 19411 h 25463"/>
                <a:gd name="csX28" fmla="*/ 14019 w 25318"/>
                <a:gd name="csY28" fmla="*/ 18027 h 25463"/>
                <a:gd name="csX29" fmla="*/ 15200 w 25318"/>
                <a:gd name="csY29" fmla="*/ 16717 h 25463"/>
                <a:gd name="csX30" fmla="*/ 17248 w 25318"/>
                <a:gd name="csY30" fmla="*/ 15259 h 25463"/>
                <a:gd name="csX31" fmla="*/ 18853 w 25318"/>
                <a:gd name="csY31" fmla="*/ 13396 h 25463"/>
                <a:gd name="csX32" fmla="*/ 19536 w 25318"/>
                <a:gd name="csY32" fmla="*/ 12658 h 25463"/>
                <a:gd name="csX33" fmla="*/ 19149 w 25318"/>
                <a:gd name="csY33" fmla="*/ 11625 h 25463"/>
                <a:gd name="csX34" fmla="*/ 15717 w 25318"/>
                <a:gd name="csY34" fmla="*/ 6587 h 25463"/>
                <a:gd name="csX35" fmla="*/ 14942 w 25318"/>
                <a:gd name="csY35" fmla="*/ 6255 h 25463"/>
                <a:gd name="csX36" fmla="*/ 14499 w 25318"/>
                <a:gd name="csY36" fmla="*/ 6181 h 25463"/>
                <a:gd name="csX37" fmla="*/ 13742 w 25318"/>
                <a:gd name="csY37" fmla="*/ 6034 h 25463"/>
                <a:gd name="csX38" fmla="*/ 10587 w 25318"/>
                <a:gd name="csY38" fmla="*/ 6458 h 25463"/>
                <a:gd name="csX39" fmla="*/ 10587 w 25318"/>
                <a:gd name="csY39" fmla="*/ 6458 h 25463"/>
                <a:gd name="csX40" fmla="*/ 10735 w 25318"/>
                <a:gd name="csY40" fmla="*/ 7067 h 25463"/>
                <a:gd name="csX41" fmla="*/ 11270 w 25318"/>
                <a:gd name="csY41" fmla="*/ 10425 h 25463"/>
                <a:gd name="csX42" fmla="*/ 6971 w 25318"/>
                <a:gd name="csY42" fmla="*/ 15868 h 25463"/>
                <a:gd name="csX43" fmla="*/ 6030 w 25318"/>
                <a:gd name="csY43" fmla="*/ 16459 h 25463"/>
                <a:gd name="csX44" fmla="*/ 6030 w 25318"/>
                <a:gd name="csY44" fmla="*/ 17178 h 25463"/>
                <a:gd name="csX45" fmla="*/ 6103 w 25318"/>
                <a:gd name="csY45" fmla="*/ 19466 h 25463"/>
                <a:gd name="csX46" fmla="*/ 6602 w 25318"/>
                <a:gd name="csY46" fmla="*/ 10019 h 25463"/>
                <a:gd name="csX47" fmla="*/ 6602 w 25318"/>
                <a:gd name="csY47" fmla="*/ 10019 h 25463"/>
                <a:gd name="csX48" fmla="*/ 6602 w 25318"/>
                <a:gd name="csY48" fmla="*/ 10019 h 254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25318" h="25463">
                  <a:moveTo>
                    <a:pt x="7580" y="25463"/>
                  </a:moveTo>
                  <a:cubicBezTo>
                    <a:pt x="2782" y="25463"/>
                    <a:pt x="1767" y="24061"/>
                    <a:pt x="1380" y="23507"/>
                  </a:cubicBezTo>
                  <a:cubicBezTo>
                    <a:pt x="-96" y="21090"/>
                    <a:pt x="-23" y="18802"/>
                    <a:pt x="33" y="16957"/>
                  </a:cubicBezTo>
                  <a:cubicBezTo>
                    <a:pt x="33" y="16348"/>
                    <a:pt x="88" y="15721"/>
                    <a:pt x="14" y="15130"/>
                  </a:cubicBezTo>
                  <a:cubicBezTo>
                    <a:pt x="-96" y="14005"/>
                    <a:pt x="439" y="12935"/>
                    <a:pt x="1380" y="12307"/>
                  </a:cubicBezTo>
                  <a:lnTo>
                    <a:pt x="4369" y="10388"/>
                  </a:lnTo>
                  <a:cubicBezTo>
                    <a:pt x="4535" y="10278"/>
                    <a:pt x="4738" y="10185"/>
                    <a:pt x="4923" y="10111"/>
                  </a:cubicBezTo>
                  <a:cubicBezTo>
                    <a:pt x="5015" y="9945"/>
                    <a:pt x="5107" y="9742"/>
                    <a:pt x="5199" y="9521"/>
                  </a:cubicBezTo>
                  <a:cubicBezTo>
                    <a:pt x="5089" y="9336"/>
                    <a:pt x="4978" y="9134"/>
                    <a:pt x="4886" y="8894"/>
                  </a:cubicBezTo>
                  <a:cubicBezTo>
                    <a:pt x="4683" y="8395"/>
                    <a:pt x="4609" y="7823"/>
                    <a:pt x="4701" y="7288"/>
                  </a:cubicBezTo>
                  <a:cubicBezTo>
                    <a:pt x="4849" y="5775"/>
                    <a:pt x="5236" y="1882"/>
                    <a:pt x="8631" y="757"/>
                  </a:cubicBezTo>
                  <a:cubicBezTo>
                    <a:pt x="10015" y="240"/>
                    <a:pt x="11676" y="0"/>
                    <a:pt x="13742" y="0"/>
                  </a:cubicBezTo>
                  <a:cubicBezTo>
                    <a:pt x="14554" y="0"/>
                    <a:pt x="15255" y="148"/>
                    <a:pt x="15809" y="277"/>
                  </a:cubicBezTo>
                  <a:cubicBezTo>
                    <a:pt x="16233" y="351"/>
                    <a:pt x="17211" y="627"/>
                    <a:pt x="17562" y="867"/>
                  </a:cubicBezTo>
                  <a:cubicBezTo>
                    <a:pt x="18208" y="1015"/>
                    <a:pt x="19112" y="1384"/>
                    <a:pt x="20274" y="2657"/>
                  </a:cubicBezTo>
                  <a:cubicBezTo>
                    <a:pt x="20422" y="2823"/>
                    <a:pt x="24500" y="8119"/>
                    <a:pt x="24887" y="9669"/>
                  </a:cubicBezTo>
                  <a:cubicBezTo>
                    <a:pt x="24887" y="9742"/>
                    <a:pt x="25035" y="10517"/>
                    <a:pt x="25035" y="10591"/>
                  </a:cubicBezTo>
                  <a:cubicBezTo>
                    <a:pt x="25588" y="13949"/>
                    <a:pt x="25496" y="14983"/>
                    <a:pt x="23245" y="17400"/>
                  </a:cubicBezTo>
                  <a:cubicBezTo>
                    <a:pt x="22784" y="17898"/>
                    <a:pt x="22175" y="18525"/>
                    <a:pt x="21418" y="19466"/>
                  </a:cubicBezTo>
                  <a:cubicBezTo>
                    <a:pt x="21234" y="19669"/>
                    <a:pt x="21031" y="19872"/>
                    <a:pt x="20791" y="20020"/>
                  </a:cubicBezTo>
                  <a:cubicBezTo>
                    <a:pt x="20034" y="20537"/>
                    <a:pt x="19444" y="20924"/>
                    <a:pt x="18964" y="21312"/>
                  </a:cubicBezTo>
                  <a:cubicBezTo>
                    <a:pt x="18466" y="21921"/>
                    <a:pt x="18115" y="22400"/>
                    <a:pt x="17543" y="22825"/>
                  </a:cubicBezTo>
                  <a:cubicBezTo>
                    <a:pt x="15145" y="24522"/>
                    <a:pt x="12026" y="24928"/>
                    <a:pt x="9535" y="25279"/>
                  </a:cubicBezTo>
                  <a:lnTo>
                    <a:pt x="8576" y="25408"/>
                  </a:lnTo>
                  <a:cubicBezTo>
                    <a:pt x="8244" y="25408"/>
                    <a:pt x="7930" y="25426"/>
                    <a:pt x="7616" y="25426"/>
                  </a:cubicBezTo>
                  <a:close/>
                  <a:moveTo>
                    <a:pt x="6067" y="19448"/>
                  </a:moveTo>
                  <a:cubicBezTo>
                    <a:pt x="6657" y="19503"/>
                    <a:pt x="7413" y="19503"/>
                    <a:pt x="8022" y="19522"/>
                  </a:cubicBezTo>
                  <a:lnTo>
                    <a:pt x="8705" y="19411"/>
                  </a:lnTo>
                  <a:cubicBezTo>
                    <a:pt x="10661" y="19134"/>
                    <a:pt x="12857" y="18858"/>
                    <a:pt x="14019" y="18027"/>
                  </a:cubicBezTo>
                  <a:cubicBezTo>
                    <a:pt x="14241" y="17658"/>
                    <a:pt x="14610" y="17178"/>
                    <a:pt x="15200" y="16717"/>
                  </a:cubicBezTo>
                  <a:cubicBezTo>
                    <a:pt x="15809" y="16237"/>
                    <a:pt x="16529" y="15758"/>
                    <a:pt x="17248" y="15259"/>
                  </a:cubicBezTo>
                  <a:cubicBezTo>
                    <a:pt x="17673" y="14651"/>
                    <a:pt x="18337" y="13949"/>
                    <a:pt x="18853" y="13396"/>
                  </a:cubicBezTo>
                  <a:cubicBezTo>
                    <a:pt x="19149" y="13064"/>
                    <a:pt x="19370" y="12861"/>
                    <a:pt x="19536" y="12658"/>
                  </a:cubicBezTo>
                  <a:cubicBezTo>
                    <a:pt x="19278" y="12787"/>
                    <a:pt x="19259" y="12381"/>
                    <a:pt x="19149" y="11625"/>
                  </a:cubicBezTo>
                  <a:cubicBezTo>
                    <a:pt x="18909" y="10997"/>
                    <a:pt x="16602" y="7694"/>
                    <a:pt x="15717" y="6587"/>
                  </a:cubicBezTo>
                  <a:cubicBezTo>
                    <a:pt x="15569" y="6550"/>
                    <a:pt x="15255" y="6403"/>
                    <a:pt x="14942" y="6255"/>
                  </a:cubicBezTo>
                  <a:lnTo>
                    <a:pt x="14499" y="6181"/>
                  </a:lnTo>
                  <a:cubicBezTo>
                    <a:pt x="14222" y="6126"/>
                    <a:pt x="13890" y="6034"/>
                    <a:pt x="13742" y="6034"/>
                  </a:cubicBezTo>
                  <a:cubicBezTo>
                    <a:pt x="12395" y="6034"/>
                    <a:pt x="11381" y="6181"/>
                    <a:pt x="10587" y="6458"/>
                  </a:cubicBezTo>
                  <a:lnTo>
                    <a:pt x="10587" y="6458"/>
                  </a:lnTo>
                  <a:cubicBezTo>
                    <a:pt x="10716" y="6458"/>
                    <a:pt x="10735" y="6753"/>
                    <a:pt x="10735" y="7067"/>
                  </a:cubicBezTo>
                  <a:cubicBezTo>
                    <a:pt x="11159" y="7676"/>
                    <a:pt x="11694" y="8857"/>
                    <a:pt x="11270" y="10425"/>
                  </a:cubicBezTo>
                  <a:cubicBezTo>
                    <a:pt x="10347" y="13525"/>
                    <a:pt x="8816" y="15444"/>
                    <a:pt x="6971" y="15868"/>
                  </a:cubicBezTo>
                  <a:lnTo>
                    <a:pt x="6030" y="16459"/>
                  </a:lnTo>
                  <a:cubicBezTo>
                    <a:pt x="6030" y="16699"/>
                    <a:pt x="6030" y="16939"/>
                    <a:pt x="6030" y="17178"/>
                  </a:cubicBezTo>
                  <a:cubicBezTo>
                    <a:pt x="5993" y="18046"/>
                    <a:pt x="5974" y="18839"/>
                    <a:pt x="6103" y="19466"/>
                  </a:cubicBezTo>
                  <a:close/>
                  <a:moveTo>
                    <a:pt x="6602" y="10019"/>
                  </a:moveTo>
                  <a:lnTo>
                    <a:pt x="6602" y="10019"/>
                  </a:lnTo>
                  <a:lnTo>
                    <a:pt x="6602" y="10019"/>
                  </a:lnTo>
                  <a:close/>
                </a:path>
              </a:pathLst>
            </a:custGeom>
            <a:solidFill>
              <a:srgbClr val="FFFFFF"/>
            </a:solidFill>
            <a:ln w="1835" cap="flat">
              <a:noFill/>
              <a:prstDash val="solid"/>
              <a:miter/>
            </a:ln>
          </p:spPr>
          <p:txBody>
            <a:bodyPr/>
            <a:lstStyle/>
            <a:p>
              <a:endParaRPr lang="en-GB"/>
            </a:p>
          </p:txBody>
        </p:sp>
        <p:sp>
          <p:nvSpPr>
            <p:cNvPr id="1440" name="Freeform: Shape 1439">
              <a:extLst>
                <a:ext uri="{FF2B5EF4-FFF2-40B4-BE49-F238E27FC236}">
                  <a16:creationId xmlns:a16="http://schemas.microsoft.com/office/drawing/2014/main" id="{48E7DDFA-10EB-F743-F5C3-8E0A37FF9111}"/>
                </a:ext>
              </a:extLst>
            </p:cNvPr>
            <p:cNvSpPr/>
            <p:nvPr/>
          </p:nvSpPr>
          <p:spPr>
            <a:xfrm>
              <a:off x="11065707" y="5004920"/>
              <a:ext cx="27387" cy="21339"/>
            </a:xfrm>
            <a:custGeom>
              <a:avLst/>
              <a:gdLst>
                <a:gd name="csX0" fmla="*/ 17103 w 27387"/>
                <a:gd name="csY0" fmla="*/ 20528 h 21339"/>
                <a:gd name="csX1" fmla="*/ 18653 w 27387"/>
                <a:gd name="csY1" fmla="*/ 20048 h 21339"/>
                <a:gd name="csX2" fmla="*/ 20443 w 27387"/>
                <a:gd name="csY2" fmla="*/ 20159 h 21339"/>
                <a:gd name="csX3" fmla="*/ 23912 w 27387"/>
                <a:gd name="csY3" fmla="*/ 21118 h 21339"/>
                <a:gd name="csX4" fmla="*/ 27252 w 27387"/>
                <a:gd name="csY4" fmla="*/ 12631 h 21339"/>
                <a:gd name="csX5" fmla="*/ 27252 w 27387"/>
                <a:gd name="csY5" fmla="*/ 11431 h 21339"/>
                <a:gd name="csX6" fmla="*/ 25812 w 27387"/>
                <a:gd name="csY6" fmla="*/ 10472 h 21339"/>
                <a:gd name="csX7" fmla="*/ 24502 w 27387"/>
                <a:gd name="csY7" fmla="*/ 9033 h 21339"/>
                <a:gd name="csX8" fmla="*/ 21033 w 27387"/>
                <a:gd name="csY8" fmla="*/ 7003 h 21339"/>
                <a:gd name="csX9" fmla="*/ 20443 w 27387"/>
                <a:gd name="csY9" fmla="*/ 5564 h 21339"/>
                <a:gd name="csX10" fmla="*/ 17583 w 27387"/>
                <a:gd name="csY10" fmla="*/ 3423 h 21339"/>
                <a:gd name="csX11" fmla="*/ 10055 w 27387"/>
                <a:gd name="csY11" fmla="*/ 563 h 21339"/>
                <a:gd name="csX12" fmla="*/ 866 w 27387"/>
                <a:gd name="csY12" fmla="*/ 8922 h 21339"/>
                <a:gd name="csX13" fmla="*/ 866 w 27387"/>
                <a:gd name="csY13" fmla="*/ 15730 h 21339"/>
                <a:gd name="csX14" fmla="*/ 2785 w 27387"/>
                <a:gd name="csY14" fmla="*/ 17041 h 21339"/>
                <a:gd name="csX15" fmla="*/ 4224 w 27387"/>
                <a:gd name="csY15" fmla="*/ 18111 h 21339"/>
                <a:gd name="csX16" fmla="*/ 8283 w 27387"/>
                <a:gd name="csY16" fmla="*/ 18941 h 21339"/>
                <a:gd name="csX17" fmla="*/ 9354 w 27387"/>
                <a:gd name="csY17" fmla="*/ 19421 h 21339"/>
                <a:gd name="csX18" fmla="*/ 18063 w 27387"/>
                <a:gd name="csY18" fmla="*/ 21340 h 213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7387" h="21339">
                  <a:moveTo>
                    <a:pt x="17103" y="20528"/>
                  </a:moveTo>
                  <a:cubicBezTo>
                    <a:pt x="18543" y="21247"/>
                    <a:pt x="18063" y="20177"/>
                    <a:pt x="18653" y="20048"/>
                  </a:cubicBezTo>
                  <a:cubicBezTo>
                    <a:pt x="19244" y="20159"/>
                    <a:pt x="19853" y="20048"/>
                    <a:pt x="20443" y="20159"/>
                  </a:cubicBezTo>
                  <a:cubicBezTo>
                    <a:pt x="21642" y="20399"/>
                    <a:pt x="23912" y="21118"/>
                    <a:pt x="23912" y="21118"/>
                  </a:cubicBezTo>
                  <a:cubicBezTo>
                    <a:pt x="24982" y="18258"/>
                    <a:pt x="26292" y="15509"/>
                    <a:pt x="27252" y="12631"/>
                  </a:cubicBezTo>
                  <a:cubicBezTo>
                    <a:pt x="27362" y="12391"/>
                    <a:pt x="27492" y="11911"/>
                    <a:pt x="27252" y="11431"/>
                  </a:cubicBezTo>
                  <a:cubicBezTo>
                    <a:pt x="26901" y="11081"/>
                    <a:pt x="26181" y="10841"/>
                    <a:pt x="25812" y="10472"/>
                  </a:cubicBezTo>
                  <a:cubicBezTo>
                    <a:pt x="25333" y="9992"/>
                    <a:pt x="24982" y="9512"/>
                    <a:pt x="24502" y="9033"/>
                  </a:cubicBezTo>
                  <a:cubicBezTo>
                    <a:pt x="23303" y="8313"/>
                    <a:pt x="21993" y="7833"/>
                    <a:pt x="21033" y="7003"/>
                  </a:cubicBezTo>
                  <a:cubicBezTo>
                    <a:pt x="20554" y="6523"/>
                    <a:pt x="20923" y="6043"/>
                    <a:pt x="20443" y="5564"/>
                  </a:cubicBezTo>
                  <a:cubicBezTo>
                    <a:pt x="19723" y="4733"/>
                    <a:pt x="17583" y="3423"/>
                    <a:pt x="17583" y="3423"/>
                  </a:cubicBezTo>
                  <a:cubicBezTo>
                    <a:pt x="8265" y="-525"/>
                    <a:pt x="12804" y="-396"/>
                    <a:pt x="10055" y="563"/>
                  </a:cubicBezTo>
                  <a:cubicBezTo>
                    <a:pt x="7305" y="1523"/>
                    <a:pt x="2416" y="6302"/>
                    <a:pt x="866" y="8922"/>
                  </a:cubicBezTo>
                  <a:cubicBezTo>
                    <a:pt x="-573" y="11431"/>
                    <a:pt x="36" y="14051"/>
                    <a:pt x="866" y="15730"/>
                  </a:cubicBezTo>
                  <a:cubicBezTo>
                    <a:pt x="1456" y="16210"/>
                    <a:pt x="2176" y="16561"/>
                    <a:pt x="2785" y="17041"/>
                  </a:cubicBezTo>
                  <a:cubicBezTo>
                    <a:pt x="3265" y="17391"/>
                    <a:pt x="3615" y="17871"/>
                    <a:pt x="4224" y="18111"/>
                  </a:cubicBezTo>
                  <a:cubicBezTo>
                    <a:pt x="6844" y="19421"/>
                    <a:pt x="5903" y="18461"/>
                    <a:pt x="8283" y="18941"/>
                  </a:cubicBezTo>
                  <a:cubicBezTo>
                    <a:pt x="8634" y="19052"/>
                    <a:pt x="7693" y="19052"/>
                    <a:pt x="9354" y="19421"/>
                  </a:cubicBezTo>
                  <a:cubicBezTo>
                    <a:pt x="10904" y="19771"/>
                    <a:pt x="15092" y="20731"/>
                    <a:pt x="18063" y="21340"/>
                  </a:cubicBezTo>
                </a:path>
              </a:pathLst>
            </a:custGeom>
            <a:solidFill>
              <a:srgbClr val="FFFFFF"/>
            </a:solidFill>
            <a:ln w="1835" cap="flat">
              <a:noFill/>
              <a:prstDash val="solid"/>
              <a:miter/>
            </a:ln>
          </p:spPr>
          <p:txBody>
            <a:bodyPr/>
            <a:lstStyle/>
            <a:p>
              <a:endParaRPr lang="en-GB"/>
            </a:p>
          </p:txBody>
        </p:sp>
        <p:sp>
          <p:nvSpPr>
            <p:cNvPr id="1441" name="Freeform: Shape 1440">
              <a:extLst>
                <a:ext uri="{FF2B5EF4-FFF2-40B4-BE49-F238E27FC236}">
                  <a16:creationId xmlns:a16="http://schemas.microsoft.com/office/drawing/2014/main" id="{7E8785A8-F292-C759-006F-921054E58F3D}"/>
                </a:ext>
              </a:extLst>
            </p:cNvPr>
            <p:cNvSpPr/>
            <p:nvPr/>
          </p:nvSpPr>
          <p:spPr>
            <a:xfrm>
              <a:off x="11062716" y="5002043"/>
              <a:ext cx="33353" cy="27168"/>
            </a:xfrm>
            <a:custGeom>
              <a:avLst/>
              <a:gdLst>
                <a:gd name="csX0" fmla="*/ 20463 w 33353"/>
                <a:gd name="csY0" fmla="*/ 27169 h 27168"/>
                <a:gd name="csX1" fmla="*/ 11662 w 33353"/>
                <a:gd name="csY1" fmla="*/ 25231 h 27168"/>
                <a:gd name="csX2" fmla="*/ 9964 w 33353"/>
                <a:gd name="csY2" fmla="*/ 24678 h 27168"/>
                <a:gd name="csX3" fmla="*/ 9835 w 33353"/>
                <a:gd name="csY3" fmla="*/ 24678 h 27168"/>
                <a:gd name="csX4" fmla="*/ 5886 w 33353"/>
                <a:gd name="csY4" fmla="*/ 23681 h 27168"/>
                <a:gd name="csX5" fmla="*/ 4207 w 33353"/>
                <a:gd name="csY5" fmla="*/ 22519 h 27168"/>
                <a:gd name="csX6" fmla="*/ 3248 w 33353"/>
                <a:gd name="csY6" fmla="*/ 21799 h 27168"/>
                <a:gd name="csX7" fmla="*/ 1993 w 33353"/>
                <a:gd name="csY7" fmla="*/ 20950 h 27168"/>
                <a:gd name="csX8" fmla="*/ 1181 w 33353"/>
                <a:gd name="csY8" fmla="*/ 19954 h 27168"/>
                <a:gd name="csX9" fmla="*/ 1255 w 33353"/>
                <a:gd name="csY9" fmla="*/ 10341 h 27168"/>
                <a:gd name="csX10" fmla="*/ 12049 w 33353"/>
                <a:gd name="csY10" fmla="*/ 635 h 27168"/>
                <a:gd name="csX11" fmla="*/ 16312 w 33353"/>
                <a:gd name="csY11" fmla="*/ 838 h 27168"/>
                <a:gd name="csX12" fmla="*/ 21718 w 33353"/>
                <a:gd name="csY12" fmla="*/ 3587 h 27168"/>
                <a:gd name="csX13" fmla="*/ 25685 w 33353"/>
                <a:gd name="csY13" fmla="*/ 6540 h 27168"/>
                <a:gd name="csX14" fmla="*/ 26534 w 33353"/>
                <a:gd name="csY14" fmla="*/ 8071 h 27168"/>
                <a:gd name="csX15" fmla="*/ 27549 w 33353"/>
                <a:gd name="csY15" fmla="*/ 8588 h 27168"/>
                <a:gd name="csX16" fmla="*/ 29006 w 33353"/>
                <a:gd name="csY16" fmla="*/ 9381 h 27168"/>
                <a:gd name="csX17" fmla="*/ 30390 w 33353"/>
                <a:gd name="csY17" fmla="*/ 10691 h 27168"/>
                <a:gd name="csX18" fmla="*/ 30907 w 33353"/>
                <a:gd name="csY18" fmla="*/ 11263 h 27168"/>
                <a:gd name="csX19" fmla="*/ 32346 w 33353"/>
                <a:gd name="csY19" fmla="*/ 12223 h 27168"/>
                <a:gd name="csX20" fmla="*/ 32918 w 33353"/>
                <a:gd name="csY20" fmla="*/ 13035 h 27168"/>
                <a:gd name="csX21" fmla="*/ 32918 w 33353"/>
                <a:gd name="csY21" fmla="*/ 16817 h 27168"/>
                <a:gd name="csX22" fmla="*/ 31073 w 33353"/>
                <a:gd name="csY22" fmla="*/ 21596 h 27168"/>
                <a:gd name="csX23" fmla="*/ 29689 w 33353"/>
                <a:gd name="csY23" fmla="*/ 25065 h 27168"/>
                <a:gd name="csX24" fmla="*/ 25980 w 33353"/>
                <a:gd name="csY24" fmla="*/ 26855 h 27168"/>
                <a:gd name="csX25" fmla="*/ 22862 w 33353"/>
                <a:gd name="csY25" fmla="*/ 25988 h 27168"/>
                <a:gd name="csX26" fmla="*/ 22862 w 33353"/>
                <a:gd name="csY26" fmla="*/ 25988 h 27168"/>
                <a:gd name="csX27" fmla="*/ 21958 w 33353"/>
                <a:gd name="csY27" fmla="*/ 26449 h 27168"/>
                <a:gd name="csX28" fmla="*/ 20555 w 33353"/>
                <a:gd name="csY28" fmla="*/ 26615 h 27168"/>
                <a:gd name="csX29" fmla="*/ 20445 w 33353"/>
                <a:gd name="csY29" fmla="*/ 27169 h 27168"/>
                <a:gd name="csX30" fmla="*/ 19744 w 33353"/>
                <a:gd name="csY30" fmla="*/ 20932 h 27168"/>
                <a:gd name="csX31" fmla="*/ 18581 w 33353"/>
                <a:gd name="csY31" fmla="*/ 22058 h 27168"/>
                <a:gd name="csX32" fmla="*/ 19891 w 33353"/>
                <a:gd name="csY32" fmla="*/ 20969 h 27168"/>
                <a:gd name="csX33" fmla="*/ 21183 w 33353"/>
                <a:gd name="csY33" fmla="*/ 21246 h 27168"/>
                <a:gd name="csX34" fmla="*/ 21423 w 33353"/>
                <a:gd name="csY34" fmla="*/ 20766 h 27168"/>
                <a:gd name="csX35" fmla="*/ 20076 w 33353"/>
                <a:gd name="csY35" fmla="*/ 20821 h 27168"/>
                <a:gd name="csX36" fmla="*/ 21035 w 33353"/>
                <a:gd name="csY36" fmla="*/ 20046 h 27168"/>
                <a:gd name="csX37" fmla="*/ 22290 w 33353"/>
                <a:gd name="csY37" fmla="*/ 20046 h 27168"/>
                <a:gd name="csX38" fmla="*/ 24080 w 33353"/>
                <a:gd name="csY38" fmla="*/ 20175 h 27168"/>
                <a:gd name="csX39" fmla="*/ 25150 w 33353"/>
                <a:gd name="csY39" fmla="*/ 20415 h 27168"/>
                <a:gd name="csX40" fmla="*/ 25611 w 33353"/>
                <a:gd name="csY40" fmla="*/ 19327 h 27168"/>
                <a:gd name="csX41" fmla="*/ 27032 w 33353"/>
                <a:gd name="csY41" fmla="*/ 15784 h 27168"/>
                <a:gd name="csX42" fmla="*/ 26737 w 33353"/>
                <a:gd name="csY42" fmla="*/ 15507 h 27168"/>
                <a:gd name="csX43" fmla="*/ 25943 w 33353"/>
                <a:gd name="csY43" fmla="*/ 14640 h 27168"/>
                <a:gd name="csX44" fmla="*/ 25427 w 33353"/>
                <a:gd name="csY44" fmla="*/ 14086 h 27168"/>
                <a:gd name="csX45" fmla="*/ 24892 w 33353"/>
                <a:gd name="csY45" fmla="*/ 13939 h 27168"/>
                <a:gd name="csX46" fmla="*/ 22105 w 33353"/>
                <a:gd name="csY46" fmla="*/ 12186 h 27168"/>
                <a:gd name="csX47" fmla="*/ 20924 w 33353"/>
                <a:gd name="csY47" fmla="*/ 10230 h 27168"/>
                <a:gd name="csX48" fmla="*/ 19061 w 33353"/>
                <a:gd name="csY48" fmla="*/ 8920 h 27168"/>
                <a:gd name="csX49" fmla="*/ 13876 w 33353"/>
                <a:gd name="csY49" fmla="*/ 6392 h 27168"/>
                <a:gd name="csX50" fmla="*/ 6477 w 33353"/>
                <a:gd name="csY50" fmla="*/ 13385 h 27168"/>
                <a:gd name="csX51" fmla="*/ 6311 w 33353"/>
                <a:gd name="csY51" fmla="*/ 16725 h 27168"/>
                <a:gd name="csX52" fmla="*/ 6477 w 33353"/>
                <a:gd name="csY52" fmla="*/ 16817 h 27168"/>
                <a:gd name="csX53" fmla="*/ 7676 w 33353"/>
                <a:gd name="csY53" fmla="*/ 17648 h 27168"/>
                <a:gd name="csX54" fmla="*/ 8285 w 33353"/>
                <a:gd name="csY54" fmla="*/ 18183 h 27168"/>
                <a:gd name="csX55" fmla="*/ 9577 w 33353"/>
                <a:gd name="csY55" fmla="*/ 18847 h 27168"/>
                <a:gd name="csX56" fmla="*/ 11883 w 33353"/>
                <a:gd name="csY56" fmla="*/ 18976 h 27168"/>
                <a:gd name="csX57" fmla="*/ 13027 w 33353"/>
                <a:gd name="csY57" fmla="*/ 19474 h 27168"/>
                <a:gd name="csX58" fmla="*/ 19780 w 33353"/>
                <a:gd name="csY58" fmla="*/ 20987 h 27168"/>
                <a:gd name="csX59" fmla="*/ 21183 w 33353"/>
                <a:gd name="csY59" fmla="*/ 21209 h 27168"/>
                <a:gd name="csX60" fmla="*/ 21238 w 33353"/>
                <a:gd name="csY60" fmla="*/ 21209 h 27168"/>
                <a:gd name="csX61" fmla="*/ 21496 w 33353"/>
                <a:gd name="csY61" fmla="*/ 20747 h 27168"/>
                <a:gd name="csX62" fmla="*/ 21423 w 33353"/>
                <a:gd name="csY62" fmla="*/ 20729 h 27168"/>
                <a:gd name="csX63" fmla="*/ 21183 w 33353"/>
                <a:gd name="csY63" fmla="*/ 21209 h 27168"/>
                <a:gd name="csX64" fmla="*/ 27419 w 33353"/>
                <a:gd name="csY64" fmla="*/ 14585 h 27168"/>
                <a:gd name="csX65" fmla="*/ 27364 w 33353"/>
                <a:gd name="csY65" fmla="*/ 14732 h 27168"/>
                <a:gd name="csX66" fmla="*/ 27419 w 33353"/>
                <a:gd name="csY66" fmla="*/ 14585 h 27168"/>
                <a:gd name="csX67" fmla="*/ 21275 w 33353"/>
                <a:gd name="csY67" fmla="*/ 10525 h 27168"/>
                <a:gd name="csX68" fmla="*/ 21330 w 33353"/>
                <a:gd name="csY68" fmla="*/ 10581 h 27168"/>
                <a:gd name="csX69" fmla="*/ 21275 w 33353"/>
                <a:gd name="csY69" fmla="*/ 10525 h 271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Lst>
              <a:rect l="l" t="t" r="r" b="b"/>
              <a:pathLst>
                <a:path w="33353" h="27168">
                  <a:moveTo>
                    <a:pt x="20463" y="27169"/>
                  </a:moveTo>
                  <a:cubicBezTo>
                    <a:pt x="17437" y="26578"/>
                    <a:pt x="13230" y="25600"/>
                    <a:pt x="11662" y="25231"/>
                  </a:cubicBezTo>
                  <a:cubicBezTo>
                    <a:pt x="11164" y="25120"/>
                    <a:pt x="10536" y="24991"/>
                    <a:pt x="9964" y="24678"/>
                  </a:cubicBezTo>
                  <a:cubicBezTo>
                    <a:pt x="9927" y="24678"/>
                    <a:pt x="9890" y="24678"/>
                    <a:pt x="9835" y="24678"/>
                  </a:cubicBezTo>
                  <a:cubicBezTo>
                    <a:pt x="8617" y="24825"/>
                    <a:pt x="7695" y="24585"/>
                    <a:pt x="5886" y="23681"/>
                  </a:cubicBezTo>
                  <a:cubicBezTo>
                    <a:pt x="5185" y="23404"/>
                    <a:pt x="4595" y="22869"/>
                    <a:pt x="4207" y="22519"/>
                  </a:cubicBezTo>
                  <a:cubicBezTo>
                    <a:pt x="3709" y="22094"/>
                    <a:pt x="3488" y="21965"/>
                    <a:pt x="3248" y="21799"/>
                  </a:cubicBezTo>
                  <a:cubicBezTo>
                    <a:pt x="2823" y="21522"/>
                    <a:pt x="2381" y="21246"/>
                    <a:pt x="1993" y="20950"/>
                  </a:cubicBezTo>
                  <a:cubicBezTo>
                    <a:pt x="1661" y="20674"/>
                    <a:pt x="1384" y="20341"/>
                    <a:pt x="1181" y="19954"/>
                  </a:cubicBezTo>
                  <a:cubicBezTo>
                    <a:pt x="-424" y="16743"/>
                    <a:pt x="-387" y="13238"/>
                    <a:pt x="1255" y="10341"/>
                  </a:cubicBezTo>
                  <a:cubicBezTo>
                    <a:pt x="3008" y="7370"/>
                    <a:pt x="8396" y="1908"/>
                    <a:pt x="12049" y="635"/>
                  </a:cubicBezTo>
                  <a:cubicBezTo>
                    <a:pt x="13212" y="-269"/>
                    <a:pt x="15260" y="-214"/>
                    <a:pt x="16312" y="838"/>
                  </a:cubicBezTo>
                  <a:cubicBezTo>
                    <a:pt x="16404" y="912"/>
                    <a:pt x="17308" y="1705"/>
                    <a:pt x="21718" y="3587"/>
                  </a:cubicBezTo>
                  <a:cubicBezTo>
                    <a:pt x="22880" y="4270"/>
                    <a:pt x="24762" y="5469"/>
                    <a:pt x="25685" y="6540"/>
                  </a:cubicBezTo>
                  <a:cubicBezTo>
                    <a:pt x="26183" y="7019"/>
                    <a:pt x="26405" y="7591"/>
                    <a:pt x="26534" y="8071"/>
                  </a:cubicBezTo>
                  <a:cubicBezTo>
                    <a:pt x="26811" y="8219"/>
                    <a:pt x="27180" y="8403"/>
                    <a:pt x="27549" y="8588"/>
                  </a:cubicBezTo>
                  <a:cubicBezTo>
                    <a:pt x="28047" y="8846"/>
                    <a:pt x="28527" y="9104"/>
                    <a:pt x="29006" y="9381"/>
                  </a:cubicBezTo>
                  <a:cubicBezTo>
                    <a:pt x="29873" y="10119"/>
                    <a:pt x="30132" y="10415"/>
                    <a:pt x="30390" y="10691"/>
                  </a:cubicBezTo>
                  <a:lnTo>
                    <a:pt x="30907" y="11263"/>
                  </a:lnTo>
                  <a:cubicBezTo>
                    <a:pt x="31331" y="11448"/>
                    <a:pt x="31866" y="11743"/>
                    <a:pt x="32346" y="12223"/>
                  </a:cubicBezTo>
                  <a:cubicBezTo>
                    <a:pt x="32586" y="12463"/>
                    <a:pt x="32770" y="12721"/>
                    <a:pt x="32918" y="13035"/>
                  </a:cubicBezTo>
                  <a:cubicBezTo>
                    <a:pt x="33490" y="14216"/>
                    <a:pt x="33508" y="15636"/>
                    <a:pt x="32918" y="16817"/>
                  </a:cubicBezTo>
                  <a:cubicBezTo>
                    <a:pt x="32475" y="18201"/>
                    <a:pt x="31774" y="19899"/>
                    <a:pt x="31073" y="21596"/>
                  </a:cubicBezTo>
                  <a:cubicBezTo>
                    <a:pt x="30593" y="22759"/>
                    <a:pt x="30113" y="23903"/>
                    <a:pt x="29689" y="25065"/>
                  </a:cubicBezTo>
                  <a:cubicBezTo>
                    <a:pt x="29117" y="26541"/>
                    <a:pt x="27493" y="27298"/>
                    <a:pt x="25980" y="26855"/>
                  </a:cubicBezTo>
                  <a:cubicBezTo>
                    <a:pt x="25962" y="26855"/>
                    <a:pt x="23932" y="26191"/>
                    <a:pt x="22862" y="25988"/>
                  </a:cubicBezTo>
                  <a:lnTo>
                    <a:pt x="22862" y="25988"/>
                  </a:lnTo>
                  <a:cubicBezTo>
                    <a:pt x="22585" y="26191"/>
                    <a:pt x="22290" y="26357"/>
                    <a:pt x="21958" y="26449"/>
                  </a:cubicBezTo>
                  <a:cubicBezTo>
                    <a:pt x="21460" y="26633"/>
                    <a:pt x="20961" y="26652"/>
                    <a:pt x="20555" y="26615"/>
                  </a:cubicBezTo>
                  <a:lnTo>
                    <a:pt x="20445" y="27169"/>
                  </a:lnTo>
                  <a:close/>
                  <a:moveTo>
                    <a:pt x="19744" y="20932"/>
                  </a:moveTo>
                  <a:cubicBezTo>
                    <a:pt x="19264" y="21153"/>
                    <a:pt x="18821" y="21522"/>
                    <a:pt x="18581" y="22058"/>
                  </a:cubicBezTo>
                  <a:lnTo>
                    <a:pt x="19891" y="20969"/>
                  </a:lnTo>
                  <a:cubicBezTo>
                    <a:pt x="20334" y="21061"/>
                    <a:pt x="20758" y="21153"/>
                    <a:pt x="21183" y="21246"/>
                  </a:cubicBezTo>
                  <a:lnTo>
                    <a:pt x="21423" y="20766"/>
                  </a:lnTo>
                  <a:cubicBezTo>
                    <a:pt x="21054" y="20637"/>
                    <a:pt x="20574" y="20655"/>
                    <a:pt x="20076" y="20821"/>
                  </a:cubicBezTo>
                  <a:lnTo>
                    <a:pt x="21035" y="20046"/>
                  </a:lnTo>
                  <a:cubicBezTo>
                    <a:pt x="21423" y="19954"/>
                    <a:pt x="21866" y="19954"/>
                    <a:pt x="22290" y="20046"/>
                  </a:cubicBezTo>
                  <a:cubicBezTo>
                    <a:pt x="22917" y="20046"/>
                    <a:pt x="23471" y="20046"/>
                    <a:pt x="24080" y="20175"/>
                  </a:cubicBezTo>
                  <a:cubicBezTo>
                    <a:pt x="24375" y="20231"/>
                    <a:pt x="24762" y="20323"/>
                    <a:pt x="25150" y="20415"/>
                  </a:cubicBezTo>
                  <a:cubicBezTo>
                    <a:pt x="25298" y="20046"/>
                    <a:pt x="25445" y="19696"/>
                    <a:pt x="25611" y="19327"/>
                  </a:cubicBezTo>
                  <a:cubicBezTo>
                    <a:pt x="26109" y="18146"/>
                    <a:pt x="26589" y="16983"/>
                    <a:pt x="27032" y="15784"/>
                  </a:cubicBezTo>
                  <a:cubicBezTo>
                    <a:pt x="26921" y="15710"/>
                    <a:pt x="26829" y="15618"/>
                    <a:pt x="26737" y="15507"/>
                  </a:cubicBezTo>
                  <a:cubicBezTo>
                    <a:pt x="26441" y="15212"/>
                    <a:pt x="26202" y="14935"/>
                    <a:pt x="25943" y="14640"/>
                  </a:cubicBezTo>
                  <a:lnTo>
                    <a:pt x="25427" y="14086"/>
                  </a:lnTo>
                  <a:cubicBezTo>
                    <a:pt x="25667" y="14308"/>
                    <a:pt x="25261" y="14086"/>
                    <a:pt x="24892" y="13939"/>
                  </a:cubicBezTo>
                  <a:cubicBezTo>
                    <a:pt x="24006" y="13477"/>
                    <a:pt x="23009" y="12979"/>
                    <a:pt x="22105" y="12186"/>
                  </a:cubicBezTo>
                  <a:cubicBezTo>
                    <a:pt x="21386" y="11466"/>
                    <a:pt x="21072" y="10747"/>
                    <a:pt x="20924" y="10230"/>
                  </a:cubicBezTo>
                  <a:cubicBezTo>
                    <a:pt x="20426" y="9806"/>
                    <a:pt x="19688" y="9307"/>
                    <a:pt x="19061" y="8920"/>
                  </a:cubicBezTo>
                  <a:cubicBezTo>
                    <a:pt x="16515" y="7868"/>
                    <a:pt x="14928" y="7056"/>
                    <a:pt x="13876" y="6392"/>
                  </a:cubicBezTo>
                  <a:cubicBezTo>
                    <a:pt x="11957" y="7241"/>
                    <a:pt x="7805" y="11134"/>
                    <a:pt x="6477" y="13385"/>
                  </a:cubicBezTo>
                  <a:cubicBezTo>
                    <a:pt x="5794" y="14585"/>
                    <a:pt x="5997" y="15839"/>
                    <a:pt x="6311" y="16725"/>
                  </a:cubicBezTo>
                  <a:cubicBezTo>
                    <a:pt x="6366" y="16762"/>
                    <a:pt x="6422" y="16799"/>
                    <a:pt x="6477" y="16817"/>
                  </a:cubicBezTo>
                  <a:cubicBezTo>
                    <a:pt x="6883" y="17094"/>
                    <a:pt x="7289" y="17334"/>
                    <a:pt x="7676" y="17648"/>
                  </a:cubicBezTo>
                  <a:cubicBezTo>
                    <a:pt x="7732" y="17703"/>
                    <a:pt x="8230" y="18127"/>
                    <a:pt x="8285" y="18183"/>
                  </a:cubicBezTo>
                  <a:cubicBezTo>
                    <a:pt x="9060" y="18644"/>
                    <a:pt x="9355" y="18792"/>
                    <a:pt x="9577" y="18847"/>
                  </a:cubicBezTo>
                  <a:cubicBezTo>
                    <a:pt x="9872" y="18773"/>
                    <a:pt x="10610" y="18718"/>
                    <a:pt x="11883" y="18976"/>
                  </a:cubicBezTo>
                  <a:cubicBezTo>
                    <a:pt x="12289" y="19050"/>
                    <a:pt x="12695" y="19234"/>
                    <a:pt x="13027" y="19474"/>
                  </a:cubicBezTo>
                  <a:cubicBezTo>
                    <a:pt x="14743" y="19862"/>
                    <a:pt x="17400" y="20471"/>
                    <a:pt x="19780" y="20987"/>
                  </a:cubicBezTo>
                  <a:close/>
                  <a:moveTo>
                    <a:pt x="21183" y="21209"/>
                  </a:moveTo>
                  <a:cubicBezTo>
                    <a:pt x="21183" y="21209"/>
                    <a:pt x="21238" y="21209"/>
                    <a:pt x="21238" y="21209"/>
                  </a:cubicBezTo>
                  <a:lnTo>
                    <a:pt x="21496" y="20747"/>
                  </a:lnTo>
                  <a:cubicBezTo>
                    <a:pt x="21496" y="20747"/>
                    <a:pt x="21441" y="20747"/>
                    <a:pt x="21423" y="20729"/>
                  </a:cubicBezTo>
                  <a:lnTo>
                    <a:pt x="21183" y="21209"/>
                  </a:lnTo>
                  <a:close/>
                  <a:moveTo>
                    <a:pt x="27419" y="14585"/>
                  </a:moveTo>
                  <a:cubicBezTo>
                    <a:pt x="27419" y="14585"/>
                    <a:pt x="27383" y="14677"/>
                    <a:pt x="27364" y="14732"/>
                  </a:cubicBezTo>
                  <a:cubicBezTo>
                    <a:pt x="27364" y="14677"/>
                    <a:pt x="27401" y="14640"/>
                    <a:pt x="27419" y="14585"/>
                  </a:cubicBezTo>
                  <a:close/>
                  <a:moveTo>
                    <a:pt x="21275" y="10525"/>
                  </a:moveTo>
                  <a:lnTo>
                    <a:pt x="21330" y="10581"/>
                  </a:lnTo>
                  <a:cubicBezTo>
                    <a:pt x="21330" y="10581"/>
                    <a:pt x="21294" y="10544"/>
                    <a:pt x="21275" y="10525"/>
                  </a:cubicBezTo>
                  <a:close/>
                </a:path>
              </a:pathLst>
            </a:custGeom>
            <a:solidFill>
              <a:srgbClr val="FFFFFF"/>
            </a:solidFill>
            <a:ln w="1835" cap="flat">
              <a:noFill/>
              <a:prstDash val="solid"/>
              <a:miter/>
            </a:ln>
          </p:spPr>
          <p:txBody>
            <a:bodyPr/>
            <a:lstStyle/>
            <a:p>
              <a:endParaRPr lang="en-GB"/>
            </a:p>
          </p:txBody>
        </p:sp>
        <p:sp>
          <p:nvSpPr>
            <p:cNvPr id="1442" name="Freeform: Shape 1441">
              <a:extLst>
                <a:ext uri="{FF2B5EF4-FFF2-40B4-BE49-F238E27FC236}">
                  <a16:creationId xmlns:a16="http://schemas.microsoft.com/office/drawing/2014/main" id="{1E030DF7-03CB-ECC5-674A-BF452D91DA56}"/>
                </a:ext>
              </a:extLst>
            </p:cNvPr>
            <p:cNvSpPr/>
            <p:nvPr/>
          </p:nvSpPr>
          <p:spPr>
            <a:xfrm>
              <a:off x="11084210" y="4979223"/>
              <a:ext cx="25484" cy="21536"/>
            </a:xfrm>
            <a:custGeom>
              <a:avLst/>
              <a:gdLst>
                <a:gd name="csX0" fmla="*/ 20225 w 25484"/>
                <a:gd name="csY0" fmla="*/ 13510 h 21536"/>
                <a:gd name="csX1" fmla="*/ 20945 w 25484"/>
                <a:gd name="csY1" fmla="*/ 12200 h 21536"/>
                <a:gd name="csX2" fmla="*/ 22384 w 25484"/>
                <a:gd name="csY2" fmla="*/ 11000 h 21536"/>
                <a:gd name="csX3" fmla="*/ 25484 w 25484"/>
                <a:gd name="csY3" fmla="*/ 9211 h 21536"/>
                <a:gd name="csX4" fmla="*/ 22015 w 25484"/>
                <a:gd name="csY4" fmla="*/ 852 h 21536"/>
                <a:gd name="csX5" fmla="*/ 21056 w 25484"/>
                <a:gd name="csY5" fmla="*/ 22 h 21536"/>
                <a:gd name="csX6" fmla="*/ 19377 w 25484"/>
                <a:gd name="csY6" fmla="*/ 261 h 21536"/>
                <a:gd name="csX7" fmla="*/ 17458 w 25484"/>
                <a:gd name="csY7" fmla="*/ 151 h 21536"/>
                <a:gd name="csX8" fmla="*/ 13509 w 25484"/>
                <a:gd name="csY8" fmla="*/ 1110 h 21536"/>
                <a:gd name="csX9" fmla="*/ 12070 w 25484"/>
                <a:gd name="csY9" fmla="*/ 520 h 21536"/>
                <a:gd name="csX10" fmla="*/ 8601 w 25484"/>
                <a:gd name="csY10" fmla="*/ 1000 h 21536"/>
                <a:gd name="csX11" fmla="*/ 1073 w 25484"/>
                <a:gd name="csY11" fmla="*/ 4229 h 21536"/>
                <a:gd name="csX12" fmla="*/ 482 w 25484"/>
                <a:gd name="csY12" fmla="*/ 16647 h 21536"/>
                <a:gd name="csX13" fmla="*/ 5132 w 25484"/>
                <a:gd name="csY13" fmla="*/ 21536 h 21536"/>
                <a:gd name="csX14" fmla="*/ 7512 w 25484"/>
                <a:gd name="csY14" fmla="*/ 21186 h 21536"/>
                <a:gd name="csX15" fmla="*/ 9191 w 25484"/>
                <a:gd name="csY15" fmla="*/ 20946 h 21536"/>
                <a:gd name="csX16" fmla="*/ 12771 w 25484"/>
                <a:gd name="csY16" fmla="*/ 18676 h 21536"/>
                <a:gd name="csX17" fmla="*/ 13841 w 25484"/>
                <a:gd name="csY17" fmla="*/ 18326 h 21536"/>
                <a:gd name="csX18" fmla="*/ 21369 w 25484"/>
                <a:gd name="csY18" fmla="*/ 13547 h 215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5484" h="21536">
                  <a:moveTo>
                    <a:pt x="20225" y="13510"/>
                  </a:moveTo>
                  <a:cubicBezTo>
                    <a:pt x="21665" y="13030"/>
                    <a:pt x="20705" y="12679"/>
                    <a:pt x="20945" y="12200"/>
                  </a:cubicBezTo>
                  <a:cubicBezTo>
                    <a:pt x="21425" y="11720"/>
                    <a:pt x="21775" y="11369"/>
                    <a:pt x="22384" y="11000"/>
                  </a:cubicBezTo>
                  <a:cubicBezTo>
                    <a:pt x="23344" y="10281"/>
                    <a:pt x="25484" y="9211"/>
                    <a:pt x="25484" y="9211"/>
                  </a:cubicBezTo>
                  <a:cubicBezTo>
                    <a:pt x="24285" y="6351"/>
                    <a:pt x="23215" y="3601"/>
                    <a:pt x="22015" y="852"/>
                  </a:cubicBezTo>
                  <a:cubicBezTo>
                    <a:pt x="21775" y="501"/>
                    <a:pt x="21536" y="132"/>
                    <a:pt x="21056" y="22"/>
                  </a:cubicBezTo>
                  <a:cubicBezTo>
                    <a:pt x="20576" y="-89"/>
                    <a:pt x="19856" y="261"/>
                    <a:pt x="19377" y="261"/>
                  </a:cubicBezTo>
                  <a:cubicBezTo>
                    <a:pt x="18657" y="261"/>
                    <a:pt x="18067" y="151"/>
                    <a:pt x="17458" y="151"/>
                  </a:cubicBezTo>
                  <a:cubicBezTo>
                    <a:pt x="16148" y="501"/>
                    <a:pt x="14838" y="1110"/>
                    <a:pt x="13509" y="1110"/>
                  </a:cubicBezTo>
                  <a:cubicBezTo>
                    <a:pt x="12789" y="1221"/>
                    <a:pt x="12679" y="520"/>
                    <a:pt x="12070" y="520"/>
                  </a:cubicBezTo>
                  <a:cubicBezTo>
                    <a:pt x="11000" y="520"/>
                    <a:pt x="8601" y="1000"/>
                    <a:pt x="8601" y="1000"/>
                  </a:cubicBezTo>
                  <a:cubicBezTo>
                    <a:pt x="-828" y="4819"/>
                    <a:pt x="2512" y="1719"/>
                    <a:pt x="1073" y="4229"/>
                  </a:cubicBezTo>
                  <a:cubicBezTo>
                    <a:pt x="-237" y="6849"/>
                    <a:pt x="-237" y="13657"/>
                    <a:pt x="482" y="16647"/>
                  </a:cubicBezTo>
                  <a:cubicBezTo>
                    <a:pt x="1073" y="19507"/>
                    <a:pt x="3471" y="20946"/>
                    <a:pt x="5132" y="21536"/>
                  </a:cubicBezTo>
                  <a:cubicBezTo>
                    <a:pt x="5962" y="21425"/>
                    <a:pt x="6682" y="21296"/>
                    <a:pt x="7512" y="21186"/>
                  </a:cubicBezTo>
                  <a:cubicBezTo>
                    <a:pt x="8103" y="21075"/>
                    <a:pt x="8712" y="21186"/>
                    <a:pt x="9191" y="20946"/>
                  </a:cubicBezTo>
                  <a:cubicBezTo>
                    <a:pt x="12051" y="19986"/>
                    <a:pt x="10631" y="19986"/>
                    <a:pt x="12771" y="18676"/>
                  </a:cubicBezTo>
                  <a:cubicBezTo>
                    <a:pt x="13011" y="18436"/>
                    <a:pt x="12420" y="19156"/>
                    <a:pt x="13841" y="18326"/>
                  </a:cubicBezTo>
                  <a:cubicBezTo>
                    <a:pt x="15280" y="17366"/>
                    <a:pt x="18860" y="15097"/>
                    <a:pt x="21369" y="13547"/>
                  </a:cubicBezTo>
                </a:path>
              </a:pathLst>
            </a:custGeom>
            <a:solidFill>
              <a:srgbClr val="FFFFFF"/>
            </a:solidFill>
            <a:ln w="1835" cap="flat">
              <a:noFill/>
              <a:prstDash val="solid"/>
              <a:miter/>
            </a:ln>
          </p:spPr>
          <p:txBody>
            <a:bodyPr/>
            <a:lstStyle/>
            <a:p>
              <a:endParaRPr lang="en-GB"/>
            </a:p>
          </p:txBody>
        </p:sp>
        <p:sp>
          <p:nvSpPr>
            <p:cNvPr id="1443" name="Freeform: Shape 1442">
              <a:extLst>
                <a:ext uri="{FF2B5EF4-FFF2-40B4-BE49-F238E27FC236}">
                  <a16:creationId xmlns:a16="http://schemas.microsoft.com/office/drawing/2014/main" id="{E5F86A92-E4CF-6440-544A-BE02421DAE5F}"/>
                </a:ext>
              </a:extLst>
            </p:cNvPr>
            <p:cNvSpPr/>
            <p:nvPr/>
          </p:nvSpPr>
          <p:spPr>
            <a:xfrm>
              <a:off x="11081250" y="4976273"/>
              <a:ext cx="31410" cy="27456"/>
            </a:xfrm>
            <a:custGeom>
              <a:avLst/>
              <a:gdLst>
                <a:gd name="csX0" fmla="*/ 8166 w 31410"/>
                <a:gd name="csY0" fmla="*/ 27383 h 27456"/>
                <a:gd name="csX1" fmla="*/ 7114 w 31410"/>
                <a:gd name="csY1" fmla="*/ 27272 h 27456"/>
                <a:gd name="csX2" fmla="*/ 545 w 31410"/>
                <a:gd name="csY2" fmla="*/ 20169 h 27456"/>
                <a:gd name="csX3" fmla="*/ 1394 w 31410"/>
                <a:gd name="csY3" fmla="*/ 5813 h 27456"/>
                <a:gd name="csX4" fmla="*/ 4697 w 31410"/>
                <a:gd name="csY4" fmla="*/ 3045 h 27456"/>
                <a:gd name="csX5" fmla="*/ 4697 w 31410"/>
                <a:gd name="csY5" fmla="*/ 3045 h 27456"/>
                <a:gd name="csX6" fmla="*/ 10472 w 31410"/>
                <a:gd name="csY6" fmla="*/ 1163 h 27456"/>
                <a:gd name="csX7" fmla="*/ 15048 w 31410"/>
                <a:gd name="csY7" fmla="*/ 462 h 27456"/>
                <a:gd name="csX8" fmla="*/ 16857 w 31410"/>
                <a:gd name="csY8" fmla="*/ 1016 h 27456"/>
                <a:gd name="csX9" fmla="*/ 18333 w 31410"/>
                <a:gd name="csY9" fmla="*/ 628 h 27456"/>
                <a:gd name="csX10" fmla="*/ 19643 w 31410"/>
                <a:gd name="csY10" fmla="*/ 241 h 27456"/>
                <a:gd name="csX11" fmla="*/ 21562 w 31410"/>
                <a:gd name="csY11" fmla="*/ 204 h 27456"/>
                <a:gd name="csX12" fmla="*/ 22318 w 31410"/>
                <a:gd name="csY12" fmla="*/ 259 h 27456"/>
                <a:gd name="csX13" fmla="*/ 24717 w 31410"/>
                <a:gd name="csY13" fmla="*/ 93 h 27456"/>
                <a:gd name="csX14" fmla="*/ 27466 w 31410"/>
                <a:gd name="csY14" fmla="*/ 2215 h 27456"/>
                <a:gd name="csX15" fmla="*/ 29994 w 31410"/>
                <a:gd name="csY15" fmla="*/ 8157 h 27456"/>
                <a:gd name="csX16" fmla="*/ 31175 w 31410"/>
                <a:gd name="csY16" fmla="*/ 11053 h 27456"/>
                <a:gd name="csX17" fmla="*/ 29773 w 31410"/>
                <a:gd name="csY17" fmla="*/ 14873 h 27456"/>
                <a:gd name="csX18" fmla="*/ 27134 w 31410"/>
                <a:gd name="csY18" fmla="*/ 16386 h 27456"/>
                <a:gd name="csX19" fmla="*/ 26931 w 31410"/>
                <a:gd name="csY19" fmla="*/ 16534 h 27456"/>
                <a:gd name="csX20" fmla="*/ 26654 w 31410"/>
                <a:gd name="csY20" fmla="*/ 17345 h 27456"/>
                <a:gd name="csX21" fmla="*/ 25639 w 31410"/>
                <a:gd name="csY21" fmla="*/ 18600 h 27456"/>
                <a:gd name="csX22" fmla="*/ 25935 w 31410"/>
                <a:gd name="csY22" fmla="*/ 19080 h 27456"/>
                <a:gd name="csX23" fmla="*/ 18499 w 31410"/>
                <a:gd name="csY23" fmla="*/ 23785 h 27456"/>
                <a:gd name="csX24" fmla="*/ 16801 w 31410"/>
                <a:gd name="csY24" fmla="*/ 24578 h 27456"/>
                <a:gd name="csX25" fmla="*/ 16654 w 31410"/>
                <a:gd name="csY25" fmla="*/ 24726 h 27456"/>
                <a:gd name="csX26" fmla="*/ 13129 w 31410"/>
                <a:gd name="csY26" fmla="*/ 26756 h 27456"/>
                <a:gd name="csX27" fmla="*/ 11339 w 31410"/>
                <a:gd name="csY27" fmla="*/ 27088 h 27456"/>
                <a:gd name="csX28" fmla="*/ 9144 w 31410"/>
                <a:gd name="csY28" fmla="*/ 27402 h 27456"/>
                <a:gd name="csX29" fmla="*/ 8184 w 31410"/>
                <a:gd name="csY29" fmla="*/ 27457 h 27456"/>
                <a:gd name="csX30" fmla="*/ 6597 w 31410"/>
                <a:gd name="csY30" fmla="*/ 8765 h 27456"/>
                <a:gd name="csX31" fmla="*/ 6376 w 31410"/>
                <a:gd name="csY31" fmla="*/ 18858 h 27456"/>
                <a:gd name="csX32" fmla="*/ 8516 w 31410"/>
                <a:gd name="csY32" fmla="*/ 21368 h 27456"/>
                <a:gd name="csX33" fmla="*/ 10085 w 31410"/>
                <a:gd name="csY33" fmla="*/ 21128 h 27456"/>
                <a:gd name="csX34" fmla="*/ 11081 w 31410"/>
                <a:gd name="csY34" fmla="*/ 21054 h 27456"/>
                <a:gd name="csX35" fmla="*/ 12317 w 31410"/>
                <a:gd name="csY35" fmla="*/ 20611 h 27456"/>
                <a:gd name="csX36" fmla="*/ 14126 w 31410"/>
                <a:gd name="csY36" fmla="*/ 19098 h 27456"/>
                <a:gd name="csX37" fmla="*/ 15343 w 31410"/>
                <a:gd name="csY37" fmla="*/ 18600 h 27456"/>
                <a:gd name="csX38" fmla="*/ 21156 w 31410"/>
                <a:gd name="csY38" fmla="*/ 14928 h 27456"/>
                <a:gd name="csX39" fmla="*/ 21119 w 31410"/>
                <a:gd name="csY39" fmla="*/ 16663 h 27456"/>
                <a:gd name="csX40" fmla="*/ 21174 w 31410"/>
                <a:gd name="csY40" fmla="*/ 14928 h 27456"/>
                <a:gd name="csX41" fmla="*/ 22392 w 31410"/>
                <a:gd name="csY41" fmla="*/ 14153 h 27456"/>
                <a:gd name="csX42" fmla="*/ 22226 w 31410"/>
                <a:gd name="csY42" fmla="*/ 13637 h 27456"/>
                <a:gd name="csX43" fmla="*/ 21174 w 31410"/>
                <a:gd name="csY43" fmla="*/ 14910 h 27456"/>
                <a:gd name="csX44" fmla="*/ 21174 w 31410"/>
                <a:gd name="csY44" fmla="*/ 13840 h 27456"/>
                <a:gd name="csX45" fmla="*/ 21765 w 31410"/>
                <a:gd name="csY45" fmla="*/ 13028 h 27456"/>
                <a:gd name="csX46" fmla="*/ 23794 w 31410"/>
                <a:gd name="csY46" fmla="*/ 11367 h 27456"/>
                <a:gd name="csX47" fmla="*/ 24643 w 31410"/>
                <a:gd name="csY47" fmla="*/ 10814 h 27456"/>
                <a:gd name="csX48" fmla="*/ 24477 w 31410"/>
                <a:gd name="csY48" fmla="*/ 10371 h 27456"/>
                <a:gd name="csX49" fmla="*/ 22724 w 31410"/>
                <a:gd name="csY49" fmla="*/ 6145 h 27456"/>
                <a:gd name="csX50" fmla="*/ 22337 w 31410"/>
                <a:gd name="csY50" fmla="*/ 6201 h 27456"/>
                <a:gd name="csX51" fmla="*/ 21027 w 31410"/>
                <a:gd name="csY51" fmla="*/ 6127 h 27456"/>
                <a:gd name="csX52" fmla="*/ 20178 w 31410"/>
                <a:gd name="csY52" fmla="*/ 6293 h 27456"/>
                <a:gd name="csX53" fmla="*/ 16469 w 31410"/>
                <a:gd name="csY53" fmla="*/ 7031 h 27456"/>
                <a:gd name="csX54" fmla="*/ 14329 w 31410"/>
                <a:gd name="csY54" fmla="*/ 6477 h 27456"/>
                <a:gd name="csX55" fmla="*/ 12170 w 31410"/>
                <a:gd name="csY55" fmla="*/ 6846 h 27456"/>
                <a:gd name="csX56" fmla="*/ 6579 w 31410"/>
                <a:gd name="csY56" fmla="*/ 8784 h 27456"/>
                <a:gd name="csX57" fmla="*/ 22244 w 31410"/>
                <a:gd name="csY57" fmla="*/ 13637 h 27456"/>
                <a:gd name="csX58" fmla="*/ 22410 w 31410"/>
                <a:gd name="csY58" fmla="*/ 14153 h 27456"/>
                <a:gd name="csX59" fmla="*/ 22466 w 31410"/>
                <a:gd name="csY59" fmla="*/ 14116 h 27456"/>
                <a:gd name="csX60" fmla="*/ 22300 w 31410"/>
                <a:gd name="csY60" fmla="*/ 13600 h 27456"/>
                <a:gd name="csX61" fmla="*/ 22226 w 31410"/>
                <a:gd name="csY61" fmla="*/ 13637 h 27456"/>
                <a:gd name="csX62" fmla="*/ 16340 w 31410"/>
                <a:gd name="csY62" fmla="*/ 1071 h 27456"/>
                <a:gd name="csX63" fmla="*/ 16008 w 31410"/>
                <a:gd name="csY63" fmla="*/ 1090 h 27456"/>
                <a:gd name="csX64" fmla="*/ 16395 w 31410"/>
                <a:gd name="csY64" fmla="*/ 1071 h 27456"/>
                <a:gd name="csX65" fmla="*/ 16340 w 31410"/>
                <a:gd name="csY65" fmla="*/ 1071 h 274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Lst>
              <a:rect l="l" t="t" r="r" b="b"/>
              <a:pathLst>
                <a:path w="31410" h="27456">
                  <a:moveTo>
                    <a:pt x="8166" y="27383"/>
                  </a:moveTo>
                  <a:cubicBezTo>
                    <a:pt x="7778" y="27383"/>
                    <a:pt x="7354" y="27346"/>
                    <a:pt x="7114" y="27272"/>
                  </a:cubicBezTo>
                  <a:cubicBezTo>
                    <a:pt x="3608" y="25999"/>
                    <a:pt x="1210" y="23416"/>
                    <a:pt x="545" y="20169"/>
                  </a:cubicBezTo>
                  <a:cubicBezTo>
                    <a:pt x="-248" y="16810"/>
                    <a:pt x="-340" y="9301"/>
                    <a:pt x="1394" y="5813"/>
                  </a:cubicBezTo>
                  <a:cubicBezTo>
                    <a:pt x="1763" y="4522"/>
                    <a:pt x="3368" y="3045"/>
                    <a:pt x="4697" y="3045"/>
                  </a:cubicBezTo>
                  <a:lnTo>
                    <a:pt x="4697" y="3045"/>
                  </a:lnTo>
                  <a:cubicBezTo>
                    <a:pt x="4697" y="3045"/>
                    <a:pt x="5859" y="3027"/>
                    <a:pt x="10472" y="1163"/>
                  </a:cubicBezTo>
                  <a:cubicBezTo>
                    <a:pt x="11007" y="997"/>
                    <a:pt x="13775" y="462"/>
                    <a:pt x="15048" y="462"/>
                  </a:cubicBezTo>
                  <a:cubicBezTo>
                    <a:pt x="15528" y="462"/>
                    <a:pt x="16266" y="702"/>
                    <a:pt x="16857" y="1016"/>
                  </a:cubicBezTo>
                  <a:cubicBezTo>
                    <a:pt x="17410" y="923"/>
                    <a:pt x="17871" y="776"/>
                    <a:pt x="18333" y="628"/>
                  </a:cubicBezTo>
                  <a:lnTo>
                    <a:pt x="19643" y="241"/>
                  </a:lnTo>
                  <a:cubicBezTo>
                    <a:pt x="20252" y="75"/>
                    <a:pt x="20897" y="130"/>
                    <a:pt x="21562" y="204"/>
                  </a:cubicBezTo>
                  <a:lnTo>
                    <a:pt x="22318" y="259"/>
                  </a:lnTo>
                  <a:cubicBezTo>
                    <a:pt x="22798" y="93"/>
                    <a:pt x="23721" y="-128"/>
                    <a:pt x="24717" y="93"/>
                  </a:cubicBezTo>
                  <a:cubicBezTo>
                    <a:pt x="26378" y="554"/>
                    <a:pt x="27134" y="1717"/>
                    <a:pt x="27466" y="2215"/>
                  </a:cubicBezTo>
                  <a:cubicBezTo>
                    <a:pt x="28499" y="4485"/>
                    <a:pt x="29238" y="6293"/>
                    <a:pt x="29994" y="8157"/>
                  </a:cubicBezTo>
                  <a:lnTo>
                    <a:pt x="31175" y="11053"/>
                  </a:lnTo>
                  <a:cubicBezTo>
                    <a:pt x="31784" y="12493"/>
                    <a:pt x="31175" y="14172"/>
                    <a:pt x="29773" y="14873"/>
                  </a:cubicBezTo>
                  <a:cubicBezTo>
                    <a:pt x="29736" y="14873"/>
                    <a:pt x="27927" y="15777"/>
                    <a:pt x="27134" y="16386"/>
                  </a:cubicBezTo>
                  <a:cubicBezTo>
                    <a:pt x="27060" y="16441"/>
                    <a:pt x="26986" y="16478"/>
                    <a:pt x="26931" y="16534"/>
                  </a:cubicBezTo>
                  <a:cubicBezTo>
                    <a:pt x="26876" y="16810"/>
                    <a:pt x="26783" y="17069"/>
                    <a:pt x="26654" y="17345"/>
                  </a:cubicBezTo>
                  <a:cubicBezTo>
                    <a:pt x="26396" y="17881"/>
                    <a:pt x="26027" y="18286"/>
                    <a:pt x="25639" y="18600"/>
                  </a:cubicBezTo>
                  <a:lnTo>
                    <a:pt x="25935" y="19080"/>
                  </a:lnTo>
                  <a:cubicBezTo>
                    <a:pt x="23444" y="20611"/>
                    <a:pt x="19919" y="22844"/>
                    <a:pt x="18499" y="23785"/>
                  </a:cubicBezTo>
                  <a:cubicBezTo>
                    <a:pt x="18074" y="24043"/>
                    <a:pt x="17465" y="24394"/>
                    <a:pt x="16801" y="24578"/>
                  </a:cubicBezTo>
                  <a:cubicBezTo>
                    <a:pt x="16727" y="24634"/>
                    <a:pt x="16690" y="24689"/>
                    <a:pt x="16654" y="24726"/>
                  </a:cubicBezTo>
                  <a:cubicBezTo>
                    <a:pt x="15842" y="25667"/>
                    <a:pt x="15048" y="26128"/>
                    <a:pt x="13129" y="26756"/>
                  </a:cubicBezTo>
                  <a:cubicBezTo>
                    <a:pt x="12686" y="27033"/>
                    <a:pt x="11838" y="27051"/>
                    <a:pt x="11339" y="27088"/>
                  </a:cubicBezTo>
                  <a:lnTo>
                    <a:pt x="9144" y="27402"/>
                  </a:lnTo>
                  <a:cubicBezTo>
                    <a:pt x="8904" y="27438"/>
                    <a:pt x="8553" y="27457"/>
                    <a:pt x="8184" y="27457"/>
                  </a:cubicBezTo>
                  <a:close/>
                  <a:moveTo>
                    <a:pt x="6597" y="8765"/>
                  </a:moveTo>
                  <a:cubicBezTo>
                    <a:pt x="5896" y="10481"/>
                    <a:pt x="5730" y="16128"/>
                    <a:pt x="6376" y="18858"/>
                  </a:cubicBezTo>
                  <a:cubicBezTo>
                    <a:pt x="6653" y="20187"/>
                    <a:pt x="7668" y="20943"/>
                    <a:pt x="8516" y="21368"/>
                  </a:cubicBezTo>
                  <a:lnTo>
                    <a:pt x="10085" y="21128"/>
                  </a:lnTo>
                  <a:cubicBezTo>
                    <a:pt x="10177" y="21128"/>
                    <a:pt x="10970" y="21054"/>
                    <a:pt x="11081" y="21054"/>
                  </a:cubicBezTo>
                  <a:cubicBezTo>
                    <a:pt x="11801" y="20833"/>
                    <a:pt x="12114" y="20722"/>
                    <a:pt x="12317" y="20611"/>
                  </a:cubicBezTo>
                  <a:cubicBezTo>
                    <a:pt x="12520" y="20316"/>
                    <a:pt x="13000" y="19799"/>
                    <a:pt x="14126" y="19098"/>
                  </a:cubicBezTo>
                  <a:cubicBezTo>
                    <a:pt x="14495" y="18858"/>
                    <a:pt x="14919" y="18692"/>
                    <a:pt x="15343" y="18600"/>
                  </a:cubicBezTo>
                  <a:cubicBezTo>
                    <a:pt x="16727" y="17733"/>
                    <a:pt x="19071" y="16238"/>
                    <a:pt x="21156" y="14928"/>
                  </a:cubicBezTo>
                  <a:cubicBezTo>
                    <a:pt x="20953" y="15445"/>
                    <a:pt x="20897" y="16091"/>
                    <a:pt x="21119" y="16663"/>
                  </a:cubicBezTo>
                  <a:lnTo>
                    <a:pt x="21174" y="14928"/>
                  </a:lnTo>
                  <a:cubicBezTo>
                    <a:pt x="21599" y="14651"/>
                    <a:pt x="22023" y="14412"/>
                    <a:pt x="22392" y="14153"/>
                  </a:cubicBezTo>
                  <a:lnTo>
                    <a:pt x="22226" y="13637"/>
                  </a:lnTo>
                  <a:cubicBezTo>
                    <a:pt x="21820" y="13840"/>
                    <a:pt x="21396" y="14319"/>
                    <a:pt x="21174" y="14910"/>
                  </a:cubicBezTo>
                  <a:lnTo>
                    <a:pt x="21174" y="13840"/>
                  </a:lnTo>
                  <a:cubicBezTo>
                    <a:pt x="21340" y="13544"/>
                    <a:pt x="21543" y="13268"/>
                    <a:pt x="21765" y="13028"/>
                  </a:cubicBezTo>
                  <a:cubicBezTo>
                    <a:pt x="22318" y="12474"/>
                    <a:pt x="22872" y="11921"/>
                    <a:pt x="23794" y="11367"/>
                  </a:cubicBezTo>
                  <a:cubicBezTo>
                    <a:pt x="23997" y="11219"/>
                    <a:pt x="24293" y="11017"/>
                    <a:pt x="24643" y="10814"/>
                  </a:cubicBezTo>
                  <a:lnTo>
                    <a:pt x="24477" y="10371"/>
                  </a:lnTo>
                  <a:cubicBezTo>
                    <a:pt x="23887" y="8950"/>
                    <a:pt x="23315" y="7529"/>
                    <a:pt x="22724" y="6145"/>
                  </a:cubicBezTo>
                  <a:cubicBezTo>
                    <a:pt x="22540" y="6164"/>
                    <a:pt x="22392" y="6201"/>
                    <a:pt x="22337" y="6201"/>
                  </a:cubicBezTo>
                  <a:cubicBezTo>
                    <a:pt x="21875" y="6201"/>
                    <a:pt x="21433" y="6164"/>
                    <a:pt x="21027" y="6127"/>
                  </a:cubicBezTo>
                  <a:lnTo>
                    <a:pt x="20178" y="6293"/>
                  </a:lnTo>
                  <a:cubicBezTo>
                    <a:pt x="19089" y="6643"/>
                    <a:pt x="17871" y="7031"/>
                    <a:pt x="16469" y="7031"/>
                  </a:cubicBezTo>
                  <a:cubicBezTo>
                    <a:pt x="15657" y="7142"/>
                    <a:pt x="14864" y="6828"/>
                    <a:pt x="14329" y="6477"/>
                  </a:cubicBezTo>
                  <a:cubicBezTo>
                    <a:pt x="13388" y="6588"/>
                    <a:pt x="12207" y="6846"/>
                    <a:pt x="12170" y="6846"/>
                  </a:cubicBezTo>
                  <a:cubicBezTo>
                    <a:pt x="9457" y="7972"/>
                    <a:pt x="7723" y="8526"/>
                    <a:pt x="6579" y="8784"/>
                  </a:cubicBezTo>
                  <a:close/>
                  <a:moveTo>
                    <a:pt x="22244" y="13637"/>
                  </a:moveTo>
                  <a:lnTo>
                    <a:pt x="22410" y="14153"/>
                  </a:lnTo>
                  <a:cubicBezTo>
                    <a:pt x="22410" y="14153"/>
                    <a:pt x="22447" y="14135"/>
                    <a:pt x="22466" y="14116"/>
                  </a:cubicBezTo>
                  <a:lnTo>
                    <a:pt x="22300" y="13600"/>
                  </a:lnTo>
                  <a:lnTo>
                    <a:pt x="22226" y="13637"/>
                  </a:lnTo>
                  <a:close/>
                  <a:moveTo>
                    <a:pt x="16340" y="1071"/>
                  </a:moveTo>
                  <a:cubicBezTo>
                    <a:pt x="16229" y="1071"/>
                    <a:pt x="16118" y="1071"/>
                    <a:pt x="16008" y="1090"/>
                  </a:cubicBezTo>
                  <a:cubicBezTo>
                    <a:pt x="16137" y="1090"/>
                    <a:pt x="16266" y="1090"/>
                    <a:pt x="16395" y="1071"/>
                  </a:cubicBezTo>
                  <a:lnTo>
                    <a:pt x="16340" y="1071"/>
                  </a:lnTo>
                  <a:close/>
                </a:path>
              </a:pathLst>
            </a:custGeom>
            <a:solidFill>
              <a:srgbClr val="FFFFFF"/>
            </a:solidFill>
            <a:ln w="1835" cap="flat">
              <a:noFill/>
              <a:prstDash val="solid"/>
              <a:miter/>
            </a:ln>
          </p:spPr>
          <p:txBody>
            <a:bodyPr/>
            <a:lstStyle/>
            <a:p>
              <a:endParaRPr lang="en-GB"/>
            </a:p>
          </p:txBody>
        </p:sp>
        <p:sp>
          <p:nvSpPr>
            <p:cNvPr id="1444" name="Freeform: Shape 1443">
              <a:extLst>
                <a:ext uri="{FF2B5EF4-FFF2-40B4-BE49-F238E27FC236}">
                  <a16:creationId xmlns:a16="http://schemas.microsoft.com/office/drawing/2014/main" id="{577ABD10-0CAD-7888-359B-7067E27C952E}"/>
                </a:ext>
              </a:extLst>
            </p:cNvPr>
            <p:cNvSpPr/>
            <p:nvPr/>
          </p:nvSpPr>
          <p:spPr>
            <a:xfrm>
              <a:off x="10966251" y="4890051"/>
              <a:ext cx="20316" cy="27036"/>
            </a:xfrm>
            <a:custGeom>
              <a:avLst/>
              <a:gdLst>
                <a:gd name="csX0" fmla="*/ 19596 w 20316"/>
                <a:gd name="csY0" fmla="*/ 9169 h 27036"/>
                <a:gd name="csX1" fmla="*/ 19006 w 20316"/>
                <a:gd name="csY1" fmla="*/ 7730 h 27036"/>
                <a:gd name="csX2" fmla="*/ 18895 w 20316"/>
                <a:gd name="csY2" fmla="*/ 5811 h 27036"/>
                <a:gd name="csX3" fmla="*/ 19246 w 20316"/>
                <a:gd name="csY3" fmla="*/ 2342 h 27036"/>
                <a:gd name="csX4" fmla="*/ 10537 w 20316"/>
                <a:gd name="csY4" fmla="*/ 73 h 27036"/>
                <a:gd name="csX5" fmla="*/ 9337 w 20316"/>
                <a:gd name="csY5" fmla="*/ 183 h 27036"/>
                <a:gd name="csX6" fmla="*/ 8378 w 20316"/>
                <a:gd name="csY6" fmla="*/ 1733 h 27036"/>
                <a:gd name="csX7" fmla="*/ 7179 w 20316"/>
                <a:gd name="csY7" fmla="*/ 3173 h 27036"/>
                <a:gd name="csX8" fmla="*/ 5629 w 20316"/>
                <a:gd name="csY8" fmla="*/ 6881 h 27036"/>
                <a:gd name="csX9" fmla="*/ 4319 w 20316"/>
                <a:gd name="csY9" fmla="*/ 7601 h 27036"/>
                <a:gd name="csX10" fmla="*/ 2529 w 20316"/>
                <a:gd name="csY10" fmla="*/ 10701 h 27036"/>
                <a:gd name="csX11" fmla="*/ 610 w 20316"/>
                <a:gd name="csY11" fmla="*/ 18469 h 27036"/>
                <a:gd name="csX12" fmla="*/ 10168 w 20316"/>
                <a:gd name="csY12" fmla="*/ 26477 h 27036"/>
                <a:gd name="csX13" fmla="*/ 17087 w 20316"/>
                <a:gd name="csY13" fmla="*/ 25757 h 27036"/>
                <a:gd name="csX14" fmla="*/ 18047 w 20316"/>
                <a:gd name="csY14" fmla="*/ 23728 h 27036"/>
                <a:gd name="csX15" fmla="*/ 19006 w 20316"/>
                <a:gd name="csY15" fmla="*/ 22178 h 27036"/>
                <a:gd name="csX16" fmla="*/ 19246 w 20316"/>
                <a:gd name="csY16" fmla="*/ 17989 h 27036"/>
                <a:gd name="csX17" fmla="*/ 19596 w 20316"/>
                <a:gd name="csY17" fmla="*/ 16919 h 27036"/>
                <a:gd name="csX18" fmla="*/ 20316 w 20316"/>
                <a:gd name="csY18" fmla="*/ 8081 h 270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0316" h="27036">
                  <a:moveTo>
                    <a:pt x="19596" y="9169"/>
                  </a:moveTo>
                  <a:cubicBezTo>
                    <a:pt x="20076" y="7619"/>
                    <a:pt x="19246" y="8210"/>
                    <a:pt x="19006" y="7730"/>
                  </a:cubicBezTo>
                  <a:cubicBezTo>
                    <a:pt x="19006" y="7140"/>
                    <a:pt x="18895" y="6531"/>
                    <a:pt x="18895" y="5811"/>
                  </a:cubicBezTo>
                  <a:cubicBezTo>
                    <a:pt x="18895" y="4741"/>
                    <a:pt x="19246" y="2342"/>
                    <a:pt x="19246" y="2342"/>
                  </a:cubicBezTo>
                  <a:cubicBezTo>
                    <a:pt x="16386" y="1623"/>
                    <a:pt x="13507" y="663"/>
                    <a:pt x="10537" y="73"/>
                  </a:cubicBezTo>
                  <a:cubicBezTo>
                    <a:pt x="10186" y="-38"/>
                    <a:pt x="9706" y="-38"/>
                    <a:pt x="9337" y="183"/>
                  </a:cubicBezTo>
                  <a:cubicBezTo>
                    <a:pt x="8987" y="534"/>
                    <a:pt x="8747" y="1254"/>
                    <a:pt x="8378" y="1733"/>
                  </a:cubicBezTo>
                  <a:cubicBezTo>
                    <a:pt x="8027" y="2213"/>
                    <a:pt x="7658" y="2693"/>
                    <a:pt x="7179" y="3173"/>
                  </a:cubicBezTo>
                  <a:cubicBezTo>
                    <a:pt x="6699" y="4372"/>
                    <a:pt x="6348" y="5793"/>
                    <a:pt x="5629" y="6881"/>
                  </a:cubicBezTo>
                  <a:cubicBezTo>
                    <a:pt x="5278" y="7361"/>
                    <a:pt x="4669" y="7121"/>
                    <a:pt x="4319" y="7601"/>
                  </a:cubicBezTo>
                  <a:cubicBezTo>
                    <a:pt x="3599" y="8431"/>
                    <a:pt x="2529" y="10701"/>
                    <a:pt x="2529" y="10701"/>
                  </a:cubicBezTo>
                  <a:cubicBezTo>
                    <a:pt x="-91" y="20369"/>
                    <a:pt x="-571" y="15830"/>
                    <a:pt x="610" y="18469"/>
                  </a:cubicBezTo>
                  <a:cubicBezTo>
                    <a:pt x="1920" y="21089"/>
                    <a:pt x="7418" y="25278"/>
                    <a:pt x="10168" y="26477"/>
                  </a:cubicBezTo>
                  <a:cubicBezTo>
                    <a:pt x="12917" y="27676"/>
                    <a:pt x="15426" y="26717"/>
                    <a:pt x="17087" y="25757"/>
                  </a:cubicBezTo>
                  <a:cubicBezTo>
                    <a:pt x="17327" y="25038"/>
                    <a:pt x="17677" y="24318"/>
                    <a:pt x="18047" y="23728"/>
                  </a:cubicBezTo>
                  <a:cubicBezTo>
                    <a:pt x="18397" y="23137"/>
                    <a:pt x="18766" y="22768"/>
                    <a:pt x="19006" y="22178"/>
                  </a:cubicBezTo>
                  <a:cubicBezTo>
                    <a:pt x="19836" y="19428"/>
                    <a:pt x="19006" y="20388"/>
                    <a:pt x="19246" y="17989"/>
                  </a:cubicBezTo>
                  <a:cubicBezTo>
                    <a:pt x="19246" y="17639"/>
                    <a:pt x="19357" y="18580"/>
                    <a:pt x="19596" y="16919"/>
                  </a:cubicBezTo>
                  <a:cubicBezTo>
                    <a:pt x="19707" y="15240"/>
                    <a:pt x="20076" y="11070"/>
                    <a:pt x="20316" y="8081"/>
                  </a:cubicBezTo>
                </a:path>
              </a:pathLst>
            </a:custGeom>
            <a:solidFill>
              <a:srgbClr val="FFFFFF"/>
            </a:solidFill>
            <a:ln w="1835" cap="flat">
              <a:noFill/>
              <a:prstDash val="solid"/>
              <a:miter/>
            </a:ln>
          </p:spPr>
          <p:txBody>
            <a:bodyPr/>
            <a:lstStyle/>
            <a:p>
              <a:endParaRPr lang="en-GB"/>
            </a:p>
          </p:txBody>
        </p:sp>
        <p:sp>
          <p:nvSpPr>
            <p:cNvPr id="1445" name="Freeform: Shape 1444">
              <a:extLst>
                <a:ext uri="{FF2B5EF4-FFF2-40B4-BE49-F238E27FC236}">
                  <a16:creationId xmlns:a16="http://schemas.microsoft.com/office/drawing/2014/main" id="{D355A0A3-FDC5-73AC-ECE7-5FC3D8315C0F}"/>
                </a:ext>
              </a:extLst>
            </p:cNvPr>
            <p:cNvSpPr/>
            <p:nvPr/>
          </p:nvSpPr>
          <p:spPr>
            <a:xfrm>
              <a:off x="10963377" y="4887103"/>
              <a:ext cx="26160" cy="32967"/>
            </a:xfrm>
            <a:custGeom>
              <a:avLst/>
              <a:gdLst>
                <a:gd name="csX0" fmla="*/ 15680 w 26160"/>
                <a:gd name="csY0" fmla="*/ 32968 h 32967"/>
                <a:gd name="csX1" fmla="*/ 11842 w 26160"/>
                <a:gd name="csY1" fmla="*/ 32156 h 32967"/>
                <a:gd name="csX2" fmla="*/ 808 w 26160"/>
                <a:gd name="csY2" fmla="*/ 22764 h 32967"/>
                <a:gd name="csX3" fmla="*/ 605 w 26160"/>
                <a:gd name="csY3" fmla="*/ 18428 h 32967"/>
                <a:gd name="csX4" fmla="*/ 2524 w 26160"/>
                <a:gd name="csY4" fmla="*/ 12892 h 32967"/>
                <a:gd name="csX5" fmla="*/ 4941 w 26160"/>
                <a:gd name="csY5" fmla="*/ 8611 h 32967"/>
                <a:gd name="csX6" fmla="*/ 6343 w 26160"/>
                <a:gd name="csY6" fmla="*/ 7560 h 32967"/>
                <a:gd name="csX7" fmla="*/ 6842 w 26160"/>
                <a:gd name="csY7" fmla="*/ 6250 h 32967"/>
                <a:gd name="csX8" fmla="*/ 7284 w 26160"/>
                <a:gd name="csY8" fmla="*/ 5032 h 32967"/>
                <a:gd name="csX9" fmla="*/ 7949 w 26160"/>
                <a:gd name="csY9" fmla="*/ 4035 h 32967"/>
                <a:gd name="csX10" fmla="*/ 8779 w 26160"/>
                <a:gd name="csY10" fmla="*/ 3039 h 32967"/>
                <a:gd name="csX11" fmla="*/ 10126 w 26160"/>
                <a:gd name="csY11" fmla="*/ 1028 h 32967"/>
                <a:gd name="csX12" fmla="*/ 14333 w 26160"/>
                <a:gd name="csY12" fmla="*/ 216 h 32967"/>
                <a:gd name="csX13" fmla="*/ 19555 w 26160"/>
                <a:gd name="csY13" fmla="*/ 1544 h 32967"/>
                <a:gd name="csX14" fmla="*/ 22839 w 26160"/>
                <a:gd name="csY14" fmla="*/ 2430 h 32967"/>
                <a:gd name="csX15" fmla="*/ 25072 w 26160"/>
                <a:gd name="csY15" fmla="*/ 5770 h 32967"/>
                <a:gd name="csX16" fmla="*/ 24740 w 26160"/>
                <a:gd name="csY16" fmla="*/ 8796 h 32967"/>
                <a:gd name="csX17" fmla="*/ 24740 w 26160"/>
                <a:gd name="csY17" fmla="*/ 9091 h 32967"/>
                <a:gd name="csX18" fmla="*/ 25201 w 26160"/>
                <a:gd name="csY18" fmla="*/ 9700 h 32967"/>
                <a:gd name="csX19" fmla="*/ 25607 w 26160"/>
                <a:gd name="csY19" fmla="*/ 11232 h 32967"/>
                <a:gd name="csX20" fmla="*/ 26160 w 26160"/>
                <a:gd name="csY20" fmla="*/ 11287 h 32967"/>
                <a:gd name="csX21" fmla="*/ 25441 w 26160"/>
                <a:gd name="csY21" fmla="*/ 20088 h 32967"/>
                <a:gd name="csX22" fmla="*/ 25053 w 26160"/>
                <a:gd name="csY22" fmla="*/ 21860 h 32967"/>
                <a:gd name="csX23" fmla="*/ 25072 w 26160"/>
                <a:gd name="csY23" fmla="*/ 22081 h 32967"/>
                <a:gd name="csX24" fmla="*/ 24703 w 26160"/>
                <a:gd name="csY24" fmla="*/ 26011 h 32967"/>
                <a:gd name="csX25" fmla="*/ 23706 w 26160"/>
                <a:gd name="csY25" fmla="*/ 27838 h 32967"/>
                <a:gd name="csX26" fmla="*/ 22765 w 26160"/>
                <a:gd name="csY26" fmla="*/ 29646 h 32967"/>
                <a:gd name="csX27" fmla="*/ 21418 w 26160"/>
                <a:gd name="csY27" fmla="*/ 31307 h 32967"/>
                <a:gd name="csX28" fmla="*/ 15643 w 26160"/>
                <a:gd name="csY28" fmla="*/ 32968 h 32967"/>
                <a:gd name="csX29" fmla="*/ 6306 w 26160"/>
                <a:gd name="csY29" fmla="*/ 20384 h 32967"/>
                <a:gd name="csX30" fmla="*/ 14241 w 26160"/>
                <a:gd name="csY30" fmla="*/ 26694 h 32967"/>
                <a:gd name="csX31" fmla="*/ 17617 w 26160"/>
                <a:gd name="csY31" fmla="*/ 26565 h 32967"/>
                <a:gd name="csX32" fmla="*/ 18337 w 26160"/>
                <a:gd name="csY32" fmla="*/ 25181 h 32967"/>
                <a:gd name="csX33" fmla="*/ 18854 w 26160"/>
                <a:gd name="csY33" fmla="*/ 24406 h 32967"/>
                <a:gd name="csX34" fmla="*/ 19259 w 26160"/>
                <a:gd name="csY34" fmla="*/ 23280 h 32967"/>
                <a:gd name="csX35" fmla="*/ 19130 w 26160"/>
                <a:gd name="csY35" fmla="*/ 20660 h 32967"/>
                <a:gd name="csX36" fmla="*/ 19462 w 26160"/>
                <a:gd name="csY36" fmla="*/ 19553 h 32967"/>
                <a:gd name="csX37" fmla="*/ 20034 w 26160"/>
                <a:gd name="csY37" fmla="*/ 12763 h 32967"/>
                <a:gd name="csX38" fmla="*/ 21437 w 26160"/>
                <a:gd name="csY38" fmla="*/ 13833 h 32967"/>
                <a:gd name="csX39" fmla="*/ 20053 w 26160"/>
                <a:gd name="csY39" fmla="*/ 12745 h 32967"/>
                <a:gd name="csX40" fmla="*/ 20164 w 26160"/>
                <a:gd name="csY40" fmla="*/ 11435 h 32967"/>
                <a:gd name="csX41" fmla="*/ 22470 w 26160"/>
                <a:gd name="csY41" fmla="*/ 12154 h 32967"/>
                <a:gd name="csX42" fmla="*/ 19647 w 26160"/>
                <a:gd name="csY42" fmla="*/ 11158 h 32967"/>
                <a:gd name="csX43" fmla="*/ 19647 w 26160"/>
                <a:gd name="csY43" fmla="*/ 11287 h 32967"/>
                <a:gd name="csX44" fmla="*/ 19628 w 26160"/>
                <a:gd name="csY44" fmla="*/ 11287 h 32967"/>
                <a:gd name="csX45" fmla="*/ 19647 w 26160"/>
                <a:gd name="csY45" fmla="*/ 11287 h 32967"/>
                <a:gd name="csX46" fmla="*/ 20016 w 26160"/>
                <a:gd name="csY46" fmla="*/ 12726 h 32967"/>
                <a:gd name="csX47" fmla="*/ 19204 w 26160"/>
                <a:gd name="csY47" fmla="*/ 12099 h 32967"/>
                <a:gd name="csX48" fmla="*/ 18872 w 26160"/>
                <a:gd name="csY48" fmla="*/ 10733 h 32967"/>
                <a:gd name="csX49" fmla="*/ 18761 w 26160"/>
                <a:gd name="csY49" fmla="*/ 8814 h 32967"/>
                <a:gd name="csX50" fmla="*/ 18835 w 26160"/>
                <a:gd name="csY50" fmla="*/ 7560 h 32967"/>
                <a:gd name="csX51" fmla="*/ 17931 w 26160"/>
                <a:gd name="csY51" fmla="*/ 7301 h 32967"/>
                <a:gd name="csX52" fmla="*/ 13835 w 26160"/>
                <a:gd name="csY52" fmla="*/ 6231 h 32967"/>
                <a:gd name="csX53" fmla="*/ 13613 w 26160"/>
                <a:gd name="csY53" fmla="*/ 6545 h 32967"/>
                <a:gd name="csX54" fmla="*/ 12635 w 26160"/>
                <a:gd name="csY54" fmla="*/ 7781 h 32967"/>
                <a:gd name="csX55" fmla="*/ 12469 w 26160"/>
                <a:gd name="csY55" fmla="*/ 8279 h 32967"/>
                <a:gd name="csX56" fmla="*/ 10956 w 26160"/>
                <a:gd name="csY56" fmla="*/ 11564 h 32967"/>
                <a:gd name="csX57" fmla="*/ 9222 w 26160"/>
                <a:gd name="csY57" fmla="*/ 12892 h 32967"/>
                <a:gd name="csX58" fmla="*/ 8078 w 26160"/>
                <a:gd name="csY58" fmla="*/ 14996 h 32967"/>
                <a:gd name="csX59" fmla="*/ 6288 w 26160"/>
                <a:gd name="csY59" fmla="*/ 20439 h 32967"/>
                <a:gd name="csX60" fmla="*/ 12801 w 26160"/>
                <a:gd name="csY60" fmla="*/ 5954 h 32967"/>
                <a:gd name="csX61" fmla="*/ 12949 w 26160"/>
                <a:gd name="csY61" fmla="*/ 5973 h 32967"/>
                <a:gd name="csX62" fmla="*/ 12801 w 26160"/>
                <a:gd name="csY62" fmla="*/ 5954 h 329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Lst>
              <a:rect l="l" t="t" r="r" b="b"/>
              <a:pathLst>
                <a:path w="26160" h="32967">
                  <a:moveTo>
                    <a:pt x="15680" y="32968"/>
                  </a:moveTo>
                  <a:cubicBezTo>
                    <a:pt x="14148" y="32968"/>
                    <a:pt x="12838" y="32599"/>
                    <a:pt x="11842" y="32156"/>
                  </a:cubicBezTo>
                  <a:cubicBezTo>
                    <a:pt x="9000" y="30938"/>
                    <a:pt x="2635" y="26436"/>
                    <a:pt x="808" y="22764"/>
                  </a:cubicBezTo>
                  <a:cubicBezTo>
                    <a:pt x="-133" y="21675"/>
                    <a:pt x="-318" y="19553"/>
                    <a:pt x="605" y="18428"/>
                  </a:cubicBezTo>
                  <a:cubicBezTo>
                    <a:pt x="642" y="18372"/>
                    <a:pt x="1288" y="17413"/>
                    <a:pt x="2524" y="12892"/>
                  </a:cubicBezTo>
                  <a:cubicBezTo>
                    <a:pt x="3004" y="11767"/>
                    <a:pt x="4037" y="9663"/>
                    <a:pt x="4941" y="8611"/>
                  </a:cubicBezTo>
                  <a:cubicBezTo>
                    <a:pt x="5347" y="8058"/>
                    <a:pt x="5900" y="7744"/>
                    <a:pt x="6343" y="7560"/>
                  </a:cubicBezTo>
                  <a:cubicBezTo>
                    <a:pt x="6509" y="7191"/>
                    <a:pt x="6675" y="6711"/>
                    <a:pt x="6842" y="6250"/>
                  </a:cubicBezTo>
                  <a:lnTo>
                    <a:pt x="7284" y="5032"/>
                  </a:lnTo>
                  <a:cubicBezTo>
                    <a:pt x="7432" y="4644"/>
                    <a:pt x="7672" y="4312"/>
                    <a:pt x="7949" y="4035"/>
                  </a:cubicBezTo>
                  <a:cubicBezTo>
                    <a:pt x="8281" y="3703"/>
                    <a:pt x="8521" y="3371"/>
                    <a:pt x="8779" y="3039"/>
                  </a:cubicBezTo>
                  <a:cubicBezTo>
                    <a:pt x="9259" y="2172"/>
                    <a:pt x="9591" y="1563"/>
                    <a:pt x="10126" y="1028"/>
                  </a:cubicBezTo>
                  <a:cubicBezTo>
                    <a:pt x="11639" y="-42"/>
                    <a:pt x="13060" y="-208"/>
                    <a:pt x="14333" y="216"/>
                  </a:cubicBezTo>
                  <a:cubicBezTo>
                    <a:pt x="15864" y="511"/>
                    <a:pt x="17728" y="1028"/>
                    <a:pt x="19555" y="1544"/>
                  </a:cubicBezTo>
                  <a:cubicBezTo>
                    <a:pt x="20643" y="1840"/>
                    <a:pt x="21732" y="2153"/>
                    <a:pt x="22839" y="2430"/>
                  </a:cubicBezTo>
                  <a:cubicBezTo>
                    <a:pt x="24334" y="2799"/>
                    <a:pt x="25293" y="4257"/>
                    <a:pt x="25072" y="5770"/>
                  </a:cubicBezTo>
                  <a:cubicBezTo>
                    <a:pt x="25072" y="5807"/>
                    <a:pt x="24740" y="7855"/>
                    <a:pt x="24740" y="8796"/>
                  </a:cubicBezTo>
                  <a:lnTo>
                    <a:pt x="24740" y="9091"/>
                  </a:lnTo>
                  <a:cubicBezTo>
                    <a:pt x="24924" y="9276"/>
                    <a:pt x="25072" y="9479"/>
                    <a:pt x="25201" y="9700"/>
                  </a:cubicBezTo>
                  <a:cubicBezTo>
                    <a:pt x="25478" y="10217"/>
                    <a:pt x="25588" y="10770"/>
                    <a:pt x="25607" y="11232"/>
                  </a:cubicBezTo>
                  <a:lnTo>
                    <a:pt x="26160" y="11287"/>
                  </a:lnTo>
                  <a:lnTo>
                    <a:pt x="25441" y="20088"/>
                  </a:lnTo>
                  <a:cubicBezTo>
                    <a:pt x="25367" y="20605"/>
                    <a:pt x="25275" y="21251"/>
                    <a:pt x="25053" y="21860"/>
                  </a:cubicBezTo>
                  <a:cubicBezTo>
                    <a:pt x="25053" y="21952"/>
                    <a:pt x="25053" y="22007"/>
                    <a:pt x="25072" y="22081"/>
                  </a:cubicBezTo>
                  <a:cubicBezTo>
                    <a:pt x="25312" y="23170"/>
                    <a:pt x="25312" y="24019"/>
                    <a:pt x="24703" y="26011"/>
                  </a:cubicBezTo>
                  <a:cubicBezTo>
                    <a:pt x="24334" y="26952"/>
                    <a:pt x="23983" y="27451"/>
                    <a:pt x="23706" y="27838"/>
                  </a:cubicBezTo>
                  <a:cubicBezTo>
                    <a:pt x="23153" y="28705"/>
                    <a:pt x="22913" y="29222"/>
                    <a:pt x="22765" y="29646"/>
                  </a:cubicBezTo>
                  <a:cubicBezTo>
                    <a:pt x="22525" y="30347"/>
                    <a:pt x="22046" y="30938"/>
                    <a:pt x="21418" y="31307"/>
                  </a:cubicBezTo>
                  <a:cubicBezTo>
                    <a:pt x="19259" y="32543"/>
                    <a:pt x="17322" y="32968"/>
                    <a:pt x="15643" y="32968"/>
                  </a:cubicBezTo>
                  <a:close/>
                  <a:moveTo>
                    <a:pt x="6306" y="20384"/>
                  </a:moveTo>
                  <a:cubicBezTo>
                    <a:pt x="7340" y="22044"/>
                    <a:pt x="11768" y="25624"/>
                    <a:pt x="14241" y="26694"/>
                  </a:cubicBezTo>
                  <a:cubicBezTo>
                    <a:pt x="14923" y="27008"/>
                    <a:pt x="16012" y="27266"/>
                    <a:pt x="17617" y="26565"/>
                  </a:cubicBezTo>
                  <a:cubicBezTo>
                    <a:pt x="17876" y="26011"/>
                    <a:pt x="18134" y="25532"/>
                    <a:pt x="18337" y="25181"/>
                  </a:cubicBezTo>
                  <a:cubicBezTo>
                    <a:pt x="18392" y="25107"/>
                    <a:pt x="18817" y="24461"/>
                    <a:pt x="18854" y="24406"/>
                  </a:cubicBezTo>
                  <a:cubicBezTo>
                    <a:pt x="19241" y="23539"/>
                    <a:pt x="19259" y="23299"/>
                    <a:pt x="19259" y="23280"/>
                  </a:cubicBezTo>
                  <a:cubicBezTo>
                    <a:pt x="19112" y="22764"/>
                    <a:pt x="18983" y="22026"/>
                    <a:pt x="19130" y="20660"/>
                  </a:cubicBezTo>
                  <a:cubicBezTo>
                    <a:pt x="19186" y="20273"/>
                    <a:pt x="19296" y="19885"/>
                    <a:pt x="19462" y="19553"/>
                  </a:cubicBezTo>
                  <a:lnTo>
                    <a:pt x="20034" y="12763"/>
                  </a:lnTo>
                  <a:cubicBezTo>
                    <a:pt x="20348" y="13243"/>
                    <a:pt x="20809" y="13649"/>
                    <a:pt x="21437" y="13833"/>
                  </a:cubicBezTo>
                  <a:lnTo>
                    <a:pt x="20053" y="12745"/>
                  </a:lnTo>
                  <a:lnTo>
                    <a:pt x="20164" y="11435"/>
                  </a:lnTo>
                  <a:lnTo>
                    <a:pt x="22470" y="12154"/>
                  </a:lnTo>
                  <a:lnTo>
                    <a:pt x="19647" y="11158"/>
                  </a:lnTo>
                  <a:cubicBezTo>
                    <a:pt x="19647" y="11158"/>
                    <a:pt x="19647" y="11232"/>
                    <a:pt x="19647" y="11287"/>
                  </a:cubicBezTo>
                  <a:lnTo>
                    <a:pt x="19628" y="11287"/>
                  </a:lnTo>
                  <a:lnTo>
                    <a:pt x="19647" y="11287"/>
                  </a:lnTo>
                  <a:cubicBezTo>
                    <a:pt x="19592" y="11693"/>
                    <a:pt x="19721" y="12228"/>
                    <a:pt x="20016" y="12726"/>
                  </a:cubicBezTo>
                  <a:lnTo>
                    <a:pt x="19204" y="12099"/>
                  </a:lnTo>
                  <a:cubicBezTo>
                    <a:pt x="19001" y="11674"/>
                    <a:pt x="18872" y="11213"/>
                    <a:pt x="18872" y="10733"/>
                  </a:cubicBezTo>
                  <a:cubicBezTo>
                    <a:pt x="18798" y="9719"/>
                    <a:pt x="18761" y="9294"/>
                    <a:pt x="18761" y="8814"/>
                  </a:cubicBezTo>
                  <a:cubicBezTo>
                    <a:pt x="18761" y="8482"/>
                    <a:pt x="18798" y="8039"/>
                    <a:pt x="18835" y="7560"/>
                  </a:cubicBezTo>
                  <a:cubicBezTo>
                    <a:pt x="18540" y="7486"/>
                    <a:pt x="18245" y="7394"/>
                    <a:pt x="17931" y="7301"/>
                  </a:cubicBezTo>
                  <a:cubicBezTo>
                    <a:pt x="16584" y="6932"/>
                    <a:pt x="15219" y="6545"/>
                    <a:pt x="13835" y="6231"/>
                  </a:cubicBezTo>
                  <a:cubicBezTo>
                    <a:pt x="13761" y="6342"/>
                    <a:pt x="13687" y="6453"/>
                    <a:pt x="13613" y="6545"/>
                  </a:cubicBezTo>
                  <a:cubicBezTo>
                    <a:pt x="13281" y="7006"/>
                    <a:pt x="12967" y="7394"/>
                    <a:pt x="12635" y="7781"/>
                  </a:cubicBezTo>
                  <a:lnTo>
                    <a:pt x="12469" y="8279"/>
                  </a:lnTo>
                  <a:cubicBezTo>
                    <a:pt x="12100" y="9313"/>
                    <a:pt x="11694" y="10475"/>
                    <a:pt x="10956" y="11564"/>
                  </a:cubicBezTo>
                  <a:cubicBezTo>
                    <a:pt x="10661" y="12007"/>
                    <a:pt x="9886" y="12560"/>
                    <a:pt x="9222" y="12892"/>
                  </a:cubicBezTo>
                  <a:cubicBezTo>
                    <a:pt x="8871" y="13446"/>
                    <a:pt x="8428" y="14276"/>
                    <a:pt x="8078" y="14996"/>
                  </a:cubicBezTo>
                  <a:cubicBezTo>
                    <a:pt x="7395" y="17653"/>
                    <a:pt x="6805" y="19313"/>
                    <a:pt x="6288" y="20439"/>
                  </a:cubicBezTo>
                  <a:close/>
                  <a:moveTo>
                    <a:pt x="12801" y="5954"/>
                  </a:moveTo>
                  <a:cubicBezTo>
                    <a:pt x="12801" y="5954"/>
                    <a:pt x="12894" y="5973"/>
                    <a:pt x="12949" y="5973"/>
                  </a:cubicBezTo>
                  <a:cubicBezTo>
                    <a:pt x="12894" y="5973"/>
                    <a:pt x="12857" y="5973"/>
                    <a:pt x="12801" y="5954"/>
                  </a:cubicBezTo>
                  <a:close/>
                </a:path>
              </a:pathLst>
            </a:custGeom>
            <a:solidFill>
              <a:srgbClr val="FFFFFF"/>
            </a:solidFill>
            <a:ln w="1835" cap="flat">
              <a:noFill/>
              <a:prstDash val="solid"/>
              <a:miter/>
            </a:ln>
          </p:spPr>
          <p:txBody>
            <a:bodyPr/>
            <a:lstStyle/>
            <a:p>
              <a:endParaRPr lang="en-GB"/>
            </a:p>
          </p:txBody>
        </p:sp>
        <p:sp>
          <p:nvSpPr>
            <p:cNvPr id="1446" name="Freeform: Shape 1445">
              <a:extLst>
                <a:ext uri="{FF2B5EF4-FFF2-40B4-BE49-F238E27FC236}">
                  <a16:creationId xmlns:a16="http://schemas.microsoft.com/office/drawing/2014/main" id="{BC7700D4-53FD-A053-3D12-88D83C5B1A81}"/>
                </a:ext>
              </a:extLst>
            </p:cNvPr>
            <p:cNvSpPr/>
            <p:nvPr/>
          </p:nvSpPr>
          <p:spPr>
            <a:xfrm>
              <a:off x="11109934" y="4928337"/>
              <a:ext cx="25046" cy="24485"/>
            </a:xfrm>
            <a:custGeom>
              <a:avLst/>
              <a:gdLst>
                <a:gd name="csX0" fmla="*/ 4170 w 25046"/>
                <a:gd name="csY0" fmla="*/ 11126 h 24485"/>
                <a:gd name="csX1" fmla="*/ 3819 w 25046"/>
                <a:gd name="csY1" fmla="*/ 12566 h 24485"/>
                <a:gd name="csX2" fmla="*/ 2620 w 25046"/>
                <a:gd name="csY2" fmla="*/ 14115 h 24485"/>
                <a:gd name="csX3" fmla="*/ 0 w 25046"/>
                <a:gd name="csY3" fmla="*/ 16496 h 24485"/>
                <a:gd name="csX4" fmla="*/ 5259 w 25046"/>
                <a:gd name="csY4" fmla="*/ 23895 h 24485"/>
                <a:gd name="csX5" fmla="*/ 6218 w 25046"/>
                <a:gd name="csY5" fmla="*/ 24485 h 24485"/>
                <a:gd name="csX6" fmla="*/ 7897 w 25046"/>
                <a:gd name="csY6" fmla="*/ 23895 h 24485"/>
                <a:gd name="csX7" fmla="*/ 9816 w 25046"/>
                <a:gd name="csY7" fmla="*/ 23544 h 24485"/>
                <a:gd name="csX8" fmla="*/ 13396 w 25046"/>
                <a:gd name="csY8" fmla="*/ 21754 h 24485"/>
                <a:gd name="csX9" fmla="*/ 14946 w 25046"/>
                <a:gd name="csY9" fmla="*/ 22105 h 24485"/>
                <a:gd name="csX10" fmla="*/ 18286 w 25046"/>
                <a:gd name="csY10" fmla="*/ 20906 h 24485"/>
                <a:gd name="csX11" fmla="*/ 24854 w 25046"/>
                <a:gd name="csY11" fmla="*/ 16127 h 24485"/>
                <a:gd name="csX12" fmla="*/ 22825 w 25046"/>
                <a:gd name="csY12" fmla="*/ 3949 h 24485"/>
                <a:gd name="csX13" fmla="*/ 17215 w 25046"/>
                <a:gd name="csY13" fmla="*/ 0 h 24485"/>
                <a:gd name="csX14" fmla="*/ 14946 w 25046"/>
                <a:gd name="csY14" fmla="*/ 959 h 24485"/>
                <a:gd name="csX15" fmla="*/ 13396 w 25046"/>
                <a:gd name="csY15" fmla="*/ 1550 h 24485"/>
                <a:gd name="csX16" fmla="*/ 10407 w 25046"/>
                <a:gd name="csY16" fmla="*/ 4539 h 24485"/>
                <a:gd name="csX17" fmla="*/ 9447 w 25046"/>
                <a:gd name="csY17" fmla="*/ 5130 h 24485"/>
                <a:gd name="csX18" fmla="*/ 3118 w 25046"/>
                <a:gd name="csY18" fmla="*/ 11348 h 244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5046" h="24485">
                  <a:moveTo>
                    <a:pt x="4170" y="11126"/>
                  </a:moveTo>
                  <a:cubicBezTo>
                    <a:pt x="2860" y="11957"/>
                    <a:pt x="3930" y="12086"/>
                    <a:pt x="3819" y="12566"/>
                  </a:cubicBezTo>
                  <a:cubicBezTo>
                    <a:pt x="3469" y="13045"/>
                    <a:pt x="3100" y="13636"/>
                    <a:pt x="2620" y="14115"/>
                  </a:cubicBezTo>
                  <a:cubicBezTo>
                    <a:pt x="1901" y="14946"/>
                    <a:pt x="0" y="16496"/>
                    <a:pt x="0" y="16496"/>
                  </a:cubicBezTo>
                  <a:cubicBezTo>
                    <a:pt x="1790" y="18876"/>
                    <a:pt x="3340" y="21515"/>
                    <a:pt x="5259" y="23895"/>
                  </a:cubicBezTo>
                  <a:cubicBezTo>
                    <a:pt x="5499" y="24135"/>
                    <a:pt x="5738" y="24485"/>
                    <a:pt x="6218" y="24485"/>
                  </a:cubicBezTo>
                  <a:cubicBezTo>
                    <a:pt x="6809" y="24485"/>
                    <a:pt x="7418" y="24006"/>
                    <a:pt x="7897" y="23895"/>
                  </a:cubicBezTo>
                  <a:cubicBezTo>
                    <a:pt x="8488" y="23784"/>
                    <a:pt x="9097" y="23655"/>
                    <a:pt x="9816" y="23544"/>
                  </a:cubicBezTo>
                  <a:cubicBezTo>
                    <a:pt x="11016" y="22954"/>
                    <a:pt x="12197" y="22105"/>
                    <a:pt x="13396" y="21754"/>
                  </a:cubicBezTo>
                  <a:cubicBezTo>
                    <a:pt x="13986" y="21644"/>
                    <a:pt x="14355" y="22234"/>
                    <a:pt x="14946" y="22105"/>
                  </a:cubicBezTo>
                  <a:cubicBezTo>
                    <a:pt x="16016" y="21865"/>
                    <a:pt x="18286" y="20906"/>
                    <a:pt x="18286" y="20906"/>
                  </a:cubicBezTo>
                  <a:cubicBezTo>
                    <a:pt x="26644" y="15167"/>
                    <a:pt x="24024" y="18876"/>
                    <a:pt x="24854" y="16127"/>
                  </a:cubicBezTo>
                  <a:cubicBezTo>
                    <a:pt x="25574" y="13267"/>
                    <a:pt x="24135" y="6569"/>
                    <a:pt x="22825" y="3949"/>
                  </a:cubicBezTo>
                  <a:cubicBezTo>
                    <a:pt x="21625" y="1199"/>
                    <a:pt x="19005" y="369"/>
                    <a:pt x="17215" y="0"/>
                  </a:cubicBezTo>
                  <a:cubicBezTo>
                    <a:pt x="16385" y="351"/>
                    <a:pt x="15665" y="720"/>
                    <a:pt x="14946" y="959"/>
                  </a:cubicBezTo>
                  <a:cubicBezTo>
                    <a:pt x="14466" y="1199"/>
                    <a:pt x="13876" y="1199"/>
                    <a:pt x="13396" y="1550"/>
                  </a:cubicBezTo>
                  <a:cubicBezTo>
                    <a:pt x="10776" y="3100"/>
                    <a:pt x="12197" y="2860"/>
                    <a:pt x="10407" y="4539"/>
                  </a:cubicBezTo>
                  <a:cubicBezTo>
                    <a:pt x="10167" y="4779"/>
                    <a:pt x="10647" y="3949"/>
                    <a:pt x="9447" y="5130"/>
                  </a:cubicBezTo>
                  <a:cubicBezTo>
                    <a:pt x="8248" y="6329"/>
                    <a:pt x="5148" y="9318"/>
                    <a:pt x="3118" y="11348"/>
                  </a:cubicBezTo>
                </a:path>
              </a:pathLst>
            </a:custGeom>
            <a:solidFill>
              <a:srgbClr val="FFFFFF"/>
            </a:solidFill>
            <a:ln w="1835" cap="flat">
              <a:noFill/>
              <a:prstDash val="solid"/>
              <a:miter/>
            </a:ln>
          </p:spPr>
          <p:txBody>
            <a:bodyPr/>
            <a:lstStyle/>
            <a:p>
              <a:endParaRPr lang="en-GB"/>
            </a:p>
          </p:txBody>
        </p:sp>
        <p:sp>
          <p:nvSpPr>
            <p:cNvPr id="1447" name="Freeform: Shape 1446">
              <a:extLst>
                <a:ext uri="{FF2B5EF4-FFF2-40B4-BE49-F238E27FC236}">
                  <a16:creationId xmlns:a16="http://schemas.microsoft.com/office/drawing/2014/main" id="{F1FA725F-10F9-B7A2-2365-364F519E0B80}"/>
                </a:ext>
              </a:extLst>
            </p:cNvPr>
            <p:cNvSpPr/>
            <p:nvPr/>
          </p:nvSpPr>
          <p:spPr>
            <a:xfrm>
              <a:off x="11106941" y="4925348"/>
              <a:ext cx="30977" cy="30462"/>
            </a:xfrm>
            <a:custGeom>
              <a:avLst/>
              <a:gdLst>
                <a:gd name="csX0" fmla="*/ 9193 w 30977"/>
                <a:gd name="csY0" fmla="*/ 30463 h 30462"/>
                <a:gd name="csX1" fmla="*/ 6167 w 30977"/>
                <a:gd name="csY1" fmla="*/ 29042 h 30462"/>
                <a:gd name="csX2" fmla="*/ 2791 w 30977"/>
                <a:gd name="csY2" fmla="*/ 24429 h 30462"/>
                <a:gd name="csX3" fmla="*/ 595 w 30977"/>
                <a:gd name="csY3" fmla="*/ 21274 h 30462"/>
                <a:gd name="csX4" fmla="*/ 1112 w 30977"/>
                <a:gd name="csY4" fmla="*/ 17159 h 30462"/>
                <a:gd name="csX5" fmla="*/ 3344 w 30977"/>
                <a:gd name="csY5" fmla="*/ 15148 h 30462"/>
                <a:gd name="csX6" fmla="*/ 3547 w 30977"/>
                <a:gd name="csY6" fmla="*/ 14927 h 30462"/>
                <a:gd name="csX7" fmla="*/ 3547 w 30977"/>
                <a:gd name="csY7" fmla="*/ 14262 h 30462"/>
                <a:gd name="csX8" fmla="*/ 4322 w 30977"/>
                <a:gd name="csY8" fmla="*/ 12602 h 30462"/>
                <a:gd name="csX9" fmla="*/ 3953 w 30977"/>
                <a:gd name="csY9" fmla="*/ 12233 h 30462"/>
                <a:gd name="csX10" fmla="*/ 8271 w 30977"/>
                <a:gd name="csY10" fmla="*/ 7989 h 30462"/>
                <a:gd name="csX11" fmla="*/ 10282 w 30977"/>
                <a:gd name="csY11" fmla="*/ 6015 h 30462"/>
                <a:gd name="csX12" fmla="*/ 11721 w 30977"/>
                <a:gd name="csY12" fmla="*/ 4852 h 30462"/>
                <a:gd name="csX13" fmla="*/ 11777 w 30977"/>
                <a:gd name="csY13" fmla="*/ 4797 h 30462"/>
                <a:gd name="csX14" fmla="*/ 14821 w 30977"/>
                <a:gd name="csY14" fmla="*/ 1955 h 30462"/>
                <a:gd name="csX15" fmla="*/ 16463 w 30977"/>
                <a:gd name="csY15" fmla="*/ 1273 h 30462"/>
                <a:gd name="csX16" fmla="*/ 18253 w 30977"/>
                <a:gd name="csY16" fmla="*/ 553 h 30462"/>
                <a:gd name="csX17" fmla="*/ 18973 w 30977"/>
                <a:gd name="csY17" fmla="*/ 239 h 30462"/>
                <a:gd name="csX18" fmla="*/ 20763 w 30977"/>
                <a:gd name="csY18" fmla="*/ 55 h 30462"/>
                <a:gd name="csX19" fmla="*/ 28512 w 30977"/>
                <a:gd name="csY19" fmla="*/ 5719 h 30462"/>
                <a:gd name="csX20" fmla="*/ 30708 w 30977"/>
                <a:gd name="csY20" fmla="*/ 19835 h 30462"/>
                <a:gd name="csX21" fmla="*/ 28180 w 30977"/>
                <a:gd name="csY21" fmla="*/ 23248 h 30462"/>
                <a:gd name="csX22" fmla="*/ 22940 w 30977"/>
                <a:gd name="csY22" fmla="*/ 26330 h 30462"/>
                <a:gd name="csX23" fmla="*/ 18567 w 30977"/>
                <a:gd name="csY23" fmla="*/ 27990 h 30462"/>
                <a:gd name="csX24" fmla="*/ 16482 w 30977"/>
                <a:gd name="csY24" fmla="*/ 27861 h 30462"/>
                <a:gd name="csX25" fmla="*/ 15375 w 30977"/>
                <a:gd name="csY25" fmla="*/ 28470 h 30462"/>
                <a:gd name="csX26" fmla="*/ 14120 w 30977"/>
                <a:gd name="csY26" fmla="*/ 29153 h 30462"/>
                <a:gd name="csX27" fmla="*/ 13253 w 30977"/>
                <a:gd name="csY27" fmla="*/ 29448 h 30462"/>
                <a:gd name="csX28" fmla="*/ 11426 w 30977"/>
                <a:gd name="csY28" fmla="*/ 29780 h 30462"/>
                <a:gd name="csX29" fmla="*/ 9175 w 30977"/>
                <a:gd name="csY29" fmla="*/ 30426 h 30462"/>
                <a:gd name="csX30" fmla="*/ 6979 w 30977"/>
                <a:gd name="csY30" fmla="*/ 19964 h 30462"/>
                <a:gd name="csX31" fmla="*/ 7736 w 30977"/>
                <a:gd name="csY31" fmla="*/ 21090 h 30462"/>
                <a:gd name="csX32" fmla="*/ 9858 w 30977"/>
                <a:gd name="csY32" fmla="*/ 24116 h 30462"/>
                <a:gd name="csX33" fmla="*/ 10153 w 30977"/>
                <a:gd name="csY33" fmla="*/ 23986 h 30462"/>
                <a:gd name="csX34" fmla="*/ 12441 w 30977"/>
                <a:gd name="csY34" fmla="*/ 23322 h 30462"/>
                <a:gd name="csX35" fmla="*/ 15504 w 30977"/>
                <a:gd name="csY35" fmla="*/ 21883 h 30462"/>
                <a:gd name="csX36" fmla="*/ 17921 w 30977"/>
                <a:gd name="csY36" fmla="*/ 21994 h 30462"/>
                <a:gd name="csX37" fmla="*/ 20117 w 30977"/>
                <a:gd name="csY37" fmla="*/ 21145 h 30462"/>
                <a:gd name="csX38" fmla="*/ 25006 w 30977"/>
                <a:gd name="csY38" fmla="*/ 18119 h 30462"/>
                <a:gd name="csX39" fmla="*/ 23124 w 30977"/>
                <a:gd name="csY39" fmla="*/ 8266 h 30462"/>
                <a:gd name="csX40" fmla="*/ 20467 w 30977"/>
                <a:gd name="csY40" fmla="*/ 6125 h 30462"/>
                <a:gd name="csX41" fmla="*/ 18844 w 30977"/>
                <a:gd name="csY41" fmla="*/ 6771 h 30462"/>
                <a:gd name="csX42" fmla="*/ 18032 w 30977"/>
                <a:gd name="csY42" fmla="*/ 7048 h 30462"/>
                <a:gd name="csX43" fmla="*/ 16943 w 30977"/>
                <a:gd name="csY43" fmla="*/ 7712 h 30462"/>
                <a:gd name="csX44" fmla="*/ 15412 w 30977"/>
                <a:gd name="csY44" fmla="*/ 9705 h 30462"/>
                <a:gd name="csX45" fmla="*/ 14471 w 30977"/>
                <a:gd name="csY45" fmla="*/ 10314 h 30462"/>
                <a:gd name="csX46" fmla="*/ 12459 w 30977"/>
                <a:gd name="csY46" fmla="*/ 12270 h 30462"/>
                <a:gd name="csX47" fmla="*/ 9452 w 30977"/>
                <a:gd name="csY47" fmla="*/ 15203 h 30462"/>
                <a:gd name="csX48" fmla="*/ 9710 w 30977"/>
                <a:gd name="csY48" fmla="*/ 16237 h 30462"/>
                <a:gd name="csX49" fmla="*/ 9193 w 30977"/>
                <a:gd name="csY49" fmla="*/ 17325 h 30462"/>
                <a:gd name="csX50" fmla="*/ 7717 w 30977"/>
                <a:gd name="csY50" fmla="*/ 19207 h 30462"/>
                <a:gd name="csX51" fmla="*/ 6979 w 30977"/>
                <a:gd name="csY51" fmla="*/ 19946 h 30462"/>
                <a:gd name="csX52" fmla="*/ 4322 w 30977"/>
                <a:gd name="csY52" fmla="*/ 16993 h 30462"/>
                <a:gd name="csX53" fmla="*/ 4322 w 30977"/>
                <a:gd name="csY53" fmla="*/ 16993 h 30462"/>
                <a:gd name="csX54" fmla="*/ 8474 w 30977"/>
                <a:gd name="csY54" fmla="*/ 16200 h 30462"/>
                <a:gd name="csX55" fmla="*/ 8751 w 30977"/>
                <a:gd name="csY55" fmla="*/ 16643 h 30462"/>
                <a:gd name="csX56" fmla="*/ 8474 w 30977"/>
                <a:gd name="csY56" fmla="*/ 16200 h 30462"/>
                <a:gd name="csX57" fmla="*/ 7164 w 30977"/>
                <a:gd name="csY57" fmla="*/ 14115 h 30462"/>
                <a:gd name="csX58" fmla="*/ 7293 w 30977"/>
                <a:gd name="csY58" fmla="*/ 14318 h 30462"/>
                <a:gd name="csX59" fmla="*/ 7164 w 30977"/>
                <a:gd name="csY59" fmla="*/ 14115 h 304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Lst>
              <a:rect l="l" t="t" r="r" b="b"/>
              <a:pathLst>
                <a:path w="30977" h="30462">
                  <a:moveTo>
                    <a:pt x="9193" y="30463"/>
                  </a:moveTo>
                  <a:cubicBezTo>
                    <a:pt x="7496" y="30463"/>
                    <a:pt x="6499" y="29393"/>
                    <a:pt x="6167" y="29042"/>
                  </a:cubicBezTo>
                  <a:cubicBezTo>
                    <a:pt x="4784" y="27345"/>
                    <a:pt x="3787" y="25887"/>
                    <a:pt x="2791" y="24429"/>
                  </a:cubicBezTo>
                  <a:cubicBezTo>
                    <a:pt x="2071" y="23359"/>
                    <a:pt x="1352" y="22289"/>
                    <a:pt x="595" y="21274"/>
                  </a:cubicBezTo>
                  <a:cubicBezTo>
                    <a:pt x="-365" y="19982"/>
                    <a:pt x="-143" y="18174"/>
                    <a:pt x="1112" y="17159"/>
                  </a:cubicBezTo>
                  <a:cubicBezTo>
                    <a:pt x="1130" y="17141"/>
                    <a:pt x="2735" y="15849"/>
                    <a:pt x="3344" y="15148"/>
                  </a:cubicBezTo>
                  <a:cubicBezTo>
                    <a:pt x="3418" y="15074"/>
                    <a:pt x="3492" y="15001"/>
                    <a:pt x="3547" y="14927"/>
                  </a:cubicBezTo>
                  <a:cubicBezTo>
                    <a:pt x="3529" y="14687"/>
                    <a:pt x="3529" y="14465"/>
                    <a:pt x="3547" y="14262"/>
                  </a:cubicBezTo>
                  <a:cubicBezTo>
                    <a:pt x="3658" y="13580"/>
                    <a:pt x="3972" y="13026"/>
                    <a:pt x="4322" y="12602"/>
                  </a:cubicBezTo>
                  <a:lnTo>
                    <a:pt x="3953" y="12233"/>
                  </a:lnTo>
                  <a:cubicBezTo>
                    <a:pt x="5208" y="10960"/>
                    <a:pt x="6905" y="9336"/>
                    <a:pt x="8271" y="7989"/>
                  </a:cubicBezTo>
                  <a:lnTo>
                    <a:pt x="10282" y="6015"/>
                  </a:lnTo>
                  <a:cubicBezTo>
                    <a:pt x="10614" y="5682"/>
                    <a:pt x="11094" y="5203"/>
                    <a:pt x="11721" y="4852"/>
                  </a:cubicBezTo>
                  <a:lnTo>
                    <a:pt x="11777" y="4797"/>
                  </a:lnTo>
                  <a:cubicBezTo>
                    <a:pt x="12367" y="3653"/>
                    <a:pt x="13068" y="2989"/>
                    <a:pt x="14821" y="1955"/>
                  </a:cubicBezTo>
                  <a:cubicBezTo>
                    <a:pt x="15301" y="1586"/>
                    <a:pt x="16039" y="1383"/>
                    <a:pt x="16463" y="1273"/>
                  </a:cubicBezTo>
                  <a:cubicBezTo>
                    <a:pt x="17367" y="959"/>
                    <a:pt x="17792" y="756"/>
                    <a:pt x="18253" y="553"/>
                  </a:cubicBezTo>
                  <a:cubicBezTo>
                    <a:pt x="18253" y="553"/>
                    <a:pt x="18954" y="258"/>
                    <a:pt x="18973" y="239"/>
                  </a:cubicBezTo>
                  <a:cubicBezTo>
                    <a:pt x="19526" y="-1"/>
                    <a:pt x="20135" y="-56"/>
                    <a:pt x="20763" y="55"/>
                  </a:cubicBezTo>
                  <a:cubicBezTo>
                    <a:pt x="24601" y="830"/>
                    <a:pt x="27221" y="2730"/>
                    <a:pt x="28512" y="5719"/>
                  </a:cubicBezTo>
                  <a:cubicBezTo>
                    <a:pt x="30007" y="8708"/>
                    <a:pt x="31631" y="16071"/>
                    <a:pt x="30708" y="19835"/>
                  </a:cubicBezTo>
                  <a:cubicBezTo>
                    <a:pt x="30708" y="21182"/>
                    <a:pt x="29490" y="22916"/>
                    <a:pt x="28180" y="23248"/>
                  </a:cubicBezTo>
                  <a:cubicBezTo>
                    <a:pt x="28069" y="23267"/>
                    <a:pt x="26944" y="23599"/>
                    <a:pt x="22940" y="26330"/>
                  </a:cubicBezTo>
                  <a:cubicBezTo>
                    <a:pt x="22405" y="26625"/>
                    <a:pt x="19785" y="27714"/>
                    <a:pt x="18567" y="27990"/>
                  </a:cubicBezTo>
                  <a:cubicBezTo>
                    <a:pt x="17700" y="28138"/>
                    <a:pt x="16998" y="28027"/>
                    <a:pt x="16482" y="27861"/>
                  </a:cubicBezTo>
                  <a:cubicBezTo>
                    <a:pt x="16187" y="28027"/>
                    <a:pt x="15762" y="28249"/>
                    <a:pt x="15375" y="28470"/>
                  </a:cubicBezTo>
                  <a:lnTo>
                    <a:pt x="14120" y="29153"/>
                  </a:lnTo>
                  <a:cubicBezTo>
                    <a:pt x="13843" y="29301"/>
                    <a:pt x="13548" y="29393"/>
                    <a:pt x="13253" y="29448"/>
                  </a:cubicBezTo>
                  <a:lnTo>
                    <a:pt x="11426" y="29780"/>
                  </a:lnTo>
                  <a:cubicBezTo>
                    <a:pt x="11075" y="30020"/>
                    <a:pt x="10245" y="30426"/>
                    <a:pt x="9175" y="30426"/>
                  </a:cubicBezTo>
                  <a:close/>
                  <a:moveTo>
                    <a:pt x="6979" y="19964"/>
                  </a:moveTo>
                  <a:cubicBezTo>
                    <a:pt x="7238" y="20333"/>
                    <a:pt x="7496" y="20702"/>
                    <a:pt x="7736" y="21090"/>
                  </a:cubicBezTo>
                  <a:cubicBezTo>
                    <a:pt x="8437" y="22104"/>
                    <a:pt x="9120" y="23138"/>
                    <a:pt x="9858" y="24116"/>
                  </a:cubicBezTo>
                  <a:cubicBezTo>
                    <a:pt x="9968" y="24060"/>
                    <a:pt x="10098" y="24005"/>
                    <a:pt x="10153" y="23986"/>
                  </a:cubicBezTo>
                  <a:lnTo>
                    <a:pt x="12441" y="23322"/>
                  </a:lnTo>
                  <a:cubicBezTo>
                    <a:pt x="13345" y="22806"/>
                    <a:pt x="14360" y="22234"/>
                    <a:pt x="15504" y="21883"/>
                  </a:cubicBezTo>
                  <a:cubicBezTo>
                    <a:pt x="16629" y="21643"/>
                    <a:pt x="17386" y="21809"/>
                    <a:pt x="17921" y="21994"/>
                  </a:cubicBezTo>
                  <a:cubicBezTo>
                    <a:pt x="18825" y="21698"/>
                    <a:pt x="20098" y="21145"/>
                    <a:pt x="20117" y="21145"/>
                  </a:cubicBezTo>
                  <a:cubicBezTo>
                    <a:pt x="22442" y="19503"/>
                    <a:pt x="23992" y="18617"/>
                    <a:pt x="25006" y="18119"/>
                  </a:cubicBezTo>
                  <a:cubicBezTo>
                    <a:pt x="25375" y="16163"/>
                    <a:pt x="24213" y="10443"/>
                    <a:pt x="23124" y="8266"/>
                  </a:cubicBezTo>
                  <a:cubicBezTo>
                    <a:pt x="22645" y="7195"/>
                    <a:pt x="21833" y="6550"/>
                    <a:pt x="20467" y="6125"/>
                  </a:cubicBezTo>
                  <a:cubicBezTo>
                    <a:pt x="19748" y="6457"/>
                    <a:pt x="19286" y="6642"/>
                    <a:pt x="18844" y="6771"/>
                  </a:cubicBezTo>
                  <a:cubicBezTo>
                    <a:pt x="18788" y="6790"/>
                    <a:pt x="18106" y="7029"/>
                    <a:pt x="18032" y="7048"/>
                  </a:cubicBezTo>
                  <a:cubicBezTo>
                    <a:pt x="17404" y="7380"/>
                    <a:pt x="17109" y="7565"/>
                    <a:pt x="16943" y="7712"/>
                  </a:cubicBezTo>
                  <a:cubicBezTo>
                    <a:pt x="16832" y="8081"/>
                    <a:pt x="16445" y="8745"/>
                    <a:pt x="15412" y="9705"/>
                  </a:cubicBezTo>
                  <a:cubicBezTo>
                    <a:pt x="15135" y="9963"/>
                    <a:pt x="14803" y="10166"/>
                    <a:pt x="14471" y="10314"/>
                  </a:cubicBezTo>
                  <a:lnTo>
                    <a:pt x="12459" y="12270"/>
                  </a:lnTo>
                  <a:cubicBezTo>
                    <a:pt x="11518" y="13174"/>
                    <a:pt x="10448" y="14226"/>
                    <a:pt x="9452" y="15203"/>
                  </a:cubicBezTo>
                  <a:lnTo>
                    <a:pt x="9710" y="16237"/>
                  </a:lnTo>
                  <a:cubicBezTo>
                    <a:pt x="9599" y="16624"/>
                    <a:pt x="9433" y="17012"/>
                    <a:pt x="9193" y="17325"/>
                  </a:cubicBezTo>
                  <a:cubicBezTo>
                    <a:pt x="8585" y="18211"/>
                    <a:pt x="8179" y="18746"/>
                    <a:pt x="7717" y="19207"/>
                  </a:cubicBezTo>
                  <a:cubicBezTo>
                    <a:pt x="7551" y="19410"/>
                    <a:pt x="7293" y="19669"/>
                    <a:pt x="6979" y="19946"/>
                  </a:cubicBezTo>
                  <a:close/>
                  <a:moveTo>
                    <a:pt x="4322" y="16993"/>
                  </a:moveTo>
                  <a:lnTo>
                    <a:pt x="4322" y="16993"/>
                  </a:lnTo>
                  <a:close/>
                  <a:moveTo>
                    <a:pt x="8474" y="16200"/>
                  </a:moveTo>
                  <a:lnTo>
                    <a:pt x="8751" y="16643"/>
                  </a:lnTo>
                  <a:lnTo>
                    <a:pt x="8474" y="16200"/>
                  </a:lnTo>
                  <a:close/>
                  <a:moveTo>
                    <a:pt x="7164" y="14115"/>
                  </a:moveTo>
                  <a:lnTo>
                    <a:pt x="7293" y="14318"/>
                  </a:lnTo>
                  <a:lnTo>
                    <a:pt x="7164" y="14115"/>
                  </a:lnTo>
                  <a:close/>
                </a:path>
              </a:pathLst>
            </a:custGeom>
            <a:solidFill>
              <a:srgbClr val="FFFFFF"/>
            </a:solidFill>
            <a:ln w="1835" cap="flat">
              <a:noFill/>
              <a:prstDash val="solid"/>
              <a:miter/>
            </a:ln>
          </p:spPr>
          <p:txBody>
            <a:bodyPr/>
            <a:lstStyle/>
            <a:p>
              <a:endParaRPr lang="en-GB"/>
            </a:p>
          </p:txBody>
        </p:sp>
        <p:sp>
          <p:nvSpPr>
            <p:cNvPr id="1448" name="Freeform: Shape 1447">
              <a:extLst>
                <a:ext uri="{FF2B5EF4-FFF2-40B4-BE49-F238E27FC236}">
                  <a16:creationId xmlns:a16="http://schemas.microsoft.com/office/drawing/2014/main" id="{D2948561-52F8-B414-AB7F-1341B5E988E1}"/>
                </a:ext>
              </a:extLst>
            </p:cNvPr>
            <p:cNvSpPr/>
            <p:nvPr/>
          </p:nvSpPr>
          <p:spPr>
            <a:xfrm>
              <a:off x="11093033" y="4874384"/>
              <a:ext cx="19706" cy="25795"/>
            </a:xfrm>
            <a:custGeom>
              <a:avLst/>
              <a:gdLst>
                <a:gd name="csX0" fmla="*/ 4705 w 19706"/>
                <a:gd name="csY0" fmla="*/ 19706 h 25795"/>
                <a:gd name="csX1" fmla="*/ 5775 w 19706"/>
                <a:gd name="csY1" fmla="*/ 20777 h 25795"/>
                <a:gd name="csX2" fmla="*/ 6606 w 19706"/>
                <a:gd name="csY2" fmla="*/ 22456 h 25795"/>
                <a:gd name="csX3" fmla="*/ 7676 w 19706"/>
                <a:gd name="csY3" fmla="*/ 25795 h 25795"/>
                <a:gd name="csX4" fmla="*/ 16625 w 19706"/>
                <a:gd name="csY4" fmla="*/ 24356 h 25795"/>
                <a:gd name="csX5" fmla="*/ 17695 w 19706"/>
                <a:gd name="csY5" fmla="*/ 23766 h 25795"/>
                <a:gd name="csX6" fmla="*/ 17806 w 19706"/>
                <a:gd name="csY6" fmla="*/ 21976 h 25795"/>
                <a:gd name="csX7" fmla="*/ 18396 w 19706"/>
                <a:gd name="csY7" fmla="*/ 20186 h 25795"/>
                <a:gd name="csX8" fmla="*/ 18396 w 19706"/>
                <a:gd name="csY8" fmla="*/ 16237 h 25795"/>
                <a:gd name="csX9" fmla="*/ 19356 w 19706"/>
                <a:gd name="csY9" fmla="*/ 14927 h 25795"/>
                <a:gd name="csX10" fmla="*/ 19706 w 19706"/>
                <a:gd name="csY10" fmla="*/ 11458 h 25795"/>
                <a:gd name="csX11" fmla="*/ 18267 w 19706"/>
                <a:gd name="csY11" fmla="*/ 3580 h 25795"/>
                <a:gd name="csX12" fmla="*/ 6440 w 19706"/>
                <a:gd name="csY12" fmla="*/ 0 h 25795"/>
                <a:gd name="csX13" fmla="*/ 351 w 19706"/>
                <a:gd name="csY13" fmla="*/ 3469 h 25795"/>
                <a:gd name="csX14" fmla="*/ 240 w 19706"/>
                <a:gd name="csY14" fmla="*/ 5738 h 25795"/>
                <a:gd name="csX15" fmla="*/ 0 w 19706"/>
                <a:gd name="csY15" fmla="*/ 7418 h 25795"/>
                <a:gd name="csX16" fmla="*/ 1439 w 19706"/>
                <a:gd name="csY16" fmla="*/ 11366 h 25795"/>
                <a:gd name="csX17" fmla="*/ 1550 w 19706"/>
                <a:gd name="csY17" fmla="*/ 12566 h 25795"/>
                <a:gd name="csX18" fmla="*/ 4410 w 19706"/>
                <a:gd name="csY18" fmla="*/ 20924 h 257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9706" h="25795">
                  <a:moveTo>
                    <a:pt x="4705" y="19706"/>
                  </a:moveTo>
                  <a:cubicBezTo>
                    <a:pt x="4816" y="21256"/>
                    <a:pt x="5425" y="20426"/>
                    <a:pt x="5775" y="20777"/>
                  </a:cubicBezTo>
                  <a:cubicBezTo>
                    <a:pt x="6126" y="21256"/>
                    <a:pt x="6366" y="21736"/>
                    <a:pt x="6606" y="22456"/>
                  </a:cubicBezTo>
                  <a:cubicBezTo>
                    <a:pt x="7085" y="23526"/>
                    <a:pt x="7676" y="25795"/>
                    <a:pt x="7676" y="25795"/>
                  </a:cubicBezTo>
                  <a:cubicBezTo>
                    <a:pt x="10665" y="25316"/>
                    <a:pt x="13654" y="24965"/>
                    <a:pt x="16625" y="24356"/>
                  </a:cubicBezTo>
                  <a:cubicBezTo>
                    <a:pt x="16975" y="24356"/>
                    <a:pt x="17455" y="24245"/>
                    <a:pt x="17695" y="23766"/>
                  </a:cubicBezTo>
                  <a:cubicBezTo>
                    <a:pt x="17806" y="23286"/>
                    <a:pt x="17695" y="22566"/>
                    <a:pt x="17806" y="21976"/>
                  </a:cubicBezTo>
                  <a:cubicBezTo>
                    <a:pt x="17916" y="21385"/>
                    <a:pt x="18156" y="20777"/>
                    <a:pt x="18396" y="20186"/>
                  </a:cubicBezTo>
                  <a:cubicBezTo>
                    <a:pt x="18396" y="18876"/>
                    <a:pt x="18156" y="17437"/>
                    <a:pt x="18396" y="16237"/>
                  </a:cubicBezTo>
                  <a:cubicBezTo>
                    <a:pt x="18507" y="15518"/>
                    <a:pt x="19116" y="15518"/>
                    <a:pt x="19356" y="14927"/>
                  </a:cubicBezTo>
                  <a:cubicBezTo>
                    <a:pt x="19596" y="13857"/>
                    <a:pt x="19706" y="11458"/>
                    <a:pt x="19706" y="11458"/>
                  </a:cubicBezTo>
                  <a:cubicBezTo>
                    <a:pt x="18267" y="1550"/>
                    <a:pt x="20537" y="5480"/>
                    <a:pt x="18267" y="3580"/>
                  </a:cubicBezTo>
                  <a:cubicBezTo>
                    <a:pt x="16127" y="1661"/>
                    <a:pt x="9429" y="0"/>
                    <a:pt x="6440" y="0"/>
                  </a:cubicBezTo>
                  <a:cubicBezTo>
                    <a:pt x="3450" y="0"/>
                    <a:pt x="1421" y="1919"/>
                    <a:pt x="351" y="3469"/>
                  </a:cubicBezTo>
                  <a:cubicBezTo>
                    <a:pt x="351" y="4189"/>
                    <a:pt x="240" y="4908"/>
                    <a:pt x="240" y="5738"/>
                  </a:cubicBezTo>
                  <a:cubicBezTo>
                    <a:pt x="240" y="6329"/>
                    <a:pt x="0" y="6809"/>
                    <a:pt x="0" y="7418"/>
                  </a:cubicBezTo>
                  <a:cubicBezTo>
                    <a:pt x="240" y="10407"/>
                    <a:pt x="590" y="9097"/>
                    <a:pt x="1439" y="11366"/>
                  </a:cubicBezTo>
                  <a:cubicBezTo>
                    <a:pt x="1550" y="11717"/>
                    <a:pt x="1089" y="10886"/>
                    <a:pt x="1550" y="12566"/>
                  </a:cubicBezTo>
                  <a:cubicBezTo>
                    <a:pt x="2030" y="14115"/>
                    <a:pt x="3469" y="18064"/>
                    <a:pt x="4410" y="20924"/>
                  </a:cubicBezTo>
                </a:path>
              </a:pathLst>
            </a:custGeom>
            <a:solidFill>
              <a:srgbClr val="FFFFFF"/>
            </a:solidFill>
            <a:ln w="1835" cap="flat">
              <a:noFill/>
              <a:prstDash val="solid"/>
              <a:miter/>
            </a:ln>
          </p:spPr>
          <p:txBody>
            <a:bodyPr/>
            <a:lstStyle/>
            <a:p>
              <a:endParaRPr lang="en-GB"/>
            </a:p>
          </p:txBody>
        </p:sp>
        <p:sp>
          <p:nvSpPr>
            <p:cNvPr id="1449" name="Freeform: Shape 1448">
              <a:extLst>
                <a:ext uri="{FF2B5EF4-FFF2-40B4-BE49-F238E27FC236}">
                  <a16:creationId xmlns:a16="http://schemas.microsoft.com/office/drawing/2014/main" id="{04414C80-2518-33A4-4CE2-789396A8D21E}"/>
                </a:ext>
              </a:extLst>
            </p:cNvPr>
            <p:cNvSpPr/>
            <p:nvPr/>
          </p:nvSpPr>
          <p:spPr>
            <a:xfrm>
              <a:off x="11090099" y="4871377"/>
              <a:ext cx="25615" cy="31792"/>
            </a:xfrm>
            <a:custGeom>
              <a:avLst/>
              <a:gdLst>
                <a:gd name="csX0" fmla="*/ 10628 w 25615"/>
                <a:gd name="csY0" fmla="*/ 31792 h 31792"/>
                <a:gd name="csX1" fmla="*/ 7731 w 25615"/>
                <a:gd name="csY1" fmla="*/ 29559 h 31792"/>
                <a:gd name="csX2" fmla="*/ 6827 w 25615"/>
                <a:gd name="csY2" fmla="*/ 26663 h 31792"/>
                <a:gd name="csX3" fmla="*/ 6716 w 25615"/>
                <a:gd name="csY3" fmla="*/ 26330 h 31792"/>
                <a:gd name="csX4" fmla="*/ 5093 w 25615"/>
                <a:gd name="csY4" fmla="*/ 24670 h 31792"/>
                <a:gd name="csX5" fmla="*/ 4576 w 25615"/>
                <a:gd name="csY5" fmla="*/ 24836 h 31792"/>
                <a:gd name="csX6" fmla="*/ 3100 w 25615"/>
                <a:gd name="csY6" fmla="*/ 20555 h 31792"/>
                <a:gd name="csX7" fmla="*/ 1679 w 25615"/>
                <a:gd name="csY7" fmla="*/ 16403 h 31792"/>
                <a:gd name="csX8" fmla="*/ 1347 w 25615"/>
                <a:gd name="csY8" fmla="*/ 14780 h 31792"/>
                <a:gd name="csX9" fmla="*/ 1255 w 25615"/>
                <a:gd name="csY9" fmla="*/ 14632 h 31792"/>
                <a:gd name="csX10" fmla="*/ 0 w 25615"/>
                <a:gd name="csY10" fmla="*/ 10628 h 31792"/>
                <a:gd name="csX11" fmla="*/ 184 w 25615"/>
                <a:gd name="csY11" fmla="*/ 8875 h 31792"/>
                <a:gd name="csX12" fmla="*/ 295 w 25615"/>
                <a:gd name="csY12" fmla="*/ 7251 h 31792"/>
                <a:gd name="csX13" fmla="*/ 351 w 25615"/>
                <a:gd name="csY13" fmla="*/ 6440 h 31792"/>
                <a:gd name="csX14" fmla="*/ 867 w 25615"/>
                <a:gd name="csY14" fmla="*/ 4742 h 31792"/>
                <a:gd name="csX15" fmla="*/ 9410 w 25615"/>
                <a:gd name="csY15" fmla="*/ 0 h 31792"/>
                <a:gd name="csX16" fmla="*/ 23212 w 25615"/>
                <a:gd name="csY16" fmla="*/ 4318 h 31792"/>
                <a:gd name="csX17" fmla="*/ 25186 w 25615"/>
                <a:gd name="csY17" fmla="*/ 8082 h 31792"/>
                <a:gd name="csX18" fmla="*/ 25611 w 25615"/>
                <a:gd name="csY18" fmla="*/ 14023 h 31792"/>
                <a:gd name="csX19" fmla="*/ 25223 w 25615"/>
                <a:gd name="csY19" fmla="*/ 18544 h 31792"/>
                <a:gd name="csX20" fmla="*/ 24245 w 25615"/>
                <a:gd name="csY20" fmla="*/ 20260 h 31792"/>
                <a:gd name="csX21" fmla="*/ 24282 w 25615"/>
                <a:gd name="csY21" fmla="*/ 21662 h 31792"/>
                <a:gd name="csX22" fmla="*/ 24338 w 25615"/>
                <a:gd name="csY22" fmla="*/ 23175 h 31792"/>
                <a:gd name="csX23" fmla="*/ 24135 w 25615"/>
                <a:gd name="csY23" fmla="*/ 24245 h 31792"/>
                <a:gd name="csX24" fmla="*/ 23673 w 25615"/>
                <a:gd name="csY24" fmla="*/ 25537 h 31792"/>
                <a:gd name="csX25" fmla="*/ 23526 w 25615"/>
                <a:gd name="csY25" fmla="*/ 27474 h 31792"/>
                <a:gd name="csX26" fmla="*/ 19540 w 25615"/>
                <a:gd name="csY26" fmla="*/ 30334 h 31792"/>
                <a:gd name="csX27" fmla="*/ 14005 w 25615"/>
                <a:gd name="csY27" fmla="*/ 31275 h 31792"/>
                <a:gd name="csX28" fmla="*/ 11052 w 25615"/>
                <a:gd name="csY28" fmla="*/ 31737 h 31792"/>
                <a:gd name="csX29" fmla="*/ 10591 w 25615"/>
                <a:gd name="csY29" fmla="*/ 31774 h 31792"/>
                <a:gd name="csX30" fmla="*/ 9835 w 25615"/>
                <a:gd name="csY30" fmla="*/ 21349 h 31792"/>
                <a:gd name="csX31" fmla="*/ 10831 w 25615"/>
                <a:gd name="csY31" fmla="*/ 21681 h 31792"/>
                <a:gd name="csX32" fmla="*/ 12399 w 25615"/>
                <a:gd name="csY32" fmla="*/ 24541 h 31792"/>
                <a:gd name="csX33" fmla="*/ 12750 w 25615"/>
                <a:gd name="csY33" fmla="*/ 25482 h 31792"/>
                <a:gd name="csX34" fmla="*/ 13174 w 25615"/>
                <a:gd name="csY34" fmla="*/ 25408 h 31792"/>
                <a:gd name="csX35" fmla="*/ 17806 w 25615"/>
                <a:gd name="csY35" fmla="*/ 24670 h 31792"/>
                <a:gd name="csX36" fmla="*/ 17861 w 25615"/>
                <a:gd name="csY36" fmla="*/ 24411 h 31792"/>
                <a:gd name="csX37" fmla="*/ 18378 w 25615"/>
                <a:gd name="csY37" fmla="*/ 22677 h 31792"/>
                <a:gd name="csX38" fmla="*/ 18378 w 25615"/>
                <a:gd name="csY38" fmla="*/ 22013 h 31792"/>
                <a:gd name="csX39" fmla="*/ 18452 w 25615"/>
                <a:gd name="csY39" fmla="*/ 18673 h 31792"/>
                <a:gd name="csX40" fmla="*/ 19540 w 25615"/>
                <a:gd name="csY40" fmla="*/ 16588 h 31792"/>
                <a:gd name="csX41" fmla="*/ 19706 w 25615"/>
                <a:gd name="csY41" fmla="*/ 14318 h 31792"/>
                <a:gd name="csX42" fmla="*/ 19190 w 25615"/>
                <a:gd name="csY42" fmla="*/ 8765 h 31792"/>
                <a:gd name="csX43" fmla="*/ 9429 w 25615"/>
                <a:gd name="csY43" fmla="*/ 5997 h 31792"/>
                <a:gd name="csX44" fmla="*/ 6274 w 25615"/>
                <a:gd name="csY44" fmla="*/ 7565 h 31792"/>
                <a:gd name="csX45" fmla="*/ 6274 w 25615"/>
                <a:gd name="csY45" fmla="*/ 7768 h 31792"/>
                <a:gd name="csX46" fmla="*/ 6218 w 25615"/>
                <a:gd name="csY46" fmla="*/ 8746 h 31792"/>
                <a:gd name="csX47" fmla="*/ 6015 w 25615"/>
                <a:gd name="csY47" fmla="*/ 10241 h 31792"/>
                <a:gd name="csX48" fmla="*/ 6089 w 25615"/>
                <a:gd name="csY48" fmla="*/ 11292 h 31792"/>
                <a:gd name="csX49" fmla="*/ 7215 w 25615"/>
                <a:gd name="csY49" fmla="*/ 13341 h 31792"/>
                <a:gd name="csX50" fmla="*/ 7399 w 25615"/>
                <a:gd name="csY50" fmla="*/ 14651 h 31792"/>
                <a:gd name="csX51" fmla="*/ 8728 w 25615"/>
                <a:gd name="csY51" fmla="*/ 18618 h 31792"/>
                <a:gd name="csX52" fmla="*/ 9613 w 25615"/>
                <a:gd name="csY52" fmla="*/ 21182 h 31792"/>
                <a:gd name="csX53" fmla="*/ 8045 w 25615"/>
                <a:gd name="csY53" fmla="*/ 20740 h 31792"/>
                <a:gd name="csX54" fmla="*/ 9650 w 25615"/>
                <a:gd name="csY54" fmla="*/ 21293 h 31792"/>
                <a:gd name="csX55" fmla="*/ 10075 w 25615"/>
                <a:gd name="csY55" fmla="*/ 22529 h 31792"/>
                <a:gd name="csX56" fmla="*/ 10591 w 25615"/>
                <a:gd name="csY56" fmla="*/ 22474 h 31792"/>
                <a:gd name="csX57" fmla="*/ 9835 w 25615"/>
                <a:gd name="csY57" fmla="*/ 21349 h 31792"/>
                <a:gd name="csX58" fmla="*/ 18987 w 25615"/>
                <a:gd name="csY58" fmla="*/ 24430 h 31792"/>
                <a:gd name="csX59" fmla="*/ 18913 w 25615"/>
                <a:gd name="csY59" fmla="*/ 24448 h 31792"/>
                <a:gd name="csX60" fmla="*/ 18987 w 25615"/>
                <a:gd name="csY60" fmla="*/ 24448 h 31792"/>
                <a:gd name="csX61" fmla="*/ 18987 w 25615"/>
                <a:gd name="csY61" fmla="*/ 24448 h 31792"/>
                <a:gd name="csX62" fmla="*/ 10075 w 25615"/>
                <a:gd name="csY62" fmla="*/ 22511 h 31792"/>
                <a:gd name="csX63" fmla="*/ 10075 w 25615"/>
                <a:gd name="csY63" fmla="*/ 22585 h 31792"/>
                <a:gd name="csX64" fmla="*/ 10628 w 25615"/>
                <a:gd name="csY64" fmla="*/ 22548 h 31792"/>
                <a:gd name="csX65" fmla="*/ 10610 w 25615"/>
                <a:gd name="csY65" fmla="*/ 22474 h 31792"/>
                <a:gd name="csX66" fmla="*/ 10093 w 25615"/>
                <a:gd name="csY66" fmla="*/ 22529 h 31792"/>
                <a:gd name="csX67" fmla="*/ 24319 w 25615"/>
                <a:gd name="csY67" fmla="*/ 19725 h 31792"/>
                <a:gd name="csX68" fmla="*/ 24319 w 25615"/>
                <a:gd name="csY68" fmla="*/ 19780 h 31792"/>
                <a:gd name="csX69" fmla="*/ 24319 w 25615"/>
                <a:gd name="csY69" fmla="*/ 19725 h 317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Lst>
              <a:rect l="l" t="t" r="r" b="b"/>
              <a:pathLst>
                <a:path w="25615" h="31792">
                  <a:moveTo>
                    <a:pt x="10628" y="31792"/>
                  </a:moveTo>
                  <a:cubicBezTo>
                    <a:pt x="9281" y="31792"/>
                    <a:pt x="8082" y="30888"/>
                    <a:pt x="7731" y="29559"/>
                  </a:cubicBezTo>
                  <a:cubicBezTo>
                    <a:pt x="7731" y="29523"/>
                    <a:pt x="7233" y="27585"/>
                    <a:pt x="6827" y="26663"/>
                  </a:cubicBezTo>
                  <a:cubicBezTo>
                    <a:pt x="6790" y="26552"/>
                    <a:pt x="6753" y="26423"/>
                    <a:pt x="6716" y="26330"/>
                  </a:cubicBezTo>
                  <a:cubicBezTo>
                    <a:pt x="6071" y="26035"/>
                    <a:pt x="5480" y="25482"/>
                    <a:pt x="5093" y="24670"/>
                  </a:cubicBezTo>
                  <a:lnTo>
                    <a:pt x="4576" y="24836"/>
                  </a:lnTo>
                  <a:lnTo>
                    <a:pt x="3100" y="20555"/>
                  </a:lnTo>
                  <a:cubicBezTo>
                    <a:pt x="2491" y="18821"/>
                    <a:pt x="1937" y="17271"/>
                    <a:pt x="1679" y="16403"/>
                  </a:cubicBezTo>
                  <a:cubicBezTo>
                    <a:pt x="1550" y="15942"/>
                    <a:pt x="1384" y="15389"/>
                    <a:pt x="1347" y="14780"/>
                  </a:cubicBezTo>
                  <a:cubicBezTo>
                    <a:pt x="1310" y="14724"/>
                    <a:pt x="1292" y="14687"/>
                    <a:pt x="1255" y="14632"/>
                  </a:cubicBezTo>
                  <a:cubicBezTo>
                    <a:pt x="443" y="13599"/>
                    <a:pt x="166" y="12695"/>
                    <a:pt x="0" y="10628"/>
                  </a:cubicBezTo>
                  <a:cubicBezTo>
                    <a:pt x="0" y="9742"/>
                    <a:pt x="111" y="9226"/>
                    <a:pt x="184" y="8875"/>
                  </a:cubicBezTo>
                  <a:cubicBezTo>
                    <a:pt x="240" y="8193"/>
                    <a:pt x="258" y="7713"/>
                    <a:pt x="295" y="7251"/>
                  </a:cubicBezTo>
                  <a:lnTo>
                    <a:pt x="351" y="6440"/>
                  </a:lnTo>
                  <a:cubicBezTo>
                    <a:pt x="351" y="5831"/>
                    <a:pt x="535" y="5240"/>
                    <a:pt x="867" y="4742"/>
                  </a:cubicBezTo>
                  <a:cubicBezTo>
                    <a:pt x="2971" y="1716"/>
                    <a:pt x="6089" y="0"/>
                    <a:pt x="9410" y="0"/>
                  </a:cubicBezTo>
                  <a:cubicBezTo>
                    <a:pt x="12566" y="0"/>
                    <a:pt x="20186" y="1642"/>
                    <a:pt x="23212" y="4318"/>
                  </a:cubicBezTo>
                  <a:cubicBezTo>
                    <a:pt x="24559" y="4890"/>
                    <a:pt x="25519" y="6643"/>
                    <a:pt x="25186" y="8082"/>
                  </a:cubicBezTo>
                  <a:cubicBezTo>
                    <a:pt x="25168" y="8193"/>
                    <a:pt x="24947" y="9355"/>
                    <a:pt x="25611" y="14023"/>
                  </a:cubicBezTo>
                  <a:cubicBezTo>
                    <a:pt x="25648" y="14614"/>
                    <a:pt x="25482" y="17326"/>
                    <a:pt x="25223" y="18544"/>
                  </a:cubicBezTo>
                  <a:cubicBezTo>
                    <a:pt x="25113" y="19005"/>
                    <a:pt x="24670" y="19725"/>
                    <a:pt x="24245" y="20260"/>
                  </a:cubicBezTo>
                  <a:cubicBezTo>
                    <a:pt x="24227" y="20684"/>
                    <a:pt x="24245" y="21182"/>
                    <a:pt x="24282" y="21662"/>
                  </a:cubicBezTo>
                  <a:cubicBezTo>
                    <a:pt x="24319" y="22179"/>
                    <a:pt x="24338" y="22677"/>
                    <a:pt x="24338" y="23175"/>
                  </a:cubicBezTo>
                  <a:cubicBezTo>
                    <a:pt x="24338" y="23544"/>
                    <a:pt x="24264" y="23913"/>
                    <a:pt x="24135" y="24245"/>
                  </a:cubicBezTo>
                  <a:cubicBezTo>
                    <a:pt x="23913" y="24836"/>
                    <a:pt x="23747" y="25186"/>
                    <a:pt x="23673" y="25537"/>
                  </a:cubicBezTo>
                  <a:cubicBezTo>
                    <a:pt x="23673" y="26349"/>
                    <a:pt x="23673" y="26884"/>
                    <a:pt x="23526" y="27474"/>
                  </a:cubicBezTo>
                  <a:cubicBezTo>
                    <a:pt x="22548" y="29523"/>
                    <a:pt x="21146" y="30334"/>
                    <a:pt x="19540" y="30334"/>
                  </a:cubicBezTo>
                  <a:cubicBezTo>
                    <a:pt x="18083" y="30685"/>
                    <a:pt x="16034" y="30980"/>
                    <a:pt x="14005" y="31275"/>
                  </a:cubicBezTo>
                  <a:lnTo>
                    <a:pt x="11052" y="31737"/>
                  </a:lnTo>
                  <a:cubicBezTo>
                    <a:pt x="10905" y="31755"/>
                    <a:pt x="10739" y="31774"/>
                    <a:pt x="10591" y="31774"/>
                  </a:cubicBezTo>
                  <a:close/>
                  <a:moveTo>
                    <a:pt x="9835" y="21349"/>
                  </a:moveTo>
                  <a:lnTo>
                    <a:pt x="10831" y="21681"/>
                  </a:lnTo>
                  <a:cubicBezTo>
                    <a:pt x="11680" y="22751"/>
                    <a:pt x="12067" y="23526"/>
                    <a:pt x="12399" y="24541"/>
                  </a:cubicBezTo>
                  <a:cubicBezTo>
                    <a:pt x="12510" y="24781"/>
                    <a:pt x="12621" y="25094"/>
                    <a:pt x="12750" y="25482"/>
                  </a:cubicBezTo>
                  <a:lnTo>
                    <a:pt x="13174" y="25408"/>
                  </a:lnTo>
                  <a:cubicBezTo>
                    <a:pt x="14706" y="25168"/>
                    <a:pt x="16256" y="24947"/>
                    <a:pt x="17806" y="24670"/>
                  </a:cubicBezTo>
                  <a:cubicBezTo>
                    <a:pt x="17806" y="24596"/>
                    <a:pt x="17824" y="24504"/>
                    <a:pt x="17861" y="24411"/>
                  </a:cubicBezTo>
                  <a:cubicBezTo>
                    <a:pt x="17972" y="23839"/>
                    <a:pt x="18156" y="23267"/>
                    <a:pt x="18378" y="22677"/>
                  </a:cubicBezTo>
                  <a:lnTo>
                    <a:pt x="18378" y="22013"/>
                  </a:lnTo>
                  <a:cubicBezTo>
                    <a:pt x="18304" y="20998"/>
                    <a:pt x="18230" y="19835"/>
                    <a:pt x="18452" y="18673"/>
                  </a:cubicBezTo>
                  <a:cubicBezTo>
                    <a:pt x="18618" y="17677"/>
                    <a:pt x="19116" y="17012"/>
                    <a:pt x="19540" y="16588"/>
                  </a:cubicBezTo>
                  <a:cubicBezTo>
                    <a:pt x="19651" y="15610"/>
                    <a:pt x="19706" y="14337"/>
                    <a:pt x="19706" y="14318"/>
                  </a:cubicBezTo>
                  <a:cubicBezTo>
                    <a:pt x="19300" y="11698"/>
                    <a:pt x="19171" y="9964"/>
                    <a:pt x="19190" y="8765"/>
                  </a:cubicBezTo>
                  <a:cubicBezTo>
                    <a:pt x="17603" y="7565"/>
                    <a:pt x="12067" y="5997"/>
                    <a:pt x="9429" y="5997"/>
                  </a:cubicBezTo>
                  <a:cubicBezTo>
                    <a:pt x="7990" y="5997"/>
                    <a:pt x="6938" y="6809"/>
                    <a:pt x="6274" y="7565"/>
                  </a:cubicBezTo>
                  <a:cubicBezTo>
                    <a:pt x="6274" y="7639"/>
                    <a:pt x="6274" y="7694"/>
                    <a:pt x="6274" y="7768"/>
                  </a:cubicBezTo>
                  <a:cubicBezTo>
                    <a:pt x="6237" y="8063"/>
                    <a:pt x="6218" y="8395"/>
                    <a:pt x="6218" y="8746"/>
                  </a:cubicBezTo>
                  <a:cubicBezTo>
                    <a:pt x="6218" y="9373"/>
                    <a:pt x="6107" y="9909"/>
                    <a:pt x="6015" y="10241"/>
                  </a:cubicBezTo>
                  <a:cubicBezTo>
                    <a:pt x="6015" y="10739"/>
                    <a:pt x="6034" y="11071"/>
                    <a:pt x="6089" y="11292"/>
                  </a:cubicBezTo>
                  <a:cubicBezTo>
                    <a:pt x="6329" y="11514"/>
                    <a:pt x="6753" y="12104"/>
                    <a:pt x="7215" y="13341"/>
                  </a:cubicBezTo>
                  <a:cubicBezTo>
                    <a:pt x="7362" y="13765"/>
                    <a:pt x="7418" y="14208"/>
                    <a:pt x="7399" y="14651"/>
                  </a:cubicBezTo>
                  <a:cubicBezTo>
                    <a:pt x="7750" y="15813"/>
                    <a:pt x="8211" y="17142"/>
                    <a:pt x="8728" y="18618"/>
                  </a:cubicBezTo>
                  <a:lnTo>
                    <a:pt x="9613" y="21182"/>
                  </a:lnTo>
                  <a:cubicBezTo>
                    <a:pt x="9189" y="20887"/>
                    <a:pt x="8543" y="20629"/>
                    <a:pt x="8045" y="20740"/>
                  </a:cubicBezTo>
                  <a:lnTo>
                    <a:pt x="9650" y="21293"/>
                  </a:lnTo>
                  <a:lnTo>
                    <a:pt x="10075" y="22529"/>
                  </a:lnTo>
                  <a:lnTo>
                    <a:pt x="10591" y="22474"/>
                  </a:lnTo>
                  <a:cubicBezTo>
                    <a:pt x="10517" y="22105"/>
                    <a:pt x="10222" y="21699"/>
                    <a:pt x="9835" y="21349"/>
                  </a:cubicBezTo>
                  <a:close/>
                  <a:moveTo>
                    <a:pt x="18987" y="24430"/>
                  </a:moveTo>
                  <a:cubicBezTo>
                    <a:pt x="18987" y="24430"/>
                    <a:pt x="18950" y="24430"/>
                    <a:pt x="18913" y="24448"/>
                  </a:cubicBezTo>
                  <a:cubicBezTo>
                    <a:pt x="18950" y="24448"/>
                    <a:pt x="18968" y="24448"/>
                    <a:pt x="18987" y="24448"/>
                  </a:cubicBezTo>
                  <a:lnTo>
                    <a:pt x="18987" y="24448"/>
                  </a:lnTo>
                  <a:close/>
                  <a:moveTo>
                    <a:pt x="10075" y="22511"/>
                  </a:moveTo>
                  <a:lnTo>
                    <a:pt x="10075" y="22585"/>
                  </a:lnTo>
                  <a:cubicBezTo>
                    <a:pt x="10075" y="22585"/>
                    <a:pt x="10628" y="22548"/>
                    <a:pt x="10628" y="22548"/>
                  </a:cubicBezTo>
                  <a:cubicBezTo>
                    <a:pt x="10628" y="22529"/>
                    <a:pt x="10628" y="22493"/>
                    <a:pt x="10610" y="22474"/>
                  </a:cubicBezTo>
                  <a:lnTo>
                    <a:pt x="10093" y="22529"/>
                  </a:lnTo>
                  <a:close/>
                  <a:moveTo>
                    <a:pt x="24319" y="19725"/>
                  </a:moveTo>
                  <a:cubicBezTo>
                    <a:pt x="24319" y="19725"/>
                    <a:pt x="24319" y="19762"/>
                    <a:pt x="24319" y="19780"/>
                  </a:cubicBezTo>
                  <a:cubicBezTo>
                    <a:pt x="24319" y="19780"/>
                    <a:pt x="24319" y="19743"/>
                    <a:pt x="24319" y="19725"/>
                  </a:cubicBezTo>
                  <a:close/>
                </a:path>
              </a:pathLst>
            </a:custGeom>
            <a:solidFill>
              <a:srgbClr val="FFFFFF"/>
            </a:solidFill>
            <a:ln w="1835" cap="flat">
              <a:noFill/>
              <a:prstDash val="solid"/>
              <a:miter/>
            </a:ln>
          </p:spPr>
          <p:txBody>
            <a:bodyPr/>
            <a:lstStyle/>
            <a:p>
              <a:endParaRPr lang="en-GB"/>
            </a:p>
          </p:txBody>
        </p:sp>
        <p:sp>
          <p:nvSpPr>
            <p:cNvPr id="1450" name="Freeform: Shape 1449">
              <a:extLst>
                <a:ext uri="{FF2B5EF4-FFF2-40B4-BE49-F238E27FC236}">
                  <a16:creationId xmlns:a16="http://schemas.microsoft.com/office/drawing/2014/main" id="{19A4FA9B-BB32-725F-68D7-15E654FFE417}"/>
                </a:ext>
              </a:extLst>
            </p:cNvPr>
            <p:cNvSpPr/>
            <p:nvPr/>
          </p:nvSpPr>
          <p:spPr>
            <a:xfrm>
              <a:off x="11097511" y="4837075"/>
              <a:ext cx="26040" cy="19300"/>
            </a:xfrm>
            <a:custGeom>
              <a:avLst/>
              <a:gdLst>
                <a:gd name="csX0" fmla="*/ 19822 w 26040"/>
                <a:gd name="csY0" fmla="*/ 15333 h 19300"/>
                <a:gd name="csX1" fmla="*/ 20892 w 26040"/>
                <a:gd name="csY1" fmla="*/ 14263 h 19300"/>
                <a:gd name="csX2" fmla="*/ 22571 w 26040"/>
                <a:gd name="csY2" fmla="*/ 13544 h 19300"/>
                <a:gd name="csX3" fmla="*/ 26040 w 26040"/>
                <a:gd name="csY3" fmla="*/ 12713 h 19300"/>
                <a:gd name="csX4" fmla="*/ 25210 w 26040"/>
                <a:gd name="csY4" fmla="*/ 3764 h 19300"/>
                <a:gd name="csX5" fmla="*/ 24619 w 26040"/>
                <a:gd name="csY5" fmla="*/ 2694 h 19300"/>
                <a:gd name="csX6" fmla="*/ 22830 w 26040"/>
                <a:gd name="csY6" fmla="*/ 2454 h 19300"/>
                <a:gd name="csX7" fmla="*/ 21150 w 26040"/>
                <a:gd name="csY7" fmla="*/ 1864 h 19300"/>
                <a:gd name="csX8" fmla="*/ 17091 w 26040"/>
                <a:gd name="csY8" fmla="*/ 1624 h 19300"/>
                <a:gd name="csX9" fmla="*/ 15892 w 26040"/>
                <a:gd name="csY9" fmla="*/ 554 h 19300"/>
                <a:gd name="csX10" fmla="*/ 12312 w 26040"/>
                <a:gd name="csY10" fmla="*/ 74 h 19300"/>
                <a:gd name="csX11" fmla="*/ 4304 w 26040"/>
                <a:gd name="csY11" fmla="*/ 1033 h 19300"/>
                <a:gd name="csX12" fmla="*/ 5 w 26040"/>
                <a:gd name="csY12" fmla="*/ 12621 h 19300"/>
                <a:gd name="csX13" fmla="*/ 3105 w 26040"/>
                <a:gd name="csY13" fmla="*/ 18710 h 19300"/>
                <a:gd name="csX14" fmla="*/ 5485 w 26040"/>
                <a:gd name="csY14" fmla="*/ 18950 h 19300"/>
                <a:gd name="csX15" fmla="*/ 7164 w 26040"/>
                <a:gd name="csY15" fmla="*/ 19300 h 19300"/>
                <a:gd name="csX16" fmla="*/ 11223 w 26040"/>
                <a:gd name="csY16" fmla="*/ 18101 h 19300"/>
                <a:gd name="csX17" fmla="*/ 12294 w 26040"/>
                <a:gd name="csY17" fmla="*/ 18101 h 19300"/>
                <a:gd name="csX18" fmla="*/ 20892 w 26040"/>
                <a:gd name="csY18" fmla="*/ 15721 h 193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6040" h="19300">
                  <a:moveTo>
                    <a:pt x="19822" y="15333"/>
                  </a:moveTo>
                  <a:cubicBezTo>
                    <a:pt x="21372" y="15333"/>
                    <a:pt x="20542" y="14614"/>
                    <a:pt x="20892" y="14263"/>
                  </a:cubicBezTo>
                  <a:cubicBezTo>
                    <a:pt x="21483" y="14023"/>
                    <a:pt x="21962" y="13783"/>
                    <a:pt x="22571" y="13544"/>
                  </a:cubicBezTo>
                  <a:cubicBezTo>
                    <a:pt x="23771" y="13193"/>
                    <a:pt x="26040" y="12713"/>
                    <a:pt x="26040" y="12713"/>
                  </a:cubicBezTo>
                  <a:cubicBezTo>
                    <a:pt x="25800" y="9724"/>
                    <a:pt x="25690" y="6735"/>
                    <a:pt x="25210" y="3764"/>
                  </a:cubicBezTo>
                  <a:cubicBezTo>
                    <a:pt x="25099" y="3414"/>
                    <a:pt x="24970" y="2934"/>
                    <a:pt x="24619" y="2694"/>
                  </a:cubicBezTo>
                  <a:cubicBezTo>
                    <a:pt x="24140" y="2454"/>
                    <a:pt x="23420" y="2583"/>
                    <a:pt x="22830" y="2454"/>
                  </a:cubicBezTo>
                  <a:cubicBezTo>
                    <a:pt x="22239" y="2343"/>
                    <a:pt x="21630" y="1974"/>
                    <a:pt x="21150" y="1864"/>
                  </a:cubicBezTo>
                  <a:cubicBezTo>
                    <a:pt x="19711" y="1753"/>
                    <a:pt x="18290" y="1864"/>
                    <a:pt x="17091" y="1624"/>
                  </a:cubicBezTo>
                  <a:cubicBezTo>
                    <a:pt x="16371" y="1513"/>
                    <a:pt x="16501" y="794"/>
                    <a:pt x="15892" y="554"/>
                  </a:cubicBezTo>
                  <a:cubicBezTo>
                    <a:pt x="14822" y="203"/>
                    <a:pt x="12312" y="74"/>
                    <a:pt x="12312" y="74"/>
                  </a:cubicBezTo>
                  <a:cubicBezTo>
                    <a:pt x="2274" y="904"/>
                    <a:pt x="6334" y="-1125"/>
                    <a:pt x="4304" y="1033"/>
                  </a:cubicBezTo>
                  <a:cubicBezTo>
                    <a:pt x="2274" y="3063"/>
                    <a:pt x="245" y="9632"/>
                    <a:pt x="5" y="12621"/>
                  </a:cubicBezTo>
                  <a:cubicBezTo>
                    <a:pt x="-106" y="15481"/>
                    <a:pt x="1684" y="17511"/>
                    <a:pt x="3105" y="18710"/>
                  </a:cubicBezTo>
                  <a:cubicBezTo>
                    <a:pt x="3935" y="18821"/>
                    <a:pt x="4655" y="18950"/>
                    <a:pt x="5485" y="18950"/>
                  </a:cubicBezTo>
                  <a:cubicBezTo>
                    <a:pt x="6075" y="19061"/>
                    <a:pt x="6555" y="19300"/>
                    <a:pt x="7164" y="19300"/>
                  </a:cubicBezTo>
                  <a:cubicBezTo>
                    <a:pt x="10153" y="19190"/>
                    <a:pt x="8843" y="18710"/>
                    <a:pt x="11223" y="18101"/>
                  </a:cubicBezTo>
                  <a:cubicBezTo>
                    <a:pt x="11574" y="17990"/>
                    <a:pt x="10744" y="18452"/>
                    <a:pt x="12294" y="18101"/>
                  </a:cubicBezTo>
                  <a:cubicBezTo>
                    <a:pt x="13973" y="17621"/>
                    <a:pt x="18032" y="16551"/>
                    <a:pt x="20892" y="15721"/>
                  </a:cubicBezTo>
                </a:path>
              </a:pathLst>
            </a:custGeom>
            <a:solidFill>
              <a:srgbClr val="FFFFFF"/>
            </a:solidFill>
            <a:ln w="1835" cap="flat">
              <a:noFill/>
              <a:prstDash val="solid"/>
              <a:miter/>
            </a:ln>
          </p:spPr>
          <p:txBody>
            <a:bodyPr/>
            <a:lstStyle/>
            <a:p>
              <a:endParaRPr lang="en-GB"/>
            </a:p>
          </p:txBody>
        </p:sp>
        <p:sp>
          <p:nvSpPr>
            <p:cNvPr id="1451" name="Freeform: Shape 1450">
              <a:extLst>
                <a:ext uri="{FF2B5EF4-FFF2-40B4-BE49-F238E27FC236}">
                  <a16:creationId xmlns:a16="http://schemas.microsoft.com/office/drawing/2014/main" id="{7085497E-BC83-F5E1-1C81-6DFC511B9B2C}"/>
                </a:ext>
              </a:extLst>
            </p:cNvPr>
            <p:cNvSpPr/>
            <p:nvPr/>
          </p:nvSpPr>
          <p:spPr>
            <a:xfrm>
              <a:off x="11094501" y="4834101"/>
              <a:ext cx="32011" cy="25245"/>
            </a:xfrm>
            <a:custGeom>
              <a:avLst/>
              <a:gdLst>
                <a:gd name="csX0" fmla="*/ 10267 w 32011"/>
                <a:gd name="csY0" fmla="*/ 25245 h 25245"/>
                <a:gd name="csX1" fmla="*/ 8256 w 32011"/>
                <a:gd name="csY1" fmla="*/ 24913 h 25245"/>
                <a:gd name="csX2" fmla="*/ 5783 w 32011"/>
                <a:gd name="csY2" fmla="*/ 24618 h 25245"/>
                <a:gd name="csX3" fmla="*/ 4196 w 32011"/>
                <a:gd name="csY3" fmla="*/ 23935 h 25245"/>
                <a:gd name="csX4" fmla="*/ 8 w 32011"/>
                <a:gd name="csY4" fmla="*/ 15429 h 25245"/>
                <a:gd name="csX5" fmla="*/ 5193 w 32011"/>
                <a:gd name="csY5" fmla="*/ 1849 h 25245"/>
                <a:gd name="csX6" fmla="*/ 9049 w 32011"/>
                <a:gd name="csY6" fmla="*/ 96 h 25245"/>
                <a:gd name="csX7" fmla="*/ 15046 w 32011"/>
                <a:gd name="csY7" fmla="*/ 22 h 25245"/>
                <a:gd name="csX8" fmla="*/ 19825 w 32011"/>
                <a:gd name="csY8" fmla="*/ 631 h 25245"/>
                <a:gd name="csX9" fmla="*/ 21301 w 32011"/>
                <a:gd name="csY9" fmla="*/ 1701 h 25245"/>
                <a:gd name="csX10" fmla="*/ 24364 w 32011"/>
                <a:gd name="csY10" fmla="*/ 1812 h 25245"/>
                <a:gd name="csX11" fmla="*/ 25969 w 32011"/>
                <a:gd name="csY11" fmla="*/ 2291 h 25245"/>
                <a:gd name="csX12" fmla="*/ 28903 w 32011"/>
                <a:gd name="csY12" fmla="*/ 2937 h 25245"/>
                <a:gd name="csX13" fmla="*/ 30970 w 32011"/>
                <a:gd name="csY13" fmla="*/ 5557 h 25245"/>
                <a:gd name="csX14" fmla="*/ 31855 w 32011"/>
                <a:gd name="csY14" fmla="*/ 13252 h 25245"/>
                <a:gd name="csX15" fmla="*/ 32003 w 32011"/>
                <a:gd name="csY15" fmla="*/ 15411 h 25245"/>
                <a:gd name="csX16" fmla="*/ 29641 w 32011"/>
                <a:gd name="csY16" fmla="*/ 18566 h 25245"/>
                <a:gd name="csX17" fmla="*/ 26431 w 32011"/>
                <a:gd name="csY17" fmla="*/ 19341 h 25245"/>
                <a:gd name="csX18" fmla="*/ 25914 w 32011"/>
                <a:gd name="csY18" fmla="*/ 20079 h 25245"/>
                <a:gd name="csX19" fmla="*/ 24585 w 32011"/>
                <a:gd name="csY19" fmla="*/ 20983 h 25245"/>
                <a:gd name="csX20" fmla="*/ 24733 w 32011"/>
                <a:gd name="csY20" fmla="*/ 21500 h 25245"/>
                <a:gd name="csX21" fmla="*/ 18902 w 32011"/>
                <a:gd name="csY21" fmla="*/ 23123 h 25245"/>
                <a:gd name="csX22" fmla="*/ 16135 w 32011"/>
                <a:gd name="csY22" fmla="*/ 23898 h 25245"/>
                <a:gd name="csX23" fmla="*/ 14308 w 32011"/>
                <a:gd name="csY23" fmla="*/ 24138 h 25245"/>
                <a:gd name="csX24" fmla="*/ 14216 w 32011"/>
                <a:gd name="csY24" fmla="*/ 24212 h 25245"/>
                <a:gd name="csX25" fmla="*/ 10285 w 32011"/>
                <a:gd name="csY25" fmla="*/ 25227 h 25245"/>
                <a:gd name="csX26" fmla="*/ 10267 w 32011"/>
                <a:gd name="csY26" fmla="*/ 25227 h 25245"/>
                <a:gd name="csX27" fmla="*/ 7444 w 32011"/>
                <a:gd name="csY27" fmla="*/ 18824 h 25245"/>
                <a:gd name="csX28" fmla="*/ 8514 w 32011"/>
                <a:gd name="csY28" fmla="*/ 18898 h 25245"/>
                <a:gd name="csX29" fmla="*/ 9990 w 32011"/>
                <a:gd name="csY29" fmla="*/ 19193 h 25245"/>
                <a:gd name="csX30" fmla="*/ 11134 w 32011"/>
                <a:gd name="csY30" fmla="*/ 19175 h 25245"/>
                <a:gd name="csX31" fmla="*/ 13533 w 32011"/>
                <a:gd name="csY31" fmla="*/ 18160 h 25245"/>
                <a:gd name="csX32" fmla="*/ 14751 w 32011"/>
                <a:gd name="csY32" fmla="*/ 18104 h 25245"/>
                <a:gd name="csX33" fmla="*/ 17371 w 32011"/>
                <a:gd name="csY33" fmla="*/ 17385 h 25245"/>
                <a:gd name="csX34" fmla="*/ 21430 w 32011"/>
                <a:gd name="csY34" fmla="*/ 16259 h 25245"/>
                <a:gd name="csX35" fmla="*/ 21818 w 32011"/>
                <a:gd name="csY35" fmla="*/ 15097 h 25245"/>
                <a:gd name="csX36" fmla="*/ 22851 w 32011"/>
                <a:gd name="csY36" fmla="*/ 14433 h 25245"/>
                <a:gd name="csX37" fmla="*/ 24512 w 32011"/>
                <a:gd name="csY37" fmla="*/ 13713 h 25245"/>
                <a:gd name="csX38" fmla="*/ 25896 w 32011"/>
                <a:gd name="csY38" fmla="*/ 13325 h 25245"/>
                <a:gd name="csX39" fmla="*/ 25453 w 32011"/>
                <a:gd name="csY39" fmla="*/ 8344 h 25245"/>
                <a:gd name="csX40" fmla="*/ 25268 w 32011"/>
                <a:gd name="csY40" fmla="*/ 8307 h 25245"/>
                <a:gd name="csX41" fmla="*/ 23700 w 32011"/>
                <a:gd name="csY41" fmla="*/ 7790 h 25245"/>
                <a:gd name="csX42" fmla="*/ 19530 w 32011"/>
                <a:gd name="csY42" fmla="*/ 7476 h 25245"/>
                <a:gd name="csX43" fmla="*/ 17297 w 32011"/>
                <a:gd name="csY43" fmla="*/ 6166 h 25245"/>
                <a:gd name="csX44" fmla="*/ 15194 w 32011"/>
                <a:gd name="csY44" fmla="*/ 5982 h 25245"/>
                <a:gd name="csX45" fmla="*/ 9381 w 32011"/>
                <a:gd name="csY45" fmla="*/ 6148 h 25245"/>
                <a:gd name="csX46" fmla="*/ 6005 w 32011"/>
                <a:gd name="csY46" fmla="*/ 15761 h 25245"/>
                <a:gd name="csX47" fmla="*/ 7462 w 32011"/>
                <a:gd name="csY47" fmla="*/ 18787 h 25245"/>
                <a:gd name="csX48" fmla="*/ 25250 w 32011"/>
                <a:gd name="csY48" fmla="*/ 7181 h 25245"/>
                <a:gd name="csX49" fmla="*/ 25250 w 32011"/>
                <a:gd name="csY49" fmla="*/ 7236 h 25245"/>
                <a:gd name="csX50" fmla="*/ 25250 w 32011"/>
                <a:gd name="csY50" fmla="*/ 7181 h 25245"/>
                <a:gd name="csX51" fmla="*/ 20563 w 32011"/>
                <a:gd name="csY51" fmla="*/ 1627 h 25245"/>
                <a:gd name="csX52" fmla="*/ 20637 w 32011"/>
                <a:gd name="csY52" fmla="*/ 1646 h 25245"/>
                <a:gd name="csX53" fmla="*/ 20563 w 32011"/>
                <a:gd name="csY53" fmla="*/ 1627 h 252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32011" h="25245">
                  <a:moveTo>
                    <a:pt x="10267" y="25245"/>
                  </a:moveTo>
                  <a:cubicBezTo>
                    <a:pt x="9344" y="25245"/>
                    <a:pt x="8699" y="25042"/>
                    <a:pt x="8256" y="24913"/>
                  </a:cubicBezTo>
                  <a:cubicBezTo>
                    <a:pt x="7536" y="24876"/>
                    <a:pt x="6724" y="24765"/>
                    <a:pt x="5783" y="24618"/>
                  </a:cubicBezTo>
                  <a:cubicBezTo>
                    <a:pt x="5248" y="24544"/>
                    <a:pt x="4602" y="24286"/>
                    <a:pt x="4196" y="23935"/>
                  </a:cubicBezTo>
                  <a:cubicBezTo>
                    <a:pt x="1336" y="21555"/>
                    <a:pt x="-121" y="18621"/>
                    <a:pt x="8" y="15429"/>
                  </a:cubicBezTo>
                  <a:cubicBezTo>
                    <a:pt x="248" y="12255"/>
                    <a:pt x="2296" y="4745"/>
                    <a:pt x="5193" y="1849"/>
                  </a:cubicBezTo>
                  <a:cubicBezTo>
                    <a:pt x="5820" y="539"/>
                    <a:pt x="7610" y="-292"/>
                    <a:pt x="9049" y="96"/>
                  </a:cubicBezTo>
                  <a:cubicBezTo>
                    <a:pt x="9160" y="133"/>
                    <a:pt x="10304" y="391"/>
                    <a:pt x="15046" y="22"/>
                  </a:cubicBezTo>
                  <a:cubicBezTo>
                    <a:pt x="16116" y="40"/>
                    <a:pt x="18460" y="188"/>
                    <a:pt x="19825" y="631"/>
                  </a:cubicBezTo>
                  <a:cubicBezTo>
                    <a:pt x="20249" y="778"/>
                    <a:pt x="20840" y="1221"/>
                    <a:pt x="21301" y="1701"/>
                  </a:cubicBezTo>
                  <a:cubicBezTo>
                    <a:pt x="22297" y="1756"/>
                    <a:pt x="23331" y="1701"/>
                    <a:pt x="24364" y="1812"/>
                  </a:cubicBezTo>
                  <a:cubicBezTo>
                    <a:pt x="24678" y="1830"/>
                    <a:pt x="25674" y="2181"/>
                    <a:pt x="25969" y="2291"/>
                  </a:cubicBezTo>
                  <a:cubicBezTo>
                    <a:pt x="27224" y="2494"/>
                    <a:pt x="28054" y="2531"/>
                    <a:pt x="28903" y="2937"/>
                  </a:cubicBezTo>
                  <a:cubicBezTo>
                    <a:pt x="30416" y="3915"/>
                    <a:pt x="30785" y="5022"/>
                    <a:pt x="30970" y="5557"/>
                  </a:cubicBezTo>
                  <a:cubicBezTo>
                    <a:pt x="31523" y="8565"/>
                    <a:pt x="31689" y="10908"/>
                    <a:pt x="31855" y="13252"/>
                  </a:cubicBezTo>
                  <a:lnTo>
                    <a:pt x="32003" y="15411"/>
                  </a:lnTo>
                  <a:cubicBezTo>
                    <a:pt x="32114" y="16905"/>
                    <a:pt x="31117" y="18252"/>
                    <a:pt x="29641" y="18566"/>
                  </a:cubicBezTo>
                  <a:cubicBezTo>
                    <a:pt x="29623" y="18566"/>
                    <a:pt x="27556" y="19009"/>
                    <a:pt x="26431" y="19341"/>
                  </a:cubicBezTo>
                  <a:cubicBezTo>
                    <a:pt x="26283" y="19617"/>
                    <a:pt x="26117" y="19857"/>
                    <a:pt x="25914" y="20079"/>
                  </a:cubicBezTo>
                  <a:cubicBezTo>
                    <a:pt x="25508" y="20522"/>
                    <a:pt x="25047" y="20798"/>
                    <a:pt x="24585" y="20983"/>
                  </a:cubicBezTo>
                  <a:lnTo>
                    <a:pt x="24733" y="21500"/>
                  </a:lnTo>
                  <a:cubicBezTo>
                    <a:pt x="22962" y="22016"/>
                    <a:pt x="20747" y="22625"/>
                    <a:pt x="18902" y="23123"/>
                  </a:cubicBezTo>
                  <a:lnTo>
                    <a:pt x="16135" y="23898"/>
                  </a:lnTo>
                  <a:cubicBezTo>
                    <a:pt x="15655" y="24009"/>
                    <a:pt x="15120" y="24304"/>
                    <a:pt x="14308" y="24138"/>
                  </a:cubicBezTo>
                  <a:cubicBezTo>
                    <a:pt x="14271" y="24157"/>
                    <a:pt x="14253" y="24193"/>
                    <a:pt x="14216" y="24212"/>
                  </a:cubicBezTo>
                  <a:cubicBezTo>
                    <a:pt x="13145" y="24895"/>
                    <a:pt x="12241" y="25153"/>
                    <a:pt x="10285" y="25227"/>
                  </a:cubicBezTo>
                  <a:lnTo>
                    <a:pt x="10267" y="25227"/>
                  </a:lnTo>
                  <a:close/>
                  <a:moveTo>
                    <a:pt x="7444" y="18824"/>
                  </a:moveTo>
                  <a:cubicBezTo>
                    <a:pt x="7813" y="18879"/>
                    <a:pt x="8145" y="18898"/>
                    <a:pt x="8514" y="18898"/>
                  </a:cubicBezTo>
                  <a:cubicBezTo>
                    <a:pt x="8809" y="18898"/>
                    <a:pt x="9695" y="19101"/>
                    <a:pt x="9990" y="19193"/>
                  </a:cubicBezTo>
                  <a:cubicBezTo>
                    <a:pt x="10894" y="19248"/>
                    <a:pt x="11116" y="19175"/>
                    <a:pt x="11134" y="19175"/>
                  </a:cubicBezTo>
                  <a:cubicBezTo>
                    <a:pt x="11485" y="18898"/>
                    <a:pt x="12149" y="18492"/>
                    <a:pt x="13533" y="18160"/>
                  </a:cubicBezTo>
                  <a:cubicBezTo>
                    <a:pt x="13939" y="18049"/>
                    <a:pt x="14363" y="18049"/>
                    <a:pt x="14751" y="18104"/>
                  </a:cubicBezTo>
                  <a:lnTo>
                    <a:pt x="17371" y="17385"/>
                  </a:lnTo>
                  <a:cubicBezTo>
                    <a:pt x="18644" y="17053"/>
                    <a:pt x="20083" y="16647"/>
                    <a:pt x="21430" y="16259"/>
                  </a:cubicBezTo>
                  <a:lnTo>
                    <a:pt x="21818" y="15097"/>
                  </a:lnTo>
                  <a:cubicBezTo>
                    <a:pt x="22113" y="14802"/>
                    <a:pt x="22464" y="14580"/>
                    <a:pt x="22851" y="14433"/>
                  </a:cubicBezTo>
                  <a:lnTo>
                    <a:pt x="24512" y="13713"/>
                  </a:lnTo>
                  <a:cubicBezTo>
                    <a:pt x="24918" y="13584"/>
                    <a:pt x="25416" y="13436"/>
                    <a:pt x="25896" y="13325"/>
                  </a:cubicBezTo>
                  <a:cubicBezTo>
                    <a:pt x="25785" y="11665"/>
                    <a:pt x="25656" y="10004"/>
                    <a:pt x="25453" y="8344"/>
                  </a:cubicBezTo>
                  <a:cubicBezTo>
                    <a:pt x="25379" y="8344"/>
                    <a:pt x="25324" y="8325"/>
                    <a:pt x="25268" y="8307"/>
                  </a:cubicBezTo>
                  <a:cubicBezTo>
                    <a:pt x="24696" y="8196"/>
                    <a:pt x="24179" y="7993"/>
                    <a:pt x="23700" y="7790"/>
                  </a:cubicBezTo>
                  <a:cubicBezTo>
                    <a:pt x="22833" y="7587"/>
                    <a:pt x="20840" y="7735"/>
                    <a:pt x="19530" y="7476"/>
                  </a:cubicBezTo>
                  <a:cubicBezTo>
                    <a:pt x="18423" y="7310"/>
                    <a:pt x="17721" y="6683"/>
                    <a:pt x="17297" y="6166"/>
                  </a:cubicBezTo>
                  <a:cubicBezTo>
                    <a:pt x="16762" y="6092"/>
                    <a:pt x="15913" y="6019"/>
                    <a:pt x="15194" y="5982"/>
                  </a:cubicBezTo>
                  <a:cubicBezTo>
                    <a:pt x="12426" y="6222"/>
                    <a:pt x="10618" y="6240"/>
                    <a:pt x="9381" y="6148"/>
                  </a:cubicBezTo>
                  <a:cubicBezTo>
                    <a:pt x="8090" y="7679"/>
                    <a:pt x="6226" y="13012"/>
                    <a:pt x="6005" y="15761"/>
                  </a:cubicBezTo>
                  <a:cubicBezTo>
                    <a:pt x="5968" y="16757"/>
                    <a:pt x="6466" y="17791"/>
                    <a:pt x="7462" y="18787"/>
                  </a:cubicBezTo>
                  <a:close/>
                  <a:moveTo>
                    <a:pt x="25250" y="7181"/>
                  </a:moveTo>
                  <a:cubicBezTo>
                    <a:pt x="25250" y="7181"/>
                    <a:pt x="25250" y="7236"/>
                    <a:pt x="25250" y="7236"/>
                  </a:cubicBezTo>
                  <a:cubicBezTo>
                    <a:pt x="25250" y="7236"/>
                    <a:pt x="25250" y="7200"/>
                    <a:pt x="25250" y="7181"/>
                  </a:cubicBezTo>
                  <a:close/>
                  <a:moveTo>
                    <a:pt x="20563" y="1627"/>
                  </a:moveTo>
                  <a:cubicBezTo>
                    <a:pt x="20563" y="1627"/>
                    <a:pt x="20618" y="1627"/>
                    <a:pt x="20637" y="1646"/>
                  </a:cubicBezTo>
                  <a:cubicBezTo>
                    <a:pt x="20618" y="1646"/>
                    <a:pt x="20581" y="1646"/>
                    <a:pt x="20563" y="1627"/>
                  </a:cubicBezTo>
                  <a:close/>
                </a:path>
              </a:pathLst>
            </a:custGeom>
            <a:solidFill>
              <a:srgbClr val="FFFFFF"/>
            </a:solidFill>
            <a:ln w="1835" cap="flat">
              <a:noFill/>
              <a:prstDash val="solid"/>
              <a:miter/>
            </a:ln>
          </p:spPr>
          <p:txBody>
            <a:bodyPr/>
            <a:lstStyle/>
            <a:p>
              <a:endParaRPr lang="en-GB"/>
            </a:p>
          </p:txBody>
        </p:sp>
        <p:sp>
          <p:nvSpPr>
            <p:cNvPr id="1452" name="Freeform: Shape 1451">
              <a:extLst>
                <a:ext uri="{FF2B5EF4-FFF2-40B4-BE49-F238E27FC236}">
                  <a16:creationId xmlns:a16="http://schemas.microsoft.com/office/drawing/2014/main" id="{564E8E50-EB84-7480-E092-3F2982D90AC0}"/>
                </a:ext>
              </a:extLst>
            </p:cNvPr>
            <p:cNvSpPr/>
            <p:nvPr/>
          </p:nvSpPr>
          <p:spPr>
            <a:xfrm>
              <a:off x="11152908" y="4927894"/>
              <a:ext cx="13488" cy="19586"/>
            </a:xfrm>
            <a:custGeom>
              <a:avLst/>
              <a:gdLst>
                <a:gd name="csX0" fmla="*/ 2749 w 13488"/>
                <a:gd name="csY0" fmla="*/ 19577 h 19586"/>
                <a:gd name="csX1" fmla="*/ 480 w 13488"/>
                <a:gd name="csY1" fmla="*/ 17547 h 19586"/>
                <a:gd name="csX2" fmla="*/ 0 w 13488"/>
                <a:gd name="csY2" fmla="*/ 2509 h 19586"/>
                <a:gd name="csX3" fmla="*/ 2140 w 13488"/>
                <a:gd name="csY3" fmla="*/ 240 h 19586"/>
                <a:gd name="csX4" fmla="*/ 10739 w 13488"/>
                <a:gd name="csY4" fmla="*/ 0 h 19586"/>
                <a:gd name="csX5" fmla="*/ 13008 w 13488"/>
                <a:gd name="csY5" fmla="*/ 2140 h 19586"/>
                <a:gd name="csX6" fmla="*/ 13488 w 13488"/>
                <a:gd name="csY6" fmla="*/ 17068 h 19586"/>
                <a:gd name="csX7" fmla="*/ 11458 w 13488"/>
                <a:gd name="csY7" fmla="*/ 19337 h 19586"/>
                <a:gd name="csX8" fmla="*/ 2749 w 13488"/>
                <a:gd name="csY8" fmla="*/ 19577 h 19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88" h="19586">
                  <a:moveTo>
                    <a:pt x="2749" y="19577"/>
                  </a:moveTo>
                  <a:cubicBezTo>
                    <a:pt x="1550" y="19688"/>
                    <a:pt x="609" y="18747"/>
                    <a:pt x="480" y="17547"/>
                  </a:cubicBezTo>
                  <a:lnTo>
                    <a:pt x="0" y="2509"/>
                  </a:lnTo>
                  <a:cubicBezTo>
                    <a:pt x="0" y="1310"/>
                    <a:pt x="959" y="369"/>
                    <a:pt x="2140" y="240"/>
                  </a:cubicBezTo>
                  <a:lnTo>
                    <a:pt x="10739" y="0"/>
                  </a:lnTo>
                  <a:cubicBezTo>
                    <a:pt x="11938" y="0"/>
                    <a:pt x="13008" y="959"/>
                    <a:pt x="13008" y="2140"/>
                  </a:cubicBezTo>
                  <a:lnTo>
                    <a:pt x="13488" y="17068"/>
                  </a:lnTo>
                  <a:cubicBezTo>
                    <a:pt x="13488" y="18267"/>
                    <a:pt x="12658" y="19337"/>
                    <a:pt x="11458" y="19337"/>
                  </a:cubicBezTo>
                  <a:lnTo>
                    <a:pt x="2749" y="19577"/>
                  </a:lnTo>
                  <a:close/>
                </a:path>
              </a:pathLst>
            </a:custGeom>
            <a:solidFill>
              <a:srgbClr val="FFFFFF"/>
            </a:solidFill>
            <a:ln w="1835" cap="flat">
              <a:noFill/>
              <a:prstDash val="solid"/>
              <a:miter/>
            </a:ln>
          </p:spPr>
          <p:txBody>
            <a:bodyPr/>
            <a:lstStyle/>
            <a:p>
              <a:endParaRPr lang="en-GB"/>
            </a:p>
          </p:txBody>
        </p:sp>
        <p:sp>
          <p:nvSpPr>
            <p:cNvPr id="1453" name="Freeform: Shape 1452">
              <a:extLst>
                <a:ext uri="{FF2B5EF4-FFF2-40B4-BE49-F238E27FC236}">
                  <a16:creationId xmlns:a16="http://schemas.microsoft.com/office/drawing/2014/main" id="{409A1D6E-93DA-739E-1092-A9E0624DE598}"/>
                </a:ext>
              </a:extLst>
            </p:cNvPr>
            <p:cNvSpPr/>
            <p:nvPr/>
          </p:nvSpPr>
          <p:spPr>
            <a:xfrm>
              <a:off x="11149919" y="4924886"/>
              <a:ext cx="19466" cy="25573"/>
            </a:xfrm>
            <a:custGeom>
              <a:avLst/>
              <a:gdLst>
                <a:gd name="csX0" fmla="*/ 5554 w 19466"/>
                <a:gd name="csY0" fmla="*/ 25574 h 25573"/>
                <a:gd name="csX1" fmla="*/ 498 w 19466"/>
                <a:gd name="csY1" fmla="*/ 20869 h 25573"/>
                <a:gd name="csX2" fmla="*/ 0 w 19466"/>
                <a:gd name="csY2" fmla="*/ 5591 h 25573"/>
                <a:gd name="csX3" fmla="*/ 4853 w 19466"/>
                <a:gd name="csY3" fmla="*/ 258 h 25573"/>
                <a:gd name="csX4" fmla="*/ 13654 w 19466"/>
                <a:gd name="csY4" fmla="*/ 0 h 25573"/>
                <a:gd name="csX5" fmla="*/ 13654 w 19466"/>
                <a:gd name="csY5" fmla="*/ 0 h 25573"/>
                <a:gd name="csX6" fmla="*/ 18987 w 19466"/>
                <a:gd name="csY6" fmla="*/ 5148 h 25573"/>
                <a:gd name="csX7" fmla="*/ 19466 w 19466"/>
                <a:gd name="csY7" fmla="*/ 19983 h 25573"/>
                <a:gd name="csX8" fmla="*/ 14448 w 19466"/>
                <a:gd name="csY8" fmla="*/ 25316 h 25573"/>
                <a:gd name="csX9" fmla="*/ 5905 w 19466"/>
                <a:gd name="csY9" fmla="*/ 25555 h 25573"/>
                <a:gd name="csX10" fmla="*/ 5535 w 19466"/>
                <a:gd name="csY10" fmla="*/ 25555 h 25573"/>
                <a:gd name="csX11" fmla="*/ 5997 w 19466"/>
                <a:gd name="csY11" fmla="*/ 6200 h 25573"/>
                <a:gd name="csX12" fmla="*/ 6421 w 19466"/>
                <a:gd name="csY12" fmla="*/ 19577 h 25573"/>
                <a:gd name="csX13" fmla="*/ 13470 w 19466"/>
                <a:gd name="csY13" fmla="*/ 19374 h 25573"/>
                <a:gd name="csX14" fmla="*/ 13045 w 19466"/>
                <a:gd name="csY14" fmla="*/ 5997 h 25573"/>
                <a:gd name="csX15" fmla="*/ 5997 w 19466"/>
                <a:gd name="csY15" fmla="*/ 6200 h 25573"/>
                <a:gd name="csX16" fmla="*/ 14374 w 19466"/>
                <a:gd name="csY16" fmla="*/ 19356 h 25573"/>
                <a:gd name="csX17" fmla="*/ 14318 w 19466"/>
                <a:gd name="csY17" fmla="*/ 19356 h 25573"/>
                <a:gd name="csX18" fmla="*/ 14374 w 19466"/>
                <a:gd name="csY18" fmla="*/ 19356 h 25573"/>
                <a:gd name="csX19" fmla="*/ 13027 w 19466"/>
                <a:gd name="csY19" fmla="*/ 5240 h 25573"/>
                <a:gd name="csX20" fmla="*/ 13027 w 19466"/>
                <a:gd name="csY20" fmla="*/ 5277 h 25573"/>
                <a:gd name="csX21" fmla="*/ 13027 w 19466"/>
                <a:gd name="csY21" fmla="*/ 5240 h 255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19466" h="25573">
                  <a:moveTo>
                    <a:pt x="5554" y="25574"/>
                  </a:moveTo>
                  <a:cubicBezTo>
                    <a:pt x="2971" y="25574"/>
                    <a:pt x="812" y="23600"/>
                    <a:pt x="498" y="20869"/>
                  </a:cubicBezTo>
                  <a:lnTo>
                    <a:pt x="0" y="5591"/>
                  </a:lnTo>
                  <a:cubicBezTo>
                    <a:pt x="0" y="2786"/>
                    <a:pt x="2085" y="535"/>
                    <a:pt x="4853" y="258"/>
                  </a:cubicBezTo>
                  <a:lnTo>
                    <a:pt x="13654" y="0"/>
                  </a:lnTo>
                  <a:lnTo>
                    <a:pt x="13654" y="0"/>
                  </a:lnTo>
                  <a:cubicBezTo>
                    <a:pt x="16625" y="0"/>
                    <a:pt x="18987" y="2306"/>
                    <a:pt x="18987" y="5148"/>
                  </a:cubicBezTo>
                  <a:lnTo>
                    <a:pt x="19466" y="19983"/>
                  </a:lnTo>
                  <a:cubicBezTo>
                    <a:pt x="19466" y="22972"/>
                    <a:pt x="17215" y="25316"/>
                    <a:pt x="14448" y="25316"/>
                  </a:cubicBezTo>
                  <a:lnTo>
                    <a:pt x="5905" y="25555"/>
                  </a:lnTo>
                  <a:cubicBezTo>
                    <a:pt x="5794" y="25555"/>
                    <a:pt x="5665" y="25555"/>
                    <a:pt x="5535" y="25555"/>
                  </a:cubicBezTo>
                  <a:close/>
                  <a:moveTo>
                    <a:pt x="5997" y="6200"/>
                  </a:moveTo>
                  <a:lnTo>
                    <a:pt x="6421" y="19577"/>
                  </a:lnTo>
                  <a:lnTo>
                    <a:pt x="13470" y="19374"/>
                  </a:lnTo>
                  <a:lnTo>
                    <a:pt x="13045" y="5997"/>
                  </a:lnTo>
                  <a:lnTo>
                    <a:pt x="5997" y="6200"/>
                  </a:lnTo>
                  <a:close/>
                  <a:moveTo>
                    <a:pt x="14374" y="19356"/>
                  </a:moveTo>
                  <a:lnTo>
                    <a:pt x="14318" y="19356"/>
                  </a:lnTo>
                  <a:lnTo>
                    <a:pt x="14374" y="19356"/>
                  </a:lnTo>
                  <a:close/>
                  <a:moveTo>
                    <a:pt x="13027" y="5240"/>
                  </a:moveTo>
                  <a:lnTo>
                    <a:pt x="13027" y="5277"/>
                  </a:lnTo>
                  <a:lnTo>
                    <a:pt x="13027" y="5240"/>
                  </a:lnTo>
                  <a:close/>
                </a:path>
              </a:pathLst>
            </a:custGeom>
            <a:solidFill>
              <a:srgbClr val="FFFFFF"/>
            </a:solidFill>
            <a:ln w="1835" cap="flat">
              <a:noFill/>
              <a:prstDash val="solid"/>
              <a:miter/>
            </a:ln>
          </p:spPr>
          <p:txBody>
            <a:bodyPr/>
            <a:lstStyle/>
            <a:p>
              <a:endParaRPr lang="en-GB"/>
            </a:p>
          </p:txBody>
        </p:sp>
        <p:sp>
          <p:nvSpPr>
            <p:cNvPr id="1454" name="Freeform: Shape 1453">
              <a:extLst>
                <a:ext uri="{FF2B5EF4-FFF2-40B4-BE49-F238E27FC236}">
                  <a16:creationId xmlns:a16="http://schemas.microsoft.com/office/drawing/2014/main" id="{1AA0B7E9-3201-26CD-7B51-AF3E94D74C60}"/>
                </a:ext>
              </a:extLst>
            </p:cNvPr>
            <p:cNvSpPr/>
            <p:nvPr/>
          </p:nvSpPr>
          <p:spPr>
            <a:xfrm>
              <a:off x="11073742" y="4950700"/>
              <a:ext cx="13496" cy="19586"/>
            </a:xfrm>
            <a:custGeom>
              <a:avLst/>
              <a:gdLst>
                <a:gd name="csX0" fmla="*/ 2629 w 13496"/>
                <a:gd name="csY0" fmla="*/ 19577 h 19586"/>
                <a:gd name="csX1" fmla="*/ 489 w 13496"/>
                <a:gd name="csY1" fmla="*/ 17547 h 19586"/>
                <a:gd name="csX2" fmla="*/ 9 w 13496"/>
                <a:gd name="csY2" fmla="*/ 2509 h 19586"/>
                <a:gd name="csX3" fmla="*/ 2039 w 13496"/>
                <a:gd name="csY3" fmla="*/ 240 h 19586"/>
                <a:gd name="csX4" fmla="*/ 10748 w 13496"/>
                <a:gd name="csY4" fmla="*/ 0 h 19586"/>
                <a:gd name="csX5" fmla="*/ 13017 w 13496"/>
                <a:gd name="csY5" fmla="*/ 2140 h 19586"/>
                <a:gd name="csX6" fmla="*/ 13497 w 13496"/>
                <a:gd name="csY6" fmla="*/ 17068 h 19586"/>
                <a:gd name="csX7" fmla="*/ 11357 w 13496"/>
                <a:gd name="csY7" fmla="*/ 19337 h 19586"/>
                <a:gd name="csX8" fmla="*/ 2647 w 13496"/>
                <a:gd name="csY8" fmla="*/ 19577 h 19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96" h="19586">
                  <a:moveTo>
                    <a:pt x="2629" y="19577"/>
                  </a:moveTo>
                  <a:cubicBezTo>
                    <a:pt x="1430" y="19688"/>
                    <a:pt x="489" y="18747"/>
                    <a:pt x="489" y="17547"/>
                  </a:cubicBezTo>
                  <a:lnTo>
                    <a:pt x="9" y="2509"/>
                  </a:lnTo>
                  <a:cubicBezTo>
                    <a:pt x="-102" y="1310"/>
                    <a:pt x="839" y="369"/>
                    <a:pt x="2039" y="240"/>
                  </a:cubicBezTo>
                  <a:lnTo>
                    <a:pt x="10748" y="0"/>
                  </a:lnTo>
                  <a:cubicBezTo>
                    <a:pt x="11947" y="0"/>
                    <a:pt x="12888" y="959"/>
                    <a:pt x="13017" y="2140"/>
                  </a:cubicBezTo>
                  <a:lnTo>
                    <a:pt x="13497" y="17068"/>
                  </a:lnTo>
                  <a:cubicBezTo>
                    <a:pt x="13497" y="18267"/>
                    <a:pt x="12537" y="19337"/>
                    <a:pt x="11357" y="19337"/>
                  </a:cubicBezTo>
                  <a:lnTo>
                    <a:pt x="2647" y="19577"/>
                  </a:lnTo>
                  <a:close/>
                </a:path>
              </a:pathLst>
            </a:custGeom>
            <a:solidFill>
              <a:srgbClr val="FFFFFF"/>
            </a:solidFill>
            <a:ln w="1835" cap="flat">
              <a:noFill/>
              <a:prstDash val="solid"/>
              <a:miter/>
            </a:ln>
          </p:spPr>
          <p:txBody>
            <a:bodyPr/>
            <a:lstStyle/>
            <a:p>
              <a:endParaRPr lang="en-GB"/>
            </a:p>
          </p:txBody>
        </p:sp>
        <p:sp>
          <p:nvSpPr>
            <p:cNvPr id="1455" name="Freeform: Shape 1454">
              <a:extLst>
                <a:ext uri="{FF2B5EF4-FFF2-40B4-BE49-F238E27FC236}">
                  <a16:creationId xmlns:a16="http://schemas.microsoft.com/office/drawing/2014/main" id="{7FE2D0ED-A366-8CB1-921F-1ADE9B98DAD4}"/>
                </a:ext>
              </a:extLst>
            </p:cNvPr>
            <p:cNvSpPr/>
            <p:nvPr/>
          </p:nvSpPr>
          <p:spPr>
            <a:xfrm>
              <a:off x="11070741" y="4947711"/>
              <a:ext cx="19487" cy="25555"/>
            </a:xfrm>
            <a:custGeom>
              <a:avLst/>
              <a:gdLst>
                <a:gd name="csX0" fmla="*/ 5409 w 19487"/>
                <a:gd name="csY0" fmla="*/ 25555 h 25555"/>
                <a:gd name="csX1" fmla="*/ 2161 w 19487"/>
                <a:gd name="csY1" fmla="*/ 24301 h 25555"/>
                <a:gd name="csX2" fmla="*/ 500 w 19487"/>
                <a:gd name="csY2" fmla="*/ 20518 h 25555"/>
                <a:gd name="csX3" fmla="*/ 21 w 19487"/>
                <a:gd name="csY3" fmla="*/ 5572 h 25555"/>
                <a:gd name="csX4" fmla="*/ 1331 w 19487"/>
                <a:gd name="csY4" fmla="*/ 1919 h 25555"/>
                <a:gd name="csX5" fmla="*/ 4744 w 19487"/>
                <a:gd name="csY5" fmla="*/ 258 h 25555"/>
                <a:gd name="csX6" fmla="*/ 13675 w 19487"/>
                <a:gd name="csY6" fmla="*/ 0 h 25555"/>
                <a:gd name="csX7" fmla="*/ 13675 w 19487"/>
                <a:gd name="csY7" fmla="*/ 0 h 25555"/>
                <a:gd name="csX8" fmla="*/ 18989 w 19487"/>
                <a:gd name="csY8" fmla="*/ 4834 h 25555"/>
                <a:gd name="csX9" fmla="*/ 19487 w 19487"/>
                <a:gd name="csY9" fmla="*/ 19965 h 25555"/>
                <a:gd name="csX10" fmla="*/ 14358 w 19487"/>
                <a:gd name="csY10" fmla="*/ 25316 h 25555"/>
                <a:gd name="csX11" fmla="*/ 5815 w 19487"/>
                <a:gd name="csY11" fmla="*/ 25555 h 25555"/>
                <a:gd name="csX12" fmla="*/ 5427 w 19487"/>
                <a:gd name="csY12" fmla="*/ 25555 h 25555"/>
                <a:gd name="csX13" fmla="*/ 5999 w 19487"/>
                <a:gd name="csY13" fmla="*/ 6181 h 25555"/>
                <a:gd name="csX14" fmla="*/ 6423 w 19487"/>
                <a:gd name="csY14" fmla="*/ 19540 h 25555"/>
                <a:gd name="csX15" fmla="*/ 13472 w 19487"/>
                <a:gd name="csY15" fmla="*/ 19356 h 25555"/>
                <a:gd name="csX16" fmla="*/ 13048 w 19487"/>
                <a:gd name="csY16" fmla="*/ 5978 h 25555"/>
                <a:gd name="csX17" fmla="*/ 5999 w 19487"/>
                <a:gd name="csY17" fmla="*/ 6181 h 25555"/>
                <a:gd name="csX18" fmla="*/ 14265 w 19487"/>
                <a:gd name="csY18" fmla="*/ 19337 h 25555"/>
                <a:gd name="csX19" fmla="*/ 14228 w 19487"/>
                <a:gd name="csY19" fmla="*/ 19337 h 25555"/>
                <a:gd name="csX20" fmla="*/ 14265 w 19487"/>
                <a:gd name="csY20" fmla="*/ 19337 h 25555"/>
                <a:gd name="csX21" fmla="*/ 5962 w 19487"/>
                <a:gd name="csY21" fmla="*/ 5185 h 25555"/>
                <a:gd name="csX22" fmla="*/ 5962 w 19487"/>
                <a:gd name="csY22" fmla="*/ 5314 h 25555"/>
                <a:gd name="csX23" fmla="*/ 5962 w 19487"/>
                <a:gd name="csY23" fmla="*/ 5185 h 255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19487" h="25555">
                  <a:moveTo>
                    <a:pt x="5409" y="25555"/>
                  </a:moveTo>
                  <a:cubicBezTo>
                    <a:pt x="4228" y="25555"/>
                    <a:pt x="3047" y="25113"/>
                    <a:pt x="2161" y="24301"/>
                  </a:cubicBezTo>
                  <a:cubicBezTo>
                    <a:pt x="1091" y="23360"/>
                    <a:pt x="500" y="21976"/>
                    <a:pt x="500" y="20518"/>
                  </a:cubicBezTo>
                  <a:lnTo>
                    <a:pt x="21" y="5572"/>
                  </a:lnTo>
                  <a:cubicBezTo>
                    <a:pt x="-108" y="4355"/>
                    <a:pt x="371" y="2952"/>
                    <a:pt x="1331" y="1919"/>
                  </a:cubicBezTo>
                  <a:cubicBezTo>
                    <a:pt x="2216" y="978"/>
                    <a:pt x="3416" y="387"/>
                    <a:pt x="4744" y="258"/>
                  </a:cubicBezTo>
                  <a:lnTo>
                    <a:pt x="13675" y="0"/>
                  </a:lnTo>
                  <a:lnTo>
                    <a:pt x="13675" y="0"/>
                  </a:lnTo>
                  <a:cubicBezTo>
                    <a:pt x="16480" y="0"/>
                    <a:pt x="18731" y="2085"/>
                    <a:pt x="18989" y="4834"/>
                  </a:cubicBezTo>
                  <a:lnTo>
                    <a:pt x="19487" y="19965"/>
                  </a:lnTo>
                  <a:cubicBezTo>
                    <a:pt x="19487" y="22954"/>
                    <a:pt x="17181" y="25316"/>
                    <a:pt x="14358" y="25316"/>
                  </a:cubicBezTo>
                  <a:lnTo>
                    <a:pt x="5815" y="25555"/>
                  </a:lnTo>
                  <a:cubicBezTo>
                    <a:pt x="5685" y="25555"/>
                    <a:pt x="5556" y="25555"/>
                    <a:pt x="5427" y="25555"/>
                  </a:cubicBezTo>
                  <a:close/>
                  <a:moveTo>
                    <a:pt x="5999" y="6181"/>
                  </a:moveTo>
                  <a:lnTo>
                    <a:pt x="6423" y="19540"/>
                  </a:lnTo>
                  <a:lnTo>
                    <a:pt x="13472" y="19356"/>
                  </a:lnTo>
                  <a:lnTo>
                    <a:pt x="13048" y="5978"/>
                  </a:lnTo>
                  <a:lnTo>
                    <a:pt x="5999" y="6181"/>
                  </a:lnTo>
                  <a:close/>
                  <a:moveTo>
                    <a:pt x="14265" y="19337"/>
                  </a:moveTo>
                  <a:lnTo>
                    <a:pt x="14228" y="19337"/>
                  </a:lnTo>
                  <a:lnTo>
                    <a:pt x="14265" y="19337"/>
                  </a:lnTo>
                  <a:close/>
                  <a:moveTo>
                    <a:pt x="5962" y="5185"/>
                  </a:moveTo>
                  <a:lnTo>
                    <a:pt x="5962" y="5314"/>
                  </a:lnTo>
                  <a:lnTo>
                    <a:pt x="5962" y="5185"/>
                  </a:lnTo>
                  <a:close/>
                </a:path>
              </a:pathLst>
            </a:custGeom>
            <a:solidFill>
              <a:srgbClr val="FFFFFF"/>
            </a:solidFill>
            <a:ln w="1835" cap="flat">
              <a:noFill/>
              <a:prstDash val="solid"/>
              <a:miter/>
            </a:ln>
          </p:spPr>
          <p:txBody>
            <a:bodyPr/>
            <a:lstStyle/>
            <a:p>
              <a:endParaRPr lang="en-GB"/>
            </a:p>
          </p:txBody>
        </p:sp>
        <p:sp>
          <p:nvSpPr>
            <p:cNvPr id="1456" name="Freeform: Shape 1455">
              <a:extLst>
                <a:ext uri="{FF2B5EF4-FFF2-40B4-BE49-F238E27FC236}">
                  <a16:creationId xmlns:a16="http://schemas.microsoft.com/office/drawing/2014/main" id="{14321E42-E1FE-D27C-5AD8-01BFA643027F}"/>
                </a:ext>
              </a:extLst>
            </p:cNvPr>
            <p:cNvSpPr/>
            <p:nvPr/>
          </p:nvSpPr>
          <p:spPr>
            <a:xfrm>
              <a:off x="11007934" y="5014709"/>
              <a:ext cx="13496" cy="19687"/>
            </a:xfrm>
            <a:custGeom>
              <a:avLst/>
              <a:gdLst>
                <a:gd name="csX0" fmla="*/ 2749 w 13496"/>
                <a:gd name="csY0" fmla="*/ 19688 h 19687"/>
                <a:gd name="csX1" fmla="*/ 480 w 13496"/>
                <a:gd name="csY1" fmla="*/ 17547 h 19687"/>
                <a:gd name="csX2" fmla="*/ 0 w 13496"/>
                <a:gd name="csY2" fmla="*/ 2620 h 19687"/>
                <a:gd name="csX3" fmla="*/ 2140 w 13496"/>
                <a:gd name="csY3" fmla="*/ 351 h 19687"/>
                <a:gd name="csX4" fmla="*/ 10739 w 13496"/>
                <a:gd name="csY4" fmla="*/ 0 h 19687"/>
                <a:gd name="csX5" fmla="*/ 13008 w 13496"/>
                <a:gd name="csY5" fmla="*/ 2140 h 19687"/>
                <a:gd name="csX6" fmla="*/ 13488 w 13496"/>
                <a:gd name="csY6" fmla="*/ 17178 h 19687"/>
                <a:gd name="csX7" fmla="*/ 11458 w 13496"/>
                <a:gd name="csY7" fmla="*/ 19337 h 19687"/>
                <a:gd name="csX8" fmla="*/ 2749 w 13496"/>
                <a:gd name="csY8" fmla="*/ 19688 h 196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96" h="19687">
                  <a:moveTo>
                    <a:pt x="2749" y="19688"/>
                  </a:moveTo>
                  <a:cubicBezTo>
                    <a:pt x="1550" y="19688"/>
                    <a:pt x="609" y="18728"/>
                    <a:pt x="480" y="17547"/>
                  </a:cubicBezTo>
                  <a:lnTo>
                    <a:pt x="0" y="2620"/>
                  </a:lnTo>
                  <a:cubicBezTo>
                    <a:pt x="0" y="1310"/>
                    <a:pt x="959" y="351"/>
                    <a:pt x="2140" y="351"/>
                  </a:cubicBezTo>
                  <a:lnTo>
                    <a:pt x="10739" y="0"/>
                  </a:lnTo>
                  <a:cubicBezTo>
                    <a:pt x="12049" y="0"/>
                    <a:pt x="13008" y="959"/>
                    <a:pt x="13008" y="2140"/>
                  </a:cubicBezTo>
                  <a:lnTo>
                    <a:pt x="13488" y="17178"/>
                  </a:lnTo>
                  <a:cubicBezTo>
                    <a:pt x="13599" y="18378"/>
                    <a:pt x="12658" y="19337"/>
                    <a:pt x="11458" y="19337"/>
                  </a:cubicBezTo>
                  <a:lnTo>
                    <a:pt x="2749" y="19688"/>
                  </a:lnTo>
                  <a:close/>
                </a:path>
              </a:pathLst>
            </a:custGeom>
            <a:solidFill>
              <a:srgbClr val="FFFFFF"/>
            </a:solidFill>
            <a:ln w="1835" cap="flat">
              <a:noFill/>
              <a:prstDash val="solid"/>
              <a:miter/>
            </a:ln>
          </p:spPr>
          <p:txBody>
            <a:bodyPr/>
            <a:lstStyle/>
            <a:p>
              <a:endParaRPr lang="en-GB"/>
            </a:p>
          </p:txBody>
        </p:sp>
        <p:sp>
          <p:nvSpPr>
            <p:cNvPr id="1457" name="Freeform: Shape 1456">
              <a:extLst>
                <a:ext uri="{FF2B5EF4-FFF2-40B4-BE49-F238E27FC236}">
                  <a16:creationId xmlns:a16="http://schemas.microsoft.com/office/drawing/2014/main" id="{039C520B-9CBE-B7CE-DA5B-220F3A9CEE4C}"/>
                </a:ext>
              </a:extLst>
            </p:cNvPr>
            <p:cNvSpPr/>
            <p:nvPr/>
          </p:nvSpPr>
          <p:spPr>
            <a:xfrm>
              <a:off x="11004945" y="5011720"/>
              <a:ext cx="19483" cy="25666"/>
            </a:xfrm>
            <a:custGeom>
              <a:avLst/>
              <a:gdLst>
                <a:gd name="csX0" fmla="*/ 5738 w 19483"/>
                <a:gd name="csY0" fmla="*/ 25666 h 25666"/>
                <a:gd name="csX1" fmla="*/ 498 w 19483"/>
                <a:gd name="csY1" fmla="*/ 20832 h 25666"/>
                <a:gd name="csX2" fmla="*/ 0 w 19483"/>
                <a:gd name="csY2" fmla="*/ 5702 h 25666"/>
                <a:gd name="csX3" fmla="*/ 5130 w 19483"/>
                <a:gd name="csY3" fmla="*/ 351 h 25666"/>
                <a:gd name="csX4" fmla="*/ 13617 w 19483"/>
                <a:gd name="csY4" fmla="*/ 0 h 25666"/>
                <a:gd name="csX5" fmla="*/ 13617 w 19483"/>
                <a:gd name="csY5" fmla="*/ 0 h 25666"/>
                <a:gd name="csX6" fmla="*/ 18987 w 19483"/>
                <a:gd name="csY6" fmla="*/ 5130 h 25666"/>
                <a:gd name="csX7" fmla="*/ 19466 w 19483"/>
                <a:gd name="csY7" fmla="*/ 20075 h 25666"/>
                <a:gd name="csX8" fmla="*/ 18212 w 19483"/>
                <a:gd name="csY8" fmla="*/ 23673 h 25666"/>
                <a:gd name="csX9" fmla="*/ 14448 w 19483"/>
                <a:gd name="csY9" fmla="*/ 25316 h 25666"/>
                <a:gd name="csX10" fmla="*/ 5849 w 19483"/>
                <a:gd name="csY10" fmla="*/ 25666 h 25666"/>
                <a:gd name="csX11" fmla="*/ 5738 w 19483"/>
                <a:gd name="csY11" fmla="*/ 25666 h 25666"/>
                <a:gd name="csX12" fmla="*/ 13507 w 19483"/>
                <a:gd name="csY12" fmla="*/ 20352 h 25666"/>
                <a:gd name="csX13" fmla="*/ 13507 w 19483"/>
                <a:gd name="csY13" fmla="*/ 20463 h 25666"/>
                <a:gd name="csX14" fmla="*/ 13507 w 19483"/>
                <a:gd name="csY14" fmla="*/ 20352 h 25666"/>
                <a:gd name="csX15" fmla="*/ 5997 w 19483"/>
                <a:gd name="csY15" fmla="*/ 6274 h 25666"/>
                <a:gd name="csX16" fmla="*/ 6421 w 19483"/>
                <a:gd name="csY16" fmla="*/ 19651 h 25666"/>
                <a:gd name="csX17" fmla="*/ 13470 w 19483"/>
                <a:gd name="csY17" fmla="*/ 19374 h 25666"/>
                <a:gd name="csX18" fmla="*/ 13045 w 19483"/>
                <a:gd name="csY18" fmla="*/ 5978 h 25666"/>
                <a:gd name="csX19" fmla="*/ 5997 w 19483"/>
                <a:gd name="csY19" fmla="*/ 6274 h 25666"/>
                <a:gd name="csX20" fmla="*/ 5296 w 19483"/>
                <a:gd name="csY20" fmla="*/ 6310 h 25666"/>
                <a:gd name="csX21" fmla="*/ 5240 w 19483"/>
                <a:gd name="csY21" fmla="*/ 6310 h 25666"/>
                <a:gd name="csX22" fmla="*/ 5296 w 19483"/>
                <a:gd name="csY22" fmla="*/ 6310 h 25666"/>
                <a:gd name="csX23" fmla="*/ 13027 w 19483"/>
                <a:gd name="csY23" fmla="*/ 5222 h 25666"/>
                <a:gd name="csX24" fmla="*/ 13027 w 19483"/>
                <a:gd name="csY24" fmla="*/ 5259 h 25666"/>
                <a:gd name="csX25" fmla="*/ 13027 w 19483"/>
                <a:gd name="csY25" fmla="*/ 5222 h 256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19483" h="25666">
                  <a:moveTo>
                    <a:pt x="5738" y="25666"/>
                  </a:moveTo>
                  <a:cubicBezTo>
                    <a:pt x="3026" y="25666"/>
                    <a:pt x="775" y="23581"/>
                    <a:pt x="498" y="20832"/>
                  </a:cubicBezTo>
                  <a:lnTo>
                    <a:pt x="0" y="5702"/>
                  </a:lnTo>
                  <a:cubicBezTo>
                    <a:pt x="0" y="2657"/>
                    <a:pt x="2251" y="351"/>
                    <a:pt x="5130" y="351"/>
                  </a:cubicBezTo>
                  <a:lnTo>
                    <a:pt x="13617" y="0"/>
                  </a:lnTo>
                  <a:lnTo>
                    <a:pt x="13617" y="0"/>
                  </a:lnTo>
                  <a:cubicBezTo>
                    <a:pt x="16680" y="0"/>
                    <a:pt x="18987" y="2251"/>
                    <a:pt x="18987" y="5130"/>
                  </a:cubicBezTo>
                  <a:lnTo>
                    <a:pt x="19466" y="20075"/>
                  </a:lnTo>
                  <a:cubicBezTo>
                    <a:pt x="19577" y="21256"/>
                    <a:pt x="19134" y="22640"/>
                    <a:pt x="18212" y="23673"/>
                  </a:cubicBezTo>
                  <a:cubicBezTo>
                    <a:pt x="17252" y="24725"/>
                    <a:pt x="15887" y="25316"/>
                    <a:pt x="14448" y="25316"/>
                  </a:cubicBezTo>
                  <a:lnTo>
                    <a:pt x="5849" y="25666"/>
                  </a:lnTo>
                  <a:lnTo>
                    <a:pt x="5738" y="25666"/>
                  </a:lnTo>
                  <a:close/>
                  <a:moveTo>
                    <a:pt x="13507" y="20352"/>
                  </a:moveTo>
                  <a:lnTo>
                    <a:pt x="13507" y="20463"/>
                  </a:lnTo>
                  <a:lnTo>
                    <a:pt x="13507" y="20352"/>
                  </a:lnTo>
                  <a:close/>
                  <a:moveTo>
                    <a:pt x="5997" y="6274"/>
                  </a:moveTo>
                  <a:lnTo>
                    <a:pt x="6421" y="19651"/>
                  </a:lnTo>
                  <a:lnTo>
                    <a:pt x="13470" y="19374"/>
                  </a:lnTo>
                  <a:lnTo>
                    <a:pt x="13045" y="5978"/>
                  </a:lnTo>
                  <a:lnTo>
                    <a:pt x="5997" y="6274"/>
                  </a:lnTo>
                  <a:close/>
                  <a:moveTo>
                    <a:pt x="5296" y="6310"/>
                  </a:moveTo>
                  <a:lnTo>
                    <a:pt x="5240" y="6310"/>
                  </a:lnTo>
                  <a:lnTo>
                    <a:pt x="5296" y="6310"/>
                  </a:lnTo>
                  <a:close/>
                  <a:moveTo>
                    <a:pt x="13027" y="5222"/>
                  </a:moveTo>
                  <a:lnTo>
                    <a:pt x="13027" y="5259"/>
                  </a:lnTo>
                  <a:lnTo>
                    <a:pt x="13027" y="5222"/>
                  </a:lnTo>
                  <a:close/>
                </a:path>
              </a:pathLst>
            </a:custGeom>
            <a:solidFill>
              <a:srgbClr val="FFFFFF"/>
            </a:solidFill>
            <a:ln w="1835" cap="flat">
              <a:noFill/>
              <a:prstDash val="solid"/>
              <a:miter/>
            </a:ln>
          </p:spPr>
          <p:txBody>
            <a:bodyPr/>
            <a:lstStyle/>
            <a:p>
              <a:endParaRPr lang="en-GB"/>
            </a:p>
          </p:txBody>
        </p:sp>
        <p:sp>
          <p:nvSpPr>
            <p:cNvPr id="1458" name="Freeform: Shape 1457">
              <a:extLst>
                <a:ext uri="{FF2B5EF4-FFF2-40B4-BE49-F238E27FC236}">
                  <a16:creationId xmlns:a16="http://schemas.microsoft.com/office/drawing/2014/main" id="{E4AD3F03-3302-B61D-35A4-CA794EAB1781}"/>
                </a:ext>
              </a:extLst>
            </p:cNvPr>
            <p:cNvSpPr/>
            <p:nvPr/>
          </p:nvSpPr>
          <p:spPr>
            <a:xfrm>
              <a:off x="11035750" y="4904866"/>
              <a:ext cx="13478" cy="19595"/>
            </a:xfrm>
            <a:custGeom>
              <a:avLst/>
              <a:gdLst>
                <a:gd name="csX0" fmla="*/ 2647 w 13478"/>
                <a:gd name="csY0" fmla="*/ 19559 h 19595"/>
                <a:gd name="csX1" fmla="*/ 489 w 13478"/>
                <a:gd name="csY1" fmla="*/ 17529 h 19595"/>
                <a:gd name="csX2" fmla="*/ 9 w 13478"/>
                <a:gd name="csY2" fmla="*/ 2491 h 19595"/>
                <a:gd name="csX3" fmla="*/ 2039 w 13478"/>
                <a:gd name="csY3" fmla="*/ 351 h 19595"/>
                <a:gd name="csX4" fmla="*/ 10748 w 13478"/>
                <a:gd name="csY4" fmla="*/ 0 h 19595"/>
                <a:gd name="csX5" fmla="*/ 12888 w 13478"/>
                <a:gd name="csY5" fmla="*/ 2159 h 19595"/>
                <a:gd name="csX6" fmla="*/ 13479 w 13478"/>
                <a:gd name="csY6" fmla="*/ 17086 h 19595"/>
                <a:gd name="csX7" fmla="*/ 11338 w 13478"/>
                <a:gd name="csY7" fmla="*/ 19356 h 19595"/>
                <a:gd name="csX8" fmla="*/ 2629 w 13478"/>
                <a:gd name="csY8" fmla="*/ 19596 h 195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78" h="19595">
                  <a:moveTo>
                    <a:pt x="2647" y="19559"/>
                  </a:moveTo>
                  <a:cubicBezTo>
                    <a:pt x="1448" y="19669"/>
                    <a:pt x="489" y="18728"/>
                    <a:pt x="489" y="17529"/>
                  </a:cubicBezTo>
                  <a:lnTo>
                    <a:pt x="9" y="2491"/>
                  </a:lnTo>
                  <a:cubicBezTo>
                    <a:pt x="-102" y="1292"/>
                    <a:pt x="839" y="351"/>
                    <a:pt x="2039" y="351"/>
                  </a:cubicBezTo>
                  <a:lnTo>
                    <a:pt x="10748" y="0"/>
                  </a:lnTo>
                  <a:cubicBezTo>
                    <a:pt x="11947" y="0"/>
                    <a:pt x="12888" y="959"/>
                    <a:pt x="12888" y="2159"/>
                  </a:cubicBezTo>
                  <a:lnTo>
                    <a:pt x="13479" y="17086"/>
                  </a:lnTo>
                  <a:cubicBezTo>
                    <a:pt x="13479" y="18286"/>
                    <a:pt x="12519" y="19356"/>
                    <a:pt x="11338" y="19356"/>
                  </a:cubicBezTo>
                  <a:lnTo>
                    <a:pt x="2629" y="19596"/>
                  </a:lnTo>
                  <a:close/>
                </a:path>
              </a:pathLst>
            </a:custGeom>
            <a:solidFill>
              <a:srgbClr val="FFFFFF"/>
            </a:solidFill>
            <a:ln w="1835" cap="flat">
              <a:noFill/>
              <a:prstDash val="solid"/>
              <a:miter/>
            </a:ln>
          </p:spPr>
          <p:txBody>
            <a:bodyPr/>
            <a:lstStyle/>
            <a:p>
              <a:endParaRPr lang="en-GB"/>
            </a:p>
          </p:txBody>
        </p:sp>
        <p:sp>
          <p:nvSpPr>
            <p:cNvPr id="1459" name="Freeform: Shape 1458">
              <a:extLst>
                <a:ext uri="{FF2B5EF4-FFF2-40B4-BE49-F238E27FC236}">
                  <a16:creationId xmlns:a16="http://schemas.microsoft.com/office/drawing/2014/main" id="{50821A6B-6AE6-731B-4CB0-9D53B5DE3804}"/>
                </a:ext>
              </a:extLst>
            </p:cNvPr>
            <p:cNvSpPr/>
            <p:nvPr/>
          </p:nvSpPr>
          <p:spPr>
            <a:xfrm>
              <a:off x="11032771" y="4901840"/>
              <a:ext cx="19464" cy="25573"/>
            </a:xfrm>
            <a:custGeom>
              <a:avLst/>
              <a:gdLst>
                <a:gd name="csX0" fmla="*/ 5405 w 19464"/>
                <a:gd name="csY0" fmla="*/ 25574 h 25573"/>
                <a:gd name="csX1" fmla="*/ 2157 w 19464"/>
                <a:gd name="csY1" fmla="*/ 24319 h 25573"/>
                <a:gd name="csX2" fmla="*/ 496 w 19464"/>
                <a:gd name="csY2" fmla="*/ 20537 h 25573"/>
                <a:gd name="csX3" fmla="*/ 17 w 19464"/>
                <a:gd name="csY3" fmla="*/ 5591 h 25573"/>
                <a:gd name="csX4" fmla="*/ 1271 w 19464"/>
                <a:gd name="csY4" fmla="*/ 2011 h 25573"/>
                <a:gd name="csX5" fmla="*/ 5036 w 19464"/>
                <a:gd name="csY5" fmla="*/ 369 h 25573"/>
                <a:gd name="csX6" fmla="*/ 13616 w 19464"/>
                <a:gd name="csY6" fmla="*/ 0 h 25573"/>
                <a:gd name="csX7" fmla="*/ 13616 w 19464"/>
                <a:gd name="csY7" fmla="*/ 0 h 25573"/>
                <a:gd name="csX8" fmla="*/ 18874 w 19464"/>
                <a:gd name="csY8" fmla="*/ 5130 h 25573"/>
                <a:gd name="csX9" fmla="*/ 19465 w 19464"/>
                <a:gd name="csY9" fmla="*/ 19946 h 25573"/>
                <a:gd name="csX10" fmla="*/ 14335 w 19464"/>
                <a:gd name="csY10" fmla="*/ 25316 h 25573"/>
                <a:gd name="csX11" fmla="*/ 5792 w 19464"/>
                <a:gd name="csY11" fmla="*/ 25555 h 25573"/>
                <a:gd name="csX12" fmla="*/ 5405 w 19464"/>
                <a:gd name="csY12" fmla="*/ 25555 h 25573"/>
                <a:gd name="csX13" fmla="*/ 5995 w 19464"/>
                <a:gd name="csY13" fmla="*/ 6310 h 25573"/>
                <a:gd name="csX14" fmla="*/ 6419 w 19464"/>
                <a:gd name="csY14" fmla="*/ 19577 h 25573"/>
                <a:gd name="csX15" fmla="*/ 13468 w 19464"/>
                <a:gd name="csY15" fmla="*/ 19393 h 25573"/>
                <a:gd name="csX16" fmla="*/ 12933 w 19464"/>
                <a:gd name="csY16" fmla="*/ 6034 h 25573"/>
                <a:gd name="csX17" fmla="*/ 5995 w 19464"/>
                <a:gd name="csY17" fmla="*/ 6329 h 25573"/>
                <a:gd name="csX18" fmla="*/ 14261 w 19464"/>
                <a:gd name="csY18" fmla="*/ 19356 h 25573"/>
                <a:gd name="csX19" fmla="*/ 14224 w 19464"/>
                <a:gd name="csY19" fmla="*/ 19356 h 25573"/>
                <a:gd name="csX20" fmla="*/ 14261 w 19464"/>
                <a:gd name="csY20" fmla="*/ 19356 h 25573"/>
                <a:gd name="csX21" fmla="*/ 5977 w 19464"/>
                <a:gd name="csY21" fmla="*/ 5203 h 25573"/>
                <a:gd name="csX22" fmla="*/ 5977 w 19464"/>
                <a:gd name="csY22" fmla="*/ 5314 h 25573"/>
                <a:gd name="csX23" fmla="*/ 5977 w 19464"/>
                <a:gd name="csY23" fmla="*/ 5203 h 25573"/>
                <a:gd name="csX24" fmla="*/ 12914 w 19464"/>
                <a:gd name="csY24" fmla="*/ 5259 h 25573"/>
                <a:gd name="csX25" fmla="*/ 12914 w 19464"/>
                <a:gd name="csY25" fmla="*/ 5314 h 25573"/>
                <a:gd name="csX26" fmla="*/ 12914 w 19464"/>
                <a:gd name="csY26" fmla="*/ 5259 h 255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19464" h="25573">
                  <a:moveTo>
                    <a:pt x="5405" y="25574"/>
                  </a:moveTo>
                  <a:cubicBezTo>
                    <a:pt x="4224" y="25574"/>
                    <a:pt x="3043" y="25131"/>
                    <a:pt x="2157" y="24319"/>
                  </a:cubicBezTo>
                  <a:cubicBezTo>
                    <a:pt x="1087" y="23378"/>
                    <a:pt x="496" y="21994"/>
                    <a:pt x="496" y="20537"/>
                  </a:cubicBezTo>
                  <a:lnTo>
                    <a:pt x="17" y="5591"/>
                  </a:lnTo>
                  <a:cubicBezTo>
                    <a:pt x="-94" y="4410"/>
                    <a:pt x="349" y="3045"/>
                    <a:pt x="1271" y="2011"/>
                  </a:cubicBezTo>
                  <a:cubicBezTo>
                    <a:pt x="2212" y="978"/>
                    <a:pt x="3596" y="369"/>
                    <a:pt x="5036" y="369"/>
                  </a:cubicBezTo>
                  <a:lnTo>
                    <a:pt x="13616" y="0"/>
                  </a:lnTo>
                  <a:lnTo>
                    <a:pt x="13616" y="0"/>
                  </a:lnTo>
                  <a:cubicBezTo>
                    <a:pt x="16568" y="0"/>
                    <a:pt x="18874" y="2306"/>
                    <a:pt x="18874" y="5130"/>
                  </a:cubicBezTo>
                  <a:lnTo>
                    <a:pt x="19465" y="19946"/>
                  </a:lnTo>
                  <a:cubicBezTo>
                    <a:pt x="19465" y="22972"/>
                    <a:pt x="17158" y="25316"/>
                    <a:pt x="14335" y="25316"/>
                  </a:cubicBezTo>
                  <a:lnTo>
                    <a:pt x="5792" y="25555"/>
                  </a:lnTo>
                  <a:cubicBezTo>
                    <a:pt x="5663" y="25555"/>
                    <a:pt x="5534" y="25555"/>
                    <a:pt x="5405" y="25555"/>
                  </a:cubicBezTo>
                  <a:close/>
                  <a:moveTo>
                    <a:pt x="5995" y="6310"/>
                  </a:moveTo>
                  <a:lnTo>
                    <a:pt x="6419" y="19577"/>
                  </a:lnTo>
                  <a:lnTo>
                    <a:pt x="13468" y="19393"/>
                  </a:lnTo>
                  <a:lnTo>
                    <a:pt x="12933" y="6034"/>
                  </a:lnTo>
                  <a:lnTo>
                    <a:pt x="5995" y="6329"/>
                  </a:lnTo>
                  <a:close/>
                  <a:moveTo>
                    <a:pt x="14261" y="19356"/>
                  </a:moveTo>
                  <a:lnTo>
                    <a:pt x="14224" y="19356"/>
                  </a:lnTo>
                  <a:lnTo>
                    <a:pt x="14261" y="19356"/>
                  </a:lnTo>
                  <a:close/>
                  <a:moveTo>
                    <a:pt x="5977" y="5203"/>
                  </a:moveTo>
                  <a:lnTo>
                    <a:pt x="5977" y="5314"/>
                  </a:lnTo>
                  <a:lnTo>
                    <a:pt x="5977" y="5203"/>
                  </a:lnTo>
                  <a:close/>
                  <a:moveTo>
                    <a:pt x="12914" y="5259"/>
                  </a:moveTo>
                  <a:lnTo>
                    <a:pt x="12914" y="5314"/>
                  </a:lnTo>
                  <a:lnTo>
                    <a:pt x="12914" y="5259"/>
                  </a:lnTo>
                  <a:close/>
                </a:path>
              </a:pathLst>
            </a:custGeom>
            <a:solidFill>
              <a:srgbClr val="FFFFFF"/>
            </a:solidFill>
            <a:ln w="1835" cap="flat">
              <a:noFill/>
              <a:prstDash val="solid"/>
              <a:miter/>
            </a:ln>
          </p:spPr>
          <p:txBody>
            <a:bodyPr/>
            <a:lstStyle/>
            <a:p>
              <a:endParaRPr lang="en-GB"/>
            </a:p>
          </p:txBody>
        </p:sp>
        <p:sp>
          <p:nvSpPr>
            <p:cNvPr id="1460" name="Freeform: Shape 1459">
              <a:extLst>
                <a:ext uri="{FF2B5EF4-FFF2-40B4-BE49-F238E27FC236}">
                  <a16:creationId xmlns:a16="http://schemas.microsoft.com/office/drawing/2014/main" id="{2E4D2D86-44F5-8F0C-11F4-A54DCF0125FA}"/>
                </a:ext>
              </a:extLst>
            </p:cNvPr>
            <p:cNvSpPr/>
            <p:nvPr/>
          </p:nvSpPr>
          <p:spPr>
            <a:xfrm>
              <a:off x="11071232" y="4814915"/>
              <a:ext cx="13478" cy="19706"/>
            </a:xfrm>
            <a:custGeom>
              <a:avLst/>
              <a:gdLst>
                <a:gd name="csX0" fmla="*/ 2629 w 13478"/>
                <a:gd name="csY0" fmla="*/ 19706 h 19706"/>
                <a:gd name="csX1" fmla="*/ 489 w 13478"/>
                <a:gd name="csY1" fmla="*/ 17547 h 19706"/>
                <a:gd name="csX2" fmla="*/ 9 w 13478"/>
                <a:gd name="csY2" fmla="*/ 2509 h 19706"/>
                <a:gd name="csX3" fmla="*/ 2039 w 13478"/>
                <a:gd name="csY3" fmla="*/ 351 h 19706"/>
                <a:gd name="csX4" fmla="*/ 10748 w 13478"/>
                <a:gd name="csY4" fmla="*/ 0 h 19706"/>
                <a:gd name="csX5" fmla="*/ 12888 w 13478"/>
                <a:gd name="csY5" fmla="*/ 2159 h 19706"/>
                <a:gd name="csX6" fmla="*/ 13479 w 13478"/>
                <a:gd name="csY6" fmla="*/ 17197 h 19706"/>
                <a:gd name="csX7" fmla="*/ 11338 w 13478"/>
                <a:gd name="csY7" fmla="*/ 19356 h 19706"/>
                <a:gd name="csX8" fmla="*/ 2629 w 13478"/>
                <a:gd name="csY8" fmla="*/ 19706 h 197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78" h="19706">
                  <a:moveTo>
                    <a:pt x="2629" y="19706"/>
                  </a:moveTo>
                  <a:cubicBezTo>
                    <a:pt x="1430" y="19706"/>
                    <a:pt x="489" y="18747"/>
                    <a:pt x="489" y="17547"/>
                  </a:cubicBezTo>
                  <a:lnTo>
                    <a:pt x="9" y="2509"/>
                  </a:lnTo>
                  <a:cubicBezTo>
                    <a:pt x="-102" y="1310"/>
                    <a:pt x="839" y="351"/>
                    <a:pt x="2039" y="351"/>
                  </a:cubicBezTo>
                  <a:lnTo>
                    <a:pt x="10748" y="0"/>
                  </a:lnTo>
                  <a:cubicBezTo>
                    <a:pt x="11947" y="0"/>
                    <a:pt x="12888" y="959"/>
                    <a:pt x="12888" y="2159"/>
                  </a:cubicBezTo>
                  <a:lnTo>
                    <a:pt x="13479" y="17197"/>
                  </a:lnTo>
                  <a:cubicBezTo>
                    <a:pt x="13479" y="18396"/>
                    <a:pt x="12519" y="19356"/>
                    <a:pt x="11338" y="19356"/>
                  </a:cubicBezTo>
                  <a:lnTo>
                    <a:pt x="2629" y="19706"/>
                  </a:lnTo>
                  <a:close/>
                </a:path>
              </a:pathLst>
            </a:custGeom>
            <a:solidFill>
              <a:srgbClr val="FFFFFF"/>
            </a:solidFill>
            <a:ln w="1835" cap="flat">
              <a:noFill/>
              <a:prstDash val="solid"/>
              <a:miter/>
            </a:ln>
          </p:spPr>
          <p:txBody>
            <a:bodyPr/>
            <a:lstStyle/>
            <a:p>
              <a:endParaRPr lang="en-GB"/>
            </a:p>
          </p:txBody>
        </p:sp>
        <p:sp>
          <p:nvSpPr>
            <p:cNvPr id="1461" name="Freeform: Shape 1460">
              <a:extLst>
                <a:ext uri="{FF2B5EF4-FFF2-40B4-BE49-F238E27FC236}">
                  <a16:creationId xmlns:a16="http://schemas.microsoft.com/office/drawing/2014/main" id="{2890AE63-BA7F-F5D2-8DD7-7F3C0043E9E1}"/>
                </a:ext>
              </a:extLst>
            </p:cNvPr>
            <p:cNvSpPr/>
            <p:nvPr/>
          </p:nvSpPr>
          <p:spPr>
            <a:xfrm>
              <a:off x="11068235" y="4811926"/>
              <a:ext cx="19464" cy="25684"/>
            </a:xfrm>
            <a:custGeom>
              <a:avLst/>
              <a:gdLst>
                <a:gd name="csX0" fmla="*/ 5626 w 19464"/>
                <a:gd name="csY0" fmla="*/ 25685 h 25684"/>
                <a:gd name="csX1" fmla="*/ 496 w 19464"/>
                <a:gd name="csY1" fmla="*/ 20555 h 25684"/>
                <a:gd name="csX2" fmla="*/ 17 w 19464"/>
                <a:gd name="csY2" fmla="*/ 5591 h 25684"/>
                <a:gd name="csX3" fmla="*/ 1271 w 19464"/>
                <a:gd name="csY3" fmla="*/ 2011 h 25684"/>
                <a:gd name="csX4" fmla="*/ 5036 w 19464"/>
                <a:gd name="csY4" fmla="*/ 369 h 25684"/>
                <a:gd name="csX5" fmla="*/ 13634 w 19464"/>
                <a:gd name="csY5" fmla="*/ 0 h 25684"/>
                <a:gd name="csX6" fmla="*/ 13634 w 19464"/>
                <a:gd name="csY6" fmla="*/ 0 h 25684"/>
                <a:gd name="csX7" fmla="*/ 18874 w 19464"/>
                <a:gd name="csY7" fmla="*/ 5148 h 25684"/>
                <a:gd name="csX8" fmla="*/ 19465 w 19464"/>
                <a:gd name="csY8" fmla="*/ 20075 h 25684"/>
                <a:gd name="csX9" fmla="*/ 14335 w 19464"/>
                <a:gd name="csY9" fmla="*/ 25316 h 25684"/>
                <a:gd name="csX10" fmla="*/ 5737 w 19464"/>
                <a:gd name="csY10" fmla="*/ 25685 h 25684"/>
                <a:gd name="csX11" fmla="*/ 5608 w 19464"/>
                <a:gd name="csY11" fmla="*/ 25685 h 25684"/>
                <a:gd name="csX12" fmla="*/ 6456 w 19464"/>
                <a:gd name="csY12" fmla="*/ 20407 h 25684"/>
                <a:gd name="csX13" fmla="*/ 6456 w 19464"/>
                <a:gd name="csY13" fmla="*/ 20444 h 25684"/>
                <a:gd name="csX14" fmla="*/ 6456 w 19464"/>
                <a:gd name="csY14" fmla="*/ 20407 h 25684"/>
                <a:gd name="csX15" fmla="*/ 5995 w 19464"/>
                <a:gd name="csY15" fmla="*/ 6292 h 25684"/>
                <a:gd name="csX16" fmla="*/ 6419 w 19464"/>
                <a:gd name="csY16" fmla="*/ 19669 h 25684"/>
                <a:gd name="csX17" fmla="*/ 13449 w 19464"/>
                <a:gd name="csY17" fmla="*/ 19374 h 25684"/>
                <a:gd name="csX18" fmla="*/ 12933 w 19464"/>
                <a:gd name="csY18" fmla="*/ 5997 h 25684"/>
                <a:gd name="csX19" fmla="*/ 5995 w 19464"/>
                <a:gd name="csY19" fmla="*/ 6292 h 25684"/>
                <a:gd name="csX20" fmla="*/ 14206 w 19464"/>
                <a:gd name="csY20" fmla="*/ 19337 h 25684"/>
                <a:gd name="csX21" fmla="*/ 14151 w 19464"/>
                <a:gd name="csY21" fmla="*/ 19337 h 25684"/>
                <a:gd name="csX22" fmla="*/ 14206 w 19464"/>
                <a:gd name="csY22" fmla="*/ 19337 h 25684"/>
                <a:gd name="csX23" fmla="*/ 5977 w 19464"/>
                <a:gd name="csY23" fmla="*/ 5203 h 25684"/>
                <a:gd name="csX24" fmla="*/ 5977 w 19464"/>
                <a:gd name="csY24" fmla="*/ 5314 h 25684"/>
                <a:gd name="csX25" fmla="*/ 5977 w 19464"/>
                <a:gd name="csY25" fmla="*/ 5203 h 25684"/>
                <a:gd name="csX26" fmla="*/ 12914 w 19464"/>
                <a:gd name="csY26" fmla="*/ 5259 h 25684"/>
                <a:gd name="csX27" fmla="*/ 12914 w 19464"/>
                <a:gd name="csY27" fmla="*/ 5314 h 25684"/>
                <a:gd name="csX28" fmla="*/ 12914 w 19464"/>
                <a:gd name="csY28" fmla="*/ 5259 h 2568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19464" h="25684">
                  <a:moveTo>
                    <a:pt x="5626" y="25685"/>
                  </a:moveTo>
                  <a:cubicBezTo>
                    <a:pt x="2784" y="25685"/>
                    <a:pt x="496" y="23378"/>
                    <a:pt x="496" y="20555"/>
                  </a:cubicBezTo>
                  <a:lnTo>
                    <a:pt x="17" y="5591"/>
                  </a:lnTo>
                  <a:cubicBezTo>
                    <a:pt x="-94" y="4410"/>
                    <a:pt x="349" y="3045"/>
                    <a:pt x="1271" y="2011"/>
                  </a:cubicBezTo>
                  <a:cubicBezTo>
                    <a:pt x="2212" y="978"/>
                    <a:pt x="3596" y="369"/>
                    <a:pt x="5036" y="369"/>
                  </a:cubicBezTo>
                  <a:lnTo>
                    <a:pt x="13634" y="0"/>
                  </a:lnTo>
                  <a:lnTo>
                    <a:pt x="13634" y="0"/>
                  </a:lnTo>
                  <a:cubicBezTo>
                    <a:pt x="16586" y="0"/>
                    <a:pt x="18874" y="2306"/>
                    <a:pt x="18874" y="5148"/>
                  </a:cubicBezTo>
                  <a:lnTo>
                    <a:pt x="19465" y="20075"/>
                  </a:lnTo>
                  <a:cubicBezTo>
                    <a:pt x="19465" y="23028"/>
                    <a:pt x="17158" y="25316"/>
                    <a:pt x="14335" y="25316"/>
                  </a:cubicBezTo>
                  <a:lnTo>
                    <a:pt x="5737" y="25685"/>
                  </a:lnTo>
                  <a:lnTo>
                    <a:pt x="5608" y="25685"/>
                  </a:lnTo>
                  <a:close/>
                  <a:moveTo>
                    <a:pt x="6456" y="20407"/>
                  </a:moveTo>
                  <a:lnTo>
                    <a:pt x="6456" y="20444"/>
                  </a:lnTo>
                  <a:lnTo>
                    <a:pt x="6456" y="20407"/>
                  </a:lnTo>
                  <a:close/>
                  <a:moveTo>
                    <a:pt x="5995" y="6292"/>
                  </a:moveTo>
                  <a:lnTo>
                    <a:pt x="6419" y="19669"/>
                  </a:lnTo>
                  <a:lnTo>
                    <a:pt x="13449" y="19374"/>
                  </a:lnTo>
                  <a:lnTo>
                    <a:pt x="12933" y="5997"/>
                  </a:lnTo>
                  <a:lnTo>
                    <a:pt x="5995" y="6292"/>
                  </a:lnTo>
                  <a:close/>
                  <a:moveTo>
                    <a:pt x="14206" y="19337"/>
                  </a:moveTo>
                  <a:lnTo>
                    <a:pt x="14151" y="19337"/>
                  </a:lnTo>
                  <a:lnTo>
                    <a:pt x="14206" y="19337"/>
                  </a:lnTo>
                  <a:close/>
                  <a:moveTo>
                    <a:pt x="5977" y="5203"/>
                  </a:moveTo>
                  <a:lnTo>
                    <a:pt x="5977" y="5314"/>
                  </a:lnTo>
                  <a:lnTo>
                    <a:pt x="5977" y="5203"/>
                  </a:lnTo>
                  <a:close/>
                  <a:moveTo>
                    <a:pt x="12914" y="5259"/>
                  </a:moveTo>
                  <a:lnTo>
                    <a:pt x="12914" y="5314"/>
                  </a:lnTo>
                  <a:lnTo>
                    <a:pt x="12914" y="5259"/>
                  </a:lnTo>
                  <a:close/>
                </a:path>
              </a:pathLst>
            </a:custGeom>
            <a:solidFill>
              <a:srgbClr val="FFFFFF"/>
            </a:solidFill>
            <a:ln w="1835" cap="flat">
              <a:noFill/>
              <a:prstDash val="solid"/>
              <a:miter/>
            </a:ln>
          </p:spPr>
          <p:txBody>
            <a:bodyPr/>
            <a:lstStyle/>
            <a:p>
              <a:endParaRPr lang="en-GB"/>
            </a:p>
          </p:txBody>
        </p:sp>
        <p:sp>
          <p:nvSpPr>
            <p:cNvPr id="1462" name="Freeform: Shape 1461">
              <a:extLst>
                <a:ext uri="{FF2B5EF4-FFF2-40B4-BE49-F238E27FC236}">
                  <a16:creationId xmlns:a16="http://schemas.microsoft.com/office/drawing/2014/main" id="{D3F888D9-B175-BC2F-BDCA-4601D8917C8B}"/>
                </a:ext>
              </a:extLst>
            </p:cNvPr>
            <p:cNvSpPr/>
            <p:nvPr/>
          </p:nvSpPr>
          <p:spPr>
            <a:xfrm>
              <a:off x="11148018" y="4977326"/>
              <a:ext cx="13488" cy="19586"/>
            </a:xfrm>
            <a:custGeom>
              <a:avLst/>
              <a:gdLst>
                <a:gd name="csX0" fmla="*/ 2749 w 13488"/>
                <a:gd name="csY0" fmla="*/ 19577 h 19586"/>
                <a:gd name="csX1" fmla="*/ 480 w 13488"/>
                <a:gd name="csY1" fmla="*/ 17548 h 19586"/>
                <a:gd name="csX2" fmla="*/ 0 w 13488"/>
                <a:gd name="csY2" fmla="*/ 2509 h 19586"/>
                <a:gd name="csX3" fmla="*/ 2140 w 13488"/>
                <a:gd name="csY3" fmla="*/ 240 h 19586"/>
                <a:gd name="csX4" fmla="*/ 10739 w 13488"/>
                <a:gd name="csY4" fmla="*/ 0 h 19586"/>
                <a:gd name="csX5" fmla="*/ 13008 w 13488"/>
                <a:gd name="csY5" fmla="*/ 2140 h 19586"/>
                <a:gd name="csX6" fmla="*/ 13488 w 13488"/>
                <a:gd name="csY6" fmla="*/ 17068 h 19586"/>
                <a:gd name="csX7" fmla="*/ 11329 w 13488"/>
                <a:gd name="csY7" fmla="*/ 19337 h 19586"/>
                <a:gd name="csX8" fmla="*/ 2731 w 13488"/>
                <a:gd name="csY8" fmla="*/ 19577 h 19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88" h="19586">
                  <a:moveTo>
                    <a:pt x="2749" y="19577"/>
                  </a:moveTo>
                  <a:cubicBezTo>
                    <a:pt x="1550" y="19688"/>
                    <a:pt x="480" y="18747"/>
                    <a:pt x="480" y="17548"/>
                  </a:cubicBezTo>
                  <a:lnTo>
                    <a:pt x="0" y="2509"/>
                  </a:lnTo>
                  <a:cubicBezTo>
                    <a:pt x="0" y="1310"/>
                    <a:pt x="959" y="351"/>
                    <a:pt x="2140" y="240"/>
                  </a:cubicBezTo>
                  <a:lnTo>
                    <a:pt x="10739" y="0"/>
                  </a:lnTo>
                  <a:cubicBezTo>
                    <a:pt x="11938" y="0"/>
                    <a:pt x="13008" y="959"/>
                    <a:pt x="13008" y="2140"/>
                  </a:cubicBezTo>
                  <a:lnTo>
                    <a:pt x="13488" y="17068"/>
                  </a:lnTo>
                  <a:cubicBezTo>
                    <a:pt x="13488" y="18267"/>
                    <a:pt x="12529" y="19337"/>
                    <a:pt x="11329" y="19337"/>
                  </a:cubicBezTo>
                  <a:lnTo>
                    <a:pt x="2731" y="19577"/>
                  </a:lnTo>
                  <a:close/>
                </a:path>
              </a:pathLst>
            </a:custGeom>
            <a:solidFill>
              <a:srgbClr val="FFFFFF"/>
            </a:solidFill>
            <a:ln w="1835" cap="flat">
              <a:noFill/>
              <a:prstDash val="solid"/>
              <a:miter/>
            </a:ln>
          </p:spPr>
          <p:txBody>
            <a:bodyPr/>
            <a:lstStyle/>
            <a:p>
              <a:endParaRPr lang="en-GB"/>
            </a:p>
          </p:txBody>
        </p:sp>
        <p:sp>
          <p:nvSpPr>
            <p:cNvPr id="1463" name="Freeform: Shape 1462">
              <a:extLst>
                <a:ext uri="{FF2B5EF4-FFF2-40B4-BE49-F238E27FC236}">
                  <a16:creationId xmlns:a16="http://schemas.microsoft.com/office/drawing/2014/main" id="{5555F1E1-8813-B752-1FA4-5A516F3B6FCC}"/>
                </a:ext>
              </a:extLst>
            </p:cNvPr>
            <p:cNvSpPr/>
            <p:nvPr/>
          </p:nvSpPr>
          <p:spPr>
            <a:xfrm>
              <a:off x="11145011" y="4974374"/>
              <a:ext cx="19466" cy="25555"/>
            </a:xfrm>
            <a:custGeom>
              <a:avLst/>
              <a:gdLst>
                <a:gd name="csX0" fmla="*/ 5554 w 19466"/>
                <a:gd name="csY0" fmla="*/ 25537 h 25555"/>
                <a:gd name="csX1" fmla="*/ 2140 w 19466"/>
                <a:gd name="csY1" fmla="*/ 24209 h 25555"/>
                <a:gd name="csX2" fmla="*/ 480 w 19466"/>
                <a:gd name="csY2" fmla="*/ 20518 h 25555"/>
                <a:gd name="csX3" fmla="*/ 0 w 19466"/>
                <a:gd name="csY3" fmla="*/ 5572 h 25555"/>
                <a:gd name="csX4" fmla="*/ 4853 w 19466"/>
                <a:gd name="csY4" fmla="*/ 240 h 25555"/>
                <a:gd name="csX5" fmla="*/ 13654 w 19466"/>
                <a:gd name="csY5" fmla="*/ 0 h 25555"/>
                <a:gd name="csX6" fmla="*/ 18987 w 19466"/>
                <a:gd name="csY6" fmla="*/ 5130 h 25555"/>
                <a:gd name="csX7" fmla="*/ 19466 w 19466"/>
                <a:gd name="csY7" fmla="*/ 19965 h 25555"/>
                <a:gd name="csX8" fmla="*/ 14318 w 19466"/>
                <a:gd name="csY8" fmla="*/ 25316 h 25555"/>
                <a:gd name="csX9" fmla="*/ 5886 w 19466"/>
                <a:gd name="csY9" fmla="*/ 25555 h 25555"/>
                <a:gd name="csX10" fmla="*/ 5517 w 19466"/>
                <a:gd name="csY10" fmla="*/ 25555 h 25555"/>
                <a:gd name="csX11" fmla="*/ 6458 w 19466"/>
                <a:gd name="csY11" fmla="*/ 20371 h 25555"/>
                <a:gd name="csX12" fmla="*/ 6458 w 19466"/>
                <a:gd name="csY12" fmla="*/ 20407 h 25555"/>
                <a:gd name="csX13" fmla="*/ 6458 w 19466"/>
                <a:gd name="csY13" fmla="*/ 20371 h 25555"/>
                <a:gd name="csX14" fmla="*/ 6015 w 19466"/>
                <a:gd name="csY14" fmla="*/ 6144 h 25555"/>
                <a:gd name="csX15" fmla="*/ 6440 w 19466"/>
                <a:gd name="csY15" fmla="*/ 19522 h 25555"/>
                <a:gd name="csX16" fmla="*/ 13507 w 19466"/>
                <a:gd name="csY16" fmla="*/ 19337 h 25555"/>
                <a:gd name="csX17" fmla="*/ 13082 w 19466"/>
                <a:gd name="csY17" fmla="*/ 5960 h 25555"/>
                <a:gd name="csX18" fmla="*/ 6034 w 19466"/>
                <a:gd name="csY18" fmla="*/ 6144 h 25555"/>
                <a:gd name="csX19" fmla="*/ 14263 w 19466"/>
                <a:gd name="csY19" fmla="*/ 19319 h 25555"/>
                <a:gd name="csX20" fmla="*/ 14226 w 19466"/>
                <a:gd name="csY20" fmla="*/ 19319 h 25555"/>
                <a:gd name="csX21" fmla="*/ 14263 w 19466"/>
                <a:gd name="csY21" fmla="*/ 19319 h 25555"/>
                <a:gd name="csX22" fmla="*/ 13045 w 19466"/>
                <a:gd name="csY22" fmla="*/ 5185 h 25555"/>
                <a:gd name="csX23" fmla="*/ 13045 w 19466"/>
                <a:gd name="csY23" fmla="*/ 5222 h 25555"/>
                <a:gd name="csX24" fmla="*/ 13045 w 19466"/>
                <a:gd name="csY24" fmla="*/ 5185 h 255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9466" h="25555">
                  <a:moveTo>
                    <a:pt x="5554" y="25537"/>
                  </a:moveTo>
                  <a:cubicBezTo>
                    <a:pt x="4299" y="25537"/>
                    <a:pt x="3100" y="25076"/>
                    <a:pt x="2140" y="24209"/>
                  </a:cubicBezTo>
                  <a:cubicBezTo>
                    <a:pt x="1089" y="23267"/>
                    <a:pt x="480" y="21902"/>
                    <a:pt x="480" y="20518"/>
                  </a:cubicBezTo>
                  <a:lnTo>
                    <a:pt x="0" y="5572"/>
                  </a:lnTo>
                  <a:cubicBezTo>
                    <a:pt x="0" y="2768"/>
                    <a:pt x="2085" y="498"/>
                    <a:pt x="4853" y="240"/>
                  </a:cubicBezTo>
                  <a:lnTo>
                    <a:pt x="13654" y="0"/>
                  </a:lnTo>
                  <a:cubicBezTo>
                    <a:pt x="16643" y="0"/>
                    <a:pt x="18987" y="2306"/>
                    <a:pt x="18987" y="5130"/>
                  </a:cubicBezTo>
                  <a:lnTo>
                    <a:pt x="19466" y="19965"/>
                  </a:lnTo>
                  <a:cubicBezTo>
                    <a:pt x="19466" y="22954"/>
                    <a:pt x="17160" y="25316"/>
                    <a:pt x="14318" y="25316"/>
                  </a:cubicBezTo>
                  <a:lnTo>
                    <a:pt x="5886" y="25555"/>
                  </a:lnTo>
                  <a:cubicBezTo>
                    <a:pt x="5775" y="25555"/>
                    <a:pt x="5646" y="25555"/>
                    <a:pt x="5517" y="25555"/>
                  </a:cubicBezTo>
                  <a:close/>
                  <a:moveTo>
                    <a:pt x="6458" y="20371"/>
                  </a:moveTo>
                  <a:lnTo>
                    <a:pt x="6458" y="20407"/>
                  </a:lnTo>
                  <a:lnTo>
                    <a:pt x="6458" y="20371"/>
                  </a:lnTo>
                  <a:close/>
                  <a:moveTo>
                    <a:pt x="6015" y="6144"/>
                  </a:moveTo>
                  <a:lnTo>
                    <a:pt x="6440" y="19522"/>
                  </a:lnTo>
                  <a:lnTo>
                    <a:pt x="13507" y="19337"/>
                  </a:lnTo>
                  <a:lnTo>
                    <a:pt x="13082" y="5960"/>
                  </a:lnTo>
                  <a:lnTo>
                    <a:pt x="6034" y="6144"/>
                  </a:lnTo>
                  <a:close/>
                  <a:moveTo>
                    <a:pt x="14263" y="19319"/>
                  </a:moveTo>
                  <a:lnTo>
                    <a:pt x="14226" y="19319"/>
                  </a:lnTo>
                  <a:lnTo>
                    <a:pt x="14263" y="19319"/>
                  </a:lnTo>
                  <a:close/>
                  <a:moveTo>
                    <a:pt x="13045" y="5185"/>
                  </a:moveTo>
                  <a:lnTo>
                    <a:pt x="13045" y="5222"/>
                  </a:lnTo>
                  <a:lnTo>
                    <a:pt x="13045" y="5185"/>
                  </a:lnTo>
                  <a:close/>
                </a:path>
              </a:pathLst>
            </a:custGeom>
            <a:solidFill>
              <a:srgbClr val="FFFFFF"/>
            </a:solidFill>
            <a:ln w="1835" cap="flat">
              <a:noFill/>
              <a:prstDash val="solid"/>
              <a:miter/>
            </a:ln>
          </p:spPr>
          <p:txBody>
            <a:bodyPr/>
            <a:lstStyle/>
            <a:p>
              <a:endParaRPr lang="en-GB"/>
            </a:p>
          </p:txBody>
        </p:sp>
        <p:sp>
          <p:nvSpPr>
            <p:cNvPr id="1464" name="Freeform: Shape 1463">
              <a:extLst>
                <a:ext uri="{FF2B5EF4-FFF2-40B4-BE49-F238E27FC236}">
                  <a16:creationId xmlns:a16="http://schemas.microsoft.com/office/drawing/2014/main" id="{4A27B257-A9D3-213E-F841-099630D546D9}"/>
                </a:ext>
              </a:extLst>
            </p:cNvPr>
            <p:cNvSpPr/>
            <p:nvPr/>
          </p:nvSpPr>
          <p:spPr>
            <a:xfrm>
              <a:off x="10959072" y="4877200"/>
              <a:ext cx="22306" cy="16656"/>
            </a:xfrm>
            <a:custGeom>
              <a:avLst/>
              <a:gdLst>
                <a:gd name="csX0" fmla="*/ 17107 w 22306"/>
                <a:gd name="csY0" fmla="*/ 15211 h 16656"/>
                <a:gd name="csX1" fmla="*/ 17107 w 22306"/>
                <a:gd name="csY1" fmla="*/ 15211 h 16656"/>
                <a:gd name="csX2" fmla="*/ 22237 w 22306"/>
                <a:gd name="csY2" fmla="*/ 10562 h 16656"/>
                <a:gd name="csX3" fmla="*/ 20557 w 22306"/>
                <a:gd name="csY3" fmla="*/ 6613 h 16656"/>
                <a:gd name="csX4" fmla="*/ 14579 w 22306"/>
                <a:gd name="csY4" fmla="*/ 1594 h 16656"/>
                <a:gd name="csX5" fmla="*/ 12660 w 22306"/>
                <a:gd name="csY5" fmla="*/ 1354 h 16656"/>
                <a:gd name="csX6" fmla="*/ 10280 w 22306"/>
                <a:gd name="csY6" fmla="*/ 524 h 16656"/>
                <a:gd name="csX7" fmla="*/ 2752 w 22306"/>
                <a:gd name="csY7" fmla="*/ 2203 h 16656"/>
                <a:gd name="csX8" fmla="*/ 132 w 22306"/>
                <a:gd name="csY8" fmla="*/ 8772 h 16656"/>
                <a:gd name="csX9" fmla="*/ 242 w 22306"/>
                <a:gd name="csY9" fmla="*/ 11281 h 16656"/>
                <a:gd name="csX10" fmla="*/ 1073 w 22306"/>
                <a:gd name="csY10" fmla="*/ 13200 h 16656"/>
                <a:gd name="csX11" fmla="*/ 3933 w 22306"/>
                <a:gd name="csY11" fmla="*/ 16300 h 16656"/>
                <a:gd name="csX12" fmla="*/ 8582 w 22306"/>
                <a:gd name="csY12" fmla="*/ 15470 h 16656"/>
                <a:gd name="csX13" fmla="*/ 9653 w 22306"/>
                <a:gd name="csY13" fmla="*/ 13791 h 16656"/>
                <a:gd name="csX14" fmla="*/ 13712 w 22306"/>
                <a:gd name="csY14" fmla="*/ 13901 h 16656"/>
                <a:gd name="csX15" fmla="*/ 17052 w 22306"/>
                <a:gd name="csY15" fmla="*/ 15211 h 166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2306" h="16656">
                  <a:moveTo>
                    <a:pt x="17107" y="15211"/>
                  </a:moveTo>
                  <a:lnTo>
                    <a:pt x="17107" y="15211"/>
                  </a:lnTo>
                  <a:cubicBezTo>
                    <a:pt x="18786" y="13661"/>
                    <a:pt x="21295" y="12942"/>
                    <a:pt x="22237" y="10562"/>
                  </a:cubicBezTo>
                  <a:cubicBezTo>
                    <a:pt x="22716" y="9602"/>
                    <a:pt x="20557" y="6613"/>
                    <a:pt x="20557" y="6613"/>
                  </a:cubicBezTo>
                  <a:cubicBezTo>
                    <a:pt x="18768" y="4823"/>
                    <a:pt x="16849" y="2424"/>
                    <a:pt x="14579" y="1594"/>
                  </a:cubicBezTo>
                  <a:cubicBezTo>
                    <a:pt x="13860" y="1354"/>
                    <a:pt x="13269" y="1483"/>
                    <a:pt x="12660" y="1354"/>
                  </a:cubicBezTo>
                  <a:cubicBezTo>
                    <a:pt x="11830" y="1114"/>
                    <a:pt x="10981" y="764"/>
                    <a:pt x="10280" y="524"/>
                  </a:cubicBezTo>
                  <a:cubicBezTo>
                    <a:pt x="4671" y="44"/>
                    <a:pt x="5981" y="-915"/>
                    <a:pt x="2752" y="2203"/>
                  </a:cubicBezTo>
                  <a:cubicBezTo>
                    <a:pt x="2272" y="2554"/>
                    <a:pt x="611" y="7222"/>
                    <a:pt x="132" y="8772"/>
                  </a:cubicBezTo>
                  <a:cubicBezTo>
                    <a:pt x="-219" y="10211"/>
                    <a:pt x="242" y="10451"/>
                    <a:pt x="242" y="11281"/>
                  </a:cubicBezTo>
                  <a:cubicBezTo>
                    <a:pt x="593" y="11872"/>
                    <a:pt x="722" y="12591"/>
                    <a:pt x="1073" y="13200"/>
                  </a:cubicBezTo>
                  <a:cubicBezTo>
                    <a:pt x="1903" y="14399"/>
                    <a:pt x="2862" y="15470"/>
                    <a:pt x="3933" y="16300"/>
                  </a:cubicBezTo>
                  <a:cubicBezTo>
                    <a:pt x="5482" y="17370"/>
                    <a:pt x="7881" y="15710"/>
                    <a:pt x="8582" y="15470"/>
                  </a:cubicBezTo>
                  <a:cubicBezTo>
                    <a:pt x="8933" y="14879"/>
                    <a:pt x="8822" y="14030"/>
                    <a:pt x="9653" y="13791"/>
                  </a:cubicBezTo>
                  <a:cubicBezTo>
                    <a:pt x="10483" y="13551"/>
                    <a:pt x="13232" y="12960"/>
                    <a:pt x="13712" y="13901"/>
                  </a:cubicBezTo>
                  <a:lnTo>
                    <a:pt x="17052" y="15211"/>
                  </a:lnTo>
                  <a:close/>
                </a:path>
              </a:pathLst>
            </a:custGeom>
            <a:solidFill>
              <a:srgbClr val="FFFFFF"/>
            </a:solidFill>
            <a:ln w="1835" cap="flat">
              <a:noFill/>
              <a:prstDash val="solid"/>
              <a:miter/>
            </a:ln>
          </p:spPr>
          <p:txBody>
            <a:bodyPr/>
            <a:lstStyle/>
            <a:p>
              <a:endParaRPr lang="en-GB"/>
            </a:p>
          </p:txBody>
        </p:sp>
        <p:sp>
          <p:nvSpPr>
            <p:cNvPr id="1465" name="Freeform: Shape 1464">
              <a:extLst>
                <a:ext uri="{FF2B5EF4-FFF2-40B4-BE49-F238E27FC236}">
                  <a16:creationId xmlns:a16="http://schemas.microsoft.com/office/drawing/2014/main" id="{7B9B30B0-8BE5-875E-528F-1ADD7DA0ED82}"/>
                </a:ext>
              </a:extLst>
            </p:cNvPr>
            <p:cNvSpPr/>
            <p:nvPr/>
          </p:nvSpPr>
          <p:spPr>
            <a:xfrm>
              <a:off x="10956110" y="4874235"/>
              <a:ext cx="28304" cy="22586"/>
            </a:xfrm>
            <a:custGeom>
              <a:avLst/>
              <a:gdLst>
                <a:gd name="csX0" fmla="*/ 8093 w 28304"/>
                <a:gd name="csY0" fmla="*/ 22587 h 22586"/>
                <a:gd name="csX1" fmla="*/ 5233 w 28304"/>
                <a:gd name="csY1" fmla="*/ 21719 h 22586"/>
                <a:gd name="csX2" fmla="*/ 1635 w 28304"/>
                <a:gd name="csY2" fmla="*/ 17882 h 22586"/>
                <a:gd name="csX3" fmla="*/ 842 w 28304"/>
                <a:gd name="csY3" fmla="*/ 16221 h 22586"/>
                <a:gd name="csX4" fmla="*/ 251 w 28304"/>
                <a:gd name="csY4" fmla="*/ 14247 h 22586"/>
                <a:gd name="csX5" fmla="*/ 233 w 28304"/>
                <a:gd name="csY5" fmla="*/ 10999 h 22586"/>
                <a:gd name="csX6" fmla="*/ 3960 w 28304"/>
                <a:gd name="csY6" fmla="*/ 2788 h 22586"/>
                <a:gd name="csX7" fmla="*/ 10695 w 28304"/>
                <a:gd name="csY7" fmla="*/ 168 h 22586"/>
                <a:gd name="csX8" fmla="*/ 13537 w 28304"/>
                <a:gd name="csY8" fmla="*/ 500 h 22586"/>
                <a:gd name="csX9" fmla="*/ 15179 w 28304"/>
                <a:gd name="csY9" fmla="*/ 998 h 22586"/>
                <a:gd name="csX10" fmla="*/ 16489 w 28304"/>
                <a:gd name="csY10" fmla="*/ 1460 h 22586"/>
                <a:gd name="csX11" fmla="*/ 18574 w 28304"/>
                <a:gd name="csY11" fmla="*/ 1755 h 22586"/>
                <a:gd name="csX12" fmla="*/ 24663 w 28304"/>
                <a:gd name="csY12" fmla="*/ 6405 h 22586"/>
                <a:gd name="csX13" fmla="*/ 25696 w 28304"/>
                <a:gd name="csY13" fmla="*/ 7475 h 22586"/>
                <a:gd name="csX14" fmla="*/ 27929 w 28304"/>
                <a:gd name="csY14" fmla="*/ 14855 h 22586"/>
                <a:gd name="csX15" fmla="*/ 23648 w 28304"/>
                <a:gd name="csY15" fmla="*/ 19284 h 22586"/>
                <a:gd name="csX16" fmla="*/ 22154 w 28304"/>
                <a:gd name="csY16" fmla="*/ 20354 h 22586"/>
                <a:gd name="csX17" fmla="*/ 19035 w 28304"/>
                <a:gd name="csY17" fmla="*/ 20945 h 22586"/>
                <a:gd name="csX18" fmla="*/ 15695 w 28304"/>
                <a:gd name="csY18" fmla="*/ 19634 h 22586"/>
                <a:gd name="csX19" fmla="*/ 15105 w 28304"/>
                <a:gd name="csY19" fmla="*/ 19339 h 22586"/>
                <a:gd name="csX20" fmla="*/ 14496 w 28304"/>
                <a:gd name="csY20" fmla="*/ 19413 h 22586"/>
                <a:gd name="csX21" fmla="*/ 14219 w 28304"/>
                <a:gd name="csY21" fmla="*/ 19967 h 22586"/>
                <a:gd name="csX22" fmla="*/ 12632 w 28304"/>
                <a:gd name="csY22" fmla="*/ 21240 h 22586"/>
                <a:gd name="csX23" fmla="*/ 8186 w 28304"/>
                <a:gd name="csY23" fmla="*/ 22587 h 22586"/>
                <a:gd name="csX24" fmla="*/ 14053 w 28304"/>
                <a:gd name="csY24" fmla="*/ 18195 h 22586"/>
                <a:gd name="csX25" fmla="*/ 14053 w 28304"/>
                <a:gd name="csY25" fmla="*/ 18195 h 22586"/>
                <a:gd name="csX26" fmla="*/ 14053 w 28304"/>
                <a:gd name="csY26" fmla="*/ 18195 h 22586"/>
                <a:gd name="csX27" fmla="*/ 6138 w 28304"/>
                <a:gd name="csY27" fmla="*/ 13379 h 22586"/>
                <a:gd name="csX28" fmla="*/ 6451 w 28304"/>
                <a:gd name="csY28" fmla="*/ 14173 h 22586"/>
                <a:gd name="csX29" fmla="*/ 8776 w 28304"/>
                <a:gd name="csY29" fmla="*/ 16885 h 22586"/>
                <a:gd name="csX30" fmla="*/ 9237 w 28304"/>
                <a:gd name="csY30" fmla="*/ 16239 h 22586"/>
                <a:gd name="csX31" fmla="*/ 11821 w 28304"/>
                <a:gd name="csY31" fmla="*/ 13878 h 22586"/>
                <a:gd name="csX32" fmla="*/ 18463 w 28304"/>
                <a:gd name="csY32" fmla="*/ 14339 h 22586"/>
                <a:gd name="csX33" fmla="*/ 19589 w 28304"/>
                <a:gd name="csY33" fmla="*/ 14782 h 22586"/>
                <a:gd name="csX34" fmla="*/ 20345 w 28304"/>
                <a:gd name="csY34" fmla="*/ 14283 h 22586"/>
                <a:gd name="csX35" fmla="*/ 22098 w 28304"/>
                <a:gd name="csY35" fmla="*/ 12955 h 22586"/>
                <a:gd name="csX36" fmla="*/ 21102 w 28304"/>
                <a:gd name="csY36" fmla="*/ 11331 h 22586"/>
                <a:gd name="csX37" fmla="*/ 20271 w 28304"/>
                <a:gd name="csY37" fmla="*/ 10519 h 22586"/>
                <a:gd name="csX38" fmla="*/ 16526 w 28304"/>
                <a:gd name="csY38" fmla="*/ 7383 h 22586"/>
                <a:gd name="csX39" fmla="*/ 15068 w 28304"/>
                <a:gd name="csY39" fmla="*/ 7253 h 22586"/>
                <a:gd name="csX40" fmla="*/ 13038 w 28304"/>
                <a:gd name="csY40" fmla="*/ 6589 h 22586"/>
                <a:gd name="csX41" fmla="*/ 12300 w 28304"/>
                <a:gd name="csY41" fmla="*/ 6312 h 22586"/>
                <a:gd name="csX42" fmla="*/ 9772 w 28304"/>
                <a:gd name="csY42" fmla="*/ 6073 h 22586"/>
                <a:gd name="csX43" fmla="*/ 8868 w 28304"/>
                <a:gd name="csY43" fmla="*/ 5962 h 22586"/>
                <a:gd name="csX44" fmla="*/ 8259 w 28304"/>
                <a:gd name="csY44" fmla="*/ 6866 h 22586"/>
                <a:gd name="csX45" fmla="*/ 8020 w 28304"/>
                <a:gd name="csY45" fmla="*/ 7106 h 22586"/>
                <a:gd name="csX46" fmla="*/ 5953 w 28304"/>
                <a:gd name="csY46" fmla="*/ 12604 h 22586"/>
                <a:gd name="csX47" fmla="*/ 6119 w 28304"/>
                <a:gd name="csY47" fmla="*/ 13379 h 22586"/>
                <a:gd name="csX48" fmla="*/ 22412 w 28304"/>
                <a:gd name="csY48" fmla="*/ 12420 h 22586"/>
                <a:gd name="csX49" fmla="*/ 22356 w 28304"/>
                <a:gd name="csY49" fmla="*/ 12531 h 22586"/>
                <a:gd name="csX50" fmla="*/ 22412 w 28304"/>
                <a:gd name="csY50" fmla="*/ 12420 h 22586"/>
                <a:gd name="csX51" fmla="*/ 7872 w 28304"/>
                <a:gd name="csY51" fmla="*/ 7235 h 22586"/>
                <a:gd name="csX52" fmla="*/ 7521 w 28304"/>
                <a:gd name="csY52" fmla="*/ 7549 h 22586"/>
                <a:gd name="csX53" fmla="*/ 7872 w 28304"/>
                <a:gd name="csY53" fmla="*/ 7235 h 22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8304" h="22586">
                  <a:moveTo>
                    <a:pt x="8093" y="22587"/>
                  </a:moveTo>
                  <a:cubicBezTo>
                    <a:pt x="7152" y="22587"/>
                    <a:pt x="6174" y="22347"/>
                    <a:pt x="5233" y="21719"/>
                  </a:cubicBezTo>
                  <a:cubicBezTo>
                    <a:pt x="3850" y="20649"/>
                    <a:pt x="2687" y="19395"/>
                    <a:pt x="1635" y="17882"/>
                  </a:cubicBezTo>
                  <a:cubicBezTo>
                    <a:pt x="1248" y="17236"/>
                    <a:pt x="1026" y="16738"/>
                    <a:pt x="842" y="16221"/>
                  </a:cubicBezTo>
                  <a:cubicBezTo>
                    <a:pt x="565" y="15760"/>
                    <a:pt x="251" y="14800"/>
                    <a:pt x="251" y="14247"/>
                  </a:cubicBezTo>
                  <a:cubicBezTo>
                    <a:pt x="30" y="13509"/>
                    <a:pt x="-173" y="12567"/>
                    <a:pt x="233" y="10999"/>
                  </a:cubicBezTo>
                  <a:cubicBezTo>
                    <a:pt x="1248" y="7715"/>
                    <a:pt x="2669" y="3766"/>
                    <a:pt x="3960" y="2788"/>
                  </a:cubicBezTo>
                  <a:cubicBezTo>
                    <a:pt x="6580" y="205"/>
                    <a:pt x="7466" y="-330"/>
                    <a:pt x="10695" y="168"/>
                  </a:cubicBezTo>
                  <a:cubicBezTo>
                    <a:pt x="11359" y="260"/>
                    <a:pt x="12263" y="408"/>
                    <a:pt x="13537" y="500"/>
                  </a:cubicBezTo>
                  <a:lnTo>
                    <a:pt x="15179" y="998"/>
                  </a:lnTo>
                  <a:cubicBezTo>
                    <a:pt x="15603" y="1146"/>
                    <a:pt x="16046" y="1330"/>
                    <a:pt x="16489" y="1460"/>
                  </a:cubicBezTo>
                  <a:cubicBezTo>
                    <a:pt x="17061" y="1386"/>
                    <a:pt x="17725" y="1460"/>
                    <a:pt x="18574" y="1755"/>
                  </a:cubicBezTo>
                  <a:cubicBezTo>
                    <a:pt x="21102" y="2677"/>
                    <a:pt x="23002" y="4652"/>
                    <a:pt x="24663" y="6405"/>
                  </a:cubicBezTo>
                  <a:lnTo>
                    <a:pt x="25696" y="7475"/>
                  </a:lnTo>
                  <a:cubicBezTo>
                    <a:pt x="29202" y="12291"/>
                    <a:pt x="28279" y="14154"/>
                    <a:pt x="27929" y="14855"/>
                  </a:cubicBezTo>
                  <a:cubicBezTo>
                    <a:pt x="27062" y="17088"/>
                    <a:pt x="25087" y="18361"/>
                    <a:pt x="23648" y="19284"/>
                  </a:cubicBezTo>
                  <a:cubicBezTo>
                    <a:pt x="23131" y="19616"/>
                    <a:pt x="22596" y="19948"/>
                    <a:pt x="22154" y="20354"/>
                  </a:cubicBezTo>
                  <a:cubicBezTo>
                    <a:pt x="21305" y="21129"/>
                    <a:pt x="20105" y="21350"/>
                    <a:pt x="19035" y="20945"/>
                  </a:cubicBezTo>
                  <a:lnTo>
                    <a:pt x="15695" y="19634"/>
                  </a:lnTo>
                  <a:cubicBezTo>
                    <a:pt x="15492" y="19561"/>
                    <a:pt x="15308" y="19450"/>
                    <a:pt x="15105" y="19339"/>
                  </a:cubicBezTo>
                  <a:cubicBezTo>
                    <a:pt x="14939" y="19339"/>
                    <a:pt x="14718" y="19376"/>
                    <a:pt x="14496" y="19413"/>
                  </a:cubicBezTo>
                  <a:cubicBezTo>
                    <a:pt x="14422" y="19579"/>
                    <a:pt x="14330" y="19782"/>
                    <a:pt x="14219" y="19967"/>
                  </a:cubicBezTo>
                  <a:cubicBezTo>
                    <a:pt x="13850" y="20557"/>
                    <a:pt x="13297" y="21018"/>
                    <a:pt x="12632" y="21240"/>
                  </a:cubicBezTo>
                  <a:cubicBezTo>
                    <a:pt x="11636" y="21756"/>
                    <a:pt x="9957" y="22587"/>
                    <a:pt x="8186" y="22587"/>
                  </a:cubicBezTo>
                  <a:close/>
                  <a:moveTo>
                    <a:pt x="14053" y="18195"/>
                  </a:moveTo>
                  <a:cubicBezTo>
                    <a:pt x="14053" y="18195"/>
                    <a:pt x="14053" y="18195"/>
                    <a:pt x="14053" y="18195"/>
                  </a:cubicBezTo>
                  <a:cubicBezTo>
                    <a:pt x="14053" y="18195"/>
                    <a:pt x="14053" y="18195"/>
                    <a:pt x="14053" y="18195"/>
                  </a:cubicBezTo>
                  <a:close/>
                  <a:moveTo>
                    <a:pt x="6138" y="13379"/>
                  </a:moveTo>
                  <a:cubicBezTo>
                    <a:pt x="6248" y="13638"/>
                    <a:pt x="6340" y="13896"/>
                    <a:pt x="6451" y="14173"/>
                  </a:cubicBezTo>
                  <a:cubicBezTo>
                    <a:pt x="7226" y="15464"/>
                    <a:pt x="7983" y="16276"/>
                    <a:pt x="8776" y="16885"/>
                  </a:cubicBezTo>
                  <a:cubicBezTo>
                    <a:pt x="8573" y="16682"/>
                    <a:pt x="8887" y="16424"/>
                    <a:pt x="9237" y="16239"/>
                  </a:cubicBezTo>
                  <a:cubicBezTo>
                    <a:pt x="9533" y="15464"/>
                    <a:pt x="10252" y="14339"/>
                    <a:pt x="11821" y="13878"/>
                  </a:cubicBezTo>
                  <a:cubicBezTo>
                    <a:pt x="15382" y="12863"/>
                    <a:pt x="17356" y="13379"/>
                    <a:pt x="18463" y="14339"/>
                  </a:cubicBezTo>
                  <a:lnTo>
                    <a:pt x="19589" y="14782"/>
                  </a:lnTo>
                  <a:cubicBezTo>
                    <a:pt x="19829" y="14616"/>
                    <a:pt x="20087" y="14450"/>
                    <a:pt x="20345" y="14283"/>
                  </a:cubicBezTo>
                  <a:cubicBezTo>
                    <a:pt x="21139" y="13767"/>
                    <a:pt x="21729" y="13379"/>
                    <a:pt x="22098" y="12955"/>
                  </a:cubicBezTo>
                  <a:cubicBezTo>
                    <a:pt x="21858" y="12475"/>
                    <a:pt x="21471" y="11829"/>
                    <a:pt x="21102" y="11331"/>
                  </a:cubicBezTo>
                  <a:lnTo>
                    <a:pt x="20271" y="10519"/>
                  </a:lnTo>
                  <a:cubicBezTo>
                    <a:pt x="19072" y="9246"/>
                    <a:pt x="17688" y="7807"/>
                    <a:pt x="16526" y="7383"/>
                  </a:cubicBezTo>
                  <a:cubicBezTo>
                    <a:pt x="16378" y="7383"/>
                    <a:pt x="15216" y="7290"/>
                    <a:pt x="15068" y="7253"/>
                  </a:cubicBezTo>
                  <a:cubicBezTo>
                    <a:pt x="14219" y="7032"/>
                    <a:pt x="13629" y="6811"/>
                    <a:pt x="13038" y="6589"/>
                  </a:cubicBezTo>
                  <a:lnTo>
                    <a:pt x="12300" y="6312"/>
                  </a:lnTo>
                  <a:cubicBezTo>
                    <a:pt x="11599" y="6405"/>
                    <a:pt x="10547" y="6202"/>
                    <a:pt x="9772" y="6073"/>
                  </a:cubicBezTo>
                  <a:cubicBezTo>
                    <a:pt x="9385" y="6017"/>
                    <a:pt x="9090" y="5962"/>
                    <a:pt x="8868" y="5962"/>
                  </a:cubicBezTo>
                  <a:cubicBezTo>
                    <a:pt x="9145" y="5980"/>
                    <a:pt x="8813" y="6349"/>
                    <a:pt x="8259" y="6866"/>
                  </a:cubicBezTo>
                  <a:cubicBezTo>
                    <a:pt x="8241" y="6903"/>
                    <a:pt x="8130" y="6995"/>
                    <a:pt x="8020" y="7106"/>
                  </a:cubicBezTo>
                  <a:cubicBezTo>
                    <a:pt x="7558" y="8010"/>
                    <a:pt x="6414" y="11091"/>
                    <a:pt x="5953" y="12604"/>
                  </a:cubicBezTo>
                  <a:cubicBezTo>
                    <a:pt x="6008" y="12826"/>
                    <a:pt x="6082" y="13084"/>
                    <a:pt x="6119" y="13379"/>
                  </a:cubicBezTo>
                  <a:close/>
                  <a:moveTo>
                    <a:pt x="22412" y="12420"/>
                  </a:moveTo>
                  <a:cubicBezTo>
                    <a:pt x="22412" y="12420"/>
                    <a:pt x="22375" y="12494"/>
                    <a:pt x="22356" y="12531"/>
                  </a:cubicBezTo>
                  <a:cubicBezTo>
                    <a:pt x="22375" y="12494"/>
                    <a:pt x="22412" y="12457"/>
                    <a:pt x="22412" y="12420"/>
                  </a:cubicBezTo>
                  <a:close/>
                  <a:moveTo>
                    <a:pt x="7872" y="7235"/>
                  </a:moveTo>
                  <a:cubicBezTo>
                    <a:pt x="7724" y="7383"/>
                    <a:pt x="7577" y="7512"/>
                    <a:pt x="7521" y="7549"/>
                  </a:cubicBezTo>
                  <a:cubicBezTo>
                    <a:pt x="7669" y="7438"/>
                    <a:pt x="7798" y="7327"/>
                    <a:pt x="7872" y="7235"/>
                  </a:cubicBezTo>
                  <a:close/>
                </a:path>
              </a:pathLst>
            </a:custGeom>
            <a:solidFill>
              <a:srgbClr val="FFFFFF"/>
            </a:solidFill>
            <a:ln w="1835" cap="flat">
              <a:noFill/>
              <a:prstDash val="solid"/>
              <a:miter/>
            </a:ln>
          </p:spPr>
          <p:txBody>
            <a:bodyPr/>
            <a:lstStyle/>
            <a:p>
              <a:endParaRPr lang="en-GB"/>
            </a:p>
          </p:txBody>
        </p:sp>
        <p:sp>
          <p:nvSpPr>
            <p:cNvPr id="1466" name="Freeform: Shape 1465">
              <a:extLst>
                <a:ext uri="{FF2B5EF4-FFF2-40B4-BE49-F238E27FC236}">
                  <a16:creationId xmlns:a16="http://schemas.microsoft.com/office/drawing/2014/main" id="{C891F91B-02A6-501D-95EF-21C93D246035}"/>
                </a:ext>
              </a:extLst>
            </p:cNvPr>
            <p:cNvSpPr/>
            <p:nvPr/>
          </p:nvSpPr>
          <p:spPr>
            <a:xfrm>
              <a:off x="11005793" y="4856912"/>
              <a:ext cx="21391" cy="17590"/>
            </a:xfrm>
            <a:custGeom>
              <a:avLst/>
              <a:gdLst>
                <a:gd name="csX0" fmla="*/ 3100 w 21391"/>
                <a:gd name="csY0" fmla="*/ 5884 h 17590"/>
                <a:gd name="csX1" fmla="*/ 3100 w 21391"/>
                <a:gd name="csY1" fmla="*/ 5884 h 17590"/>
                <a:gd name="csX2" fmla="*/ 0 w 21391"/>
                <a:gd name="csY2" fmla="*/ 12213 h 17590"/>
                <a:gd name="csX3" fmla="*/ 3100 w 21391"/>
                <a:gd name="csY3" fmla="*/ 15202 h 17590"/>
                <a:gd name="csX4" fmla="*/ 10628 w 21391"/>
                <a:gd name="csY4" fmla="*/ 17583 h 17590"/>
                <a:gd name="csX5" fmla="*/ 12547 w 21391"/>
                <a:gd name="csY5" fmla="*/ 17103 h 17590"/>
                <a:gd name="csX6" fmla="*/ 14927 w 21391"/>
                <a:gd name="csY6" fmla="*/ 16992 h 17590"/>
                <a:gd name="csX7" fmla="*/ 21256 w 21391"/>
                <a:gd name="csY7" fmla="*/ 12582 h 17590"/>
                <a:gd name="csX8" fmla="*/ 21256 w 21391"/>
                <a:gd name="csY8" fmla="*/ 5534 h 17590"/>
                <a:gd name="csX9" fmla="*/ 20186 w 21391"/>
                <a:gd name="csY9" fmla="*/ 3264 h 17590"/>
                <a:gd name="csX10" fmla="*/ 18636 w 21391"/>
                <a:gd name="csY10" fmla="*/ 1825 h 17590"/>
                <a:gd name="csX11" fmla="*/ 14817 w 21391"/>
                <a:gd name="csY11" fmla="*/ 35 h 17590"/>
                <a:gd name="csX12" fmla="*/ 10868 w 21391"/>
                <a:gd name="csY12" fmla="*/ 2545 h 17590"/>
                <a:gd name="csX13" fmla="*/ 10517 w 21391"/>
                <a:gd name="csY13" fmla="*/ 4463 h 17590"/>
                <a:gd name="csX14" fmla="*/ 6698 w 21391"/>
                <a:gd name="csY14" fmla="*/ 5903 h 17590"/>
                <a:gd name="csX15" fmla="*/ 3118 w 21391"/>
                <a:gd name="csY15" fmla="*/ 5903 h 175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391" h="17590">
                  <a:moveTo>
                    <a:pt x="3100" y="5884"/>
                  </a:moveTo>
                  <a:lnTo>
                    <a:pt x="3100" y="5884"/>
                  </a:lnTo>
                  <a:cubicBezTo>
                    <a:pt x="2140" y="8025"/>
                    <a:pt x="0" y="9704"/>
                    <a:pt x="0" y="12213"/>
                  </a:cubicBezTo>
                  <a:cubicBezTo>
                    <a:pt x="0" y="13283"/>
                    <a:pt x="3100" y="15202"/>
                    <a:pt x="3100" y="15202"/>
                  </a:cubicBezTo>
                  <a:cubicBezTo>
                    <a:pt x="5480" y="16273"/>
                    <a:pt x="8229" y="17712"/>
                    <a:pt x="10628" y="17583"/>
                  </a:cubicBezTo>
                  <a:cubicBezTo>
                    <a:pt x="11219" y="17583"/>
                    <a:pt x="11827" y="17232"/>
                    <a:pt x="12547" y="17103"/>
                  </a:cubicBezTo>
                  <a:cubicBezTo>
                    <a:pt x="13267" y="16992"/>
                    <a:pt x="14097" y="17103"/>
                    <a:pt x="14927" y="16992"/>
                  </a:cubicBezTo>
                  <a:cubicBezTo>
                    <a:pt x="20297" y="15313"/>
                    <a:pt x="19466" y="16752"/>
                    <a:pt x="21256" y="12582"/>
                  </a:cubicBezTo>
                  <a:cubicBezTo>
                    <a:pt x="21496" y="12102"/>
                    <a:pt x="21367" y="7084"/>
                    <a:pt x="21256" y="5534"/>
                  </a:cubicBezTo>
                  <a:cubicBezTo>
                    <a:pt x="21016" y="3984"/>
                    <a:pt x="20537" y="4094"/>
                    <a:pt x="20186" y="3264"/>
                  </a:cubicBezTo>
                  <a:cubicBezTo>
                    <a:pt x="19706" y="2784"/>
                    <a:pt x="19227" y="2194"/>
                    <a:pt x="18636" y="1825"/>
                  </a:cubicBezTo>
                  <a:cubicBezTo>
                    <a:pt x="17437" y="1105"/>
                    <a:pt x="16127" y="386"/>
                    <a:pt x="14817" y="35"/>
                  </a:cubicBezTo>
                  <a:cubicBezTo>
                    <a:pt x="13027" y="-315"/>
                    <a:pt x="11348" y="2065"/>
                    <a:pt x="10868" y="2545"/>
                  </a:cubicBezTo>
                  <a:cubicBezTo>
                    <a:pt x="10757" y="3135"/>
                    <a:pt x="11219" y="3855"/>
                    <a:pt x="10517" y="4463"/>
                  </a:cubicBezTo>
                  <a:cubicBezTo>
                    <a:pt x="9798" y="5054"/>
                    <a:pt x="7528" y="6733"/>
                    <a:pt x="6698" y="5903"/>
                  </a:cubicBezTo>
                  <a:lnTo>
                    <a:pt x="3118" y="5903"/>
                  </a:lnTo>
                  <a:close/>
                </a:path>
              </a:pathLst>
            </a:custGeom>
            <a:solidFill>
              <a:srgbClr val="FFFFFF"/>
            </a:solidFill>
            <a:ln w="1835" cap="flat">
              <a:noFill/>
              <a:prstDash val="solid"/>
              <a:miter/>
            </a:ln>
          </p:spPr>
          <p:txBody>
            <a:bodyPr/>
            <a:lstStyle/>
            <a:p>
              <a:endParaRPr lang="en-GB"/>
            </a:p>
          </p:txBody>
        </p:sp>
        <p:sp>
          <p:nvSpPr>
            <p:cNvPr id="1467" name="Freeform: Shape 1466">
              <a:extLst>
                <a:ext uri="{FF2B5EF4-FFF2-40B4-BE49-F238E27FC236}">
                  <a16:creationId xmlns:a16="http://schemas.microsoft.com/office/drawing/2014/main" id="{94B60424-CBB6-593D-F647-345A8B781197}"/>
                </a:ext>
              </a:extLst>
            </p:cNvPr>
            <p:cNvSpPr/>
            <p:nvPr/>
          </p:nvSpPr>
          <p:spPr>
            <a:xfrm>
              <a:off x="11002786" y="4853916"/>
              <a:ext cx="27376" cy="23586"/>
            </a:xfrm>
            <a:custGeom>
              <a:avLst/>
              <a:gdLst>
                <a:gd name="csX0" fmla="*/ 13230 w 27376"/>
                <a:gd name="csY0" fmla="*/ 23586 h 23586"/>
                <a:gd name="csX1" fmla="*/ 5775 w 27376"/>
                <a:gd name="csY1" fmla="*/ 21335 h 23586"/>
                <a:gd name="csX2" fmla="*/ 4871 w 27376"/>
                <a:gd name="csY2" fmla="*/ 20929 h 23586"/>
                <a:gd name="csX3" fmla="*/ 0 w 27376"/>
                <a:gd name="csY3" fmla="*/ 15209 h 23586"/>
                <a:gd name="csX4" fmla="*/ 2306 w 27376"/>
                <a:gd name="csY4" fmla="*/ 9360 h 23586"/>
                <a:gd name="csX5" fmla="*/ 3358 w 27376"/>
                <a:gd name="csY5" fmla="*/ 7662 h 23586"/>
                <a:gd name="csX6" fmla="*/ 6089 w 27376"/>
                <a:gd name="csY6" fmla="*/ 5891 h 23586"/>
                <a:gd name="csX7" fmla="*/ 9669 w 27376"/>
                <a:gd name="csY7" fmla="*/ 5891 h 23586"/>
                <a:gd name="csX8" fmla="*/ 10388 w 27376"/>
                <a:gd name="csY8" fmla="*/ 5983 h 23586"/>
                <a:gd name="csX9" fmla="*/ 10831 w 27376"/>
                <a:gd name="csY9" fmla="*/ 5707 h 23586"/>
                <a:gd name="csX10" fmla="*/ 10905 w 27376"/>
                <a:gd name="csY10" fmla="*/ 4968 h 23586"/>
                <a:gd name="csX11" fmla="*/ 11717 w 27376"/>
                <a:gd name="csY11" fmla="*/ 3437 h 23586"/>
                <a:gd name="csX12" fmla="*/ 18359 w 27376"/>
                <a:gd name="csY12" fmla="*/ 116 h 23586"/>
                <a:gd name="csX13" fmla="*/ 23120 w 27376"/>
                <a:gd name="csY13" fmla="*/ 2256 h 23586"/>
                <a:gd name="csX14" fmla="*/ 24965 w 27376"/>
                <a:gd name="csY14" fmla="*/ 3843 h 23586"/>
                <a:gd name="csX15" fmla="*/ 25888 w 27376"/>
                <a:gd name="csY15" fmla="*/ 5079 h 23586"/>
                <a:gd name="csX16" fmla="*/ 27179 w 27376"/>
                <a:gd name="csY16" fmla="*/ 8087 h 23586"/>
                <a:gd name="csX17" fmla="*/ 26884 w 27376"/>
                <a:gd name="csY17" fmla="*/ 16944 h 23586"/>
                <a:gd name="csX18" fmla="*/ 21570 w 27376"/>
                <a:gd name="csY18" fmla="*/ 22092 h 23586"/>
                <a:gd name="csX19" fmla="*/ 18784 w 27376"/>
                <a:gd name="csY19" fmla="*/ 22830 h 23586"/>
                <a:gd name="csX20" fmla="*/ 16643 w 27376"/>
                <a:gd name="csY20" fmla="*/ 23033 h 23586"/>
                <a:gd name="csX21" fmla="*/ 15555 w 27376"/>
                <a:gd name="csY21" fmla="*/ 23180 h 23586"/>
                <a:gd name="csX22" fmla="*/ 13193 w 27376"/>
                <a:gd name="csY22" fmla="*/ 23568 h 23586"/>
                <a:gd name="csX23" fmla="*/ 6144 w 27376"/>
                <a:gd name="csY23" fmla="*/ 14545 h 23586"/>
                <a:gd name="csX24" fmla="*/ 7676 w 27376"/>
                <a:gd name="csY24" fmla="*/ 15652 h 23586"/>
                <a:gd name="csX25" fmla="*/ 8266 w 27376"/>
                <a:gd name="csY25" fmla="*/ 15892 h 23586"/>
                <a:gd name="csX26" fmla="*/ 13488 w 27376"/>
                <a:gd name="csY26" fmla="*/ 17589 h 23586"/>
                <a:gd name="csX27" fmla="*/ 15057 w 27376"/>
                <a:gd name="csY27" fmla="*/ 17147 h 23586"/>
                <a:gd name="csX28" fmla="*/ 16939 w 27376"/>
                <a:gd name="csY28" fmla="*/ 17054 h 23586"/>
                <a:gd name="csX29" fmla="*/ 17511 w 27376"/>
                <a:gd name="csY29" fmla="*/ 17017 h 23586"/>
                <a:gd name="csX30" fmla="*/ 20223 w 27376"/>
                <a:gd name="csY30" fmla="*/ 16279 h 23586"/>
                <a:gd name="csX31" fmla="*/ 21090 w 27376"/>
                <a:gd name="csY31" fmla="*/ 16058 h 23586"/>
                <a:gd name="csX32" fmla="*/ 21275 w 27376"/>
                <a:gd name="csY32" fmla="*/ 14932 h 23586"/>
                <a:gd name="csX33" fmla="*/ 21588 w 27376"/>
                <a:gd name="csY33" fmla="*/ 14213 h 23586"/>
                <a:gd name="csX34" fmla="*/ 21275 w 27376"/>
                <a:gd name="csY34" fmla="*/ 8770 h 23586"/>
                <a:gd name="csX35" fmla="*/ 20721 w 27376"/>
                <a:gd name="csY35" fmla="*/ 7995 h 23586"/>
                <a:gd name="csX36" fmla="*/ 20075 w 27376"/>
                <a:gd name="csY36" fmla="*/ 7367 h 23586"/>
                <a:gd name="csX37" fmla="*/ 17031 w 27376"/>
                <a:gd name="csY37" fmla="*/ 5910 h 23586"/>
                <a:gd name="csX38" fmla="*/ 16865 w 27376"/>
                <a:gd name="csY38" fmla="*/ 6574 h 23586"/>
                <a:gd name="csX39" fmla="*/ 15444 w 27376"/>
                <a:gd name="csY39" fmla="*/ 9729 h 23586"/>
                <a:gd name="csX40" fmla="*/ 8912 w 27376"/>
                <a:gd name="csY40" fmla="*/ 11869 h 23586"/>
                <a:gd name="csX41" fmla="*/ 7842 w 27376"/>
                <a:gd name="csY41" fmla="*/ 11869 h 23586"/>
                <a:gd name="csX42" fmla="*/ 7215 w 27376"/>
                <a:gd name="csY42" fmla="*/ 12792 h 23586"/>
                <a:gd name="csX43" fmla="*/ 6144 w 27376"/>
                <a:gd name="csY43" fmla="*/ 14545 h 23586"/>
                <a:gd name="csX44" fmla="*/ 11791 w 27376"/>
                <a:gd name="csY44" fmla="*/ 6758 h 23586"/>
                <a:gd name="csX45" fmla="*/ 11791 w 27376"/>
                <a:gd name="csY45" fmla="*/ 6758 h 23586"/>
                <a:gd name="csX46" fmla="*/ 11791 w 27376"/>
                <a:gd name="csY46" fmla="*/ 6758 h 23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27376" h="23586">
                  <a:moveTo>
                    <a:pt x="13230" y="23586"/>
                  </a:moveTo>
                  <a:cubicBezTo>
                    <a:pt x="10683" y="23586"/>
                    <a:pt x="8082" y="22387"/>
                    <a:pt x="5775" y="21335"/>
                  </a:cubicBezTo>
                  <a:lnTo>
                    <a:pt x="4871" y="20929"/>
                  </a:lnTo>
                  <a:cubicBezTo>
                    <a:pt x="0" y="17958"/>
                    <a:pt x="0" y="15966"/>
                    <a:pt x="0" y="15209"/>
                  </a:cubicBezTo>
                  <a:cubicBezTo>
                    <a:pt x="0" y="12663"/>
                    <a:pt x="1292" y="10836"/>
                    <a:pt x="2306" y="9360"/>
                  </a:cubicBezTo>
                  <a:cubicBezTo>
                    <a:pt x="2694" y="8806"/>
                    <a:pt x="3081" y="8271"/>
                    <a:pt x="3358" y="7662"/>
                  </a:cubicBezTo>
                  <a:cubicBezTo>
                    <a:pt x="3838" y="6592"/>
                    <a:pt x="4908" y="5891"/>
                    <a:pt x="6089" y="5891"/>
                  </a:cubicBezTo>
                  <a:lnTo>
                    <a:pt x="9669" y="5891"/>
                  </a:lnTo>
                  <a:cubicBezTo>
                    <a:pt x="9909" y="5891"/>
                    <a:pt x="10167" y="5928"/>
                    <a:pt x="10388" y="5983"/>
                  </a:cubicBezTo>
                  <a:cubicBezTo>
                    <a:pt x="10517" y="5910"/>
                    <a:pt x="10683" y="5817"/>
                    <a:pt x="10831" y="5707"/>
                  </a:cubicBezTo>
                  <a:cubicBezTo>
                    <a:pt x="10831" y="5467"/>
                    <a:pt x="10850" y="5227"/>
                    <a:pt x="10905" y="4968"/>
                  </a:cubicBezTo>
                  <a:cubicBezTo>
                    <a:pt x="11016" y="4378"/>
                    <a:pt x="11292" y="3843"/>
                    <a:pt x="11717" y="3437"/>
                  </a:cubicBezTo>
                  <a:cubicBezTo>
                    <a:pt x="12750" y="2219"/>
                    <a:pt x="15093" y="-604"/>
                    <a:pt x="18359" y="116"/>
                  </a:cubicBezTo>
                  <a:cubicBezTo>
                    <a:pt x="20223" y="614"/>
                    <a:pt x="21791" y="1481"/>
                    <a:pt x="23120" y="2256"/>
                  </a:cubicBezTo>
                  <a:cubicBezTo>
                    <a:pt x="23932" y="2754"/>
                    <a:pt x="24504" y="3345"/>
                    <a:pt x="24965" y="3843"/>
                  </a:cubicBezTo>
                  <a:cubicBezTo>
                    <a:pt x="25205" y="4083"/>
                    <a:pt x="25740" y="4747"/>
                    <a:pt x="25888" y="5079"/>
                  </a:cubicBezTo>
                  <a:cubicBezTo>
                    <a:pt x="26386" y="5633"/>
                    <a:pt x="26921" y="6426"/>
                    <a:pt x="27179" y="8087"/>
                  </a:cubicBezTo>
                  <a:cubicBezTo>
                    <a:pt x="27216" y="8364"/>
                    <a:pt x="27751" y="15246"/>
                    <a:pt x="26884" y="16944"/>
                  </a:cubicBezTo>
                  <a:cubicBezTo>
                    <a:pt x="25371" y="20505"/>
                    <a:pt x="24725" y="21354"/>
                    <a:pt x="21570" y="22092"/>
                  </a:cubicBezTo>
                  <a:cubicBezTo>
                    <a:pt x="20924" y="22239"/>
                    <a:pt x="20038" y="22461"/>
                    <a:pt x="18784" y="22830"/>
                  </a:cubicBezTo>
                  <a:cubicBezTo>
                    <a:pt x="17750" y="23014"/>
                    <a:pt x="17178" y="23033"/>
                    <a:pt x="16643" y="23033"/>
                  </a:cubicBezTo>
                  <a:lnTo>
                    <a:pt x="15555" y="23180"/>
                  </a:lnTo>
                  <a:cubicBezTo>
                    <a:pt x="14983" y="23365"/>
                    <a:pt x="14115" y="23549"/>
                    <a:pt x="13193" y="23568"/>
                  </a:cubicBezTo>
                  <a:close/>
                  <a:moveTo>
                    <a:pt x="6144" y="14545"/>
                  </a:moveTo>
                  <a:cubicBezTo>
                    <a:pt x="6550" y="14895"/>
                    <a:pt x="7159" y="15320"/>
                    <a:pt x="7676" y="15652"/>
                  </a:cubicBezTo>
                  <a:lnTo>
                    <a:pt x="8266" y="15892"/>
                  </a:lnTo>
                  <a:cubicBezTo>
                    <a:pt x="10056" y="16722"/>
                    <a:pt x="12141" y="17552"/>
                    <a:pt x="13488" y="17589"/>
                  </a:cubicBezTo>
                  <a:cubicBezTo>
                    <a:pt x="14115" y="17368"/>
                    <a:pt x="14577" y="17220"/>
                    <a:pt x="15057" y="17147"/>
                  </a:cubicBezTo>
                  <a:cubicBezTo>
                    <a:pt x="15647" y="17054"/>
                    <a:pt x="16274" y="17036"/>
                    <a:pt x="16939" y="17054"/>
                  </a:cubicBezTo>
                  <a:cubicBezTo>
                    <a:pt x="17123" y="17054"/>
                    <a:pt x="17308" y="17054"/>
                    <a:pt x="17511" y="17017"/>
                  </a:cubicBezTo>
                  <a:cubicBezTo>
                    <a:pt x="18452" y="16685"/>
                    <a:pt x="19466" y="16445"/>
                    <a:pt x="20223" y="16279"/>
                  </a:cubicBezTo>
                  <a:cubicBezTo>
                    <a:pt x="20592" y="16187"/>
                    <a:pt x="20869" y="16132"/>
                    <a:pt x="21090" y="16058"/>
                  </a:cubicBezTo>
                  <a:cubicBezTo>
                    <a:pt x="20777" y="16058"/>
                    <a:pt x="20943" y="15689"/>
                    <a:pt x="21275" y="14932"/>
                  </a:cubicBezTo>
                  <a:cubicBezTo>
                    <a:pt x="21293" y="14877"/>
                    <a:pt x="21551" y="14287"/>
                    <a:pt x="21588" y="14213"/>
                  </a:cubicBezTo>
                  <a:cubicBezTo>
                    <a:pt x="21459" y="14139"/>
                    <a:pt x="21385" y="10227"/>
                    <a:pt x="21275" y="8770"/>
                  </a:cubicBezTo>
                  <a:cubicBezTo>
                    <a:pt x="21127" y="8603"/>
                    <a:pt x="20924" y="8364"/>
                    <a:pt x="20721" y="7995"/>
                  </a:cubicBezTo>
                  <a:cubicBezTo>
                    <a:pt x="20352" y="7607"/>
                    <a:pt x="20168" y="7423"/>
                    <a:pt x="20075" y="7367"/>
                  </a:cubicBezTo>
                  <a:cubicBezTo>
                    <a:pt x="19134" y="6795"/>
                    <a:pt x="18009" y="6186"/>
                    <a:pt x="17031" y="5910"/>
                  </a:cubicBezTo>
                  <a:cubicBezTo>
                    <a:pt x="17197" y="6020"/>
                    <a:pt x="17068" y="6297"/>
                    <a:pt x="16865" y="6574"/>
                  </a:cubicBezTo>
                  <a:cubicBezTo>
                    <a:pt x="16920" y="7293"/>
                    <a:pt x="16717" y="8622"/>
                    <a:pt x="15444" y="9729"/>
                  </a:cubicBezTo>
                  <a:cubicBezTo>
                    <a:pt x="12399" y="12238"/>
                    <a:pt x="10259" y="12386"/>
                    <a:pt x="8912" y="11869"/>
                  </a:cubicBezTo>
                  <a:lnTo>
                    <a:pt x="7842" y="11869"/>
                  </a:lnTo>
                  <a:cubicBezTo>
                    <a:pt x="7639" y="12183"/>
                    <a:pt x="7436" y="12478"/>
                    <a:pt x="7215" y="12792"/>
                  </a:cubicBezTo>
                  <a:cubicBezTo>
                    <a:pt x="6716" y="13512"/>
                    <a:pt x="6347" y="14084"/>
                    <a:pt x="6144" y="14545"/>
                  </a:cubicBezTo>
                  <a:close/>
                  <a:moveTo>
                    <a:pt x="11791" y="6758"/>
                  </a:moveTo>
                  <a:lnTo>
                    <a:pt x="11791" y="6758"/>
                  </a:lnTo>
                  <a:cubicBezTo>
                    <a:pt x="11791" y="6758"/>
                    <a:pt x="11791" y="6758"/>
                    <a:pt x="11791" y="6758"/>
                  </a:cubicBezTo>
                  <a:close/>
                </a:path>
              </a:pathLst>
            </a:custGeom>
            <a:solidFill>
              <a:srgbClr val="FFFFFF"/>
            </a:solidFill>
            <a:ln w="1835" cap="flat">
              <a:noFill/>
              <a:prstDash val="solid"/>
              <a:miter/>
            </a:ln>
          </p:spPr>
          <p:txBody>
            <a:bodyPr/>
            <a:lstStyle/>
            <a:p>
              <a:endParaRPr lang="en-GB"/>
            </a:p>
          </p:txBody>
        </p:sp>
        <p:sp>
          <p:nvSpPr>
            <p:cNvPr id="1468" name="Freeform: Shape 1467">
              <a:extLst>
                <a:ext uri="{FF2B5EF4-FFF2-40B4-BE49-F238E27FC236}">
                  <a16:creationId xmlns:a16="http://schemas.microsoft.com/office/drawing/2014/main" id="{23DD0DA9-0512-CD83-D9C1-C30A13FF13A6}"/>
                </a:ext>
              </a:extLst>
            </p:cNvPr>
            <p:cNvSpPr/>
            <p:nvPr/>
          </p:nvSpPr>
          <p:spPr>
            <a:xfrm>
              <a:off x="10931704" y="5029309"/>
              <a:ext cx="21210" cy="18099"/>
            </a:xfrm>
            <a:custGeom>
              <a:avLst/>
              <a:gdLst>
                <a:gd name="csX0" fmla="*/ 18919 w 21210"/>
                <a:gd name="csY0" fmla="*/ 10697 h 18099"/>
                <a:gd name="csX1" fmla="*/ 18919 w 21210"/>
                <a:gd name="csY1" fmla="*/ 10697 h 18099"/>
                <a:gd name="csX2" fmla="*/ 21188 w 21210"/>
                <a:gd name="csY2" fmla="*/ 4017 h 18099"/>
                <a:gd name="csX3" fmla="*/ 17719 w 21210"/>
                <a:gd name="csY3" fmla="*/ 1508 h 18099"/>
                <a:gd name="csX4" fmla="*/ 9951 w 21210"/>
                <a:gd name="csY4" fmla="*/ 69 h 18099"/>
                <a:gd name="csX5" fmla="*/ 8161 w 21210"/>
                <a:gd name="csY5" fmla="*/ 788 h 18099"/>
                <a:gd name="csX6" fmla="*/ 5652 w 21210"/>
                <a:gd name="csY6" fmla="*/ 1268 h 18099"/>
                <a:gd name="csX7" fmla="*/ 43 w 21210"/>
                <a:gd name="csY7" fmla="*/ 6398 h 18099"/>
                <a:gd name="csX8" fmla="*/ 1002 w 21210"/>
                <a:gd name="csY8" fmla="*/ 13446 h 18099"/>
                <a:gd name="csX9" fmla="*/ 2442 w 21210"/>
                <a:gd name="csY9" fmla="*/ 15476 h 18099"/>
                <a:gd name="csX10" fmla="*/ 4121 w 21210"/>
                <a:gd name="csY10" fmla="*/ 16786 h 18099"/>
                <a:gd name="csX11" fmla="*/ 8069 w 21210"/>
                <a:gd name="csY11" fmla="*/ 18096 h 18099"/>
                <a:gd name="csX12" fmla="*/ 11649 w 21210"/>
                <a:gd name="csY12" fmla="*/ 15107 h 18099"/>
                <a:gd name="csX13" fmla="*/ 11760 w 21210"/>
                <a:gd name="csY13" fmla="*/ 13077 h 18099"/>
                <a:gd name="csX14" fmla="*/ 15339 w 21210"/>
                <a:gd name="csY14" fmla="*/ 11158 h 18099"/>
                <a:gd name="csX15" fmla="*/ 18919 w 21210"/>
                <a:gd name="csY15" fmla="*/ 10678 h 180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210" h="18099">
                  <a:moveTo>
                    <a:pt x="18919" y="10697"/>
                  </a:moveTo>
                  <a:lnTo>
                    <a:pt x="18919" y="10697"/>
                  </a:lnTo>
                  <a:cubicBezTo>
                    <a:pt x="19638" y="8427"/>
                    <a:pt x="21428" y="6508"/>
                    <a:pt x="21188" y="4017"/>
                  </a:cubicBezTo>
                  <a:cubicBezTo>
                    <a:pt x="20948" y="2947"/>
                    <a:pt x="17719" y="1508"/>
                    <a:pt x="17719" y="1508"/>
                  </a:cubicBezTo>
                  <a:cubicBezTo>
                    <a:pt x="15210" y="788"/>
                    <a:pt x="12350" y="-282"/>
                    <a:pt x="9951" y="69"/>
                  </a:cubicBezTo>
                  <a:cubicBezTo>
                    <a:pt x="9361" y="179"/>
                    <a:pt x="8881" y="659"/>
                    <a:pt x="8161" y="788"/>
                  </a:cubicBezTo>
                  <a:cubicBezTo>
                    <a:pt x="7442" y="1028"/>
                    <a:pt x="6482" y="1139"/>
                    <a:pt x="5652" y="1268"/>
                  </a:cubicBezTo>
                  <a:cubicBezTo>
                    <a:pt x="633" y="3648"/>
                    <a:pt x="1353" y="2098"/>
                    <a:pt x="43" y="6398"/>
                  </a:cubicBezTo>
                  <a:cubicBezTo>
                    <a:pt x="-197" y="6988"/>
                    <a:pt x="633" y="11896"/>
                    <a:pt x="1002" y="13446"/>
                  </a:cubicBezTo>
                  <a:cubicBezTo>
                    <a:pt x="1482" y="14885"/>
                    <a:pt x="1962" y="14756"/>
                    <a:pt x="2442" y="15476"/>
                  </a:cubicBezTo>
                  <a:cubicBezTo>
                    <a:pt x="2921" y="15956"/>
                    <a:pt x="3401" y="16435"/>
                    <a:pt x="4121" y="16786"/>
                  </a:cubicBezTo>
                  <a:cubicBezTo>
                    <a:pt x="5431" y="17376"/>
                    <a:pt x="6741" y="17856"/>
                    <a:pt x="8069" y="18096"/>
                  </a:cubicBezTo>
                  <a:cubicBezTo>
                    <a:pt x="9988" y="18207"/>
                    <a:pt x="11298" y="15586"/>
                    <a:pt x="11649" y="15107"/>
                  </a:cubicBezTo>
                  <a:cubicBezTo>
                    <a:pt x="11760" y="14387"/>
                    <a:pt x="11169" y="13797"/>
                    <a:pt x="11760" y="13077"/>
                  </a:cubicBezTo>
                  <a:cubicBezTo>
                    <a:pt x="12479" y="12487"/>
                    <a:pt x="14509" y="10457"/>
                    <a:pt x="15339" y="11158"/>
                  </a:cubicBezTo>
                  <a:lnTo>
                    <a:pt x="18919" y="10678"/>
                  </a:lnTo>
                  <a:close/>
                </a:path>
              </a:pathLst>
            </a:custGeom>
            <a:solidFill>
              <a:srgbClr val="FFFFFF"/>
            </a:solidFill>
            <a:ln w="1835" cap="flat">
              <a:noFill/>
              <a:prstDash val="solid"/>
              <a:miter/>
            </a:ln>
          </p:spPr>
          <p:txBody>
            <a:bodyPr/>
            <a:lstStyle/>
            <a:p>
              <a:endParaRPr lang="en-GB"/>
            </a:p>
          </p:txBody>
        </p:sp>
        <p:sp>
          <p:nvSpPr>
            <p:cNvPr id="1469" name="Freeform: Shape 1468">
              <a:extLst>
                <a:ext uri="{FF2B5EF4-FFF2-40B4-BE49-F238E27FC236}">
                  <a16:creationId xmlns:a16="http://schemas.microsoft.com/office/drawing/2014/main" id="{0649C104-EA02-20CF-6FA9-76F3E228C481}"/>
                </a:ext>
              </a:extLst>
            </p:cNvPr>
            <p:cNvSpPr/>
            <p:nvPr/>
          </p:nvSpPr>
          <p:spPr>
            <a:xfrm>
              <a:off x="10928750" y="5026345"/>
              <a:ext cx="27092" cy="24067"/>
            </a:xfrm>
            <a:custGeom>
              <a:avLst/>
              <a:gdLst>
                <a:gd name="csX0" fmla="*/ 11134 w 27092"/>
                <a:gd name="csY0" fmla="*/ 24067 h 24067"/>
                <a:gd name="csX1" fmla="*/ 10802 w 27092"/>
                <a:gd name="csY1" fmla="*/ 24067 h 24067"/>
                <a:gd name="csX2" fmla="*/ 5820 w 27092"/>
                <a:gd name="csY2" fmla="*/ 22480 h 24067"/>
                <a:gd name="csX3" fmla="*/ 3274 w 27092"/>
                <a:gd name="csY3" fmla="*/ 20562 h 24067"/>
                <a:gd name="csX4" fmla="*/ 1115 w 27092"/>
                <a:gd name="csY4" fmla="*/ 17369 h 24067"/>
                <a:gd name="csX5" fmla="*/ 229 w 27092"/>
                <a:gd name="csY5" fmla="*/ 8254 h 24067"/>
                <a:gd name="csX6" fmla="*/ 4694 w 27092"/>
                <a:gd name="csY6" fmla="*/ 2682 h 24067"/>
                <a:gd name="csX7" fmla="*/ 7314 w 27092"/>
                <a:gd name="csY7" fmla="*/ 1556 h 24067"/>
                <a:gd name="csX8" fmla="*/ 8145 w 27092"/>
                <a:gd name="csY8" fmla="*/ 1298 h 24067"/>
                <a:gd name="csX9" fmla="*/ 10174 w 27092"/>
                <a:gd name="csY9" fmla="*/ 929 h 24067"/>
                <a:gd name="csX10" fmla="*/ 12278 w 27092"/>
                <a:gd name="csY10" fmla="*/ 117 h 24067"/>
                <a:gd name="csX11" fmla="*/ 20249 w 27092"/>
                <a:gd name="csY11" fmla="*/ 1224 h 24067"/>
                <a:gd name="csX12" fmla="*/ 21485 w 27092"/>
                <a:gd name="csY12" fmla="*/ 1593 h 24067"/>
                <a:gd name="csX13" fmla="*/ 27039 w 27092"/>
                <a:gd name="csY13" fmla="*/ 6335 h 24067"/>
                <a:gd name="csX14" fmla="*/ 25526 w 27092"/>
                <a:gd name="csY14" fmla="*/ 12720 h 24067"/>
                <a:gd name="csX15" fmla="*/ 24696 w 27092"/>
                <a:gd name="csY15" fmla="*/ 14546 h 24067"/>
                <a:gd name="csX16" fmla="*/ 22242 w 27092"/>
                <a:gd name="csY16" fmla="*/ 16631 h 24067"/>
                <a:gd name="csX17" fmla="*/ 18662 w 27092"/>
                <a:gd name="csY17" fmla="*/ 17111 h 24067"/>
                <a:gd name="csX18" fmla="*/ 18035 w 27092"/>
                <a:gd name="csY18" fmla="*/ 17111 h 24067"/>
                <a:gd name="csX19" fmla="*/ 17537 w 27092"/>
                <a:gd name="csY19" fmla="*/ 17499 h 24067"/>
                <a:gd name="csX20" fmla="*/ 17500 w 27092"/>
                <a:gd name="csY20" fmla="*/ 18550 h 24067"/>
                <a:gd name="csX21" fmla="*/ 16909 w 27092"/>
                <a:gd name="csY21" fmla="*/ 19897 h 24067"/>
                <a:gd name="csX22" fmla="*/ 11115 w 27092"/>
                <a:gd name="csY22" fmla="*/ 24030 h 24067"/>
                <a:gd name="csX23" fmla="*/ 7886 w 27092"/>
                <a:gd name="csY23" fmla="*/ 16779 h 24067"/>
                <a:gd name="csX24" fmla="*/ 8403 w 27092"/>
                <a:gd name="csY24" fmla="*/ 17111 h 24067"/>
                <a:gd name="csX25" fmla="*/ 10949 w 27092"/>
                <a:gd name="csY25" fmla="*/ 18015 h 24067"/>
                <a:gd name="csX26" fmla="*/ 11503 w 27092"/>
                <a:gd name="csY26" fmla="*/ 17314 h 24067"/>
                <a:gd name="csX27" fmla="*/ 12370 w 27092"/>
                <a:gd name="csY27" fmla="*/ 14159 h 24067"/>
                <a:gd name="csX28" fmla="*/ 13090 w 27092"/>
                <a:gd name="csY28" fmla="*/ 13476 h 24067"/>
                <a:gd name="csX29" fmla="*/ 18699 w 27092"/>
                <a:gd name="csY29" fmla="*/ 11077 h 24067"/>
                <a:gd name="csX30" fmla="*/ 19732 w 27092"/>
                <a:gd name="csY30" fmla="*/ 10930 h 24067"/>
                <a:gd name="csX31" fmla="*/ 20194 w 27092"/>
                <a:gd name="csY31" fmla="*/ 9989 h 24067"/>
                <a:gd name="csX32" fmla="*/ 21042 w 27092"/>
                <a:gd name="csY32" fmla="*/ 8033 h 24067"/>
                <a:gd name="csX33" fmla="*/ 19419 w 27092"/>
                <a:gd name="csY33" fmla="*/ 7166 h 24067"/>
                <a:gd name="csX34" fmla="*/ 18496 w 27092"/>
                <a:gd name="csY34" fmla="*/ 6926 h 24067"/>
                <a:gd name="csX35" fmla="*/ 13311 w 27092"/>
                <a:gd name="csY35" fmla="*/ 5966 h 24067"/>
                <a:gd name="csX36" fmla="*/ 11614 w 27092"/>
                <a:gd name="csY36" fmla="*/ 6686 h 24067"/>
                <a:gd name="csX37" fmla="*/ 9418 w 27092"/>
                <a:gd name="csY37" fmla="*/ 7110 h 24067"/>
                <a:gd name="csX38" fmla="*/ 6835 w 27092"/>
                <a:gd name="csY38" fmla="*/ 8199 h 24067"/>
                <a:gd name="csX39" fmla="*/ 6060 w 27092"/>
                <a:gd name="csY39" fmla="*/ 8513 h 24067"/>
                <a:gd name="csX40" fmla="*/ 6004 w 27092"/>
                <a:gd name="csY40" fmla="*/ 9546 h 24067"/>
                <a:gd name="csX41" fmla="*/ 5894 w 27092"/>
                <a:gd name="csY41" fmla="*/ 9915 h 24067"/>
                <a:gd name="csX42" fmla="*/ 6816 w 27092"/>
                <a:gd name="csY42" fmla="*/ 15709 h 24067"/>
                <a:gd name="csX43" fmla="*/ 7813 w 27092"/>
                <a:gd name="csY43" fmla="*/ 16742 h 24067"/>
                <a:gd name="csX44" fmla="*/ 7831 w 27092"/>
                <a:gd name="csY44" fmla="*/ 16742 h 24067"/>
                <a:gd name="csX45" fmla="*/ 5875 w 27092"/>
                <a:gd name="csY45" fmla="*/ 10136 h 24067"/>
                <a:gd name="csX46" fmla="*/ 5764 w 27092"/>
                <a:gd name="csY46" fmla="*/ 10505 h 24067"/>
                <a:gd name="csX47" fmla="*/ 5875 w 27092"/>
                <a:gd name="csY47" fmla="*/ 10136 h 24067"/>
                <a:gd name="csX48" fmla="*/ 5949 w 27092"/>
                <a:gd name="csY48" fmla="*/ 9767 h 24067"/>
                <a:gd name="csX49" fmla="*/ 5949 w 27092"/>
                <a:gd name="csY49" fmla="*/ 9767 h 240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27092" h="24067">
                  <a:moveTo>
                    <a:pt x="11134" y="24067"/>
                  </a:moveTo>
                  <a:lnTo>
                    <a:pt x="10802" y="24067"/>
                  </a:lnTo>
                  <a:cubicBezTo>
                    <a:pt x="9012" y="23754"/>
                    <a:pt x="7554" y="23255"/>
                    <a:pt x="5820" y="22480"/>
                  </a:cubicBezTo>
                  <a:cubicBezTo>
                    <a:pt x="4565" y="21853"/>
                    <a:pt x="3809" y="21097"/>
                    <a:pt x="3274" y="20562"/>
                  </a:cubicBezTo>
                  <a:cubicBezTo>
                    <a:pt x="2314" y="19620"/>
                    <a:pt x="1650" y="18938"/>
                    <a:pt x="1115" y="17369"/>
                  </a:cubicBezTo>
                  <a:cubicBezTo>
                    <a:pt x="875" y="16391"/>
                    <a:pt x="-546" y="10136"/>
                    <a:pt x="229" y="8254"/>
                  </a:cubicBezTo>
                  <a:cubicBezTo>
                    <a:pt x="1299" y="4656"/>
                    <a:pt x="1816" y="3807"/>
                    <a:pt x="4694" y="2682"/>
                  </a:cubicBezTo>
                  <a:cubicBezTo>
                    <a:pt x="5303" y="2442"/>
                    <a:pt x="6152" y="2110"/>
                    <a:pt x="7314" y="1556"/>
                  </a:cubicBezTo>
                  <a:cubicBezTo>
                    <a:pt x="7591" y="1427"/>
                    <a:pt x="7868" y="1353"/>
                    <a:pt x="8145" y="1298"/>
                  </a:cubicBezTo>
                  <a:cubicBezTo>
                    <a:pt x="9123" y="1150"/>
                    <a:pt x="9713" y="1095"/>
                    <a:pt x="10174" y="929"/>
                  </a:cubicBezTo>
                  <a:cubicBezTo>
                    <a:pt x="11079" y="542"/>
                    <a:pt x="11595" y="265"/>
                    <a:pt x="12278" y="117"/>
                  </a:cubicBezTo>
                  <a:cubicBezTo>
                    <a:pt x="15064" y="-307"/>
                    <a:pt x="17832" y="505"/>
                    <a:pt x="20249" y="1224"/>
                  </a:cubicBezTo>
                  <a:lnTo>
                    <a:pt x="21485" y="1593"/>
                  </a:lnTo>
                  <a:cubicBezTo>
                    <a:pt x="26504" y="3789"/>
                    <a:pt x="26910" y="5690"/>
                    <a:pt x="27039" y="6335"/>
                  </a:cubicBezTo>
                  <a:cubicBezTo>
                    <a:pt x="27334" y="9177"/>
                    <a:pt x="26338" y="11133"/>
                    <a:pt x="25526" y="12720"/>
                  </a:cubicBezTo>
                  <a:cubicBezTo>
                    <a:pt x="25231" y="13310"/>
                    <a:pt x="24899" y="13919"/>
                    <a:pt x="24696" y="14546"/>
                  </a:cubicBezTo>
                  <a:cubicBezTo>
                    <a:pt x="24364" y="15653"/>
                    <a:pt x="23404" y="16465"/>
                    <a:pt x="22242" y="16631"/>
                  </a:cubicBezTo>
                  <a:lnTo>
                    <a:pt x="18662" y="17111"/>
                  </a:lnTo>
                  <a:cubicBezTo>
                    <a:pt x="18459" y="17130"/>
                    <a:pt x="18238" y="17166"/>
                    <a:pt x="18035" y="17111"/>
                  </a:cubicBezTo>
                  <a:cubicBezTo>
                    <a:pt x="17887" y="17222"/>
                    <a:pt x="17703" y="17369"/>
                    <a:pt x="17537" y="17499"/>
                  </a:cubicBezTo>
                  <a:cubicBezTo>
                    <a:pt x="17555" y="17812"/>
                    <a:pt x="17555" y="18163"/>
                    <a:pt x="17500" y="18550"/>
                  </a:cubicBezTo>
                  <a:cubicBezTo>
                    <a:pt x="17426" y="19048"/>
                    <a:pt x="17223" y="19510"/>
                    <a:pt x="16909" y="19897"/>
                  </a:cubicBezTo>
                  <a:cubicBezTo>
                    <a:pt x="16134" y="21134"/>
                    <a:pt x="14289" y="24030"/>
                    <a:pt x="11115" y="24030"/>
                  </a:cubicBezTo>
                  <a:close/>
                  <a:moveTo>
                    <a:pt x="7886" y="16779"/>
                  </a:moveTo>
                  <a:cubicBezTo>
                    <a:pt x="7886" y="16779"/>
                    <a:pt x="8163" y="16982"/>
                    <a:pt x="8403" y="17111"/>
                  </a:cubicBezTo>
                  <a:cubicBezTo>
                    <a:pt x="9326" y="17517"/>
                    <a:pt x="10174" y="17831"/>
                    <a:pt x="10949" y="18015"/>
                  </a:cubicBezTo>
                  <a:cubicBezTo>
                    <a:pt x="11097" y="17868"/>
                    <a:pt x="11282" y="17646"/>
                    <a:pt x="11503" y="17314"/>
                  </a:cubicBezTo>
                  <a:cubicBezTo>
                    <a:pt x="11355" y="16724"/>
                    <a:pt x="11337" y="15432"/>
                    <a:pt x="12370" y="14159"/>
                  </a:cubicBezTo>
                  <a:cubicBezTo>
                    <a:pt x="12481" y="14048"/>
                    <a:pt x="12979" y="13587"/>
                    <a:pt x="13090" y="13476"/>
                  </a:cubicBezTo>
                  <a:cubicBezTo>
                    <a:pt x="14178" y="12535"/>
                    <a:pt x="16466" y="10524"/>
                    <a:pt x="18699" y="11077"/>
                  </a:cubicBezTo>
                  <a:lnTo>
                    <a:pt x="19732" y="10930"/>
                  </a:lnTo>
                  <a:cubicBezTo>
                    <a:pt x="19880" y="10616"/>
                    <a:pt x="20028" y="10321"/>
                    <a:pt x="20194" y="9989"/>
                  </a:cubicBezTo>
                  <a:cubicBezTo>
                    <a:pt x="20600" y="9195"/>
                    <a:pt x="20913" y="8586"/>
                    <a:pt x="21042" y="8033"/>
                  </a:cubicBezTo>
                  <a:cubicBezTo>
                    <a:pt x="20600" y="7756"/>
                    <a:pt x="19972" y="7424"/>
                    <a:pt x="19419" y="7166"/>
                  </a:cubicBezTo>
                  <a:lnTo>
                    <a:pt x="18496" y="6926"/>
                  </a:lnTo>
                  <a:cubicBezTo>
                    <a:pt x="16688" y="6372"/>
                    <a:pt x="14640" y="5800"/>
                    <a:pt x="13311" y="5966"/>
                  </a:cubicBezTo>
                  <a:cubicBezTo>
                    <a:pt x="13071" y="6206"/>
                    <a:pt x="12444" y="6520"/>
                    <a:pt x="11614" y="6686"/>
                  </a:cubicBezTo>
                  <a:cubicBezTo>
                    <a:pt x="11282" y="6834"/>
                    <a:pt x="10322" y="6981"/>
                    <a:pt x="9418" y="7110"/>
                  </a:cubicBezTo>
                  <a:cubicBezTo>
                    <a:pt x="8514" y="7553"/>
                    <a:pt x="7554" y="7922"/>
                    <a:pt x="6835" y="8199"/>
                  </a:cubicBezTo>
                  <a:cubicBezTo>
                    <a:pt x="6503" y="8328"/>
                    <a:pt x="6244" y="8402"/>
                    <a:pt x="6060" y="8513"/>
                  </a:cubicBezTo>
                  <a:cubicBezTo>
                    <a:pt x="6355" y="8402"/>
                    <a:pt x="6226" y="8845"/>
                    <a:pt x="6004" y="9546"/>
                  </a:cubicBezTo>
                  <a:cubicBezTo>
                    <a:pt x="6004" y="9583"/>
                    <a:pt x="5949" y="9730"/>
                    <a:pt x="5894" y="9915"/>
                  </a:cubicBezTo>
                  <a:cubicBezTo>
                    <a:pt x="5949" y="10967"/>
                    <a:pt x="6484" y="14270"/>
                    <a:pt x="6816" y="15709"/>
                  </a:cubicBezTo>
                  <a:cubicBezTo>
                    <a:pt x="7019" y="15875"/>
                    <a:pt x="7683" y="16539"/>
                    <a:pt x="7813" y="16742"/>
                  </a:cubicBezTo>
                  <a:lnTo>
                    <a:pt x="7831" y="16742"/>
                  </a:lnTo>
                  <a:close/>
                  <a:moveTo>
                    <a:pt x="5875" y="10136"/>
                  </a:moveTo>
                  <a:cubicBezTo>
                    <a:pt x="5820" y="10302"/>
                    <a:pt x="5764" y="10468"/>
                    <a:pt x="5764" y="10505"/>
                  </a:cubicBezTo>
                  <a:cubicBezTo>
                    <a:pt x="5820" y="10376"/>
                    <a:pt x="5857" y="10247"/>
                    <a:pt x="5875" y="10136"/>
                  </a:cubicBezTo>
                  <a:close/>
                  <a:moveTo>
                    <a:pt x="5949" y="9767"/>
                  </a:moveTo>
                  <a:lnTo>
                    <a:pt x="5949" y="9767"/>
                  </a:lnTo>
                  <a:close/>
                </a:path>
              </a:pathLst>
            </a:custGeom>
            <a:solidFill>
              <a:srgbClr val="FFFFFF"/>
            </a:solidFill>
            <a:ln w="1835" cap="flat">
              <a:noFill/>
              <a:prstDash val="solid"/>
              <a:miter/>
            </a:ln>
          </p:spPr>
          <p:txBody>
            <a:bodyPr/>
            <a:lstStyle/>
            <a:p>
              <a:endParaRPr lang="en-GB"/>
            </a:p>
          </p:txBody>
        </p:sp>
        <p:sp>
          <p:nvSpPr>
            <p:cNvPr id="1470" name="Freeform: Shape 1469">
              <a:extLst>
                <a:ext uri="{FF2B5EF4-FFF2-40B4-BE49-F238E27FC236}">
                  <a16:creationId xmlns:a16="http://schemas.microsoft.com/office/drawing/2014/main" id="{3F1C42BF-8FD4-0493-C310-FC4F796B515D}"/>
                </a:ext>
              </a:extLst>
            </p:cNvPr>
            <p:cNvSpPr/>
            <p:nvPr/>
          </p:nvSpPr>
          <p:spPr>
            <a:xfrm>
              <a:off x="10974742" y="4962845"/>
              <a:ext cx="16648" cy="22204"/>
            </a:xfrm>
            <a:custGeom>
              <a:avLst/>
              <a:gdLst>
                <a:gd name="csX0" fmla="*/ 13854 w 16648"/>
                <a:gd name="csY0" fmla="*/ 4573 h 22204"/>
                <a:gd name="csX1" fmla="*/ 13854 w 16648"/>
                <a:gd name="csY1" fmla="*/ 4573 h 22204"/>
                <a:gd name="csX2" fmla="*/ 8725 w 16648"/>
                <a:gd name="csY2" fmla="*/ 34 h 22204"/>
                <a:gd name="csX3" fmla="*/ 5016 w 16648"/>
                <a:gd name="csY3" fmla="*/ 2192 h 22204"/>
                <a:gd name="csX4" fmla="*/ 606 w 16648"/>
                <a:gd name="csY4" fmla="*/ 8761 h 22204"/>
                <a:gd name="csX5" fmla="*/ 606 w 16648"/>
                <a:gd name="csY5" fmla="*/ 10791 h 22204"/>
                <a:gd name="csX6" fmla="*/ 16 w 16648"/>
                <a:gd name="csY6" fmla="*/ 13171 h 22204"/>
                <a:gd name="csX7" fmla="*/ 2525 w 16648"/>
                <a:gd name="csY7" fmla="*/ 20460 h 22204"/>
                <a:gd name="csX8" fmla="*/ 9334 w 16648"/>
                <a:gd name="csY8" fmla="*/ 22139 h 22204"/>
                <a:gd name="csX9" fmla="*/ 11843 w 16648"/>
                <a:gd name="csY9" fmla="*/ 21659 h 22204"/>
                <a:gd name="csX10" fmla="*/ 13633 w 16648"/>
                <a:gd name="csY10" fmla="*/ 20589 h 22204"/>
                <a:gd name="csX11" fmla="*/ 16382 w 16648"/>
                <a:gd name="csY11" fmla="*/ 17360 h 22204"/>
                <a:gd name="csX12" fmla="*/ 15072 w 16648"/>
                <a:gd name="csY12" fmla="*/ 12950 h 22204"/>
                <a:gd name="csX13" fmla="*/ 13282 w 16648"/>
                <a:gd name="csY13" fmla="*/ 12119 h 22204"/>
                <a:gd name="csX14" fmla="*/ 12932 w 16648"/>
                <a:gd name="csY14" fmla="*/ 8060 h 22204"/>
                <a:gd name="csX15" fmla="*/ 13891 w 16648"/>
                <a:gd name="csY15" fmla="*/ 4591 h 222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6648" h="22204">
                  <a:moveTo>
                    <a:pt x="13854" y="4573"/>
                  </a:moveTo>
                  <a:lnTo>
                    <a:pt x="13854" y="4573"/>
                  </a:lnTo>
                  <a:cubicBezTo>
                    <a:pt x="12175" y="3023"/>
                    <a:pt x="11105" y="624"/>
                    <a:pt x="8725" y="34"/>
                  </a:cubicBezTo>
                  <a:cubicBezTo>
                    <a:pt x="7655" y="-317"/>
                    <a:pt x="5016" y="2192"/>
                    <a:pt x="5016" y="2192"/>
                  </a:cubicBezTo>
                  <a:cubicBezTo>
                    <a:pt x="3337" y="4222"/>
                    <a:pt x="1196" y="6492"/>
                    <a:pt x="606" y="8761"/>
                  </a:cubicBezTo>
                  <a:cubicBezTo>
                    <a:pt x="495" y="9481"/>
                    <a:pt x="717" y="10071"/>
                    <a:pt x="606" y="10791"/>
                  </a:cubicBezTo>
                  <a:cubicBezTo>
                    <a:pt x="495" y="11510"/>
                    <a:pt x="255" y="12341"/>
                    <a:pt x="16" y="13171"/>
                  </a:cubicBezTo>
                  <a:cubicBezTo>
                    <a:pt x="255" y="18780"/>
                    <a:pt x="-944" y="17581"/>
                    <a:pt x="2525" y="20460"/>
                  </a:cubicBezTo>
                  <a:cubicBezTo>
                    <a:pt x="3005" y="20810"/>
                    <a:pt x="7784" y="21899"/>
                    <a:pt x="9334" y="22139"/>
                  </a:cubicBezTo>
                  <a:cubicBezTo>
                    <a:pt x="10884" y="22378"/>
                    <a:pt x="11013" y="21899"/>
                    <a:pt x="11843" y="21659"/>
                  </a:cubicBezTo>
                  <a:cubicBezTo>
                    <a:pt x="12434" y="21308"/>
                    <a:pt x="13153" y="21068"/>
                    <a:pt x="13633" y="20589"/>
                  </a:cubicBezTo>
                  <a:cubicBezTo>
                    <a:pt x="14703" y="19629"/>
                    <a:pt x="15773" y="18559"/>
                    <a:pt x="16382" y="17360"/>
                  </a:cubicBezTo>
                  <a:cubicBezTo>
                    <a:pt x="17342" y="15810"/>
                    <a:pt x="15423" y="13540"/>
                    <a:pt x="15072" y="12950"/>
                  </a:cubicBezTo>
                  <a:cubicBezTo>
                    <a:pt x="14482" y="12710"/>
                    <a:pt x="13633" y="12950"/>
                    <a:pt x="13282" y="12119"/>
                  </a:cubicBezTo>
                  <a:cubicBezTo>
                    <a:pt x="12932" y="11289"/>
                    <a:pt x="11972" y="8651"/>
                    <a:pt x="12932" y="8060"/>
                  </a:cubicBezTo>
                  <a:lnTo>
                    <a:pt x="13891" y="4591"/>
                  </a:lnTo>
                  <a:close/>
                </a:path>
              </a:pathLst>
            </a:custGeom>
            <a:solidFill>
              <a:srgbClr val="FFFFFF"/>
            </a:solidFill>
            <a:ln w="1835" cap="flat">
              <a:noFill/>
              <a:prstDash val="solid"/>
              <a:miter/>
            </a:ln>
          </p:spPr>
          <p:txBody>
            <a:bodyPr/>
            <a:lstStyle/>
            <a:p>
              <a:endParaRPr lang="en-GB"/>
            </a:p>
          </p:txBody>
        </p:sp>
        <p:sp>
          <p:nvSpPr>
            <p:cNvPr id="1471" name="Freeform: Shape 1470">
              <a:extLst>
                <a:ext uri="{FF2B5EF4-FFF2-40B4-BE49-F238E27FC236}">
                  <a16:creationId xmlns:a16="http://schemas.microsoft.com/office/drawing/2014/main" id="{920562B4-806C-9BC7-96FD-F4052A0D85AD}"/>
                </a:ext>
              </a:extLst>
            </p:cNvPr>
            <p:cNvSpPr/>
            <p:nvPr/>
          </p:nvSpPr>
          <p:spPr>
            <a:xfrm>
              <a:off x="10971741" y="4959869"/>
              <a:ext cx="22590" cy="28158"/>
            </a:xfrm>
            <a:custGeom>
              <a:avLst/>
              <a:gdLst>
                <a:gd name="csX0" fmla="*/ 13055 w 22590"/>
                <a:gd name="csY0" fmla="*/ 28140 h 28158"/>
                <a:gd name="csX1" fmla="*/ 11874 w 22590"/>
                <a:gd name="csY1" fmla="*/ 28048 h 28158"/>
                <a:gd name="csX2" fmla="*/ 3737 w 22590"/>
                <a:gd name="csY2" fmla="*/ 25852 h 28158"/>
                <a:gd name="csX3" fmla="*/ 10 w 22590"/>
                <a:gd name="csY3" fmla="*/ 19228 h 28158"/>
                <a:gd name="csX4" fmla="*/ 10 w 22590"/>
                <a:gd name="csY4" fmla="*/ 16276 h 28158"/>
                <a:gd name="csX5" fmla="*/ 120 w 22590"/>
                <a:gd name="csY5" fmla="*/ 15317 h 28158"/>
                <a:gd name="csX6" fmla="*/ 637 w 22590"/>
                <a:gd name="csY6" fmla="*/ 13287 h 28158"/>
                <a:gd name="csX7" fmla="*/ 637 w 22590"/>
                <a:gd name="csY7" fmla="*/ 11257 h 28158"/>
                <a:gd name="csX8" fmla="*/ 4936 w 22590"/>
                <a:gd name="csY8" fmla="*/ 4172 h 28158"/>
                <a:gd name="csX9" fmla="*/ 5693 w 22590"/>
                <a:gd name="csY9" fmla="*/ 3268 h 28158"/>
                <a:gd name="csX10" fmla="*/ 12668 w 22590"/>
                <a:gd name="csY10" fmla="*/ 186 h 28158"/>
                <a:gd name="csX11" fmla="*/ 17686 w 22590"/>
                <a:gd name="csY11" fmla="*/ 4043 h 28158"/>
                <a:gd name="csX12" fmla="*/ 18867 w 22590"/>
                <a:gd name="csY12" fmla="*/ 5390 h 28158"/>
                <a:gd name="csX13" fmla="*/ 19716 w 22590"/>
                <a:gd name="csY13" fmla="*/ 8360 h 28158"/>
                <a:gd name="csX14" fmla="*/ 18757 w 22590"/>
                <a:gd name="csY14" fmla="*/ 11829 h 28158"/>
                <a:gd name="csX15" fmla="*/ 18498 w 22590"/>
                <a:gd name="csY15" fmla="*/ 12457 h 28158"/>
                <a:gd name="csX16" fmla="*/ 18646 w 22590"/>
                <a:gd name="csY16" fmla="*/ 12992 h 28158"/>
                <a:gd name="csX17" fmla="*/ 19144 w 22590"/>
                <a:gd name="csY17" fmla="*/ 13158 h 28158"/>
                <a:gd name="csX18" fmla="*/ 20565 w 22590"/>
                <a:gd name="csY18" fmla="*/ 14376 h 28158"/>
                <a:gd name="csX19" fmla="*/ 21875 w 22590"/>
                <a:gd name="csY19" fmla="*/ 21904 h 28158"/>
                <a:gd name="csX20" fmla="*/ 18572 w 22590"/>
                <a:gd name="csY20" fmla="*/ 25797 h 28158"/>
                <a:gd name="csX21" fmla="*/ 16764 w 22590"/>
                <a:gd name="csY21" fmla="*/ 26978 h 28158"/>
                <a:gd name="csX22" fmla="*/ 15638 w 22590"/>
                <a:gd name="csY22" fmla="*/ 27513 h 28158"/>
                <a:gd name="csX23" fmla="*/ 13018 w 22590"/>
                <a:gd name="csY23" fmla="*/ 28159 h 28158"/>
                <a:gd name="csX24" fmla="*/ 6062 w 22590"/>
                <a:gd name="csY24" fmla="*/ 20169 h 28158"/>
                <a:gd name="csX25" fmla="*/ 7058 w 22590"/>
                <a:gd name="csY25" fmla="*/ 20852 h 28158"/>
                <a:gd name="csX26" fmla="*/ 12760 w 22590"/>
                <a:gd name="csY26" fmla="*/ 22162 h 28158"/>
                <a:gd name="csX27" fmla="*/ 13664 w 22590"/>
                <a:gd name="csY27" fmla="*/ 21867 h 28158"/>
                <a:gd name="csX28" fmla="*/ 14144 w 22590"/>
                <a:gd name="csY28" fmla="*/ 21609 h 28158"/>
                <a:gd name="csX29" fmla="*/ 16690 w 22590"/>
                <a:gd name="csY29" fmla="*/ 18988 h 28158"/>
                <a:gd name="csX30" fmla="*/ 16690 w 22590"/>
                <a:gd name="csY30" fmla="*/ 18988 h 28158"/>
                <a:gd name="csX31" fmla="*/ 16284 w 22590"/>
                <a:gd name="csY31" fmla="*/ 18582 h 28158"/>
                <a:gd name="csX32" fmla="*/ 13535 w 22590"/>
                <a:gd name="csY32" fmla="*/ 16258 h 28158"/>
                <a:gd name="csX33" fmla="*/ 13221 w 22590"/>
                <a:gd name="csY33" fmla="*/ 9560 h 28158"/>
                <a:gd name="csX34" fmla="*/ 13553 w 22590"/>
                <a:gd name="csY34" fmla="*/ 8379 h 28158"/>
                <a:gd name="csX35" fmla="*/ 13110 w 22590"/>
                <a:gd name="csY35" fmla="*/ 7825 h 28158"/>
                <a:gd name="csX36" fmla="*/ 11542 w 22590"/>
                <a:gd name="csY36" fmla="*/ 6165 h 28158"/>
                <a:gd name="csX37" fmla="*/ 10084 w 22590"/>
                <a:gd name="csY37" fmla="*/ 7345 h 28158"/>
                <a:gd name="csX38" fmla="*/ 9531 w 22590"/>
                <a:gd name="csY38" fmla="*/ 8028 h 28158"/>
                <a:gd name="csX39" fmla="*/ 6486 w 22590"/>
                <a:gd name="csY39" fmla="*/ 12512 h 28158"/>
                <a:gd name="csX40" fmla="*/ 6542 w 22590"/>
                <a:gd name="csY40" fmla="*/ 14302 h 28158"/>
                <a:gd name="csX41" fmla="*/ 6006 w 22590"/>
                <a:gd name="csY41" fmla="*/ 16534 h 28158"/>
                <a:gd name="csX42" fmla="*/ 6006 w 22590"/>
                <a:gd name="csY42" fmla="*/ 19450 h 28158"/>
                <a:gd name="csX43" fmla="*/ 6006 w 22590"/>
                <a:gd name="csY43" fmla="*/ 20299 h 28158"/>
                <a:gd name="csX44" fmla="*/ 6080 w 22590"/>
                <a:gd name="csY44" fmla="*/ 20206 h 28158"/>
                <a:gd name="csX45" fmla="*/ 17483 w 22590"/>
                <a:gd name="csY45" fmla="*/ 13545 h 28158"/>
                <a:gd name="csX46" fmla="*/ 17483 w 22590"/>
                <a:gd name="csY46" fmla="*/ 13545 h 28158"/>
                <a:gd name="csX47" fmla="*/ 17483 w 22590"/>
                <a:gd name="csY47" fmla="*/ 13545 h 28158"/>
                <a:gd name="csX48" fmla="*/ 11007 w 22590"/>
                <a:gd name="csY48" fmla="*/ 5906 h 28158"/>
                <a:gd name="csX49" fmla="*/ 11118 w 22590"/>
                <a:gd name="csY49" fmla="*/ 5943 h 28158"/>
                <a:gd name="csX50" fmla="*/ 11007 w 22590"/>
                <a:gd name="csY50" fmla="*/ 5906 h 281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Lst>
              <a:rect l="l" t="t" r="r" b="b"/>
              <a:pathLst>
                <a:path w="22590" h="28158">
                  <a:moveTo>
                    <a:pt x="13055" y="28140"/>
                  </a:moveTo>
                  <a:cubicBezTo>
                    <a:pt x="12686" y="28140"/>
                    <a:pt x="12317" y="28122"/>
                    <a:pt x="11874" y="28048"/>
                  </a:cubicBezTo>
                  <a:cubicBezTo>
                    <a:pt x="11800" y="28048"/>
                    <a:pt x="5176" y="26886"/>
                    <a:pt x="3737" y="25852"/>
                  </a:cubicBezTo>
                  <a:cubicBezTo>
                    <a:pt x="711" y="23343"/>
                    <a:pt x="-101" y="22531"/>
                    <a:pt x="10" y="19228"/>
                  </a:cubicBezTo>
                  <a:cubicBezTo>
                    <a:pt x="28" y="18546"/>
                    <a:pt x="65" y="17623"/>
                    <a:pt x="10" y="16276"/>
                  </a:cubicBezTo>
                  <a:cubicBezTo>
                    <a:pt x="10" y="15944"/>
                    <a:pt x="28" y="15630"/>
                    <a:pt x="120" y="15317"/>
                  </a:cubicBezTo>
                  <a:cubicBezTo>
                    <a:pt x="323" y="14597"/>
                    <a:pt x="545" y="13914"/>
                    <a:pt x="637" y="13287"/>
                  </a:cubicBezTo>
                  <a:cubicBezTo>
                    <a:pt x="582" y="12604"/>
                    <a:pt x="526" y="11995"/>
                    <a:pt x="637" y="11257"/>
                  </a:cubicBezTo>
                  <a:cubicBezTo>
                    <a:pt x="1394" y="8397"/>
                    <a:pt x="3276" y="6165"/>
                    <a:pt x="4936" y="4172"/>
                  </a:cubicBezTo>
                  <a:lnTo>
                    <a:pt x="5693" y="3268"/>
                  </a:lnTo>
                  <a:cubicBezTo>
                    <a:pt x="9863" y="-718"/>
                    <a:pt x="11948" y="-35"/>
                    <a:pt x="12668" y="186"/>
                  </a:cubicBezTo>
                  <a:cubicBezTo>
                    <a:pt x="15029" y="777"/>
                    <a:pt x="16524" y="2585"/>
                    <a:pt x="17686" y="4043"/>
                  </a:cubicBezTo>
                  <a:cubicBezTo>
                    <a:pt x="18074" y="4504"/>
                    <a:pt x="18443" y="4984"/>
                    <a:pt x="18867" y="5390"/>
                  </a:cubicBezTo>
                  <a:cubicBezTo>
                    <a:pt x="19679" y="6146"/>
                    <a:pt x="20011" y="7290"/>
                    <a:pt x="19716" y="8360"/>
                  </a:cubicBezTo>
                  <a:lnTo>
                    <a:pt x="18757" y="11829"/>
                  </a:lnTo>
                  <a:cubicBezTo>
                    <a:pt x="18701" y="12051"/>
                    <a:pt x="18609" y="12254"/>
                    <a:pt x="18498" y="12457"/>
                  </a:cubicBezTo>
                  <a:cubicBezTo>
                    <a:pt x="18535" y="12604"/>
                    <a:pt x="18572" y="12789"/>
                    <a:pt x="18646" y="12992"/>
                  </a:cubicBezTo>
                  <a:cubicBezTo>
                    <a:pt x="18812" y="13047"/>
                    <a:pt x="18978" y="13102"/>
                    <a:pt x="19144" y="13158"/>
                  </a:cubicBezTo>
                  <a:cubicBezTo>
                    <a:pt x="19734" y="13398"/>
                    <a:pt x="20233" y="13822"/>
                    <a:pt x="20565" y="14376"/>
                  </a:cubicBezTo>
                  <a:cubicBezTo>
                    <a:pt x="21524" y="15741"/>
                    <a:pt x="23720" y="18896"/>
                    <a:pt x="21875" y="21904"/>
                  </a:cubicBezTo>
                  <a:cubicBezTo>
                    <a:pt x="21155" y="23361"/>
                    <a:pt x="19790" y="24708"/>
                    <a:pt x="18572" y="25797"/>
                  </a:cubicBezTo>
                  <a:cubicBezTo>
                    <a:pt x="18037" y="26351"/>
                    <a:pt x="17299" y="26701"/>
                    <a:pt x="16764" y="26978"/>
                  </a:cubicBezTo>
                  <a:cubicBezTo>
                    <a:pt x="16616" y="27052"/>
                    <a:pt x="15804" y="27476"/>
                    <a:pt x="15638" y="27513"/>
                  </a:cubicBezTo>
                  <a:cubicBezTo>
                    <a:pt x="14919" y="27845"/>
                    <a:pt x="14181" y="28159"/>
                    <a:pt x="13018" y="28159"/>
                  </a:cubicBezTo>
                  <a:close/>
                  <a:moveTo>
                    <a:pt x="6062" y="20169"/>
                  </a:moveTo>
                  <a:cubicBezTo>
                    <a:pt x="6209" y="20169"/>
                    <a:pt x="6578" y="20446"/>
                    <a:pt x="7058" y="20852"/>
                  </a:cubicBezTo>
                  <a:cubicBezTo>
                    <a:pt x="7538" y="21055"/>
                    <a:pt x="11357" y="21941"/>
                    <a:pt x="12760" y="22162"/>
                  </a:cubicBezTo>
                  <a:cubicBezTo>
                    <a:pt x="13092" y="22088"/>
                    <a:pt x="13369" y="21978"/>
                    <a:pt x="13664" y="21867"/>
                  </a:cubicBezTo>
                  <a:cubicBezTo>
                    <a:pt x="13867" y="21756"/>
                    <a:pt x="14107" y="21627"/>
                    <a:pt x="14144" y="21609"/>
                  </a:cubicBezTo>
                  <a:cubicBezTo>
                    <a:pt x="15398" y="20668"/>
                    <a:pt x="16302" y="19782"/>
                    <a:pt x="16690" y="18988"/>
                  </a:cubicBezTo>
                  <a:lnTo>
                    <a:pt x="16690" y="18988"/>
                  </a:lnTo>
                  <a:cubicBezTo>
                    <a:pt x="16690" y="18988"/>
                    <a:pt x="16450" y="18804"/>
                    <a:pt x="16284" y="18582"/>
                  </a:cubicBezTo>
                  <a:cubicBezTo>
                    <a:pt x="15472" y="18380"/>
                    <a:pt x="14199" y="17844"/>
                    <a:pt x="13535" y="16258"/>
                  </a:cubicBezTo>
                  <a:cubicBezTo>
                    <a:pt x="12022" y="12752"/>
                    <a:pt x="12428" y="10722"/>
                    <a:pt x="13221" y="9560"/>
                  </a:cubicBezTo>
                  <a:lnTo>
                    <a:pt x="13553" y="8379"/>
                  </a:lnTo>
                  <a:cubicBezTo>
                    <a:pt x="13406" y="8194"/>
                    <a:pt x="13258" y="8010"/>
                    <a:pt x="13110" y="7825"/>
                  </a:cubicBezTo>
                  <a:cubicBezTo>
                    <a:pt x="12465" y="7050"/>
                    <a:pt x="11985" y="6478"/>
                    <a:pt x="11542" y="6165"/>
                  </a:cubicBezTo>
                  <a:cubicBezTo>
                    <a:pt x="11118" y="6460"/>
                    <a:pt x="10527" y="6921"/>
                    <a:pt x="10084" y="7345"/>
                  </a:cubicBezTo>
                  <a:lnTo>
                    <a:pt x="9531" y="8028"/>
                  </a:lnTo>
                  <a:cubicBezTo>
                    <a:pt x="8258" y="9541"/>
                    <a:pt x="6837" y="11239"/>
                    <a:pt x="6486" y="12512"/>
                  </a:cubicBezTo>
                  <a:cubicBezTo>
                    <a:pt x="6634" y="12899"/>
                    <a:pt x="6689" y="13545"/>
                    <a:pt x="6542" y="14302"/>
                  </a:cubicBezTo>
                  <a:cubicBezTo>
                    <a:pt x="6431" y="14948"/>
                    <a:pt x="6246" y="15741"/>
                    <a:pt x="6006" y="16534"/>
                  </a:cubicBezTo>
                  <a:cubicBezTo>
                    <a:pt x="6062" y="17826"/>
                    <a:pt x="6006" y="18749"/>
                    <a:pt x="6006" y="19450"/>
                  </a:cubicBezTo>
                  <a:cubicBezTo>
                    <a:pt x="6006" y="19819"/>
                    <a:pt x="5970" y="20059"/>
                    <a:pt x="6006" y="20299"/>
                  </a:cubicBezTo>
                  <a:cubicBezTo>
                    <a:pt x="6006" y="20225"/>
                    <a:pt x="6043" y="20206"/>
                    <a:pt x="6080" y="20206"/>
                  </a:cubicBezTo>
                  <a:close/>
                  <a:moveTo>
                    <a:pt x="17483" y="13545"/>
                  </a:moveTo>
                  <a:lnTo>
                    <a:pt x="17483" y="13545"/>
                  </a:lnTo>
                  <a:lnTo>
                    <a:pt x="17483" y="13545"/>
                  </a:lnTo>
                  <a:close/>
                  <a:moveTo>
                    <a:pt x="11007" y="5906"/>
                  </a:moveTo>
                  <a:cubicBezTo>
                    <a:pt x="11007" y="5906"/>
                    <a:pt x="11081" y="5925"/>
                    <a:pt x="11118" y="5943"/>
                  </a:cubicBezTo>
                  <a:cubicBezTo>
                    <a:pt x="11062" y="5943"/>
                    <a:pt x="11044" y="5925"/>
                    <a:pt x="11007" y="5906"/>
                  </a:cubicBezTo>
                  <a:close/>
                </a:path>
              </a:pathLst>
            </a:custGeom>
            <a:solidFill>
              <a:srgbClr val="FFFFFF"/>
            </a:solidFill>
            <a:ln w="1835" cap="flat">
              <a:noFill/>
              <a:prstDash val="solid"/>
              <a:miter/>
            </a:ln>
          </p:spPr>
          <p:txBody>
            <a:bodyPr/>
            <a:lstStyle/>
            <a:p>
              <a:endParaRPr lang="en-GB"/>
            </a:p>
          </p:txBody>
        </p:sp>
        <p:sp>
          <p:nvSpPr>
            <p:cNvPr id="1472" name="Freeform: Shape 1471">
              <a:extLst>
                <a:ext uri="{FF2B5EF4-FFF2-40B4-BE49-F238E27FC236}">
                  <a16:creationId xmlns:a16="http://schemas.microsoft.com/office/drawing/2014/main" id="{07E37895-2251-47D1-CFFF-29807FEBA371}"/>
                </a:ext>
              </a:extLst>
            </p:cNvPr>
            <p:cNvSpPr/>
            <p:nvPr/>
          </p:nvSpPr>
          <p:spPr>
            <a:xfrm>
              <a:off x="10898442" y="4883684"/>
              <a:ext cx="25499" cy="20696"/>
            </a:xfrm>
            <a:custGeom>
              <a:avLst/>
              <a:gdLst>
                <a:gd name="csX0" fmla="*/ 5480 w 25499"/>
                <a:gd name="csY0" fmla="*/ 7178 h 20696"/>
                <a:gd name="csX1" fmla="*/ 4650 w 25499"/>
                <a:gd name="csY1" fmla="*/ 8488 h 20696"/>
                <a:gd name="csX2" fmla="*/ 3100 w 25499"/>
                <a:gd name="csY2" fmla="*/ 9687 h 20696"/>
                <a:gd name="csX3" fmla="*/ 0 w 25499"/>
                <a:gd name="csY3" fmla="*/ 11237 h 20696"/>
                <a:gd name="csX4" fmla="*/ 2989 w 25499"/>
                <a:gd name="csY4" fmla="*/ 19835 h 20696"/>
                <a:gd name="csX5" fmla="*/ 3819 w 25499"/>
                <a:gd name="csY5" fmla="*/ 20666 h 20696"/>
                <a:gd name="csX6" fmla="*/ 5609 w 25499"/>
                <a:gd name="csY6" fmla="*/ 20555 h 20696"/>
                <a:gd name="csX7" fmla="*/ 7399 w 25499"/>
                <a:gd name="csY7" fmla="*/ 20666 h 20696"/>
                <a:gd name="csX8" fmla="*/ 11458 w 25499"/>
                <a:gd name="csY8" fmla="*/ 19946 h 20696"/>
                <a:gd name="csX9" fmla="*/ 12769 w 25499"/>
                <a:gd name="csY9" fmla="*/ 20666 h 20696"/>
                <a:gd name="csX10" fmla="*/ 16348 w 25499"/>
                <a:gd name="csY10" fmla="*/ 20315 h 20696"/>
                <a:gd name="csX11" fmla="*/ 23987 w 25499"/>
                <a:gd name="csY11" fmla="*/ 17566 h 20696"/>
                <a:gd name="csX12" fmla="*/ 25297 w 25499"/>
                <a:gd name="csY12" fmla="*/ 5259 h 20696"/>
                <a:gd name="csX13" fmla="*/ 20758 w 25499"/>
                <a:gd name="csY13" fmla="*/ 0 h 20696"/>
                <a:gd name="csX14" fmla="*/ 18489 w 25499"/>
                <a:gd name="csY14" fmla="*/ 240 h 20696"/>
                <a:gd name="csX15" fmla="*/ 16699 w 25499"/>
                <a:gd name="csY15" fmla="*/ 480 h 20696"/>
                <a:gd name="csX16" fmla="*/ 13119 w 25499"/>
                <a:gd name="csY16" fmla="*/ 2509 h 20696"/>
                <a:gd name="csX17" fmla="*/ 12049 w 25499"/>
                <a:gd name="csY17" fmla="*/ 2860 h 20696"/>
                <a:gd name="csX18" fmla="*/ 4281 w 25499"/>
                <a:gd name="csY18" fmla="*/ 7159 h 206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5499" h="20696">
                  <a:moveTo>
                    <a:pt x="5480" y="7178"/>
                  </a:moveTo>
                  <a:cubicBezTo>
                    <a:pt x="3930" y="7657"/>
                    <a:pt x="4890" y="8137"/>
                    <a:pt x="4650" y="8488"/>
                  </a:cubicBezTo>
                  <a:cubicBezTo>
                    <a:pt x="4170" y="8838"/>
                    <a:pt x="3690" y="9318"/>
                    <a:pt x="3100" y="9687"/>
                  </a:cubicBezTo>
                  <a:cubicBezTo>
                    <a:pt x="2140" y="10278"/>
                    <a:pt x="0" y="11237"/>
                    <a:pt x="0" y="11237"/>
                  </a:cubicBezTo>
                  <a:cubicBezTo>
                    <a:pt x="959" y="14097"/>
                    <a:pt x="1790" y="16975"/>
                    <a:pt x="2989" y="19835"/>
                  </a:cubicBezTo>
                  <a:cubicBezTo>
                    <a:pt x="3100" y="20186"/>
                    <a:pt x="3340" y="20555"/>
                    <a:pt x="3819" y="20666"/>
                  </a:cubicBezTo>
                  <a:cubicBezTo>
                    <a:pt x="4299" y="20777"/>
                    <a:pt x="5019" y="20555"/>
                    <a:pt x="5609" y="20555"/>
                  </a:cubicBezTo>
                  <a:cubicBezTo>
                    <a:pt x="6200" y="20555"/>
                    <a:pt x="6809" y="20666"/>
                    <a:pt x="7399" y="20666"/>
                  </a:cubicBezTo>
                  <a:cubicBezTo>
                    <a:pt x="8838" y="20426"/>
                    <a:pt x="10148" y="19946"/>
                    <a:pt x="11458" y="19946"/>
                  </a:cubicBezTo>
                  <a:cubicBezTo>
                    <a:pt x="12049" y="19946"/>
                    <a:pt x="12178" y="20537"/>
                    <a:pt x="12769" y="20666"/>
                  </a:cubicBezTo>
                  <a:cubicBezTo>
                    <a:pt x="13968" y="20777"/>
                    <a:pt x="16348" y="20315"/>
                    <a:pt x="16348" y="20315"/>
                  </a:cubicBezTo>
                  <a:cubicBezTo>
                    <a:pt x="26017" y="17086"/>
                    <a:pt x="22437" y="20075"/>
                    <a:pt x="23987" y="17566"/>
                  </a:cubicBezTo>
                  <a:cubicBezTo>
                    <a:pt x="25426" y="14946"/>
                    <a:pt x="25777" y="8137"/>
                    <a:pt x="25297" y="5259"/>
                  </a:cubicBezTo>
                  <a:cubicBezTo>
                    <a:pt x="24707" y="2270"/>
                    <a:pt x="22548" y="849"/>
                    <a:pt x="20758" y="0"/>
                  </a:cubicBezTo>
                  <a:cubicBezTo>
                    <a:pt x="20038" y="111"/>
                    <a:pt x="19208" y="240"/>
                    <a:pt x="18489" y="240"/>
                  </a:cubicBezTo>
                  <a:cubicBezTo>
                    <a:pt x="17898" y="351"/>
                    <a:pt x="17289" y="240"/>
                    <a:pt x="16699" y="480"/>
                  </a:cubicBezTo>
                  <a:cubicBezTo>
                    <a:pt x="13949" y="1199"/>
                    <a:pt x="15259" y="1310"/>
                    <a:pt x="13119" y="2509"/>
                  </a:cubicBezTo>
                  <a:cubicBezTo>
                    <a:pt x="12769" y="2749"/>
                    <a:pt x="13470" y="2030"/>
                    <a:pt x="12049" y="2860"/>
                  </a:cubicBezTo>
                  <a:cubicBezTo>
                    <a:pt x="10499" y="3580"/>
                    <a:pt x="6790" y="5720"/>
                    <a:pt x="4281" y="7159"/>
                  </a:cubicBezTo>
                </a:path>
              </a:pathLst>
            </a:custGeom>
            <a:solidFill>
              <a:srgbClr val="FFFFFF"/>
            </a:solidFill>
            <a:ln w="1835" cap="flat">
              <a:noFill/>
              <a:prstDash val="solid"/>
              <a:miter/>
            </a:ln>
          </p:spPr>
          <p:txBody>
            <a:bodyPr/>
            <a:lstStyle/>
            <a:p>
              <a:endParaRPr lang="en-GB"/>
            </a:p>
          </p:txBody>
        </p:sp>
        <p:sp>
          <p:nvSpPr>
            <p:cNvPr id="1473" name="Freeform: Shape 1472">
              <a:extLst>
                <a:ext uri="{FF2B5EF4-FFF2-40B4-BE49-F238E27FC236}">
                  <a16:creationId xmlns:a16="http://schemas.microsoft.com/office/drawing/2014/main" id="{296E4CE1-2633-F35F-2198-D7BD63FD417B}"/>
                </a:ext>
              </a:extLst>
            </p:cNvPr>
            <p:cNvSpPr/>
            <p:nvPr/>
          </p:nvSpPr>
          <p:spPr>
            <a:xfrm>
              <a:off x="10895441" y="4880704"/>
              <a:ext cx="31496" cy="26690"/>
            </a:xfrm>
            <a:custGeom>
              <a:avLst/>
              <a:gdLst>
                <a:gd name="csX0" fmla="*/ 7135 w 31496"/>
                <a:gd name="csY0" fmla="*/ 26672 h 26690"/>
                <a:gd name="csX1" fmla="*/ 6101 w 31496"/>
                <a:gd name="csY1" fmla="*/ 26561 h 26690"/>
                <a:gd name="csX2" fmla="*/ 3131 w 31496"/>
                <a:gd name="csY2" fmla="*/ 23738 h 26690"/>
                <a:gd name="csX3" fmla="*/ 861 w 31496"/>
                <a:gd name="csY3" fmla="*/ 17317 h 26690"/>
                <a:gd name="csX4" fmla="*/ 160 w 31496"/>
                <a:gd name="csY4" fmla="*/ 15158 h 26690"/>
                <a:gd name="csX5" fmla="*/ 1784 w 31496"/>
                <a:gd name="csY5" fmla="*/ 11486 h 26690"/>
                <a:gd name="csX6" fmla="*/ 4533 w 31496"/>
                <a:gd name="csY6" fmla="*/ 10139 h 26690"/>
                <a:gd name="csX7" fmla="*/ 4736 w 31496"/>
                <a:gd name="csY7" fmla="*/ 9991 h 26690"/>
                <a:gd name="csX8" fmla="*/ 4957 w 31496"/>
                <a:gd name="csY8" fmla="*/ 9309 h 26690"/>
                <a:gd name="csX9" fmla="*/ 6083 w 31496"/>
                <a:gd name="csY9" fmla="*/ 8017 h 26690"/>
                <a:gd name="csX10" fmla="*/ 5824 w 31496"/>
                <a:gd name="csY10" fmla="*/ 7556 h 26690"/>
                <a:gd name="csX11" fmla="*/ 6858 w 31496"/>
                <a:gd name="csY11" fmla="*/ 6965 h 26690"/>
                <a:gd name="csX12" fmla="*/ 13796 w 31496"/>
                <a:gd name="csY12" fmla="*/ 3146 h 26690"/>
                <a:gd name="csX13" fmla="*/ 15235 w 31496"/>
                <a:gd name="csY13" fmla="*/ 2537 h 26690"/>
                <a:gd name="csX14" fmla="*/ 15401 w 31496"/>
                <a:gd name="csY14" fmla="*/ 2389 h 26690"/>
                <a:gd name="csX15" fmla="*/ 18944 w 31496"/>
                <a:gd name="csY15" fmla="*/ 581 h 26690"/>
                <a:gd name="csX16" fmla="*/ 20678 w 31496"/>
                <a:gd name="csY16" fmla="*/ 323 h 26690"/>
                <a:gd name="csX17" fmla="*/ 23261 w 31496"/>
                <a:gd name="csY17" fmla="*/ 46 h 26690"/>
                <a:gd name="csX18" fmla="*/ 25051 w 31496"/>
                <a:gd name="csY18" fmla="*/ 286 h 26690"/>
                <a:gd name="csX19" fmla="*/ 31251 w 31496"/>
                <a:gd name="csY19" fmla="*/ 7667 h 26690"/>
                <a:gd name="csX20" fmla="*/ 29627 w 31496"/>
                <a:gd name="csY20" fmla="*/ 21985 h 26690"/>
                <a:gd name="csX21" fmla="*/ 26066 w 31496"/>
                <a:gd name="csY21" fmla="*/ 24642 h 26690"/>
                <a:gd name="csX22" fmla="*/ 26066 w 31496"/>
                <a:gd name="csY22" fmla="*/ 24642 h 26690"/>
                <a:gd name="csX23" fmla="*/ 20327 w 31496"/>
                <a:gd name="csY23" fmla="*/ 26137 h 26690"/>
                <a:gd name="csX24" fmla="*/ 15512 w 31496"/>
                <a:gd name="csY24" fmla="*/ 26635 h 26690"/>
                <a:gd name="csX25" fmla="*/ 13888 w 31496"/>
                <a:gd name="csY25" fmla="*/ 25989 h 26690"/>
                <a:gd name="csX26" fmla="*/ 12633 w 31496"/>
                <a:gd name="csY26" fmla="*/ 26247 h 26690"/>
                <a:gd name="csX27" fmla="*/ 10917 w 31496"/>
                <a:gd name="csY27" fmla="*/ 26616 h 26690"/>
                <a:gd name="csX28" fmla="*/ 9256 w 31496"/>
                <a:gd name="csY28" fmla="*/ 26579 h 26690"/>
                <a:gd name="csX29" fmla="*/ 8315 w 31496"/>
                <a:gd name="csY29" fmla="*/ 26579 h 26690"/>
                <a:gd name="csX30" fmla="*/ 7171 w 31496"/>
                <a:gd name="csY30" fmla="*/ 26690 h 26690"/>
                <a:gd name="csX31" fmla="*/ 8684 w 31496"/>
                <a:gd name="csY31" fmla="*/ 21561 h 26690"/>
                <a:gd name="csX32" fmla="*/ 8740 w 31496"/>
                <a:gd name="csY32" fmla="*/ 21671 h 26690"/>
                <a:gd name="csX33" fmla="*/ 8684 w 31496"/>
                <a:gd name="csY33" fmla="*/ 21561 h 26690"/>
                <a:gd name="csX34" fmla="*/ 14460 w 31496"/>
                <a:gd name="csY34" fmla="*/ 19955 h 26690"/>
                <a:gd name="csX35" fmla="*/ 16692 w 31496"/>
                <a:gd name="csY35" fmla="*/ 20693 h 26690"/>
                <a:gd name="csX36" fmla="*/ 18777 w 31496"/>
                <a:gd name="csY36" fmla="*/ 20361 h 26690"/>
                <a:gd name="csX37" fmla="*/ 24553 w 31496"/>
                <a:gd name="csY37" fmla="*/ 18793 h 26690"/>
                <a:gd name="csX38" fmla="*/ 25365 w 31496"/>
                <a:gd name="csY38" fmla="*/ 8737 h 26690"/>
                <a:gd name="csX39" fmla="*/ 23261 w 31496"/>
                <a:gd name="csY39" fmla="*/ 6098 h 26690"/>
                <a:gd name="csX40" fmla="*/ 21508 w 31496"/>
                <a:gd name="csY40" fmla="*/ 6227 h 26690"/>
                <a:gd name="csX41" fmla="*/ 20641 w 31496"/>
                <a:gd name="csY41" fmla="*/ 6301 h 26690"/>
                <a:gd name="csX42" fmla="*/ 19516 w 31496"/>
                <a:gd name="csY42" fmla="*/ 6652 h 26690"/>
                <a:gd name="csX43" fmla="*/ 17597 w 31496"/>
                <a:gd name="csY43" fmla="*/ 8128 h 26690"/>
                <a:gd name="csX44" fmla="*/ 16434 w 31496"/>
                <a:gd name="csY44" fmla="*/ 8497 h 26690"/>
                <a:gd name="csX45" fmla="*/ 10364 w 31496"/>
                <a:gd name="csY45" fmla="*/ 11855 h 26690"/>
                <a:gd name="csX46" fmla="*/ 10474 w 31496"/>
                <a:gd name="csY46" fmla="*/ 10121 h 26690"/>
                <a:gd name="csX47" fmla="*/ 10271 w 31496"/>
                <a:gd name="csY47" fmla="*/ 11910 h 26690"/>
                <a:gd name="csX48" fmla="*/ 9847 w 31496"/>
                <a:gd name="csY48" fmla="*/ 12150 h 26690"/>
                <a:gd name="csX49" fmla="*/ 9238 w 31496"/>
                <a:gd name="csY49" fmla="*/ 12501 h 26690"/>
                <a:gd name="csX50" fmla="*/ 8518 w 31496"/>
                <a:gd name="csY50" fmla="*/ 10158 h 26690"/>
                <a:gd name="csX51" fmla="*/ 9238 w 31496"/>
                <a:gd name="csY51" fmla="*/ 12501 h 26690"/>
                <a:gd name="csX52" fmla="*/ 9183 w 31496"/>
                <a:gd name="csY52" fmla="*/ 12538 h 26690"/>
                <a:gd name="csX53" fmla="*/ 9312 w 31496"/>
                <a:gd name="csY53" fmla="*/ 13036 h 26690"/>
                <a:gd name="csX54" fmla="*/ 9386 w 31496"/>
                <a:gd name="csY54" fmla="*/ 12999 h 26690"/>
                <a:gd name="csX55" fmla="*/ 9386 w 31496"/>
                <a:gd name="csY55" fmla="*/ 12999 h 26690"/>
                <a:gd name="csX56" fmla="*/ 9386 w 31496"/>
                <a:gd name="csY56" fmla="*/ 12999 h 26690"/>
                <a:gd name="csX57" fmla="*/ 10253 w 31496"/>
                <a:gd name="csY57" fmla="*/ 12077 h 26690"/>
                <a:gd name="csX58" fmla="*/ 10142 w 31496"/>
                <a:gd name="csY58" fmla="*/ 13147 h 26690"/>
                <a:gd name="csX59" fmla="*/ 9423 w 31496"/>
                <a:gd name="csY59" fmla="*/ 13885 h 26690"/>
                <a:gd name="csX60" fmla="*/ 7670 w 31496"/>
                <a:gd name="csY60" fmla="*/ 15213 h 26690"/>
                <a:gd name="csX61" fmla="*/ 6673 w 31496"/>
                <a:gd name="csY61" fmla="*/ 15767 h 26690"/>
                <a:gd name="csX62" fmla="*/ 8315 w 31496"/>
                <a:gd name="csY62" fmla="*/ 20546 h 26690"/>
                <a:gd name="csX63" fmla="*/ 9828 w 31496"/>
                <a:gd name="csY63" fmla="*/ 20601 h 26690"/>
                <a:gd name="csX64" fmla="*/ 11268 w 31496"/>
                <a:gd name="csY64" fmla="*/ 20398 h 26690"/>
                <a:gd name="csX65" fmla="*/ 14478 w 31496"/>
                <a:gd name="csY65" fmla="*/ 19937 h 26690"/>
                <a:gd name="csX66" fmla="*/ 4810 w 31496"/>
                <a:gd name="csY66" fmla="*/ 12077 h 26690"/>
                <a:gd name="csX67" fmla="*/ 4810 w 31496"/>
                <a:gd name="csY67" fmla="*/ 12077 h 26690"/>
                <a:gd name="csX68" fmla="*/ 4810 w 31496"/>
                <a:gd name="csY68" fmla="*/ 12077 h 266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31496" h="26690">
                  <a:moveTo>
                    <a:pt x="7135" y="26672"/>
                  </a:moveTo>
                  <a:cubicBezTo>
                    <a:pt x="6802" y="26672"/>
                    <a:pt x="6470" y="26635"/>
                    <a:pt x="6101" y="26561"/>
                  </a:cubicBezTo>
                  <a:cubicBezTo>
                    <a:pt x="4680" y="26210"/>
                    <a:pt x="3592" y="25177"/>
                    <a:pt x="3131" y="23738"/>
                  </a:cubicBezTo>
                  <a:cubicBezTo>
                    <a:pt x="2282" y="21764"/>
                    <a:pt x="1581" y="19531"/>
                    <a:pt x="861" y="17317"/>
                  </a:cubicBezTo>
                  <a:lnTo>
                    <a:pt x="160" y="15158"/>
                  </a:lnTo>
                  <a:cubicBezTo>
                    <a:pt x="-338" y="13700"/>
                    <a:pt x="363" y="12113"/>
                    <a:pt x="1784" y="11486"/>
                  </a:cubicBezTo>
                  <a:cubicBezTo>
                    <a:pt x="1802" y="11486"/>
                    <a:pt x="3684" y="10637"/>
                    <a:pt x="4533" y="10139"/>
                  </a:cubicBezTo>
                  <a:cubicBezTo>
                    <a:pt x="4607" y="10084"/>
                    <a:pt x="4680" y="10028"/>
                    <a:pt x="4736" y="9991"/>
                  </a:cubicBezTo>
                  <a:cubicBezTo>
                    <a:pt x="4791" y="9733"/>
                    <a:pt x="4865" y="9493"/>
                    <a:pt x="4957" y="9309"/>
                  </a:cubicBezTo>
                  <a:cubicBezTo>
                    <a:pt x="5252" y="8737"/>
                    <a:pt x="5677" y="8331"/>
                    <a:pt x="6083" y="8017"/>
                  </a:cubicBezTo>
                  <a:lnTo>
                    <a:pt x="5824" y="7556"/>
                  </a:lnTo>
                  <a:lnTo>
                    <a:pt x="6858" y="6965"/>
                  </a:lnTo>
                  <a:cubicBezTo>
                    <a:pt x="9349" y="5545"/>
                    <a:pt x="12412" y="3792"/>
                    <a:pt x="13796" y="3146"/>
                  </a:cubicBezTo>
                  <a:cubicBezTo>
                    <a:pt x="14091" y="2980"/>
                    <a:pt x="14607" y="2666"/>
                    <a:pt x="15235" y="2537"/>
                  </a:cubicBezTo>
                  <a:cubicBezTo>
                    <a:pt x="15309" y="2482"/>
                    <a:pt x="15345" y="2426"/>
                    <a:pt x="15401" y="2389"/>
                  </a:cubicBezTo>
                  <a:cubicBezTo>
                    <a:pt x="16268" y="1485"/>
                    <a:pt x="17061" y="1079"/>
                    <a:pt x="18944" y="581"/>
                  </a:cubicBezTo>
                  <a:cubicBezTo>
                    <a:pt x="19460" y="378"/>
                    <a:pt x="20180" y="341"/>
                    <a:pt x="20678" y="323"/>
                  </a:cubicBezTo>
                  <a:cubicBezTo>
                    <a:pt x="21398" y="175"/>
                    <a:pt x="22505" y="175"/>
                    <a:pt x="23261" y="46"/>
                  </a:cubicBezTo>
                  <a:cubicBezTo>
                    <a:pt x="23870" y="-65"/>
                    <a:pt x="24516" y="28"/>
                    <a:pt x="25051" y="286"/>
                  </a:cubicBezTo>
                  <a:cubicBezTo>
                    <a:pt x="28520" y="1910"/>
                    <a:pt x="30586" y="4401"/>
                    <a:pt x="31251" y="7667"/>
                  </a:cubicBezTo>
                  <a:cubicBezTo>
                    <a:pt x="31749" y="10674"/>
                    <a:pt x="31620" y="18332"/>
                    <a:pt x="29627" y="21985"/>
                  </a:cubicBezTo>
                  <a:cubicBezTo>
                    <a:pt x="29258" y="23424"/>
                    <a:pt x="27357" y="24863"/>
                    <a:pt x="26066" y="24642"/>
                  </a:cubicBezTo>
                  <a:lnTo>
                    <a:pt x="26066" y="24642"/>
                  </a:lnTo>
                  <a:cubicBezTo>
                    <a:pt x="25918" y="24642"/>
                    <a:pt x="24645" y="24697"/>
                    <a:pt x="20327" y="26137"/>
                  </a:cubicBezTo>
                  <a:cubicBezTo>
                    <a:pt x="19294" y="26377"/>
                    <a:pt x="17061" y="26819"/>
                    <a:pt x="15512" y="26635"/>
                  </a:cubicBezTo>
                  <a:cubicBezTo>
                    <a:pt x="15087" y="26579"/>
                    <a:pt x="14423" y="26303"/>
                    <a:pt x="13888" y="25989"/>
                  </a:cubicBezTo>
                  <a:cubicBezTo>
                    <a:pt x="13519" y="26044"/>
                    <a:pt x="13094" y="26137"/>
                    <a:pt x="12633" y="26247"/>
                  </a:cubicBezTo>
                  <a:cubicBezTo>
                    <a:pt x="12080" y="26377"/>
                    <a:pt x="11508" y="26506"/>
                    <a:pt x="10917" y="26616"/>
                  </a:cubicBezTo>
                  <a:cubicBezTo>
                    <a:pt x="10031" y="26672"/>
                    <a:pt x="9662" y="26616"/>
                    <a:pt x="9256" y="26579"/>
                  </a:cubicBezTo>
                  <a:lnTo>
                    <a:pt x="8315" y="26579"/>
                  </a:lnTo>
                  <a:cubicBezTo>
                    <a:pt x="8002" y="26635"/>
                    <a:pt x="7596" y="26690"/>
                    <a:pt x="7171" y="26690"/>
                  </a:cubicBezTo>
                  <a:close/>
                  <a:moveTo>
                    <a:pt x="8684" y="21561"/>
                  </a:moveTo>
                  <a:cubicBezTo>
                    <a:pt x="8684" y="21561"/>
                    <a:pt x="8721" y="21634"/>
                    <a:pt x="8740" y="21671"/>
                  </a:cubicBezTo>
                  <a:cubicBezTo>
                    <a:pt x="8740" y="21634"/>
                    <a:pt x="8721" y="21598"/>
                    <a:pt x="8684" y="21561"/>
                  </a:cubicBezTo>
                  <a:close/>
                  <a:moveTo>
                    <a:pt x="14460" y="19955"/>
                  </a:moveTo>
                  <a:cubicBezTo>
                    <a:pt x="15475" y="19955"/>
                    <a:pt x="16213" y="20343"/>
                    <a:pt x="16692" y="20693"/>
                  </a:cubicBezTo>
                  <a:cubicBezTo>
                    <a:pt x="17172" y="20638"/>
                    <a:pt x="18039" y="20527"/>
                    <a:pt x="18777" y="20361"/>
                  </a:cubicBezTo>
                  <a:cubicBezTo>
                    <a:pt x="21527" y="19420"/>
                    <a:pt x="23317" y="18977"/>
                    <a:pt x="24553" y="18793"/>
                  </a:cubicBezTo>
                  <a:cubicBezTo>
                    <a:pt x="25383" y="16948"/>
                    <a:pt x="25789" y="11228"/>
                    <a:pt x="25365" y="8737"/>
                  </a:cubicBezTo>
                  <a:cubicBezTo>
                    <a:pt x="25162" y="7648"/>
                    <a:pt x="24516" y="6818"/>
                    <a:pt x="23261" y="6098"/>
                  </a:cubicBezTo>
                  <a:cubicBezTo>
                    <a:pt x="22671" y="6172"/>
                    <a:pt x="22062" y="6227"/>
                    <a:pt x="21508" y="6227"/>
                  </a:cubicBezTo>
                  <a:lnTo>
                    <a:pt x="20641" y="6301"/>
                  </a:lnTo>
                  <a:cubicBezTo>
                    <a:pt x="19995" y="6467"/>
                    <a:pt x="19700" y="6559"/>
                    <a:pt x="19516" y="6652"/>
                  </a:cubicBezTo>
                  <a:cubicBezTo>
                    <a:pt x="19313" y="6947"/>
                    <a:pt x="18777" y="7464"/>
                    <a:pt x="17597" y="8128"/>
                  </a:cubicBezTo>
                  <a:cubicBezTo>
                    <a:pt x="17228" y="8331"/>
                    <a:pt x="16840" y="8442"/>
                    <a:pt x="16434" y="8497"/>
                  </a:cubicBezTo>
                  <a:cubicBezTo>
                    <a:pt x="14718" y="9364"/>
                    <a:pt x="12393" y="10693"/>
                    <a:pt x="10364" y="11855"/>
                  </a:cubicBezTo>
                  <a:cubicBezTo>
                    <a:pt x="10585" y="11338"/>
                    <a:pt x="10659" y="10730"/>
                    <a:pt x="10474" y="10121"/>
                  </a:cubicBezTo>
                  <a:lnTo>
                    <a:pt x="10271" y="11910"/>
                  </a:lnTo>
                  <a:cubicBezTo>
                    <a:pt x="10124" y="11984"/>
                    <a:pt x="9976" y="12077"/>
                    <a:pt x="9847" y="12150"/>
                  </a:cubicBezTo>
                  <a:lnTo>
                    <a:pt x="9238" y="12501"/>
                  </a:lnTo>
                  <a:lnTo>
                    <a:pt x="8518" y="10158"/>
                  </a:lnTo>
                  <a:lnTo>
                    <a:pt x="9238" y="12501"/>
                  </a:lnTo>
                  <a:lnTo>
                    <a:pt x="9183" y="12538"/>
                  </a:lnTo>
                  <a:lnTo>
                    <a:pt x="9312" y="13036"/>
                  </a:lnTo>
                  <a:cubicBezTo>
                    <a:pt x="9312" y="13036"/>
                    <a:pt x="9367" y="13018"/>
                    <a:pt x="9386" y="12999"/>
                  </a:cubicBezTo>
                  <a:lnTo>
                    <a:pt x="9386" y="12999"/>
                  </a:lnTo>
                  <a:cubicBezTo>
                    <a:pt x="9386" y="12999"/>
                    <a:pt x="9386" y="12999"/>
                    <a:pt x="9386" y="12999"/>
                  </a:cubicBezTo>
                  <a:cubicBezTo>
                    <a:pt x="9718" y="12833"/>
                    <a:pt x="10031" y="12501"/>
                    <a:pt x="10253" y="12077"/>
                  </a:cubicBezTo>
                  <a:lnTo>
                    <a:pt x="10142" y="13147"/>
                  </a:lnTo>
                  <a:cubicBezTo>
                    <a:pt x="9939" y="13423"/>
                    <a:pt x="9718" y="13663"/>
                    <a:pt x="9423" y="13885"/>
                  </a:cubicBezTo>
                  <a:cubicBezTo>
                    <a:pt x="8611" y="14549"/>
                    <a:pt x="8168" y="14918"/>
                    <a:pt x="7670" y="15213"/>
                  </a:cubicBezTo>
                  <a:cubicBezTo>
                    <a:pt x="7393" y="15379"/>
                    <a:pt x="7042" y="15582"/>
                    <a:pt x="6673" y="15767"/>
                  </a:cubicBezTo>
                  <a:cubicBezTo>
                    <a:pt x="7190" y="17372"/>
                    <a:pt x="7707" y="18959"/>
                    <a:pt x="8315" y="20546"/>
                  </a:cubicBezTo>
                  <a:cubicBezTo>
                    <a:pt x="8832" y="20490"/>
                    <a:pt x="9312" y="20546"/>
                    <a:pt x="9828" y="20601"/>
                  </a:cubicBezTo>
                  <a:cubicBezTo>
                    <a:pt x="10327" y="20601"/>
                    <a:pt x="10843" y="20509"/>
                    <a:pt x="11268" y="20398"/>
                  </a:cubicBezTo>
                  <a:cubicBezTo>
                    <a:pt x="12227" y="20195"/>
                    <a:pt x="13316" y="19937"/>
                    <a:pt x="14478" y="19937"/>
                  </a:cubicBezTo>
                  <a:close/>
                  <a:moveTo>
                    <a:pt x="4810" y="12077"/>
                  </a:moveTo>
                  <a:lnTo>
                    <a:pt x="4810" y="12077"/>
                  </a:lnTo>
                  <a:cubicBezTo>
                    <a:pt x="4810" y="12077"/>
                    <a:pt x="4810" y="12077"/>
                    <a:pt x="4810" y="12077"/>
                  </a:cubicBezTo>
                  <a:close/>
                </a:path>
              </a:pathLst>
            </a:custGeom>
            <a:solidFill>
              <a:srgbClr val="FFFFFF"/>
            </a:solidFill>
            <a:ln w="1835" cap="flat">
              <a:noFill/>
              <a:prstDash val="solid"/>
              <a:miter/>
            </a:ln>
          </p:spPr>
          <p:txBody>
            <a:bodyPr/>
            <a:lstStyle/>
            <a:p>
              <a:endParaRPr lang="en-GB"/>
            </a:p>
          </p:txBody>
        </p:sp>
        <p:sp>
          <p:nvSpPr>
            <p:cNvPr id="1474" name="Freeform: Shape 1473">
              <a:extLst>
                <a:ext uri="{FF2B5EF4-FFF2-40B4-BE49-F238E27FC236}">
                  <a16:creationId xmlns:a16="http://schemas.microsoft.com/office/drawing/2014/main" id="{BDB4DB53-71F6-94D5-DBD8-64D339542C47}"/>
                </a:ext>
              </a:extLst>
            </p:cNvPr>
            <p:cNvSpPr/>
            <p:nvPr/>
          </p:nvSpPr>
          <p:spPr>
            <a:xfrm>
              <a:off x="10908221" y="4913234"/>
              <a:ext cx="21944" cy="27306"/>
            </a:xfrm>
            <a:custGeom>
              <a:avLst/>
              <a:gdLst>
                <a:gd name="csX0" fmla="*/ 1070 w 21944"/>
                <a:gd name="csY0" fmla="*/ 16432 h 27306"/>
                <a:gd name="csX1" fmla="*/ 1421 w 21944"/>
                <a:gd name="csY1" fmla="*/ 17982 h 27306"/>
                <a:gd name="csX2" fmla="*/ 1070 w 21944"/>
                <a:gd name="csY2" fmla="*/ 19771 h 27306"/>
                <a:gd name="csX3" fmla="*/ 0 w 21944"/>
                <a:gd name="csY3" fmla="*/ 23111 h 27306"/>
                <a:gd name="csX4" fmla="*/ 8119 w 21944"/>
                <a:gd name="csY4" fmla="*/ 27171 h 27306"/>
                <a:gd name="csX5" fmla="*/ 9318 w 21944"/>
                <a:gd name="csY5" fmla="*/ 27171 h 27306"/>
                <a:gd name="csX6" fmla="*/ 10517 w 21944"/>
                <a:gd name="csY6" fmla="*/ 25860 h 27306"/>
                <a:gd name="csX7" fmla="*/ 11957 w 21944"/>
                <a:gd name="csY7" fmla="*/ 24661 h 27306"/>
                <a:gd name="csX8" fmla="*/ 14226 w 21944"/>
                <a:gd name="csY8" fmla="*/ 21321 h 27306"/>
                <a:gd name="csX9" fmla="*/ 15776 w 21944"/>
                <a:gd name="csY9" fmla="*/ 20842 h 27306"/>
                <a:gd name="csX10" fmla="*/ 18046 w 21944"/>
                <a:gd name="csY10" fmla="*/ 18221 h 27306"/>
                <a:gd name="csX11" fmla="*/ 21515 w 21944"/>
                <a:gd name="csY11" fmla="*/ 10822 h 27306"/>
                <a:gd name="csX12" fmla="*/ 13876 w 21944"/>
                <a:gd name="csY12" fmla="*/ 1154 h 27306"/>
                <a:gd name="csX13" fmla="*/ 7067 w 21944"/>
                <a:gd name="csY13" fmla="*/ 563 h 27306"/>
                <a:gd name="csX14" fmla="*/ 5517 w 21944"/>
                <a:gd name="csY14" fmla="*/ 2353 h 27306"/>
                <a:gd name="csX15" fmla="*/ 4447 w 21944"/>
                <a:gd name="csY15" fmla="*/ 3663 h 27306"/>
                <a:gd name="csX16" fmla="*/ 3247 w 21944"/>
                <a:gd name="csY16" fmla="*/ 7723 h 27306"/>
                <a:gd name="csX17" fmla="*/ 2768 w 21944"/>
                <a:gd name="csY17" fmla="*/ 8793 h 27306"/>
                <a:gd name="csX18" fmla="*/ 258 w 21944"/>
                <a:gd name="csY18" fmla="*/ 17280 h 273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1944" h="27306">
                  <a:moveTo>
                    <a:pt x="1070" y="16432"/>
                  </a:moveTo>
                  <a:cubicBezTo>
                    <a:pt x="240" y="17742"/>
                    <a:pt x="1310" y="17502"/>
                    <a:pt x="1421" y="17982"/>
                  </a:cubicBezTo>
                  <a:cubicBezTo>
                    <a:pt x="1310" y="18572"/>
                    <a:pt x="1310" y="19181"/>
                    <a:pt x="1070" y="19771"/>
                  </a:cubicBezTo>
                  <a:cubicBezTo>
                    <a:pt x="830" y="20971"/>
                    <a:pt x="0" y="23111"/>
                    <a:pt x="0" y="23111"/>
                  </a:cubicBezTo>
                  <a:cubicBezTo>
                    <a:pt x="2749" y="24550"/>
                    <a:pt x="5369" y="25971"/>
                    <a:pt x="8119" y="27171"/>
                  </a:cubicBezTo>
                  <a:cubicBezTo>
                    <a:pt x="8469" y="27281"/>
                    <a:pt x="8838" y="27410"/>
                    <a:pt x="9318" y="27171"/>
                  </a:cubicBezTo>
                  <a:cubicBezTo>
                    <a:pt x="9798" y="26931"/>
                    <a:pt x="10038" y="26211"/>
                    <a:pt x="10517" y="25860"/>
                  </a:cubicBezTo>
                  <a:cubicBezTo>
                    <a:pt x="10997" y="25381"/>
                    <a:pt x="11477" y="25030"/>
                    <a:pt x="11957" y="24661"/>
                  </a:cubicBezTo>
                  <a:cubicBezTo>
                    <a:pt x="12676" y="23591"/>
                    <a:pt x="13396" y="22281"/>
                    <a:pt x="14226" y="21321"/>
                  </a:cubicBezTo>
                  <a:cubicBezTo>
                    <a:pt x="14706" y="20842"/>
                    <a:pt x="15296" y="21321"/>
                    <a:pt x="15776" y="20842"/>
                  </a:cubicBezTo>
                  <a:cubicBezTo>
                    <a:pt x="16606" y="20122"/>
                    <a:pt x="18046" y="18221"/>
                    <a:pt x="18046" y="18221"/>
                  </a:cubicBezTo>
                  <a:cubicBezTo>
                    <a:pt x="22585" y="9143"/>
                    <a:pt x="22234" y="13682"/>
                    <a:pt x="21515" y="10822"/>
                  </a:cubicBezTo>
                  <a:cubicBezTo>
                    <a:pt x="20795" y="8073"/>
                    <a:pt x="16256" y="2814"/>
                    <a:pt x="13876" y="1154"/>
                  </a:cubicBezTo>
                  <a:cubicBezTo>
                    <a:pt x="11495" y="-525"/>
                    <a:pt x="8746" y="-46"/>
                    <a:pt x="7067" y="563"/>
                  </a:cubicBezTo>
                  <a:cubicBezTo>
                    <a:pt x="6587" y="1154"/>
                    <a:pt x="6107" y="1763"/>
                    <a:pt x="5517" y="2353"/>
                  </a:cubicBezTo>
                  <a:cubicBezTo>
                    <a:pt x="5166" y="2833"/>
                    <a:pt x="4687" y="3183"/>
                    <a:pt x="4447" y="3663"/>
                  </a:cubicBezTo>
                  <a:cubicBezTo>
                    <a:pt x="2897" y="6283"/>
                    <a:pt x="3967" y="5453"/>
                    <a:pt x="3247" y="7723"/>
                  </a:cubicBezTo>
                  <a:cubicBezTo>
                    <a:pt x="3247" y="8073"/>
                    <a:pt x="3247" y="7132"/>
                    <a:pt x="2768" y="8793"/>
                  </a:cubicBezTo>
                  <a:cubicBezTo>
                    <a:pt x="2177" y="10343"/>
                    <a:pt x="1089" y="14402"/>
                    <a:pt x="258" y="17280"/>
                  </a:cubicBezTo>
                </a:path>
              </a:pathLst>
            </a:custGeom>
            <a:solidFill>
              <a:srgbClr val="FFFFFF"/>
            </a:solidFill>
            <a:ln w="1835" cap="flat">
              <a:noFill/>
              <a:prstDash val="solid"/>
              <a:miter/>
            </a:ln>
          </p:spPr>
          <p:txBody>
            <a:bodyPr/>
            <a:lstStyle/>
            <a:p>
              <a:endParaRPr lang="en-GB"/>
            </a:p>
          </p:txBody>
        </p:sp>
        <p:sp>
          <p:nvSpPr>
            <p:cNvPr id="1475" name="Freeform: Shape 1474">
              <a:extLst>
                <a:ext uri="{FF2B5EF4-FFF2-40B4-BE49-F238E27FC236}">
                  <a16:creationId xmlns:a16="http://schemas.microsoft.com/office/drawing/2014/main" id="{654C849B-B93B-8F98-C137-4ECA4E67610C}"/>
                </a:ext>
              </a:extLst>
            </p:cNvPr>
            <p:cNvSpPr/>
            <p:nvPr/>
          </p:nvSpPr>
          <p:spPr>
            <a:xfrm>
              <a:off x="10905231" y="4910235"/>
              <a:ext cx="27746" cy="33342"/>
            </a:xfrm>
            <a:custGeom>
              <a:avLst/>
              <a:gdLst>
                <a:gd name="csX0" fmla="*/ 11773 w 27746"/>
                <a:gd name="csY0" fmla="*/ 33324 h 33342"/>
                <a:gd name="csX1" fmla="*/ 10112 w 27746"/>
                <a:gd name="csY1" fmla="*/ 32992 h 33342"/>
                <a:gd name="csX2" fmla="*/ 2953 w 27746"/>
                <a:gd name="csY2" fmla="*/ 29468 h 33342"/>
                <a:gd name="csX3" fmla="*/ 1606 w 27746"/>
                <a:gd name="csY3" fmla="*/ 28766 h 33342"/>
                <a:gd name="csX4" fmla="*/ 204 w 27746"/>
                <a:gd name="csY4" fmla="*/ 25039 h 33342"/>
                <a:gd name="csX5" fmla="*/ 1145 w 27746"/>
                <a:gd name="csY5" fmla="*/ 22179 h 33342"/>
                <a:gd name="csX6" fmla="*/ 1219 w 27746"/>
                <a:gd name="csY6" fmla="*/ 21829 h 33342"/>
                <a:gd name="csX7" fmla="*/ 850 w 27746"/>
                <a:gd name="csY7" fmla="*/ 21054 h 33342"/>
                <a:gd name="csX8" fmla="*/ 813 w 27746"/>
                <a:gd name="csY8" fmla="*/ 19578 h 33342"/>
                <a:gd name="csX9" fmla="*/ 351 w 27746"/>
                <a:gd name="csY9" fmla="*/ 19430 h 33342"/>
                <a:gd name="csX10" fmla="*/ 1163 w 27746"/>
                <a:gd name="csY10" fmla="*/ 16570 h 33342"/>
                <a:gd name="csX11" fmla="*/ 2935 w 27746"/>
                <a:gd name="csY11" fmla="*/ 10721 h 33342"/>
                <a:gd name="csX12" fmla="*/ 3359 w 27746"/>
                <a:gd name="csY12" fmla="*/ 9540 h 33342"/>
                <a:gd name="csX13" fmla="*/ 4817 w 27746"/>
                <a:gd name="csY13" fmla="*/ 5130 h 33342"/>
                <a:gd name="csX14" fmla="*/ 5850 w 27746"/>
                <a:gd name="csY14" fmla="*/ 3820 h 33342"/>
                <a:gd name="csX15" fmla="*/ 7695 w 27746"/>
                <a:gd name="csY15" fmla="*/ 1679 h 33342"/>
                <a:gd name="csX16" fmla="*/ 9024 w 27746"/>
                <a:gd name="csY16" fmla="*/ 738 h 33342"/>
                <a:gd name="csX17" fmla="*/ 18545 w 27746"/>
                <a:gd name="csY17" fmla="*/ 1698 h 33342"/>
                <a:gd name="csX18" fmla="*/ 27365 w 27746"/>
                <a:gd name="csY18" fmla="*/ 13064 h 33342"/>
                <a:gd name="csX19" fmla="*/ 26756 w 27746"/>
                <a:gd name="csY19" fmla="*/ 17363 h 33342"/>
                <a:gd name="csX20" fmla="*/ 23674 w 27746"/>
                <a:gd name="csY20" fmla="*/ 22548 h 33342"/>
                <a:gd name="csX21" fmla="*/ 20685 w 27746"/>
                <a:gd name="csY21" fmla="*/ 26109 h 33342"/>
                <a:gd name="csX22" fmla="*/ 18877 w 27746"/>
                <a:gd name="csY22" fmla="*/ 27014 h 33342"/>
                <a:gd name="csX23" fmla="*/ 18102 w 27746"/>
                <a:gd name="csY23" fmla="*/ 28250 h 33342"/>
                <a:gd name="csX24" fmla="*/ 17419 w 27746"/>
                <a:gd name="csY24" fmla="*/ 29320 h 33342"/>
                <a:gd name="csX25" fmla="*/ 16736 w 27746"/>
                <a:gd name="csY25" fmla="*/ 30058 h 33342"/>
                <a:gd name="csX26" fmla="*/ 15611 w 27746"/>
                <a:gd name="csY26" fmla="*/ 30999 h 33342"/>
                <a:gd name="csX27" fmla="*/ 13600 w 27746"/>
                <a:gd name="csY27" fmla="*/ 32881 h 33342"/>
                <a:gd name="csX28" fmla="*/ 11773 w 27746"/>
                <a:gd name="csY28" fmla="*/ 33342 h 33342"/>
                <a:gd name="csX29" fmla="*/ 6662 w 27746"/>
                <a:gd name="csY29" fmla="*/ 24670 h 33342"/>
                <a:gd name="csX30" fmla="*/ 11201 w 27746"/>
                <a:gd name="csY30" fmla="*/ 26940 h 33342"/>
                <a:gd name="csX31" fmla="*/ 11718 w 27746"/>
                <a:gd name="csY31" fmla="*/ 26478 h 33342"/>
                <a:gd name="csX32" fmla="*/ 12714 w 27746"/>
                <a:gd name="csY32" fmla="*/ 25611 h 33342"/>
                <a:gd name="csX33" fmla="*/ 13046 w 27746"/>
                <a:gd name="csY33" fmla="*/ 25095 h 33342"/>
                <a:gd name="csX34" fmla="*/ 14965 w 27746"/>
                <a:gd name="csY34" fmla="*/ 22364 h 33342"/>
                <a:gd name="csX35" fmla="*/ 17216 w 27746"/>
                <a:gd name="csY35" fmla="*/ 21164 h 33342"/>
                <a:gd name="csX36" fmla="*/ 18637 w 27746"/>
                <a:gd name="csY36" fmla="*/ 19430 h 33342"/>
                <a:gd name="csX37" fmla="*/ 21534 w 27746"/>
                <a:gd name="csY37" fmla="*/ 14356 h 33342"/>
                <a:gd name="csX38" fmla="*/ 15131 w 27746"/>
                <a:gd name="csY38" fmla="*/ 6588 h 33342"/>
                <a:gd name="csX39" fmla="*/ 11791 w 27746"/>
                <a:gd name="csY39" fmla="*/ 6145 h 33342"/>
                <a:gd name="csX40" fmla="*/ 10629 w 27746"/>
                <a:gd name="csY40" fmla="*/ 7436 h 33342"/>
                <a:gd name="csX41" fmla="*/ 9983 w 27746"/>
                <a:gd name="csY41" fmla="*/ 8174 h 33342"/>
                <a:gd name="csX42" fmla="*/ 9448 w 27746"/>
                <a:gd name="csY42" fmla="*/ 9189 h 33342"/>
                <a:gd name="csX43" fmla="*/ 9116 w 27746"/>
                <a:gd name="csY43" fmla="*/ 11496 h 33342"/>
                <a:gd name="csX44" fmla="*/ 8636 w 27746"/>
                <a:gd name="csY44" fmla="*/ 12529 h 33342"/>
                <a:gd name="csX45" fmla="*/ 6939 w 27746"/>
                <a:gd name="csY45" fmla="*/ 18212 h 33342"/>
                <a:gd name="csX46" fmla="*/ 6607 w 27746"/>
                <a:gd name="csY46" fmla="*/ 19375 h 33342"/>
                <a:gd name="csX47" fmla="*/ 7345 w 27746"/>
                <a:gd name="csY47" fmla="*/ 20279 h 33342"/>
                <a:gd name="csX48" fmla="*/ 7363 w 27746"/>
                <a:gd name="csY48" fmla="*/ 21570 h 33342"/>
                <a:gd name="csX49" fmla="*/ 6865 w 27746"/>
                <a:gd name="csY49" fmla="*/ 23877 h 33342"/>
                <a:gd name="csX50" fmla="*/ 6662 w 27746"/>
                <a:gd name="csY50" fmla="*/ 24689 h 33342"/>
                <a:gd name="csX51" fmla="*/ 2639 w 27746"/>
                <a:gd name="csY51" fmla="*/ 23268 h 33342"/>
                <a:gd name="csX52" fmla="*/ 2639 w 27746"/>
                <a:gd name="csY52" fmla="*/ 23268 h 33342"/>
                <a:gd name="csX53" fmla="*/ 2639 w 27746"/>
                <a:gd name="csY53" fmla="*/ 23268 h 33342"/>
                <a:gd name="csX54" fmla="*/ 16773 w 27746"/>
                <a:gd name="csY54" fmla="*/ 21626 h 33342"/>
                <a:gd name="csX55" fmla="*/ 16644 w 27746"/>
                <a:gd name="csY55" fmla="*/ 21736 h 33342"/>
                <a:gd name="csX56" fmla="*/ 16773 w 27746"/>
                <a:gd name="csY56" fmla="*/ 21626 h 33342"/>
                <a:gd name="csX57" fmla="*/ 6182 w 27746"/>
                <a:gd name="csY57" fmla="*/ 20832 h 33342"/>
                <a:gd name="csX58" fmla="*/ 6570 w 27746"/>
                <a:gd name="csY58" fmla="*/ 21072 h 33342"/>
                <a:gd name="csX59" fmla="*/ 6588 w 27746"/>
                <a:gd name="csY59" fmla="*/ 21017 h 33342"/>
                <a:gd name="csX60" fmla="*/ 6588 w 27746"/>
                <a:gd name="csY60" fmla="*/ 21017 h 33342"/>
                <a:gd name="csX61" fmla="*/ 6588 w 27746"/>
                <a:gd name="csY61" fmla="*/ 21017 h 33342"/>
                <a:gd name="csX62" fmla="*/ 6588 w 27746"/>
                <a:gd name="csY62" fmla="*/ 19356 h 33342"/>
                <a:gd name="csX63" fmla="*/ 6201 w 27746"/>
                <a:gd name="csY63" fmla="*/ 20777 h 33342"/>
                <a:gd name="csX64" fmla="*/ 4079 w 27746"/>
                <a:gd name="csY64" fmla="*/ 19430 h 33342"/>
                <a:gd name="csX65" fmla="*/ 6201 w 27746"/>
                <a:gd name="csY65" fmla="*/ 20777 h 33342"/>
                <a:gd name="csX66" fmla="*/ 6201 w 27746"/>
                <a:gd name="csY66" fmla="*/ 20832 h 33342"/>
                <a:gd name="csX67" fmla="*/ 5573 w 27746"/>
                <a:gd name="csY67" fmla="*/ 18064 h 33342"/>
                <a:gd name="csX68" fmla="*/ 6607 w 27746"/>
                <a:gd name="csY68" fmla="*/ 19356 h 33342"/>
                <a:gd name="csX69" fmla="*/ 5573 w 27746"/>
                <a:gd name="csY69" fmla="*/ 18064 h 333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Lst>
              <a:rect l="l" t="t" r="r" b="b"/>
              <a:pathLst>
                <a:path w="27746" h="33342">
                  <a:moveTo>
                    <a:pt x="11773" y="33324"/>
                  </a:moveTo>
                  <a:cubicBezTo>
                    <a:pt x="11016" y="33324"/>
                    <a:pt x="10408" y="33121"/>
                    <a:pt x="10112" y="32992"/>
                  </a:cubicBezTo>
                  <a:cubicBezTo>
                    <a:pt x="7566" y="31903"/>
                    <a:pt x="5278" y="30685"/>
                    <a:pt x="2953" y="29468"/>
                  </a:cubicBezTo>
                  <a:lnTo>
                    <a:pt x="1606" y="28766"/>
                  </a:lnTo>
                  <a:cubicBezTo>
                    <a:pt x="259" y="28047"/>
                    <a:pt x="-350" y="26460"/>
                    <a:pt x="204" y="25039"/>
                  </a:cubicBezTo>
                  <a:cubicBezTo>
                    <a:pt x="204" y="25002"/>
                    <a:pt x="923" y="23194"/>
                    <a:pt x="1145" y="22179"/>
                  </a:cubicBezTo>
                  <a:cubicBezTo>
                    <a:pt x="1145" y="22179"/>
                    <a:pt x="1182" y="22032"/>
                    <a:pt x="1219" y="21829"/>
                  </a:cubicBezTo>
                  <a:cubicBezTo>
                    <a:pt x="1053" y="21552"/>
                    <a:pt x="923" y="21294"/>
                    <a:pt x="850" y="21054"/>
                  </a:cubicBezTo>
                  <a:cubicBezTo>
                    <a:pt x="720" y="20519"/>
                    <a:pt x="739" y="20020"/>
                    <a:pt x="813" y="19578"/>
                  </a:cubicBezTo>
                  <a:lnTo>
                    <a:pt x="351" y="19430"/>
                  </a:lnTo>
                  <a:lnTo>
                    <a:pt x="1163" y="16570"/>
                  </a:lnTo>
                  <a:cubicBezTo>
                    <a:pt x="1828" y="14208"/>
                    <a:pt x="2510" y="11846"/>
                    <a:pt x="2935" y="10721"/>
                  </a:cubicBezTo>
                  <a:cubicBezTo>
                    <a:pt x="3008" y="10462"/>
                    <a:pt x="3138" y="10001"/>
                    <a:pt x="3359" y="9540"/>
                  </a:cubicBezTo>
                  <a:cubicBezTo>
                    <a:pt x="3507" y="7695"/>
                    <a:pt x="3820" y="6809"/>
                    <a:pt x="4817" y="5130"/>
                  </a:cubicBezTo>
                  <a:cubicBezTo>
                    <a:pt x="5075" y="4613"/>
                    <a:pt x="5518" y="4152"/>
                    <a:pt x="5850" y="3820"/>
                  </a:cubicBezTo>
                  <a:cubicBezTo>
                    <a:pt x="6865" y="2731"/>
                    <a:pt x="7289" y="2196"/>
                    <a:pt x="7695" y="1679"/>
                  </a:cubicBezTo>
                  <a:cubicBezTo>
                    <a:pt x="8046" y="1255"/>
                    <a:pt x="8507" y="923"/>
                    <a:pt x="9024" y="738"/>
                  </a:cubicBezTo>
                  <a:cubicBezTo>
                    <a:pt x="11035" y="19"/>
                    <a:pt x="14928" y="-830"/>
                    <a:pt x="18545" y="1698"/>
                  </a:cubicBezTo>
                  <a:cubicBezTo>
                    <a:pt x="21368" y="3672"/>
                    <a:pt x="26424" y="9448"/>
                    <a:pt x="27365" y="13064"/>
                  </a:cubicBezTo>
                  <a:cubicBezTo>
                    <a:pt x="28029" y="14300"/>
                    <a:pt x="27826" y="16441"/>
                    <a:pt x="26756" y="17363"/>
                  </a:cubicBezTo>
                  <a:cubicBezTo>
                    <a:pt x="26719" y="17400"/>
                    <a:pt x="25870" y="18175"/>
                    <a:pt x="23674" y="22548"/>
                  </a:cubicBezTo>
                  <a:cubicBezTo>
                    <a:pt x="23010" y="23508"/>
                    <a:pt x="21682" y="25261"/>
                    <a:pt x="20685" y="26109"/>
                  </a:cubicBezTo>
                  <a:cubicBezTo>
                    <a:pt x="20132" y="26663"/>
                    <a:pt x="19430" y="26903"/>
                    <a:pt x="18877" y="27014"/>
                  </a:cubicBezTo>
                  <a:cubicBezTo>
                    <a:pt x="18619" y="27383"/>
                    <a:pt x="18360" y="27825"/>
                    <a:pt x="18102" y="28250"/>
                  </a:cubicBezTo>
                  <a:lnTo>
                    <a:pt x="17419" y="29320"/>
                  </a:lnTo>
                  <a:cubicBezTo>
                    <a:pt x="17235" y="29615"/>
                    <a:pt x="16995" y="29855"/>
                    <a:pt x="16736" y="30058"/>
                  </a:cubicBezTo>
                  <a:cubicBezTo>
                    <a:pt x="16367" y="30335"/>
                    <a:pt x="15998" y="30612"/>
                    <a:pt x="15611" y="30999"/>
                  </a:cubicBezTo>
                  <a:cubicBezTo>
                    <a:pt x="15057" y="31682"/>
                    <a:pt x="14541" y="32420"/>
                    <a:pt x="13600" y="32881"/>
                  </a:cubicBezTo>
                  <a:cubicBezTo>
                    <a:pt x="12935" y="33213"/>
                    <a:pt x="12308" y="33342"/>
                    <a:pt x="11773" y="33342"/>
                  </a:cubicBezTo>
                  <a:close/>
                  <a:moveTo>
                    <a:pt x="6662" y="24670"/>
                  </a:moveTo>
                  <a:cubicBezTo>
                    <a:pt x="8175" y="25464"/>
                    <a:pt x="9670" y="26239"/>
                    <a:pt x="11201" y="26940"/>
                  </a:cubicBezTo>
                  <a:cubicBezTo>
                    <a:pt x="11349" y="26792"/>
                    <a:pt x="11515" y="26644"/>
                    <a:pt x="11718" y="26478"/>
                  </a:cubicBezTo>
                  <a:cubicBezTo>
                    <a:pt x="11921" y="26239"/>
                    <a:pt x="12290" y="25925"/>
                    <a:pt x="12714" y="25611"/>
                  </a:cubicBezTo>
                  <a:lnTo>
                    <a:pt x="13046" y="25095"/>
                  </a:lnTo>
                  <a:cubicBezTo>
                    <a:pt x="13637" y="24135"/>
                    <a:pt x="14264" y="23157"/>
                    <a:pt x="14965" y="22364"/>
                  </a:cubicBezTo>
                  <a:cubicBezTo>
                    <a:pt x="15759" y="21552"/>
                    <a:pt x="16589" y="21275"/>
                    <a:pt x="17216" y="21164"/>
                  </a:cubicBezTo>
                  <a:cubicBezTo>
                    <a:pt x="17678" y="20648"/>
                    <a:pt x="18250" y="19983"/>
                    <a:pt x="18637" y="19430"/>
                  </a:cubicBezTo>
                  <a:cubicBezTo>
                    <a:pt x="19873" y="16902"/>
                    <a:pt x="20814" y="15352"/>
                    <a:pt x="21534" y="14356"/>
                  </a:cubicBezTo>
                  <a:cubicBezTo>
                    <a:pt x="20888" y="12511"/>
                    <a:pt x="17253" y="8101"/>
                    <a:pt x="15131" y="6588"/>
                  </a:cubicBezTo>
                  <a:cubicBezTo>
                    <a:pt x="14061" y="5850"/>
                    <a:pt x="12732" y="5923"/>
                    <a:pt x="11791" y="6145"/>
                  </a:cubicBezTo>
                  <a:cubicBezTo>
                    <a:pt x="11441" y="6569"/>
                    <a:pt x="11053" y="7012"/>
                    <a:pt x="10629" y="7436"/>
                  </a:cubicBezTo>
                  <a:lnTo>
                    <a:pt x="9983" y="8174"/>
                  </a:lnTo>
                  <a:cubicBezTo>
                    <a:pt x="9540" y="8912"/>
                    <a:pt x="9467" y="9171"/>
                    <a:pt x="9448" y="9189"/>
                  </a:cubicBezTo>
                  <a:cubicBezTo>
                    <a:pt x="9503" y="9577"/>
                    <a:pt x="9485" y="10296"/>
                    <a:pt x="9116" y="11496"/>
                  </a:cubicBezTo>
                  <a:cubicBezTo>
                    <a:pt x="9005" y="11865"/>
                    <a:pt x="8839" y="12215"/>
                    <a:pt x="8636" y="12529"/>
                  </a:cubicBezTo>
                  <a:cubicBezTo>
                    <a:pt x="8064" y="14190"/>
                    <a:pt x="7492" y="16219"/>
                    <a:pt x="6939" y="18212"/>
                  </a:cubicBezTo>
                  <a:lnTo>
                    <a:pt x="6607" y="19375"/>
                  </a:lnTo>
                  <a:lnTo>
                    <a:pt x="7345" y="20279"/>
                  </a:lnTo>
                  <a:cubicBezTo>
                    <a:pt x="7455" y="20703"/>
                    <a:pt x="7455" y="21146"/>
                    <a:pt x="7363" y="21570"/>
                  </a:cubicBezTo>
                  <a:cubicBezTo>
                    <a:pt x="7252" y="22474"/>
                    <a:pt x="7160" y="23139"/>
                    <a:pt x="6865" y="23877"/>
                  </a:cubicBezTo>
                  <a:cubicBezTo>
                    <a:pt x="6828" y="24080"/>
                    <a:pt x="6754" y="24375"/>
                    <a:pt x="6662" y="24689"/>
                  </a:cubicBezTo>
                  <a:close/>
                  <a:moveTo>
                    <a:pt x="2639" y="23268"/>
                  </a:moveTo>
                  <a:lnTo>
                    <a:pt x="2639" y="23268"/>
                  </a:lnTo>
                  <a:lnTo>
                    <a:pt x="2639" y="23268"/>
                  </a:lnTo>
                  <a:close/>
                  <a:moveTo>
                    <a:pt x="16773" y="21626"/>
                  </a:moveTo>
                  <a:cubicBezTo>
                    <a:pt x="16773" y="21626"/>
                    <a:pt x="16700" y="21699"/>
                    <a:pt x="16644" y="21736"/>
                  </a:cubicBezTo>
                  <a:cubicBezTo>
                    <a:pt x="16681" y="21699"/>
                    <a:pt x="16718" y="21663"/>
                    <a:pt x="16773" y="21626"/>
                  </a:cubicBezTo>
                  <a:close/>
                  <a:moveTo>
                    <a:pt x="6182" y="20832"/>
                  </a:moveTo>
                  <a:lnTo>
                    <a:pt x="6570" y="21072"/>
                  </a:lnTo>
                  <a:cubicBezTo>
                    <a:pt x="6570" y="21072"/>
                    <a:pt x="6570" y="21054"/>
                    <a:pt x="6588" y="21017"/>
                  </a:cubicBezTo>
                  <a:lnTo>
                    <a:pt x="6588" y="21017"/>
                  </a:lnTo>
                  <a:cubicBezTo>
                    <a:pt x="6588" y="21017"/>
                    <a:pt x="6588" y="21017"/>
                    <a:pt x="6588" y="21017"/>
                  </a:cubicBezTo>
                  <a:cubicBezTo>
                    <a:pt x="6791" y="20611"/>
                    <a:pt x="6791" y="19965"/>
                    <a:pt x="6588" y="19356"/>
                  </a:cubicBezTo>
                  <a:lnTo>
                    <a:pt x="6201" y="20777"/>
                  </a:lnTo>
                  <a:lnTo>
                    <a:pt x="4079" y="19430"/>
                  </a:lnTo>
                  <a:lnTo>
                    <a:pt x="6201" y="20777"/>
                  </a:lnTo>
                  <a:lnTo>
                    <a:pt x="6201" y="20832"/>
                  </a:lnTo>
                  <a:close/>
                  <a:moveTo>
                    <a:pt x="5573" y="18064"/>
                  </a:moveTo>
                  <a:lnTo>
                    <a:pt x="6607" y="19356"/>
                  </a:lnTo>
                  <a:cubicBezTo>
                    <a:pt x="6440" y="18858"/>
                    <a:pt x="6090" y="18378"/>
                    <a:pt x="5573" y="18064"/>
                  </a:cubicBezTo>
                  <a:close/>
                </a:path>
              </a:pathLst>
            </a:custGeom>
            <a:solidFill>
              <a:srgbClr val="FFFFFF"/>
            </a:solidFill>
            <a:ln w="1835" cap="flat">
              <a:noFill/>
              <a:prstDash val="solid"/>
              <a:miter/>
            </a:ln>
          </p:spPr>
          <p:txBody>
            <a:bodyPr/>
            <a:lstStyle/>
            <a:p>
              <a:endParaRPr lang="en-GB"/>
            </a:p>
          </p:txBody>
        </p:sp>
        <p:sp>
          <p:nvSpPr>
            <p:cNvPr id="1476" name="Freeform: Shape 1475">
              <a:extLst>
                <a:ext uri="{FF2B5EF4-FFF2-40B4-BE49-F238E27FC236}">
                  <a16:creationId xmlns:a16="http://schemas.microsoft.com/office/drawing/2014/main" id="{10EFB313-1190-1A8A-6BAF-024CC882D886}"/>
                </a:ext>
              </a:extLst>
            </p:cNvPr>
            <p:cNvSpPr/>
            <p:nvPr/>
          </p:nvSpPr>
          <p:spPr>
            <a:xfrm>
              <a:off x="11051074" y="4901470"/>
              <a:ext cx="22677" cy="25095"/>
            </a:xfrm>
            <a:custGeom>
              <a:avLst/>
              <a:gdLst>
                <a:gd name="csX0" fmla="*/ 9060 w 22677"/>
                <a:gd name="csY0" fmla="*/ 20206 h 25095"/>
                <a:gd name="csX1" fmla="*/ 10499 w 22677"/>
                <a:gd name="csY1" fmla="*/ 20925 h 25095"/>
                <a:gd name="csX2" fmla="*/ 11809 w 22677"/>
                <a:gd name="csY2" fmla="*/ 22235 h 25095"/>
                <a:gd name="csX3" fmla="*/ 13728 w 22677"/>
                <a:gd name="csY3" fmla="*/ 25095 h 25095"/>
                <a:gd name="csX4" fmla="*/ 21847 w 22677"/>
                <a:gd name="csY4" fmla="*/ 21036 h 25095"/>
                <a:gd name="csX5" fmla="*/ 22677 w 22677"/>
                <a:gd name="csY5" fmla="*/ 20076 h 25095"/>
                <a:gd name="csX6" fmla="*/ 22326 w 22677"/>
                <a:gd name="csY6" fmla="*/ 18287 h 25095"/>
                <a:gd name="csX7" fmla="*/ 22326 w 22677"/>
                <a:gd name="csY7" fmla="*/ 16497 h 25095"/>
                <a:gd name="csX8" fmla="*/ 21016 w 22677"/>
                <a:gd name="csY8" fmla="*/ 12677 h 25095"/>
                <a:gd name="csX9" fmla="*/ 21607 w 22677"/>
                <a:gd name="csY9" fmla="*/ 11238 h 25095"/>
                <a:gd name="csX10" fmla="*/ 20887 w 22677"/>
                <a:gd name="csY10" fmla="*/ 7769 h 25095"/>
                <a:gd name="csX11" fmla="*/ 17068 w 22677"/>
                <a:gd name="csY11" fmla="*/ 610 h 25095"/>
                <a:gd name="csX12" fmla="*/ 4650 w 22677"/>
                <a:gd name="csY12" fmla="*/ 961 h 25095"/>
                <a:gd name="csX13" fmla="*/ 0 w 22677"/>
                <a:gd name="csY13" fmla="*/ 5979 h 25095"/>
                <a:gd name="csX14" fmla="*/ 590 w 22677"/>
                <a:gd name="csY14" fmla="*/ 8249 h 25095"/>
                <a:gd name="csX15" fmla="*/ 941 w 22677"/>
                <a:gd name="csY15" fmla="*/ 9928 h 25095"/>
                <a:gd name="csX16" fmla="*/ 3450 w 22677"/>
                <a:gd name="csY16" fmla="*/ 13268 h 25095"/>
                <a:gd name="csX17" fmla="*/ 3930 w 22677"/>
                <a:gd name="csY17" fmla="*/ 14338 h 25095"/>
                <a:gd name="csX18" fmla="*/ 9189 w 22677"/>
                <a:gd name="csY18" fmla="*/ 21386 h 250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2677" h="25095">
                  <a:moveTo>
                    <a:pt x="9060" y="20206"/>
                  </a:moveTo>
                  <a:cubicBezTo>
                    <a:pt x="9650" y="21645"/>
                    <a:pt x="10019" y="20685"/>
                    <a:pt x="10499" y="20925"/>
                  </a:cubicBezTo>
                  <a:cubicBezTo>
                    <a:pt x="10850" y="21276"/>
                    <a:pt x="11329" y="21645"/>
                    <a:pt x="11809" y="22235"/>
                  </a:cubicBezTo>
                  <a:cubicBezTo>
                    <a:pt x="12399" y="23066"/>
                    <a:pt x="13728" y="25095"/>
                    <a:pt x="13728" y="25095"/>
                  </a:cubicBezTo>
                  <a:cubicBezTo>
                    <a:pt x="16477" y="23656"/>
                    <a:pt x="19227" y="22475"/>
                    <a:pt x="21847" y="21036"/>
                  </a:cubicBezTo>
                  <a:cubicBezTo>
                    <a:pt x="22197" y="20796"/>
                    <a:pt x="22566" y="20556"/>
                    <a:pt x="22677" y="20076"/>
                  </a:cubicBezTo>
                  <a:cubicBezTo>
                    <a:pt x="22677" y="19597"/>
                    <a:pt x="22326" y="18877"/>
                    <a:pt x="22326" y="18287"/>
                  </a:cubicBezTo>
                  <a:cubicBezTo>
                    <a:pt x="22216" y="17696"/>
                    <a:pt x="22326" y="17087"/>
                    <a:pt x="22326" y="16497"/>
                  </a:cubicBezTo>
                  <a:cubicBezTo>
                    <a:pt x="21847" y="15187"/>
                    <a:pt x="21256" y="13877"/>
                    <a:pt x="21016" y="12677"/>
                  </a:cubicBezTo>
                  <a:cubicBezTo>
                    <a:pt x="20906" y="11958"/>
                    <a:pt x="21607" y="11847"/>
                    <a:pt x="21607" y="11238"/>
                  </a:cubicBezTo>
                  <a:cubicBezTo>
                    <a:pt x="21496" y="10039"/>
                    <a:pt x="20887" y="7769"/>
                    <a:pt x="20887" y="7769"/>
                  </a:cubicBezTo>
                  <a:cubicBezTo>
                    <a:pt x="16477" y="-1309"/>
                    <a:pt x="19817" y="1791"/>
                    <a:pt x="17068" y="610"/>
                  </a:cubicBezTo>
                  <a:cubicBezTo>
                    <a:pt x="14448" y="-460"/>
                    <a:pt x="7510" y="19"/>
                    <a:pt x="4650" y="961"/>
                  </a:cubicBezTo>
                  <a:cubicBezTo>
                    <a:pt x="1790" y="1791"/>
                    <a:pt x="590" y="4190"/>
                    <a:pt x="0" y="5979"/>
                  </a:cubicBezTo>
                  <a:cubicBezTo>
                    <a:pt x="240" y="6699"/>
                    <a:pt x="351" y="7529"/>
                    <a:pt x="590" y="8249"/>
                  </a:cubicBezTo>
                  <a:cubicBezTo>
                    <a:pt x="701" y="8839"/>
                    <a:pt x="701" y="9448"/>
                    <a:pt x="941" y="9928"/>
                  </a:cubicBezTo>
                  <a:cubicBezTo>
                    <a:pt x="2011" y="12677"/>
                    <a:pt x="2011" y="11367"/>
                    <a:pt x="3450" y="13268"/>
                  </a:cubicBezTo>
                  <a:cubicBezTo>
                    <a:pt x="3690" y="13508"/>
                    <a:pt x="2971" y="12917"/>
                    <a:pt x="3930" y="14338"/>
                  </a:cubicBezTo>
                  <a:cubicBezTo>
                    <a:pt x="4890" y="15648"/>
                    <a:pt x="7399" y="18988"/>
                    <a:pt x="9189" y="21386"/>
                  </a:cubicBezTo>
                </a:path>
              </a:pathLst>
            </a:custGeom>
            <a:solidFill>
              <a:srgbClr val="FFFFFF"/>
            </a:solidFill>
            <a:ln w="1835" cap="flat">
              <a:noFill/>
              <a:prstDash val="solid"/>
              <a:miter/>
            </a:ln>
          </p:spPr>
          <p:txBody>
            <a:bodyPr/>
            <a:lstStyle/>
            <a:p>
              <a:endParaRPr lang="en-GB"/>
            </a:p>
          </p:txBody>
        </p:sp>
        <p:sp>
          <p:nvSpPr>
            <p:cNvPr id="1477" name="Freeform: Shape 1476">
              <a:extLst>
                <a:ext uri="{FF2B5EF4-FFF2-40B4-BE49-F238E27FC236}">
                  <a16:creationId xmlns:a16="http://schemas.microsoft.com/office/drawing/2014/main" id="{6036EE5C-75B7-F4FE-12BD-4E4186831B53}"/>
                </a:ext>
              </a:extLst>
            </p:cNvPr>
            <p:cNvSpPr/>
            <p:nvPr/>
          </p:nvSpPr>
          <p:spPr>
            <a:xfrm>
              <a:off x="11048094" y="4898462"/>
              <a:ext cx="28627" cy="31092"/>
            </a:xfrm>
            <a:custGeom>
              <a:avLst/>
              <a:gdLst>
                <a:gd name="csX0" fmla="*/ 16689 w 28627"/>
                <a:gd name="csY0" fmla="*/ 31093 h 31092"/>
                <a:gd name="csX1" fmla="*/ 14180 w 28627"/>
                <a:gd name="csY1" fmla="*/ 29728 h 31092"/>
                <a:gd name="csX2" fmla="*/ 12353 w 28627"/>
                <a:gd name="csY2" fmla="*/ 26978 h 31092"/>
                <a:gd name="csX3" fmla="*/ 12353 w 28627"/>
                <a:gd name="csY3" fmla="*/ 26978 h 31092"/>
                <a:gd name="csX4" fmla="*/ 10213 w 28627"/>
                <a:gd name="csY4" fmla="*/ 25853 h 31092"/>
                <a:gd name="csX5" fmla="*/ 9770 w 28627"/>
                <a:gd name="csY5" fmla="*/ 26185 h 31092"/>
                <a:gd name="csX6" fmla="*/ 4493 w 28627"/>
                <a:gd name="csY6" fmla="*/ 19081 h 31092"/>
                <a:gd name="csX7" fmla="*/ 3681 w 28627"/>
                <a:gd name="csY7" fmla="*/ 17623 h 31092"/>
                <a:gd name="csX8" fmla="*/ 3515 w 28627"/>
                <a:gd name="csY8" fmla="*/ 17476 h 31092"/>
                <a:gd name="csX9" fmla="*/ 1153 w 28627"/>
                <a:gd name="csY9" fmla="*/ 14007 h 31092"/>
                <a:gd name="csX10" fmla="*/ 710 w 28627"/>
                <a:gd name="csY10" fmla="*/ 12198 h 31092"/>
                <a:gd name="csX11" fmla="*/ 360 w 28627"/>
                <a:gd name="csY11" fmla="*/ 10741 h 31092"/>
                <a:gd name="csX12" fmla="*/ 138 w 28627"/>
                <a:gd name="csY12" fmla="*/ 9892 h 31092"/>
                <a:gd name="csX13" fmla="*/ 138 w 28627"/>
                <a:gd name="csY13" fmla="*/ 8028 h 31092"/>
                <a:gd name="csX14" fmla="*/ 6781 w 28627"/>
                <a:gd name="csY14" fmla="*/ 1091 h 31092"/>
                <a:gd name="csX15" fmla="*/ 21173 w 28627"/>
                <a:gd name="csY15" fmla="*/ 832 h 31092"/>
                <a:gd name="csX16" fmla="*/ 24292 w 28627"/>
                <a:gd name="csY16" fmla="*/ 3821 h 31092"/>
                <a:gd name="csX17" fmla="*/ 26561 w 28627"/>
                <a:gd name="csY17" fmla="*/ 9468 h 31092"/>
                <a:gd name="csX18" fmla="*/ 27557 w 28627"/>
                <a:gd name="csY18" fmla="*/ 13951 h 31092"/>
                <a:gd name="csX19" fmla="*/ 27115 w 28627"/>
                <a:gd name="csY19" fmla="*/ 15870 h 31092"/>
                <a:gd name="csX20" fmla="*/ 27631 w 28627"/>
                <a:gd name="csY20" fmla="*/ 17254 h 31092"/>
                <a:gd name="csX21" fmla="*/ 28093 w 28627"/>
                <a:gd name="csY21" fmla="*/ 18490 h 31092"/>
                <a:gd name="csX22" fmla="*/ 28259 w 28627"/>
                <a:gd name="csY22" fmla="*/ 19487 h 31092"/>
                <a:gd name="csX23" fmla="*/ 28222 w 28627"/>
                <a:gd name="csY23" fmla="*/ 20280 h 31092"/>
                <a:gd name="csX24" fmla="*/ 28259 w 28627"/>
                <a:gd name="csY24" fmla="*/ 21277 h 31092"/>
                <a:gd name="csX25" fmla="*/ 28628 w 28627"/>
                <a:gd name="csY25" fmla="*/ 23066 h 31092"/>
                <a:gd name="csX26" fmla="*/ 26487 w 28627"/>
                <a:gd name="csY26" fmla="*/ 26480 h 31092"/>
                <a:gd name="csX27" fmla="*/ 21635 w 28627"/>
                <a:gd name="csY27" fmla="*/ 28953 h 31092"/>
                <a:gd name="csX28" fmla="*/ 18055 w 28627"/>
                <a:gd name="csY28" fmla="*/ 30724 h 31092"/>
                <a:gd name="csX29" fmla="*/ 16671 w 28627"/>
                <a:gd name="csY29" fmla="*/ 31056 h 31092"/>
                <a:gd name="csX30" fmla="*/ 13663 w 28627"/>
                <a:gd name="csY30" fmla="*/ 21203 h 31092"/>
                <a:gd name="csX31" fmla="*/ 14789 w 28627"/>
                <a:gd name="csY31" fmla="*/ 21240 h 31092"/>
                <a:gd name="csX32" fmla="*/ 15638 w 28627"/>
                <a:gd name="csY32" fmla="*/ 21849 h 31092"/>
                <a:gd name="csX33" fmla="*/ 17132 w 28627"/>
                <a:gd name="csY33" fmla="*/ 23380 h 31092"/>
                <a:gd name="csX34" fmla="*/ 17741 w 28627"/>
                <a:gd name="csY34" fmla="*/ 24247 h 31092"/>
                <a:gd name="csX35" fmla="*/ 19070 w 28627"/>
                <a:gd name="csY35" fmla="*/ 23602 h 31092"/>
                <a:gd name="csX36" fmla="*/ 22373 w 28627"/>
                <a:gd name="csY36" fmla="*/ 21978 h 31092"/>
                <a:gd name="csX37" fmla="*/ 22317 w 28627"/>
                <a:gd name="csY37" fmla="*/ 21295 h 31092"/>
                <a:gd name="csX38" fmla="*/ 22299 w 28627"/>
                <a:gd name="csY38" fmla="*/ 19911 h 31092"/>
                <a:gd name="csX39" fmla="*/ 22096 w 28627"/>
                <a:gd name="csY39" fmla="*/ 19413 h 31092"/>
                <a:gd name="csX40" fmla="*/ 21081 w 28627"/>
                <a:gd name="csY40" fmla="*/ 16258 h 31092"/>
                <a:gd name="csX41" fmla="*/ 21505 w 28627"/>
                <a:gd name="csY41" fmla="*/ 13656 h 31092"/>
                <a:gd name="csX42" fmla="*/ 20989 w 28627"/>
                <a:gd name="csY42" fmla="*/ 11553 h 31092"/>
                <a:gd name="csX43" fmla="*/ 18756 w 28627"/>
                <a:gd name="csY43" fmla="*/ 6312 h 31092"/>
                <a:gd name="csX44" fmla="*/ 8571 w 28627"/>
                <a:gd name="csY44" fmla="*/ 6811 h 31092"/>
                <a:gd name="csX45" fmla="*/ 6117 w 28627"/>
                <a:gd name="csY45" fmla="*/ 9154 h 31092"/>
                <a:gd name="csX46" fmla="*/ 6172 w 28627"/>
                <a:gd name="csY46" fmla="*/ 9412 h 31092"/>
                <a:gd name="csX47" fmla="*/ 6393 w 28627"/>
                <a:gd name="csY47" fmla="*/ 10316 h 31092"/>
                <a:gd name="csX48" fmla="*/ 6615 w 28627"/>
                <a:gd name="csY48" fmla="*/ 11424 h 31092"/>
                <a:gd name="csX49" fmla="*/ 7150 w 28627"/>
                <a:gd name="csY49" fmla="*/ 12844 h 31092"/>
                <a:gd name="csX50" fmla="*/ 8829 w 28627"/>
                <a:gd name="csY50" fmla="*/ 14486 h 31092"/>
                <a:gd name="csX51" fmla="*/ 9346 w 28627"/>
                <a:gd name="csY51" fmla="*/ 15594 h 31092"/>
                <a:gd name="csX52" fmla="*/ 13442 w 28627"/>
                <a:gd name="csY52" fmla="*/ 21129 h 31092"/>
                <a:gd name="csX53" fmla="*/ 11966 w 28627"/>
                <a:gd name="csY53" fmla="*/ 21148 h 31092"/>
                <a:gd name="csX54" fmla="*/ 13479 w 28627"/>
                <a:gd name="csY54" fmla="*/ 21203 h 31092"/>
                <a:gd name="csX55" fmla="*/ 14291 w 28627"/>
                <a:gd name="csY55" fmla="*/ 22273 h 31092"/>
                <a:gd name="csX56" fmla="*/ 14789 w 28627"/>
                <a:gd name="csY56" fmla="*/ 22070 h 31092"/>
                <a:gd name="csX57" fmla="*/ 13663 w 28627"/>
                <a:gd name="csY57" fmla="*/ 21203 h 31092"/>
                <a:gd name="csX58" fmla="*/ 14291 w 28627"/>
                <a:gd name="csY58" fmla="*/ 22273 h 31092"/>
                <a:gd name="csX59" fmla="*/ 14328 w 28627"/>
                <a:gd name="csY59" fmla="*/ 22328 h 31092"/>
                <a:gd name="csX60" fmla="*/ 14826 w 28627"/>
                <a:gd name="csY60" fmla="*/ 22144 h 31092"/>
                <a:gd name="csX61" fmla="*/ 14789 w 28627"/>
                <a:gd name="csY61" fmla="*/ 22070 h 31092"/>
                <a:gd name="csX62" fmla="*/ 14291 w 28627"/>
                <a:gd name="csY62" fmla="*/ 22273 h 310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Lst>
              <a:rect l="l" t="t" r="r" b="b"/>
              <a:pathLst>
                <a:path w="28627" h="31092">
                  <a:moveTo>
                    <a:pt x="16689" y="31093"/>
                  </a:moveTo>
                  <a:cubicBezTo>
                    <a:pt x="15712" y="31093"/>
                    <a:pt x="14734" y="30595"/>
                    <a:pt x="14180" y="29728"/>
                  </a:cubicBezTo>
                  <a:cubicBezTo>
                    <a:pt x="14180" y="29728"/>
                    <a:pt x="12925" y="27772"/>
                    <a:pt x="12353" y="26978"/>
                  </a:cubicBezTo>
                  <a:lnTo>
                    <a:pt x="12353" y="26978"/>
                  </a:lnTo>
                  <a:cubicBezTo>
                    <a:pt x="11597" y="26886"/>
                    <a:pt x="10840" y="26554"/>
                    <a:pt x="10213" y="25853"/>
                  </a:cubicBezTo>
                  <a:lnTo>
                    <a:pt x="9770" y="26185"/>
                  </a:lnTo>
                  <a:cubicBezTo>
                    <a:pt x="7796" y="23546"/>
                    <a:pt x="5416" y="20373"/>
                    <a:pt x="4493" y="19081"/>
                  </a:cubicBezTo>
                  <a:cubicBezTo>
                    <a:pt x="4235" y="18693"/>
                    <a:pt x="3903" y="18195"/>
                    <a:pt x="3681" y="17623"/>
                  </a:cubicBezTo>
                  <a:cubicBezTo>
                    <a:pt x="3607" y="17549"/>
                    <a:pt x="3570" y="17513"/>
                    <a:pt x="3515" y="17476"/>
                  </a:cubicBezTo>
                  <a:cubicBezTo>
                    <a:pt x="2445" y="16701"/>
                    <a:pt x="1910" y="15907"/>
                    <a:pt x="1153" y="14007"/>
                  </a:cubicBezTo>
                  <a:cubicBezTo>
                    <a:pt x="876" y="13490"/>
                    <a:pt x="784" y="12752"/>
                    <a:pt x="710" y="12198"/>
                  </a:cubicBezTo>
                  <a:cubicBezTo>
                    <a:pt x="600" y="11737"/>
                    <a:pt x="471" y="11239"/>
                    <a:pt x="360" y="10741"/>
                  </a:cubicBezTo>
                  <a:cubicBezTo>
                    <a:pt x="286" y="10446"/>
                    <a:pt x="231" y="10169"/>
                    <a:pt x="138" y="9892"/>
                  </a:cubicBezTo>
                  <a:cubicBezTo>
                    <a:pt x="-46" y="9283"/>
                    <a:pt x="-46" y="8637"/>
                    <a:pt x="138" y="8028"/>
                  </a:cubicBezTo>
                  <a:cubicBezTo>
                    <a:pt x="1356" y="4357"/>
                    <a:pt x="3607" y="2032"/>
                    <a:pt x="6781" y="1091"/>
                  </a:cubicBezTo>
                  <a:cubicBezTo>
                    <a:pt x="9992" y="20"/>
                    <a:pt x="17667" y="-588"/>
                    <a:pt x="21173" y="832"/>
                  </a:cubicBezTo>
                  <a:cubicBezTo>
                    <a:pt x="22539" y="1017"/>
                    <a:pt x="24144" y="2456"/>
                    <a:pt x="24292" y="3821"/>
                  </a:cubicBezTo>
                  <a:cubicBezTo>
                    <a:pt x="24310" y="4024"/>
                    <a:pt x="24531" y="5298"/>
                    <a:pt x="26561" y="9468"/>
                  </a:cubicBezTo>
                  <a:cubicBezTo>
                    <a:pt x="26764" y="10021"/>
                    <a:pt x="27428" y="12586"/>
                    <a:pt x="27557" y="13951"/>
                  </a:cubicBezTo>
                  <a:cubicBezTo>
                    <a:pt x="27613" y="14468"/>
                    <a:pt x="27410" y="15225"/>
                    <a:pt x="27115" y="15870"/>
                  </a:cubicBezTo>
                  <a:cubicBezTo>
                    <a:pt x="27262" y="16295"/>
                    <a:pt x="27447" y="16774"/>
                    <a:pt x="27631" y="17254"/>
                  </a:cubicBezTo>
                  <a:lnTo>
                    <a:pt x="28093" y="18490"/>
                  </a:lnTo>
                  <a:cubicBezTo>
                    <a:pt x="28203" y="18823"/>
                    <a:pt x="28259" y="19155"/>
                    <a:pt x="28259" y="19487"/>
                  </a:cubicBezTo>
                  <a:cubicBezTo>
                    <a:pt x="28259" y="19561"/>
                    <a:pt x="28240" y="20225"/>
                    <a:pt x="28222" y="20280"/>
                  </a:cubicBezTo>
                  <a:cubicBezTo>
                    <a:pt x="28259" y="20483"/>
                    <a:pt x="28259" y="21092"/>
                    <a:pt x="28259" y="21277"/>
                  </a:cubicBezTo>
                  <a:cubicBezTo>
                    <a:pt x="28462" y="21886"/>
                    <a:pt x="28628" y="22439"/>
                    <a:pt x="28628" y="23066"/>
                  </a:cubicBezTo>
                  <a:cubicBezTo>
                    <a:pt x="28148" y="25373"/>
                    <a:pt x="26985" y="26148"/>
                    <a:pt x="26487" y="26480"/>
                  </a:cubicBezTo>
                  <a:cubicBezTo>
                    <a:pt x="24734" y="27440"/>
                    <a:pt x="23203" y="28196"/>
                    <a:pt x="21635" y="28953"/>
                  </a:cubicBezTo>
                  <a:cubicBezTo>
                    <a:pt x="20454" y="29525"/>
                    <a:pt x="19254" y="30097"/>
                    <a:pt x="18055" y="30724"/>
                  </a:cubicBezTo>
                  <a:cubicBezTo>
                    <a:pt x="17631" y="30964"/>
                    <a:pt x="17151" y="31056"/>
                    <a:pt x="16671" y="31056"/>
                  </a:cubicBezTo>
                  <a:close/>
                  <a:moveTo>
                    <a:pt x="13663" y="21203"/>
                  </a:moveTo>
                  <a:lnTo>
                    <a:pt x="14789" y="21240"/>
                  </a:lnTo>
                  <a:cubicBezTo>
                    <a:pt x="15103" y="21387"/>
                    <a:pt x="15379" y="21609"/>
                    <a:pt x="15638" y="21849"/>
                  </a:cubicBezTo>
                  <a:cubicBezTo>
                    <a:pt x="16284" y="22439"/>
                    <a:pt x="16708" y="22845"/>
                    <a:pt x="17132" y="23380"/>
                  </a:cubicBezTo>
                  <a:cubicBezTo>
                    <a:pt x="17298" y="23620"/>
                    <a:pt x="17520" y="23934"/>
                    <a:pt x="17741" y="24247"/>
                  </a:cubicBezTo>
                  <a:cubicBezTo>
                    <a:pt x="18184" y="24044"/>
                    <a:pt x="18627" y="23823"/>
                    <a:pt x="19070" y="23602"/>
                  </a:cubicBezTo>
                  <a:cubicBezTo>
                    <a:pt x="20177" y="23066"/>
                    <a:pt x="21284" y="22531"/>
                    <a:pt x="22373" y="21978"/>
                  </a:cubicBezTo>
                  <a:cubicBezTo>
                    <a:pt x="22354" y="21756"/>
                    <a:pt x="22317" y="21535"/>
                    <a:pt x="22317" y="21295"/>
                  </a:cubicBezTo>
                  <a:cubicBezTo>
                    <a:pt x="22225" y="21092"/>
                    <a:pt x="22262" y="20409"/>
                    <a:pt x="22299" y="19911"/>
                  </a:cubicBezTo>
                  <a:lnTo>
                    <a:pt x="22096" y="19413"/>
                  </a:lnTo>
                  <a:cubicBezTo>
                    <a:pt x="21671" y="18324"/>
                    <a:pt x="21284" y="17254"/>
                    <a:pt x="21081" y="16258"/>
                  </a:cubicBezTo>
                  <a:cubicBezTo>
                    <a:pt x="20896" y="15095"/>
                    <a:pt x="21192" y="14247"/>
                    <a:pt x="21505" y="13656"/>
                  </a:cubicBezTo>
                  <a:cubicBezTo>
                    <a:pt x="21339" y="12789"/>
                    <a:pt x="21007" y="11571"/>
                    <a:pt x="20989" y="11553"/>
                  </a:cubicBezTo>
                  <a:cubicBezTo>
                    <a:pt x="19771" y="9117"/>
                    <a:pt x="19107" y="7475"/>
                    <a:pt x="18756" y="6312"/>
                  </a:cubicBezTo>
                  <a:cubicBezTo>
                    <a:pt x="17003" y="5722"/>
                    <a:pt x="11099" y="5943"/>
                    <a:pt x="8571" y="6811"/>
                  </a:cubicBezTo>
                  <a:cubicBezTo>
                    <a:pt x="7427" y="7143"/>
                    <a:pt x="6670" y="7881"/>
                    <a:pt x="6117" y="9154"/>
                  </a:cubicBezTo>
                  <a:cubicBezTo>
                    <a:pt x="6117" y="9228"/>
                    <a:pt x="6154" y="9320"/>
                    <a:pt x="6172" y="9412"/>
                  </a:cubicBezTo>
                  <a:cubicBezTo>
                    <a:pt x="6246" y="9708"/>
                    <a:pt x="6301" y="10021"/>
                    <a:pt x="6393" y="10316"/>
                  </a:cubicBezTo>
                  <a:cubicBezTo>
                    <a:pt x="6467" y="10482"/>
                    <a:pt x="6596" y="11221"/>
                    <a:pt x="6615" y="11424"/>
                  </a:cubicBezTo>
                  <a:cubicBezTo>
                    <a:pt x="6910" y="12365"/>
                    <a:pt x="7039" y="12660"/>
                    <a:pt x="7150" y="12844"/>
                  </a:cubicBezTo>
                  <a:cubicBezTo>
                    <a:pt x="7464" y="12992"/>
                    <a:pt x="8054" y="13453"/>
                    <a:pt x="8829" y="14486"/>
                  </a:cubicBezTo>
                  <a:cubicBezTo>
                    <a:pt x="9069" y="14819"/>
                    <a:pt x="9253" y="15206"/>
                    <a:pt x="9346" y="15594"/>
                  </a:cubicBezTo>
                  <a:cubicBezTo>
                    <a:pt x="10305" y="16941"/>
                    <a:pt x="11966" y="19155"/>
                    <a:pt x="13442" y="21129"/>
                  </a:cubicBezTo>
                  <a:cubicBezTo>
                    <a:pt x="12962" y="20981"/>
                    <a:pt x="12446" y="20981"/>
                    <a:pt x="11966" y="21148"/>
                  </a:cubicBezTo>
                  <a:lnTo>
                    <a:pt x="13479" y="21203"/>
                  </a:lnTo>
                  <a:cubicBezTo>
                    <a:pt x="13756" y="21572"/>
                    <a:pt x="14032" y="21922"/>
                    <a:pt x="14291" y="22273"/>
                  </a:cubicBezTo>
                  <a:lnTo>
                    <a:pt x="14789" y="22070"/>
                  </a:lnTo>
                  <a:cubicBezTo>
                    <a:pt x="14586" y="21738"/>
                    <a:pt x="14180" y="21406"/>
                    <a:pt x="13663" y="21203"/>
                  </a:cubicBezTo>
                  <a:close/>
                  <a:moveTo>
                    <a:pt x="14291" y="22273"/>
                  </a:moveTo>
                  <a:cubicBezTo>
                    <a:pt x="14291" y="22273"/>
                    <a:pt x="14309" y="22310"/>
                    <a:pt x="14328" y="22328"/>
                  </a:cubicBezTo>
                  <a:lnTo>
                    <a:pt x="14826" y="22144"/>
                  </a:lnTo>
                  <a:lnTo>
                    <a:pt x="14789" y="22070"/>
                  </a:lnTo>
                  <a:lnTo>
                    <a:pt x="14291" y="22273"/>
                  </a:lnTo>
                  <a:close/>
                </a:path>
              </a:pathLst>
            </a:custGeom>
            <a:solidFill>
              <a:srgbClr val="FFFFFF"/>
            </a:solidFill>
            <a:ln w="1835" cap="flat">
              <a:noFill/>
              <a:prstDash val="solid"/>
              <a:miter/>
            </a:ln>
          </p:spPr>
          <p:txBody>
            <a:bodyPr/>
            <a:lstStyle/>
            <a:p>
              <a:endParaRPr lang="en-GB"/>
            </a:p>
          </p:txBody>
        </p:sp>
        <p:sp>
          <p:nvSpPr>
            <p:cNvPr id="1478" name="Freeform: Shape 1477">
              <a:extLst>
                <a:ext uri="{FF2B5EF4-FFF2-40B4-BE49-F238E27FC236}">
                  <a16:creationId xmlns:a16="http://schemas.microsoft.com/office/drawing/2014/main" id="{21110E1E-45E3-EDC7-E3AB-1D57D2AB93B1}"/>
                </a:ext>
              </a:extLst>
            </p:cNvPr>
            <p:cNvSpPr/>
            <p:nvPr/>
          </p:nvSpPr>
          <p:spPr>
            <a:xfrm>
              <a:off x="10917693" y="4967142"/>
              <a:ext cx="20124" cy="27170"/>
            </a:xfrm>
            <a:custGeom>
              <a:avLst/>
              <a:gdLst>
                <a:gd name="csX0" fmla="*/ 19423 w 20124"/>
                <a:gd name="csY0" fmla="*/ 8984 h 27170"/>
                <a:gd name="csX1" fmla="*/ 18833 w 20124"/>
                <a:gd name="csY1" fmla="*/ 7545 h 27170"/>
                <a:gd name="csX2" fmla="*/ 18722 w 20124"/>
                <a:gd name="csY2" fmla="*/ 5755 h 27170"/>
                <a:gd name="csX3" fmla="*/ 19073 w 20124"/>
                <a:gd name="csY3" fmla="*/ 2175 h 27170"/>
                <a:gd name="csX4" fmla="*/ 10234 w 20124"/>
                <a:gd name="csY4" fmla="*/ 17 h 27170"/>
                <a:gd name="csX5" fmla="*/ 9164 w 20124"/>
                <a:gd name="csY5" fmla="*/ 256 h 27170"/>
                <a:gd name="csX6" fmla="*/ 8205 w 20124"/>
                <a:gd name="csY6" fmla="*/ 1806 h 27170"/>
                <a:gd name="csX7" fmla="*/ 7135 w 20124"/>
                <a:gd name="csY7" fmla="*/ 3246 h 27170"/>
                <a:gd name="csX8" fmla="*/ 5585 w 20124"/>
                <a:gd name="csY8" fmla="*/ 7065 h 27170"/>
                <a:gd name="csX9" fmla="*/ 4145 w 20124"/>
                <a:gd name="csY9" fmla="*/ 7785 h 27170"/>
                <a:gd name="csX10" fmla="*/ 2466 w 20124"/>
                <a:gd name="csY10" fmla="*/ 10885 h 27170"/>
                <a:gd name="csX11" fmla="*/ 677 w 20124"/>
                <a:gd name="csY11" fmla="*/ 18763 h 27170"/>
                <a:gd name="csX12" fmla="*/ 10234 w 20124"/>
                <a:gd name="csY12" fmla="*/ 26642 h 27170"/>
                <a:gd name="csX13" fmla="*/ 17043 w 20124"/>
                <a:gd name="csY13" fmla="*/ 25812 h 27170"/>
                <a:gd name="csX14" fmla="*/ 18113 w 20124"/>
                <a:gd name="csY14" fmla="*/ 23672 h 27170"/>
                <a:gd name="csX15" fmla="*/ 18944 w 20124"/>
                <a:gd name="csY15" fmla="*/ 22122 h 27170"/>
                <a:gd name="csX16" fmla="*/ 19183 w 20124"/>
                <a:gd name="csY16" fmla="*/ 18062 h 27170"/>
                <a:gd name="csX17" fmla="*/ 19534 w 20124"/>
                <a:gd name="csY17" fmla="*/ 16863 h 27170"/>
                <a:gd name="csX18" fmla="*/ 20125 w 20124"/>
                <a:gd name="csY18" fmla="*/ 8025 h 2717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0124" h="27170">
                  <a:moveTo>
                    <a:pt x="19423" y="8984"/>
                  </a:moveTo>
                  <a:cubicBezTo>
                    <a:pt x="19903" y="7545"/>
                    <a:pt x="19073" y="8025"/>
                    <a:pt x="18833" y="7545"/>
                  </a:cubicBezTo>
                  <a:cubicBezTo>
                    <a:pt x="18722" y="6954"/>
                    <a:pt x="18593" y="6345"/>
                    <a:pt x="18722" y="5755"/>
                  </a:cubicBezTo>
                  <a:cubicBezTo>
                    <a:pt x="18722" y="4556"/>
                    <a:pt x="19073" y="2175"/>
                    <a:pt x="19073" y="2175"/>
                  </a:cubicBezTo>
                  <a:cubicBezTo>
                    <a:pt x="16084" y="1456"/>
                    <a:pt x="13224" y="625"/>
                    <a:pt x="10234" y="17"/>
                  </a:cubicBezTo>
                  <a:cubicBezTo>
                    <a:pt x="9884" y="17"/>
                    <a:pt x="9515" y="-94"/>
                    <a:pt x="9164" y="256"/>
                  </a:cubicBezTo>
                  <a:cubicBezTo>
                    <a:pt x="8685" y="607"/>
                    <a:pt x="8574" y="1327"/>
                    <a:pt x="8205" y="1806"/>
                  </a:cubicBezTo>
                  <a:cubicBezTo>
                    <a:pt x="7854" y="2397"/>
                    <a:pt x="7485" y="2766"/>
                    <a:pt x="7135" y="3246"/>
                  </a:cubicBezTo>
                  <a:cubicBezTo>
                    <a:pt x="6544" y="4556"/>
                    <a:pt x="6175" y="5995"/>
                    <a:pt x="5585" y="7065"/>
                  </a:cubicBezTo>
                  <a:cubicBezTo>
                    <a:pt x="5234" y="7545"/>
                    <a:pt x="4625" y="7305"/>
                    <a:pt x="4145" y="7785"/>
                  </a:cubicBezTo>
                  <a:cubicBezTo>
                    <a:pt x="3555" y="8744"/>
                    <a:pt x="2466" y="10885"/>
                    <a:pt x="2466" y="10885"/>
                  </a:cubicBezTo>
                  <a:cubicBezTo>
                    <a:pt x="-43" y="20793"/>
                    <a:pt x="-634" y="16143"/>
                    <a:pt x="677" y="18763"/>
                  </a:cubicBezTo>
                  <a:cubicBezTo>
                    <a:pt x="1987" y="21513"/>
                    <a:pt x="7485" y="25572"/>
                    <a:pt x="10234" y="26642"/>
                  </a:cubicBezTo>
                  <a:cubicBezTo>
                    <a:pt x="12984" y="27842"/>
                    <a:pt x="15493" y="26753"/>
                    <a:pt x="17043" y="25812"/>
                  </a:cubicBezTo>
                  <a:cubicBezTo>
                    <a:pt x="17394" y="25092"/>
                    <a:pt x="17763" y="24373"/>
                    <a:pt x="18113" y="23672"/>
                  </a:cubicBezTo>
                  <a:cubicBezTo>
                    <a:pt x="18353" y="23192"/>
                    <a:pt x="18704" y="22712"/>
                    <a:pt x="18944" y="22122"/>
                  </a:cubicBezTo>
                  <a:cubicBezTo>
                    <a:pt x="19774" y="19372"/>
                    <a:pt x="18944" y="20443"/>
                    <a:pt x="19183" y="18062"/>
                  </a:cubicBezTo>
                  <a:cubicBezTo>
                    <a:pt x="19183" y="17712"/>
                    <a:pt x="19294" y="18542"/>
                    <a:pt x="19534" y="16863"/>
                  </a:cubicBezTo>
                  <a:cubicBezTo>
                    <a:pt x="19645" y="15184"/>
                    <a:pt x="19885" y="11014"/>
                    <a:pt x="20125" y="8025"/>
                  </a:cubicBezTo>
                </a:path>
              </a:pathLst>
            </a:custGeom>
            <a:solidFill>
              <a:srgbClr val="FFFFFF"/>
            </a:solidFill>
            <a:ln w="1835" cap="flat">
              <a:noFill/>
              <a:prstDash val="solid"/>
              <a:miter/>
            </a:ln>
          </p:spPr>
          <p:txBody>
            <a:bodyPr/>
            <a:lstStyle/>
            <a:p>
              <a:endParaRPr lang="en-GB"/>
            </a:p>
          </p:txBody>
        </p:sp>
        <p:sp>
          <p:nvSpPr>
            <p:cNvPr id="1479" name="Freeform: Shape 1478">
              <a:extLst>
                <a:ext uri="{FF2B5EF4-FFF2-40B4-BE49-F238E27FC236}">
                  <a16:creationId xmlns:a16="http://schemas.microsoft.com/office/drawing/2014/main" id="{2819737F-B507-3F8D-7618-49095494881C}"/>
                </a:ext>
              </a:extLst>
            </p:cNvPr>
            <p:cNvSpPr/>
            <p:nvPr/>
          </p:nvSpPr>
          <p:spPr>
            <a:xfrm>
              <a:off x="10914768" y="4964112"/>
              <a:ext cx="26019" cy="33197"/>
            </a:xfrm>
            <a:custGeom>
              <a:avLst/>
              <a:gdLst>
                <a:gd name="csX0" fmla="*/ 15669 w 26019"/>
                <a:gd name="csY0" fmla="*/ 33197 h 33197"/>
                <a:gd name="csX1" fmla="*/ 11960 w 26019"/>
                <a:gd name="csY1" fmla="*/ 32422 h 33197"/>
                <a:gd name="csX2" fmla="*/ 907 w 26019"/>
                <a:gd name="csY2" fmla="*/ 23086 h 33197"/>
                <a:gd name="csX3" fmla="*/ 667 w 26019"/>
                <a:gd name="csY3" fmla="*/ 18786 h 33197"/>
                <a:gd name="csX4" fmla="*/ 2494 w 26019"/>
                <a:gd name="csY4" fmla="*/ 13159 h 33197"/>
                <a:gd name="csX5" fmla="*/ 4524 w 26019"/>
                <a:gd name="csY5" fmla="*/ 9210 h 33197"/>
                <a:gd name="csX6" fmla="*/ 6258 w 26019"/>
                <a:gd name="csY6" fmla="*/ 7826 h 33197"/>
                <a:gd name="csX7" fmla="*/ 6554 w 26019"/>
                <a:gd name="csY7" fmla="*/ 6959 h 33197"/>
                <a:gd name="csX8" fmla="*/ 7328 w 26019"/>
                <a:gd name="csY8" fmla="*/ 5003 h 33197"/>
                <a:gd name="csX9" fmla="*/ 8067 w 26019"/>
                <a:gd name="csY9" fmla="*/ 3933 h 33197"/>
                <a:gd name="csX10" fmla="*/ 8565 w 26019"/>
                <a:gd name="csY10" fmla="*/ 3250 h 33197"/>
                <a:gd name="csX11" fmla="*/ 10318 w 26019"/>
                <a:gd name="csY11" fmla="*/ 833 h 33197"/>
                <a:gd name="csX12" fmla="*/ 13122 w 26019"/>
                <a:gd name="csY12" fmla="*/ 21 h 33197"/>
                <a:gd name="csX13" fmla="*/ 19654 w 26019"/>
                <a:gd name="csY13" fmla="*/ 1497 h 33197"/>
                <a:gd name="csX14" fmla="*/ 22680 w 26019"/>
                <a:gd name="csY14" fmla="*/ 2272 h 33197"/>
                <a:gd name="csX15" fmla="*/ 24931 w 26019"/>
                <a:gd name="csY15" fmla="*/ 5612 h 33197"/>
                <a:gd name="csX16" fmla="*/ 24599 w 26019"/>
                <a:gd name="csY16" fmla="*/ 8749 h 33197"/>
                <a:gd name="csX17" fmla="*/ 24470 w 26019"/>
                <a:gd name="csY17" fmla="*/ 8823 h 33197"/>
                <a:gd name="csX18" fmla="*/ 25466 w 26019"/>
                <a:gd name="csY18" fmla="*/ 11184 h 33197"/>
                <a:gd name="csX19" fmla="*/ 26020 w 26019"/>
                <a:gd name="csY19" fmla="*/ 11240 h 33197"/>
                <a:gd name="csX20" fmla="*/ 25596 w 26019"/>
                <a:gd name="csY20" fmla="*/ 17698 h 33197"/>
                <a:gd name="csX21" fmla="*/ 25430 w 26019"/>
                <a:gd name="csY21" fmla="*/ 20060 h 33197"/>
                <a:gd name="csX22" fmla="*/ 25042 w 26019"/>
                <a:gd name="csY22" fmla="*/ 21868 h 33197"/>
                <a:gd name="csX23" fmla="*/ 25061 w 26019"/>
                <a:gd name="csY23" fmla="*/ 22089 h 33197"/>
                <a:gd name="csX24" fmla="*/ 24710 w 26019"/>
                <a:gd name="csY24" fmla="*/ 25964 h 33197"/>
                <a:gd name="csX25" fmla="*/ 23898 w 26019"/>
                <a:gd name="csY25" fmla="*/ 27588 h 33197"/>
                <a:gd name="csX26" fmla="*/ 22588 w 26019"/>
                <a:gd name="csY26" fmla="*/ 30153 h 33197"/>
                <a:gd name="csX27" fmla="*/ 21499 w 26019"/>
                <a:gd name="csY27" fmla="*/ 31333 h 33197"/>
                <a:gd name="csX28" fmla="*/ 15650 w 26019"/>
                <a:gd name="csY28" fmla="*/ 33142 h 33197"/>
                <a:gd name="csX29" fmla="*/ 6406 w 26019"/>
                <a:gd name="csY29" fmla="*/ 20705 h 33197"/>
                <a:gd name="csX30" fmla="*/ 14248 w 26019"/>
                <a:gd name="csY30" fmla="*/ 26924 h 33197"/>
                <a:gd name="csX31" fmla="*/ 17717 w 26019"/>
                <a:gd name="csY31" fmla="*/ 26702 h 33197"/>
                <a:gd name="csX32" fmla="*/ 18399 w 26019"/>
                <a:gd name="csY32" fmla="*/ 25355 h 33197"/>
                <a:gd name="csX33" fmla="*/ 18824 w 26019"/>
                <a:gd name="csY33" fmla="*/ 24580 h 33197"/>
                <a:gd name="csX34" fmla="*/ 19285 w 26019"/>
                <a:gd name="csY34" fmla="*/ 23289 h 33197"/>
                <a:gd name="csX35" fmla="*/ 19138 w 26019"/>
                <a:gd name="csY35" fmla="*/ 20779 h 33197"/>
                <a:gd name="csX36" fmla="*/ 19451 w 26019"/>
                <a:gd name="csY36" fmla="*/ 19691 h 33197"/>
                <a:gd name="csX37" fmla="*/ 19654 w 26019"/>
                <a:gd name="csY37" fmla="*/ 17366 h 33197"/>
                <a:gd name="csX38" fmla="*/ 19949 w 26019"/>
                <a:gd name="csY38" fmla="*/ 12697 h 33197"/>
                <a:gd name="csX39" fmla="*/ 21093 w 26019"/>
                <a:gd name="csY39" fmla="*/ 13638 h 33197"/>
                <a:gd name="csX40" fmla="*/ 19949 w 26019"/>
                <a:gd name="csY40" fmla="*/ 12679 h 33197"/>
                <a:gd name="csX41" fmla="*/ 20060 w 26019"/>
                <a:gd name="csY41" fmla="*/ 11240 h 33197"/>
                <a:gd name="csX42" fmla="*/ 19543 w 26019"/>
                <a:gd name="csY42" fmla="*/ 11074 h 33197"/>
                <a:gd name="csX43" fmla="*/ 19913 w 26019"/>
                <a:gd name="csY43" fmla="*/ 12642 h 33197"/>
                <a:gd name="csX44" fmla="*/ 19101 w 26019"/>
                <a:gd name="csY44" fmla="*/ 11941 h 33197"/>
                <a:gd name="csX45" fmla="*/ 18824 w 26019"/>
                <a:gd name="csY45" fmla="*/ 11147 h 33197"/>
                <a:gd name="csX46" fmla="*/ 18713 w 26019"/>
                <a:gd name="csY46" fmla="*/ 8214 h 33197"/>
                <a:gd name="csX47" fmla="*/ 18732 w 26019"/>
                <a:gd name="csY47" fmla="*/ 7457 h 33197"/>
                <a:gd name="csX48" fmla="*/ 18160 w 26019"/>
                <a:gd name="csY48" fmla="*/ 7309 h 33197"/>
                <a:gd name="csX49" fmla="*/ 13768 w 26019"/>
                <a:gd name="csY49" fmla="*/ 6221 h 33197"/>
                <a:gd name="csX50" fmla="*/ 13510 w 26019"/>
                <a:gd name="csY50" fmla="*/ 6627 h 33197"/>
                <a:gd name="csX51" fmla="*/ 12716 w 26019"/>
                <a:gd name="csY51" fmla="*/ 7715 h 33197"/>
                <a:gd name="csX52" fmla="*/ 12181 w 26019"/>
                <a:gd name="csY52" fmla="*/ 9025 h 33197"/>
                <a:gd name="csX53" fmla="*/ 11111 w 26019"/>
                <a:gd name="csY53" fmla="*/ 11535 h 33197"/>
                <a:gd name="csX54" fmla="*/ 9063 w 26019"/>
                <a:gd name="csY54" fmla="*/ 13196 h 33197"/>
                <a:gd name="csX55" fmla="*/ 8067 w 26019"/>
                <a:gd name="csY55" fmla="*/ 15244 h 33197"/>
                <a:gd name="csX56" fmla="*/ 6406 w 26019"/>
                <a:gd name="csY56" fmla="*/ 20687 h 33197"/>
                <a:gd name="csX57" fmla="*/ 19543 w 26019"/>
                <a:gd name="csY57" fmla="*/ 11074 h 33197"/>
                <a:gd name="csX58" fmla="*/ 20060 w 26019"/>
                <a:gd name="csY58" fmla="*/ 11240 h 33197"/>
                <a:gd name="csX59" fmla="*/ 20060 w 26019"/>
                <a:gd name="csY59" fmla="*/ 11184 h 33197"/>
                <a:gd name="csX60" fmla="*/ 19543 w 26019"/>
                <a:gd name="csY60" fmla="*/ 11000 h 33197"/>
                <a:gd name="csX61" fmla="*/ 19543 w 26019"/>
                <a:gd name="csY61" fmla="*/ 11074 h 331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26019" h="33197">
                  <a:moveTo>
                    <a:pt x="15669" y="33197"/>
                  </a:moveTo>
                  <a:cubicBezTo>
                    <a:pt x="14192" y="33197"/>
                    <a:pt x="12956" y="32847"/>
                    <a:pt x="11960" y="32422"/>
                  </a:cubicBezTo>
                  <a:cubicBezTo>
                    <a:pt x="8768" y="31167"/>
                    <a:pt x="2623" y="26665"/>
                    <a:pt x="907" y="23086"/>
                  </a:cubicBezTo>
                  <a:cubicBezTo>
                    <a:pt x="-200" y="21997"/>
                    <a:pt x="-310" y="19986"/>
                    <a:pt x="667" y="18786"/>
                  </a:cubicBezTo>
                  <a:cubicBezTo>
                    <a:pt x="667" y="18768"/>
                    <a:pt x="1332" y="17753"/>
                    <a:pt x="2494" y="13159"/>
                  </a:cubicBezTo>
                  <a:cubicBezTo>
                    <a:pt x="2716" y="12568"/>
                    <a:pt x="3878" y="10243"/>
                    <a:pt x="4524" y="9210"/>
                  </a:cubicBezTo>
                  <a:cubicBezTo>
                    <a:pt x="5207" y="8472"/>
                    <a:pt x="5797" y="8048"/>
                    <a:pt x="6258" y="7826"/>
                  </a:cubicBezTo>
                  <a:cubicBezTo>
                    <a:pt x="6332" y="7586"/>
                    <a:pt x="6443" y="7273"/>
                    <a:pt x="6554" y="6959"/>
                  </a:cubicBezTo>
                  <a:cubicBezTo>
                    <a:pt x="6793" y="6313"/>
                    <a:pt x="7033" y="5649"/>
                    <a:pt x="7328" y="5003"/>
                  </a:cubicBezTo>
                  <a:cubicBezTo>
                    <a:pt x="7439" y="4763"/>
                    <a:pt x="7919" y="4117"/>
                    <a:pt x="8067" y="3933"/>
                  </a:cubicBezTo>
                  <a:cubicBezTo>
                    <a:pt x="8233" y="3730"/>
                    <a:pt x="8399" y="3527"/>
                    <a:pt x="8565" y="3250"/>
                  </a:cubicBezTo>
                  <a:cubicBezTo>
                    <a:pt x="8989" y="2383"/>
                    <a:pt x="9395" y="1516"/>
                    <a:pt x="10318" y="833"/>
                  </a:cubicBezTo>
                  <a:cubicBezTo>
                    <a:pt x="11222" y="-108"/>
                    <a:pt x="12679" y="-16"/>
                    <a:pt x="13122" y="21"/>
                  </a:cubicBezTo>
                  <a:cubicBezTo>
                    <a:pt x="15742" y="482"/>
                    <a:pt x="17680" y="981"/>
                    <a:pt x="19654" y="1497"/>
                  </a:cubicBezTo>
                  <a:lnTo>
                    <a:pt x="22680" y="2272"/>
                  </a:lnTo>
                  <a:cubicBezTo>
                    <a:pt x="24193" y="2641"/>
                    <a:pt x="25171" y="4099"/>
                    <a:pt x="24931" y="5612"/>
                  </a:cubicBezTo>
                  <a:cubicBezTo>
                    <a:pt x="24931" y="5649"/>
                    <a:pt x="24599" y="7715"/>
                    <a:pt x="24599" y="8749"/>
                  </a:cubicBezTo>
                  <a:lnTo>
                    <a:pt x="24470" y="8823"/>
                  </a:lnTo>
                  <a:cubicBezTo>
                    <a:pt x="25061" y="9376"/>
                    <a:pt x="25448" y="10169"/>
                    <a:pt x="25466" y="11184"/>
                  </a:cubicBezTo>
                  <a:lnTo>
                    <a:pt x="26020" y="11240"/>
                  </a:lnTo>
                  <a:cubicBezTo>
                    <a:pt x="25872" y="13214"/>
                    <a:pt x="25706" y="15742"/>
                    <a:pt x="25596" y="17698"/>
                  </a:cubicBezTo>
                  <a:lnTo>
                    <a:pt x="25430" y="20060"/>
                  </a:lnTo>
                  <a:cubicBezTo>
                    <a:pt x="25356" y="20650"/>
                    <a:pt x="25263" y="21277"/>
                    <a:pt x="25042" y="21868"/>
                  </a:cubicBezTo>
                  <a:cubicBezTo>
                    <a:pt x="25042" y="21979"/>
                    <a:pt x="25042" y="22034"/>
                    <a:pt x="25061" y="22089"/>
                  </a:cubicBezTo>
                  <a:cubicBezTo>
                    <a:pt x="25337" y="23270"/>
                    <a:pt x="25263" y="24174"/>
                    <a:pt x="24710" y="25964"/>
                  </a:cubicBezTo>
                  <a:cubicBezTo>
                    <a:pt x="24415" y="26739"/>
                    <a:pt x="24156" y="27182"/>
                    <a:pt x="23898" y="27588"/>
                  </a:cubicBezTo>
                  <a:lnTo>
                    <a:pt x="22588" y="30153"/>
                  </a:lnTo>
                  <a:cubicBezTo>
                    <a:pt x="22348" y="30651"/>
                    <a:pt x="21961" y="31057"/>
                    <a:pt x="21499" y="31333"/>
                  </a:cubicBezTo>
                  <a:cubicBezTo>
                    <a:pt x="19322" y="32680"/>
                    <a:pt x="17329" y="33142"/>
                    <a:pt x="15650" y="33142"/>
                  </a:cubicBezTo>
                  <a:close/>
                  <a:moveTo>
                    <a:pt x="6406" y="20705"/>
                  </a:moveTo>
                  <a:cubicBezTo>
                    <a:pt x="7550" y="22643"/>
                    <a:pt x="12034" y="26038"/>
                    <a:pt x="14248" y="26924"/>
                  </a:cubicBezTo>
                  <a:cubicBezTo>
                    <a:pt x="14746" y="27108"/>
                    <a:pt x="15853" y="27606"/>
                    <a:pt x="17717" y="26702"/>
                  </a:cubicBezTo>
                  <a:lnTo>
                    <a:pt x="18399" y="25355"/>
                  </a:lnTo>
                  <a:cubicBezTo>
                    <a:pt x="18399" y="25355"/>
                    <a:pt x="18787" y="24636"/>
                    <a:pt x="18824" y="24580"/>
                  </a:cubicBezTo>
                  <a:cubicBezTo>
                    <a:pt x="19174" y="23805"/>
                    <a:pt x="19267" y="23510"/>
                    <a:pt x="19285" y="23289"/>
                  </a:cubicBezTo>
                  <a:cubicBezTo>
                    <a:pt x="19138" y="22901"/>
                    <a:pt x="19008" y="22163"/>
                    <a:pt x="19138" y="20779"/>
                  </a:cubicBezTo>
                  <a:cubicBezTo>
                    <a:pt x="19174" y="20410"/>
                    <a:pt x="19285" y="20041"/>
                    <a:pt x="19451" y="19691"/>
                  </a:cubicBezTo>
                  <a:lnTo>
                    <a:pt x="19654" y="17366"/>
                  </a:lnTo>
                  <a:cubicBezTo>
                    <a:pt x="19728" y="15963"/>
                    <a:pt x="19839" y="14284"/>
                    <a:pt x="19949" y="12697"/>
                  </a:cubicBezTo>
                  <a:cubicBezTo>
                    <a:pt x="20226" y="13103"/>
                    <a:pt x="20614" y="13472"/>
                    <a:pt x="21093" y="13638"/>
                  </a:cubicBezTo>
                  <a:lnTo>
                    <a:pt x="19949" y="12679"/>
                  </a:lnTo>
                  <a:cubicBezTo>
                    <a:pt x="19986" y="12181"/>
                    <a:pt x="20023" y="11719"/>
                    <a:pt x="20060" y="11240"/>
                  </a:cubicBezTo>
                  <a:lnTo>
                    <a:pt x="19543" y="11074"/>
                  </a:lnTo>
                  <a:cubicBezTo>
                    <a:pt x="19451" y="11535"/>
                    <a:pt x="19599" y="12144"/>
                    <a:pt x="19913" y="12642"/>
                  </a:cubicBezTo>
                  <a:lnTo>
                    <a:pt x="19101" y="11941"/>
                  </a:lnTo>
                  <a:cubicBezTo>
                    <a:pt x="18971" y="11682"/>
                    <a:pt x="18879" y="11424"/>
                    <a:pt x="18824" y="11147"/>
                  </a:cubicBezTo>
                  <a:cubicBezTo>
                    <a:pt x="18676" y="10409"/>
                    <a:pt x="18473" y="9395"/>
                    <a:pt x="18713" y="8214"/>
                  </a:cubicBezTo>
                  <a:cubicBezTo>
                    <a:pt x="18713" y="8048"/>
                    <a:pt x="18713" y="7771"/>
                    <a:pt x="18732" y="7457"/>
                  </a:cubicBezTo>
                  <a:lnTo>
                    <a:pt x="18160" y="7309"/>
                  </a:lnTo>
                  <a:cubicBezTo>
                    <a:pt x="16702" y="6922"/>
                    <a:pt x="15244" y="6553"/>
                    <a:pt x="13768" y="6221"/>
                  </a:cubicBezTo>
                  <a:cubicBezTo>
                    <a:pt x="13657" y="6405"/>
                    <a:pt x="13565" y="6571"/>
                    <a:pt x="13510" y="6627"/>
                  </a:cubicBezTo>
                  <a:cubicBezTo>
                    <a:pt x="13362" y="6922"/>
                    <a:pt x="13049" y="7309"/>
                    <a:pt x="12716" y="7715"/>
                  </a:cubicBezTo>
                  <a:cubicBezTo>
                    <a:pt x="12550" y="8011"/>
                    <a:pt x="12366" y="8527"/>
                    <a:pt x="12181" y="9025"/>
                  </a:cubicBezTo>
                  <a:cubicBezTo>
                    <a:pt x="11849" y="9930"/>
                    <a:pt x="11535" y="10797"/>
                    <a:pt x="11111" y="11535"/>
                  </a:cubicBezTo>
                  <a:cubicBezTo>
                    <a:pt x="10373" y="12568"/>
                    <a:pt x="9598" y="12993"/>
                    <a:pt x="9063" y="13196"/>
                  </a:cubicBezTo>
                  <a:cubicBezTo>
                    <a:pt x="8768" y="13841"/>
                    <a:pt x="8067" y="15244"/>
                    <a:pt x="8067" y="15244"/>
                  </a:cubicBezTo>
                  <a:cubicBezTo>
                    <a:pt x="7439" y="17882"/>
                    <a:pt x="6886" y="19561"/>
                    <a:pt x="6406" y="20687"/>
                  </a:cubicBezTo>
                  <a:close/>
                  <a:moveTo>
                    <a:pt x="19543" y="11074"/>
                  </a:moveTo>
                  <a:lnTo>
                    <a:pt x="20060" y="11240"/>
                  </a:lnTo>
                  <a:lnTo>
                    <a:pt x="20060" y="11184"/>
                  </a:lnTo>
                  <a:lnTo>
                    <a:pt x="19543" y="11000"/>
                  </a:lnTo>
                  <a:cubicBezTo>
                    <a:pt x="19543" y="11000"/>
                    <a:pt x="19543" y="11055"/>
                    <a:pt x="19543" y="11074"/>
                  </a:cubicBezTo>
                  <a:close/>
                </a:path>
              </a:pathLst>
            </a:custGeom>
            <a:solidFill>
              <a:srgbClr val="FFFFFF"/>
            </a:solidFill>
            <a:ln w="1835" cap="flat">
              <a:noFill/>
              <a:prstDash val="solid"/>
              <a:miter/>
            </a:ln>
          </p:spPr>
          <p:txBody>
            <a:bodyPr/>
            <a:lstStyle/>
            <a:p>
              <a:endParaRPr lang="en-GB"/>
            </a:p>
          </p:txBody>
        </p:sp>
        <p:sp>
          <p:nvSpPr>
            <p:cNvPr id="1480" name="Freeform: Shape 1479">
              <a:extLst>
                <a:ext uri="{FF2B5EF4-FFF2-40B4-BE49-F238E27FC236}">
                  <a16:creationId xmlns:a16="http://schemas.microsoft.com/office/drawing/2014/main" id="{A828C379-D4AB-A79F-E26D-380379CD0696}"/>
                </a:ext>
              </a:extLst>
            </p:cNvPr>
            <p:cNvSpPr/>
            <p:nvPr/>
          </p:nvSpPr>
          <p:spPr>
            <a:xfrm>
              <a:off x="10967001" y="4996792"/>
              <a:ext cx="26448" cy="23925"/>
            </a:xfrm>
            <a:custGeom>
              <a:avLst/>
              <a:gdLst>
                <a:gd name="csX0" fmla="*/ 12517 w 26448"/>
                <a:gd name="csY0" fmla="*/ 2620 h 23925"/>
                <a:gd name="csX1" fmla="*/ 10967 w 26448"/>
                <a:gd name="csY1" fmla="*/ 2509 h 23925"/>
                <a:gd name="csX2" fmla="*/ 9178 w 26448"/>
                <a:gd name="csY2" fmla="*/ 1919 h 23925"/>
                <a:gd name="csX3" fmla="*/ 6188 w 26448"/>
                <a:gd name="csY3" fmla="*/ 0 h 23925"/>
                <a:gd name="csX4" fmla="*/ 339 w 26448"/>
                <a:gd name="csY4" fmla="*/ 6919 h 23925"/>
                <a:gd name="csX5" fmla="*/ 99 w 26448"/>
                <a:gd name="csY5" fmla="*/ 8119 h 23925"/>
                <a:gd name="csX6" fmla="*/ 1059 w 26448"/>
                <a:gd name="csY6" fmla="*/ 9558 h 23925"/>
                <a:gd name="csX7" fmla="*/ 1778 w 26448"/>
                <a:gd name="csY7" fmla="*/ 11237 h 23925"/>
                <a:gd name="csX8" fmla="*/ 4528 w 26448"/>
                <a:gd name="csY8" fmla="*/ 14337 h 23925"/>
                <a:gd name="csX9" fmla="*/ 4528 w 26448"/>
                <a:gd name="csY9" fmla="*/ 15887 h 23925"/>
                <a:gd name="csX10" fmla="*/ 6557 w 26448"/>
                <a:gd name="csY10" fmla="*/ 18747 h 23925"/>
                <a:gd name="csX11" fmla="*/ 12886 w 26448"/>
                <a:gd name="csY11" fmla="*/ 23766 h 23925"/>
                <a:gd name="csX12" fmla="*/ 24105 w 26448"/>
                <a:gd name="csY12" fmla="*/ 18507 h 23925"/>
                <a:gd name="csX13" fmla="*/ 26374 w 26448"/>
                <a:gd name="csY13" fmla="*/ 12067 h 23925"/>
                <a:gd name="csX14" fmla="*/ 24935 w 26448"/>
                <a:gd name="csY14" fmla="*/ 10148 h 23925"/>
                <a:gd name="csX15" fmla="*/ 23976 w 26448"/>
                <a:gd name="csY15" fmla="*/ 8709 h 23925"/>
                <a:gd name="csX16" fmla="*/ 20396 w 26448"/>
                <a:gd name="csY16" fmla="*/ 6679 h 23925"/>
                <a:gd name="csX17" fmla="*/ 19566 w 26448"/>
                <a:gd name="csY17" fmla="*/ 5960 h 23925"/>
                <a:gd name="csX18" fmla="*/ 11927 w 26448"/>
                <a:gd name="csY18" fmla="*/ 1550 h 239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6448" h="23925">
                  <a:moveTo>
                    <a:pt x="12517" y="2620"/>
                  </a:moveTo>
                  <a:cubicBezTo>
                    <a:pt x="11318" y="1550"/>
                    <a:pt x="11447" y="2509"/>
                    <a:pt x="10967" y="2509"/>
                  </a:cubicBezTo>
                  <a:cubicBezTo>
                    <a:pt x="10377" y="2270"/>
                    <a:pt x="9768" y="2159"/>
                    <a:pt x="9178" y="1919"/>
                  </a:cubicBezTo>
                  <a:cubicBezTo>
                    <a:pt x="8218" y="1329"/>
                    <a:pt x="6188" y="0"/>
                    <a:pt x="6188" y="0"/>
                  </a:cubicBezTo>
                  <a:cubicBezTo>
                    <a:pt x="4269" y="2270"/>
                    <a:pt x="2240" y="4539"/>
                    <a:pt x="339" y="6919"/>
                  </a:cubicBezTo>
                  <a:cubicBezTo>
                    <a:pt x="99" y="7270"/>
                    <a:pt x="-141" y="7639"/>
                    <a:pt x="99" y="8119"/>
                  </a:cubicBezTo>
                  <a:cubicBezTo>
                    <a:pt x="210" y="8598"/>
                    <a:pt x="819" y="9078"/>
                    <a:pt x="1059" y="9558"/>
                  </a:cubicBezTo>
                  <a:cubicBezTo>
                    <a:pt x="1409" y="10148"/>
                    <a:pt x="1539" y="10757"/>
                    <a:pt x="1778" y="11237"/>
                  </a:cubicBezTo>
                  <a:cubicBezTo>
                    <a:pt x="2738" y="12307"/>
                    <a:pt x="3808" y="13156"/>
                    <a:pt x="4528" y="14337"/>
                  </a:cubicBezTo>
                  <a:cubicBezTo>
                    <a:pt x="4768" y="14817"/>
                    <a:pt x="4288" y="15296"/>
                    <a:pt x="4528" y="15887"/>
                  </a:cubicBezTo>
                  <a:cubicBezTo>
                    <a:pt x="5007" y="16846"/>
                    <a:pt x="6557" y="18747"/>
                    <a:pt x="6557" y="18747"/>
                  </a:cubicBezTo>
                  <a:cubicBezTo>
                    <a:pt x="14196" y="25316"/>
                    <a:pt x="9897" y="23766"/>
                    <a:pt x="12886" y="23766"/>
                  </a:cubicBezTo>
                  <a:cubicBezTo>
                    <a:pt x="15875" y="23766"/>
                    <a:pt x="21835" y="20537"/>
                    <a:pt x="24105" y="18507"/>
                  </a:cubicBezTo>
                  <a:cubicBezTo>
                    <a:pt x="26374" y="16588"/>
                    <a:pt x="26614" y="13857"/>
                    <a:pt x="26374" y="12067"/>
                  </a:cubicBezTo>
                  <a:cubicBezTo>
                    <a:pt x="25895" y="11348"/>
                    <a:pt x="25415" y="10757"/>
                    <a:pt x="24935" y="10148"/>
                  </a:cubicBezTo>
                  <a:cubicBezTo>
                    <a:pt x="24695" y="9669"/>
                    <a:pt x="24455" y="9189"/>
                    <a:pt x="23976" y="8709"/>
                  </a:cubicBezTo>
                  <a:cubicBezTo>
                    <a:pt x="21835" y="6679"/>
                    <a:pt x="22426" y="7879"/>
                    <a:pt x="20396" y="6679"/>
                  </a:cubicBezTo>
                  <a:cubicBezTo>
                    <a:pt x="20046" y="6569"/>
                    <a:pt x="20987" y="6790"/>
                    <a:pt x="19566" y="5960"/>
                  </a:cubicBezTo>
                  <a:cubicBezTo>
                    <a:pt x="18127" y="5000"/>
                    <a:pt x="14436" y="2971"/>
                    <a:pt x="11927" y="1550"/>
                  </a:cubicBezTo>
                </a:path>
              </a:pathLst>
            </a:custGeom>
            <a:solidFill>
              <a:srgbClr val="FFFFFF"/>
            </a:solidFill>
            <a:ln w="1835" cap="flat">
              <a:noFill/>
              <a:prstDash val="solid"/>
              <a:miter/>
            </a:ln>
          </p:spPr>
          <p:txBody>
            <a:bodyPr/>
            <a:lstStyle/>
            <a:p>
              <a:endParaRPr lang="en-GB"/>
            </a:p>
          </p:txBody>
        </p:sp>
        <p:sp>
          <p:nvSpPr>
            <p:cNvPr id="1481" name="Freeform: Shape 1480">
              <a:extLst>
                <a:ext uri="{FF2B5EF4-FFF2-40B4-BE49-F238E27FC236}">
                  <a16:creationId xmlns:a16="http://schemas.microsoft.com/office/drawing/2014/main" id="{75BC0B33-5D56-CE91-010D-56C40DC46FEC}"/>
                </a:ext>
              </a:extLst>
            </p:cNvPr>
            <p:cNvSpPr/>
            <p:nvPr/>
          </p:nvSpPr>
          <p:spPr>
            <a:xfrm>
              <a:off x="10963960" y="4993824"/>
              <a:ext cx="32520" cy="29871"/>
            </a:xfrm>
            <a:custGeom>
              <a:avLst/>
              <a:gdLst>
                <a:gd name="csX0" fmla="*/ 15060 w 32520"/>
                <a:gd name="csY0" fmla="*/ 29853 h 29871"/>
                <a:gd name="csX1" fmla="*/ 11942 w 32520"/>
                <a:gd name="csY1" fmla="*/ 28247 h 29871"/>
                <a:gd name="csX2" fmla="*/ 7643 w 32520"/>
                <a:gd name="csY2" fmla="*/ 23985 h 29871"/>
                <a:gd name="csX3" fmla="*/ 4894 w 32520"/>
                <a:gd name="csY3" fmla="*/ 20203 h 29871"/>
                <a:gd name="csX4" fmla="*/ 4525 w 32520"/>
                <a:gd name="csY4" fmla="*/ 18210 h 29871"/>
                <a:gd name="csX5" fmla="*/ 3676 w 32520"/>
                <a:gd name="csY5" fmla="*/ 17324 h 29871"/>
                <a:gd name="csX6" fmla="*/ 2587 w 32520"/>
                <a:gd name="csY6" fmla="*/ 16199 h 29871"/>
                <a:gd name="csX7" fmla="*/ 2126 w 32520"/>
                <a:gd name="csY7" fmla="*/ 15516 h 29871"/>
                <a:gd name="csX8" fmla="*/ 1757 w 32520"/>
                <a:gd name="csY8" fmla="*/ 14612 h 29871"/>
                <a:gd name="csX9" fmla="*/ 1443 w 32520"/>
                <a:gd name="csY9" fmla="*/ 13911 h 29871"/>
                <a:gd name="csX10" fmla="*/ 244 w 32520"/>
                <a:gd name="csY10" fmla="*/ 11825 h 29871"/>
                <a:gd name="csX11" fmla="*/ 890 w 32520"/>
                <a:gd name="csY11" fmla="*/ 8283 h 29871"/>
                <a:gd name="csX12" fmla="*/ 5041 w 32520"/>
                <a:gd name="csY12" fmla="*/ 3282 h 29871"/>
                <a:gd name="csX13" fmla="*/ 6960 w 32520"/>
                <a:gd name="csY13" fmla="*/ 1068 h 29871"/>
                <a:gd name="csX14" fmla="*/ 10854 w 32520"/>
                <a:gd name="csY14" fmla="*/ 478 h 29871"/>
                <a:gd name="csX15" fmla="*/ 13677 w 32520"/>
                <a:gd name="csY15" fmla="*/ 2286 h 29871"/>
                <a:gd name="csX16" fmla="*/ 16168 w 32520"/>
                <a:gd name="csY16" fmla="*/ 2452 h 29871"/>
                <a:gd name="csX17" fmla="*/ 16463 w 32520"/>
                <a:gd name="csY17" fmla="*/ 1954 h 29871"/>
                <a:gd name="csX18" fmla="*/ 18695 w 32520"/>
                <a:gd name="csY18" fmla="*/ 3209 h 29871"/>
                <a:gd name="csX19" fmla="*/ 24286 w 32520"/>
                <a:gd name="csY19" fmla="*/ 6474 h 29871"/>
                <a:gd name="csX20" fmla="*/ 25504 w 32520"/>
                <a:gd name="csY20" fmla="*/ 7360 h 29871"/>
                <a:gd name="csX21" fmla="*/ 25670 w 32520"/>
                <a:gd name="csY21" fmla="*/ 7416 h 29871"/>
                <a:gd name="csX22" fmla="*/ 29102 w 32520"/>
                <a:gd name="csY22" fmla="*/ 9537 h 29871"/>
                <a:gd name="csX23" fmla="*/ 30634 w 32520"/>
                <a:gd name="csY23" fmla="*/ 11715 h 29871"/>
                <a:gd name="csX24" fmla="*/ 31925 w 32520"/>
                <a:gd name="csY24" fmla="*/ 13375 h 29871"/>
                <a:gd name="csX25" fmla="*/ 32423 w 32520"/>
                <a:gd name="csY25" fmla="*/ 14667 h 29871"/>
                <a:gd name="csX26" fmla="*/ 29121 w 32520"/>
                <a:gd name="csY26" fmla="*/ 23782 h 29871"/>
                <a:gd name="csX27" fmla="*/ 15983 w 32520"/>
                <a:gd name="csY27" fmla="*/ 29742 h 29871"/>
                <a:gd name="csX28" fmla="*/ 15116 w 32520"/>
                <a:gd name="csY28" fmla="*/ 29871 h 29871"/>
                <a:gd name="csX29" fmla="*/ 10540 w 32520"/>
                <a:gd name="csY29" fmla="*/ 18044 h 29871"/>
                <a:gd name="csX30" fmla="*/ 11887 w 32520"/>
                <a:gd name="csY30" fmla="*/ 19815 h 29871"/>
                <a:gd name="csX31" fmla="*/ 16020 w 32520"/>
                <a:gd name="csY31" fmla="*/ 23745 h 29871"/>
                <a:gd name="csX32" fmla="*/ 25135 w 32520"/>
                <a:gd name="csY32" fmla="*/ 19243 h 29871"/>
                <a:gd name="csX33" fmla="*/ 26482 w 32520"/>
                <a:gd name="csY33" fmla="*/ 16069 h 29871"/>
                <a:gd name="csX34" fmla="*/ 25633 w 32520"/>
                <a:gd name="csY34" fmla="*/ 14981 h 29871"/>
                <a:gd name="csX35" fmla="*/ 27017 w 32520"/>
                <a:gd name="csY35" fmla="*/ 11678 h 29871"/>
                <a:gd name="csX36" fmla="*/ 24969 w 32520"/>
                <a:gd name="csY36" fmla="*/ 13855 h 29871"/>
                <a:gd name="csX37" fmla="*/ 24120 w 32520"/>
                <a:gd name="csY37" fmla="*/ 13136 h 29871"/>
                <a:gd name="csX38" fmla="*/ 21924 w 32520"/>
                <a:gd name="csY38" fmla="*/ 12231 h 29871"/>
                <a:gd name="csX39" fmla="*/ 21076 w 32520"/>
                <a:gd name="csY39" fmla="*/ 11512 h 29871"/>
                <a:gd name="csX40" fmla="*/ 15743 w 32520"/>
                <a:gd name="csY40" fmla="*/ 8412 h 29871"/>
                <a:gd name="csX41" fmla="*/ 15116 w 32520"/>
                <a:gd name="csY41" fmla="*/ 8061 h 29871"/>
                <a:gd name="csX42" fmla="*/ 16518 w 32520"/>
                <a:gd name="csY42" fmla="*/ 7342 h 29871"/>
                <a:gd name="csX43" fmla="*/ 15024 w 32520"/>
                <a:gd name="csY43" fmla="*/ 8024 h 29871"/>
                <a:gd name="csX44" fmla="*/ 13953 w 32520"/>
                <a:gd name="csY44" fmla="*/ 7416 h 29871"/>
                <a:gd name="csX45" fmla="*/ 13566 w 32520"/>
                <a:gd name="csY45" fmla="*/ 7840 h 29871"/>
                <a:gd name="csX46" fmla="*/ 14876 w 32520"/>
                <a:gd name="csY46" fmla="*/ 8098 h 29871"/>
                <a:gd name="csX47" fmla="*/ 14009 w 32520"/>
                <a:gd name="csY47" fmla="*/ 8486 h 29871"/>
                <a:gd name="csX48" fmla="*/ 12883 w 32520"/>
                <a:gd name="csY48" fmla="*/ 8264 h 29871"/>
                <a:gd name="csX49" fmla="*/ 11130 w 32520"/>
                <a:gd name="csY49" fmla="*/ 7674 h 29871"/>
                <a:gd name="csX50" fmla="*/ 9839 w 32520"/>
                <a:gd name="csY50" fmla="*/ 6862 h 29871"/>
                <a:gd name="csX51" fmla="*/ 9562 w 32520"/>
                <a:gd name="csY51" fmla="*/ 7157 h 29871"/>
                <a:gd name="csX52" fmla="*/ 6499 w 32520"/>
                <a:gd name="csY52" fmla="*/ 10774 h 29871"/>
                <a:gd name="csX53" fmla="*/ 6739 w 32520"/>
                <a:gd name="csY53" fmla="*/ 11161 h 29871"/>
                <a:gd name="csX54" fmla="*/ 7348 w 32520"/>
                <a:gd name="csY54" fmla="*/ 12564 h 29871"/>
                <a:gd name="csX55" fmla="*/ 7864 w 32520"/>
                <a:gd name="csY55" fmla="*/ 13080 h 29871"/>
                <a:gd name="csX56" fmla="*/ 10097 w 32520"/>
                <a:gd name="csY56" fmla="*/ 15756 h 29871"/>
                <a:gd name="csX57" fmla="*/ 10521 w 32520"/>
                <a:gd name="csY57" fmla="*/ 18044 h 29871"/>
                <a:gd name="csX58" fmla="*/ 13861 w 32520"/>
                <a:gd name="csY58" fmla="*/ 7323 h 29871"/>
                <a:gd name="csX59" fmla="*/ 13474 w 32520"/>
                <a:gd name="csY59" fmla="*/ 7729 h 29871"/>
                <a:gd name="csX60" fmla="*/ 13584 w 32520"/>
                <a:gd name="csY60" fmla="*/ 7803 h 29871"/>
                <a:gd name="csX61" fmla="*/ 13972 w 32520"/>
                <a:gd name="csY61" fmla="*/ 7379 h 29871"/>
                <a:gd name="csX62" fmla="*/ 13880 w 32520"/>
                <a:gd name="csY62" fmla="*/ 7323 h 298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Lst>
              <a:rect l="l" t="t" r="r" b="b"/>
              <a:pathLst>
                <a:path w="32520" h="29871">
                  <a:moveTo>
                    <a:pt x="15060" y="29853"/>
                  </a:moveTo>
                  <a:cubicBezTo>
                    <a:pt x="13861" y="29853"/>
                    <a:pt x="12514" y="29225"/>
                    <a:pt x="11942" y="28247"/>
                  </a:cubicBezTo>
                  <a:cubicBezTo>
                    <a:pt x="11831" y="28063"/>
                    <a:pt x="11130" y="26993"/>
                    <a:pt x="7643" y="23985"/>
                  </a:cubicBezTo>
                  <a:cubicBezTo>
                    <a:pt x="6868" y="23099"/>
                    <a:pt x="5466" y="21365"/>
                    <a:pt x="4894" y="20203"/>
                  </a:cubicBezTo>
                  <a:cubicBezTo>
                    <a:pt x="4562" y="19391"/>
                    <a:pt x="4506" y="18726"/>
                    <a:pt x="4525" y="18210"/>
                  </a:cubicBezTo>
                  <a:cubicBezTo>
                    <a:pt x="4303" y="17951"/>
                    <a:pt x="4008" y="17656"/>
                    <a:pt x="3676" y="17324"/>
                  </a:cubicBezTo>
                  <a:cubicBezTo>
                    <a:pt x="3307" y="16955"/>
                    <a:pt x="2938" y="16586"/>
                    <a:pt x="2587" y="16199"/>
                  </a:cubicBezTo>
                  <a:cubicBezTo>
                    <a:pt x="2403" y="15996"/>
                    <a:pt x="2255" y="15774"/>
                    <a:pt x="2126" y="15516"/>
                  </a:cubicBezTo>
                  <a:cubicBezTo>
                    <a:pt x="2071" y="15424"/>
                    <a:pt x="1794" y="14704"/>
                    <a:pt x="1757" y="14612"/>
                  </a:cubicBezTo>
                  <a:cubicBezTo>
                    <a:pt x="1720" y="14556"/>
                    <a:pt x="1480" y="13966"/>
                    <a:pt x="1443" y="13911"/>
                  </a:cubicBezTo>
                  <a:cubicBezTo>
                    <a:pt x="1019" y="13412"/>
                    <a:pt x="484" y="12748"/>
                    <a:pt x="244" y="11825"/>
                  </a:cubicBezTo>
                  <a:cubicBezTo>
                    <a:pt x="-199" y="11124"/>
                    <a:pt x="-70" y="9722"/>
                    <a:pt x="890" y="8283"/>
                  </a:cubicBezTo>
                  <a:cubicBezTo>
                    <a:pt x="2347" y="6438"/>
                    <a:pt x="3694" y="4851"/>
                    <a:pt x="5041" y="3282"/>
                  </a:cubicBezTo>
                  <a:lnTo>
                    <a:pt x="6960" y="1068"/>
                  </a:lnTo>
                  <a:cubicBezTo>
                    <a:pt x="7920" y="-94"/>
                    <a:pt x="9580" y="-334"/>
                    <a:pt x="10854" y="478"/>
                  </a:cubicBezTo>
                  <a:lnTo>
                    <a:pt x="13677" y="2286"/>
                  </a:lnTo>
                  <a:cubicBezTo>
                    <a:pt x="14341" y="2046"/>
                    <a:pt x="15190" y="1991"/>
                    <a:pt x="16168" y="2452"/>
                  </a:cubicBezTo>
                  <a:lnTo>
                    <a:pt x="16463" y="1954"/>
                  </a:lnTo>
                  <a:lnTo>
                    <a:pt x="18695" y="3209"/>
                  </a:lnTo>
                  <a:cubicBezTo>
                    <a:pt x="20891" y="4445"/>
                    <a:pt x="23198" y="5755"/>
                    <a:pt x="24286" y="6474"/>
                  </a:cubicBezTo>
                  <a:cubicBezTo>
                    <a:pt x="24581" y="6641"/>
                    <a:pt x="25061" y="6917"/>
                    <a:pt x="25504" y="7360"/>
                  </a:cubicBezTo>
                  <a:cubicBezTo>
                    <a:pt x="25578" y="7397"/>
                    <a:pt x="25615" y="7416"/>
                    <a:pt x="25670" y="7416"/>
                  </a:cubicBezTo>
                  <a:cubicBezTo>
                    <a:pt x="26888" y="7692"/>
                    <a:pt x="27644" y="8172"/>
                    <a:pt x="29102" y="9537"/>
                  </a:cubicBezTo>
                  <a:cubicBezTo>
                    <a:pt x="29951" y="10386"/>
                    <a:pt x="30338" y="11161"/>
                    <a:pt x="30634" y="11715"/>
                  </a:cubicBezTo>
                  <a:cubicBezTo>
                    <a:pt x="30873" y="11918"/>
                    <a:pt x="31390" y="12600"/>
                    <a:pt x="31925" y="13375"/>
                  </a:cubicBezTo>
                  <a:cubicBezTo>
                    <a:pt x="32202" y="13763"/>
                    <a:pt x="32350" y="14206"/>
                    <a:pt x="32423" y="14667"/>
                  </a:cubicBezTo>
                  <a:cubicBezTo>
                    <a:pt x="32885" y="18302"/>
                    <a:pt x="31685" y="21623"/>
                    <a:pt x="29121" y="23782"/>
                  </a:cubicBezTo>
                  <a:cubicBezTo>
                    <a:pt x="26814" y="25849"/>
                    <a:pt x="20006" y="29742"/>
                    <a:pt x="15983" y="29742"/>
                  </a:cubicBezTo>
                  <a:cubicBezTo>
                    <a:pt x="15706" y="29816"/>
                    <a:pt x="15429" y="29871"/>
                    <a:pt x="15116" y="29871"/>
                  </a:cubicBezTo>
                  <a:close/>
                  <a:moveTo>
                    <a:pt x="10540" y="18044"/>
                  </a:moveTo>
                  <a:cubicBezTo>
                    <a:pt x="10854" y="18468"/>
                    <a:pt x="11426" y="19243"/>
                    <a:pt x="11887" y="19815"/>
                  </a:cubicBezTo>
                  <a:cubicBezTo>
                    <a:pt x="13972" y="21568"/>
                    <a:pt x="15227" y="22823"/>
                    <a:pt x="16020" y="23745"/>
                  </a:cubicBezTo>
                  <a:cubicBezTo>
                    <a:pt x="17847" y="23635"/>
                    <a:pt x="23124" y="21070"/>
                    <a:pt x="25135" y="19243"/>
                  </a:cubicBezTo>
                  <a:cubicBezTo>
                    <a:pt x="26261" y="18302"/>
                    <a:pt x="26500" y="17010"/>
                    <a:pt x="26482" y="16069"/>
                  </a:cubicBezTo>
                  <a:cubicBezTo>
                    <a:pt x="26205" y="15682"/>
                    <a:pt x="25928" y="15331"/>
                    <a:pt x="25633" y="14981"/>
                  </a:cubicBezTo>
                  <a:lnTo>
                    <a:pt x="27017" y="11678"/>
                  </a:lnTo>
                  <a:lnTo>
                    <a:pt x="24969" y="13855"/>
                  </a:lnTo>
                  <a:cubicBezTo>
                    <a:pt x="24581" y="13468"/>
                    <a:pt x="24323" y="13246"/>
                    <a:pt x="24120" y="13136"/>
                  </a:cubicBezTo>
                  <a:cubicBezTo>
                    <a:pt x="23751" y="13099"/>
                    <a:pt x="23050" y="12896"/>
                    <a:pt x="21924" y="12231"/>
                  </a:cubicBezTo>
                  <a:cubicBezTo>
                    <a:pt x="21592" y="12047"/>
                    <a:pt x="21316" y="11807"/>
                    <a:pt x="21076" y="11512"/>
                  </a:cubicBezTo>
                  <a:cubicBezTo>
                    <a:pt x="19600" y="10571"/>
                    <a:pt x="17625" y="9464"/>
                    <a:pt x="15743" y="8412"/>
                  </a:cubicBezTo>
                  <a:lnTo>
                    <a:pt x="15116" y="8061"/>
                  </a:lnTo>
                  <a:cubicBezTo>
                    <a:pt x="15614" y="7988"/>
                    <a:pt x="16131" y="7766"/>
                    <a:pt x="16518" y="7342"/>
                  </a:cubicBezTo>
                  <a:lnTo>
                    <a:pt x="15024" y="8024"/>
                  </a:lnTo>
                  <a:lnTo>
                    <a:pt x="13953" y="7416"/>
                  </a:lnTo>
                  <a:lnTo>
                    <a:pt x="13566" y="7840"/>
                  </a:lnTo>
                  <a:cubicBezTo>
                    <a:pt x="13880" y="8024"/>
                    <a:pt x="14304" y="8117"/>
                    <a:pt x="14876" y="8098"/>
                  </a:cubicBezTo>
                  <a:lnTo>
                    <a:pt x="14009" y="8486"/>
                  </a:lnTo>
                  <a:cubicBezTo>
                    <a:pt x="13621" y="8486"/>
                    <a:pt x="13234" y="8412"/>
                    <a:pt x="12883" y="8264"/>
                  </a:cubicBezTo>
                  <a:cubicBezTo>
                    <a:pt x="11850" y="7932"/>
                    <a:pt x="11499" y="7840"/>
                    <a:pt x="11130" y="7674"/>
                  </a:cubicBezTo>
                  <a:lnTo>
                    <a:pt x="9839" y="6862"/>
                  </a:lnTo>
                  <a:lnTo>
                    <a:pt x="9562" y="7157"/>
                  </a:lnTo>
                  <a:cubicBezTo>
                    <a:pt x="8547" y="8338"/>
                    <a:pt x="7514" y="9556"/>
                    <a:pt x="6499" y="10774"/>
                  </a:cubicBezTo>
                  <a:cubicBezTo>
                    <a:pt x="6610" y="10940"/>
                    <a:pt x="6702" y="11106"/>
                    <a:pt x="6739" y="11161"/>
                  </a:cubicBezTo>
                  <a:cubicBezTo>
                    <a:pt x="7016" y="11586"/>
                    <a:pt x="7219" y="12158"/>
                    <a:pt x="7348" y="12564"/>
                  </a:cubicBezTo>
                  <a:lnTo>
                    <a:pt x="7864" y="13080"/>
                  </a:lnTo>
                  <a:cubicBezTo>
                    <a:pt x="8602" y="13818"/>
                    <a:pt x="9433" y="14649"/>
                    <a:pt x="10097" y="15756"/>
                  </a:cubicBezTo>
                  <a:cubicBezTo>
                    <a:pt x="10411" y="16272"/>
                    <a:pt x="10558" y="17269"/>
                    <a:pt x="10521" y="18044"/>
                  </a:cubicBezTo>
                  <a:close/>
                  <a:moveTo>
                    <a:pt x="13861" y="7323"/>
                  </a:moveTo>
                  <a:lnTo>
                    <a:pt x="13474" y="7729"/>
                  </a:lnTo>
                  <a:lnTo>
                    <a:pt x="13584" y="7803"/>
                  </a:lnTo>
                  <a:lnTo>
                    <a:pt x="13972" y="7379"/>
                  </a:lnTo>
                  <a:lnTo>
                    <a:pt x="13880" y="7323"/>
                  </a:lnTo>
                  <a:close/>
                </a:path>
              </a:pathLst>
            </a:custGeom>
            <a:solidFill>
              <a:srgbClr val="FFFFFF"/>
            </a:solidFill>
            <a:ln w="1835" cap="flat">
              <a:noFill/>
              <a:prstDash val="solid"/>
              <a:miter/>
            </a:ln>
          </p:spPr>
          <p:txBody>
            <a:bodyPr/>
            <a:lstStyle/>
            <a:p>
              <a:endParaRPr lang="en-GB"/>
            </a:p>
          </p:txBody>
        </p:sp>
        <p:sp>
          <p:nvSpPr>
            <p:cNvPr id="1482" name="Freeform: Shape 1481">
              <a:extLst>
                <a:ext uri="{FF2B5EF4-FFF2-40B4-BE49-F238E27FC236}">
                  <a16:creationId xmlns:a16="http://schemas.microsoft.com/office/drawing/2014/main" id="{12BA577A-069E-3DC6-93EB-8B403E67E071}"/>
                </a:ext>
              </a:extLst>
            </p:cNvPr>
            <p:cNvSpPr/>
            <p:nvPr/>
          </p:nvSpPr>
          <p:spPr>
            <a:xfrm>
              <a:off x="10989316" y="5030061"/>
              <a:ext cx="24154" cy="26236"/>
            </a:xfrm>
            <a:custGeom>
              <a:avLst/>
              <a:gdLst>
                <a:gd name="csX0" fmla="*/ 2971 w 24154"/>
                <a:gd name="csY0" fmla="*/ 13543 h 26236"/>
                <a:gd name="csX1" fmla="*/ 2860 w 24154"/>
                <a:gd name="csY1" fmla="*/ 15093 h 26236"/>
                <a:gd name="csX2" fmla="*/ 2030 w 24154"/>
                <a:gd name="csY2" fmla="*/ 16772 h 26236"/>
                <a:gd name="csX3" fmla="*/ 0 w 24154"/>
                <a:gd name="csY3" fmla="*/ 19632 h 26236"/>
                <a:gd name="csX4" fmla="*/ 6569 w 24154"/>
                <a:gd name="csY4" fmla="*/ 25850 h 26236"/>
                <a:gd name="csX5" fmla="*/ 7639 w 24154"/>
                <a:gd name="csY5" fmla="*/ 26201 h 26236"/>
                <a:gd name="csX6" fmla="*/ 9189 w 24154"/>
                <a:gd name="csY6" fmla="*/ 25241 h 26236"/>
                <a:gd name="csX7" fmla="*/ 10979 w 24154"/>
                <a:gd name="csY7" fmla="*/ 24522 h 26236"/>
                <a:gd name="csX8" fmla="*/ 14079 w 24154"/>
                <a:gd name="csY8" fmla="*/ 22012 h 26236"/>
                <a:gd name="csX9" fmla="*/ 15628 w 24154"/>
                <a:gd name="csY9" fmla="*/ 22012 h 26236"/>
                <a:gd name="csX10" fmla="*/ 18618 w 24154"/>
                <a:gd name="csY10" fmla="*/ 20093 h 26236"/>
                <a:gd name="csX11" fmla="*/ 24116 w 24154"/>
                <a:gd name="csY11" fmla="*/ 14115 h 26236"/>
                <a:gd name="csX12" fmla="*/ 19577 w 24154"/>
                <a:gd name="csY12" fmla="*/ 2527 h 26236"/>
                <a:gd name="csX13" fmla="*/ 13248 w 24154"/>
                <a:gd name="csY13" fmla="*/ 18 h 26236"/>
                <a:gd name="csX14" fmla="*/ 11329 w 24154"/>
                <a:gd name="csY14" fmla="*/ 1328 h 26236"/>
                <a:gd name="csX15" fmla="*/ 9779 w 24154"/>
                <a:gd name="csY15" fmla="*/ 2287 h 26236"/>
                <a:gd name="csX16" fmla="*/ 7639 w 24154"/>
                <a:gd name="csY16" fmla="*/ 5756 h 26236"/>
                <a:gd name="csX17" fmla="*/ 6809 w 24154"/>
                <a:gd name="csY17" fmla="*/ 6587 h 26236"/>
                <a:gd name="csX18" fmla="*/ 1919 w 24154"/>
                <a:gd name="csY18" fmla="*/ 13986 h 262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4154" h="26236">
                  <a:moveTo>
                    <a:pt x="2971" y="13543"/>
                  </a:moveTo>
                  <a:cubicBezTo>
                    <a:pt x="1771" y="14502"/>
                    <a:pt x="2860" y="14502"/>
                    <a:pt x="2860" y="15093"/>
                  </a:cubicBezTo>
                  <a:cubicBezTo>
                    <a:pt x="2509" y="15573"/>
                    <a:pt x="2380" y="16163"/>
                    <a:pt x="2030" y="16772"/>
                  </a:cubicBezTo>
                  <a:cubicBezTo>
                    <a:pt x="1439" y="17731"/>
                    <a:pt x="0" y="19632"/>
                    <a:pt x="0" y="19632"/>
                  </a:cubicBezTo>
                  <a:cubicBezTo>
                    <a:pt x="2140" y="21662"/>
                    <a:pt x="4299" y="23821"/>
                    <a:pt x="6569" y="25850"/>
                  </a:cubicBezTo>
                  <a:cubicBezTo>
                    <a:pt x="6809" y="26090"/>
                    <a:pt x="7159" y="26330"/>
                    <a:pt x="7639" y="26201"/>
                  </a:cubicBezTo>
                  <a:cubicBezTo>
                    <a:pt x="8229" y="26090"/>
                    <a:pt x="8709" y="25481"/>
                    <a:pt x="9189" y="25241"/>
                  </a:cubicBezTo>
                  <a:cubicBezTo>
                    <a:pt x="9779" y="24891"/>
                    <a:pt x="10388" y="24762"/>
                    <a:pt x="10979" y="24522"/>
                  </a:cubicBezTo>
                  <a:cubicBezTo>
                    <a:pt x="11938" y="23691"/>
                    <a:pt x="13008" y="22603"/>
                    <a:pt x="14079" y="22012"/>
                  </a:cubicBezTo>
                  <a:cubicBezTo>
                    <a:pt x="14669" y="21772"/>
                    <a:pt x="15038" y="22252"/>
                    <a:pt x="15628" y="22012"/>
                  </a:cubicBezTo>
                  <a:cubicBezTo>
                    <a:pt x="16699" y="21533"/>
                    <a:pt x="18618" y="20093"/>
                    <a:pt x="18618" y="20093"/>
                  </a:cubicBezTo>
                  <a:cubicBezTo>
                    <a:pt x="25666" y="12805"/>
                    <a:pt x="23876" y="16993"/>
                    <a:pt x="24116" y="14115"/>
                  </a:cubicBezTo>
                  <a:cubicBezTo>
                    <a:pt x="24227" y="11126"/>
                    <a:pt x="21496" y="4926"/>
                    <a:pt x="19577" y="2527"/>
                  </a:cubicBezTo>
                  <a:cubicBezTo>
                    <a:pt x="17787" y="258"/>
                    <a:pt x="15167" y="-93"/>
                    <a:pt x="13248" y="18"/>
                  </a:cubicBezTo>
                  <a:cubicBezTo>
                    <a:pt x="12658" y="368"/>
                    <a:pt x="11938" y="848"/>
                    <a:pt x="11329" y="1328"/>
                  </a:cubicBezTo>
                  <a:cubicBezTo>
                    <a:pt x="10850" y="1679"/>
                    <a:pt x="10259" y="1808"/>
                    <a:pt x="9779" y="2287"/>
                  </a:cubicBezTo>
                  <a:cubicBezTo>
                    <a:pt x="7639" y="4317"/>
                    <a:pt x="8949" y="3727"/>
                    <a:pt x="7639" y="5756"/>
                  </a:cubicBezTo>
                  <a:cubicBezTo>
                    <a:pt x="7399" y="6107"/>
                    <a:pt x="7750" y="5166"/>
                    <a:pt x="6809" y="6587"/>
                  </a:cubicBezTo>
                  <a:cubicBezTo>
                    <a:pt x="5849" y="7897"/>
                    <a:pt x="3469" y="11476"/>
                    <a:pt x="1919" y="13986"/>
                  </a:cubicBezTo>
                </a:path>
              </a:pathLst>
            </a:custGeom>
            <a:solidFill>
              <a:srgbClr val="FFFFFF"/>
            </a:solidFill>
            <a:ln w="1835" cap="flat">
              <a:noFill/>
              <a:prstDash val="solid"/>
              <a:miter/>
            </a:ln>
          </p:spPr>
          <p:txBody>
            <a:bodyPr/>
            <a:lstStyle/>
            <a:p>
              <a:endParaRPr lang="en-GB"/>
            </a:p>
          </p:txBody>
        </p:sp>
        <p:sp>
          <p:nvSpPr>
            <p:cNvPr id="1483" name="Freeform: Shape 1482">
              <a:extLst>
                <a:ext uri="{FF2B5EF4-FFF2-40B4-BE49-F238E27FC236}">
                  <a16:creationId xmlns:a16="http://schemas.microsoft.com/office/drawing/2014/main" id="{28FC0911-AAC1-6299-EA1D-CA3AC93FCDF1}"/>
                </a:ext>
              </a:extLst>
            </p:cNvPr>
            <p:cNvSpPr/>
            <p:nvPr/>
          </p:nvSpPr>
          <p:spPr>
            <a:xfrm>
              <a:off x="10986336" y="5027109"/>
              <a:ext cx="30119" cy="32179"/>
            </a:xfrm>
            <a:custGeom>
              <a:avLst/>
              <a:gdLst>
                <a:gd name="csX0" fmla="*/ 10342 w 30119"/>
                <a:gd name="csY0" fmla="*/ 32179 h 32179"/>
                <a:gd name="csX1" fmla="*/ 7445 w 30119"/>
                <a:gd name="csY1" fmla="*/ 30888 h 32179"/>
                <a:gd name="csX2" fmla="*/ 3091 w 30119"/>
                <a:gd name="csY2" fmla="*/ 26791 h 32179"/>
                <a:gd name="csX3" fmla="*/ 932 w 30119"/>
                <a:gd name="csY3" fmla="*/ 24725 h 32179"/>
                <a:gd name="csX4" fmla="*/ 600 w 30119"/>
                <a:gd name="csY4" fmla="*/ 20776 h 32179"/>
                <a:gd name="csX5" fmla="*/ 2500 w 30119"/>
                <a:gd name="csY5" fmla="*/ 18101 h 32179"/>
                <a:gd name="csX6" fmla="*/ 2519 w 30119"/>
                <a:gd name="csY6" fmla="*/ 18027 h 32179"/>
                <a:gd name="csX7" fmla="*/ 2426 w 30119"/>
                <a:gd name="csY7" fmla="*/ 16957 h 32179"/>
                <a:gd name="csX8" fmla="*/ 2795 w 30119"/>
                <a:gd name="csY8" fmla="*/ 15665 h 32179"/>
                <a:gd name="csX9" fmla="*/ 2334 w 30119"/>
                <a:gd name="csY9" fmla="*/ 15388 h 32179"/>
                <a:gd name="csX10" fmla="*/ 7353 w 30119"/>
                <a:gd name="csY10" fmla="*/ 7805 h 32179"/>
                <a:gd name="csX11" fmla="*/ 8257 w 30119"/>
                <a:gd name="csY11" fmla="*/ 6642 h 32179"/>
                <a:gd name="csX12" fmla="*/ 10693 w 30119"/>
                <a:gd name="csY12" fmla="*/ 3081 h 32179"/>
                <a:gd name="csX13" fmla="*/ 12335 w 30119"/>
                <a:gd name="csY13" fmla="*/ 1992 h 32179"/>
                <a:gd name="csX14" fmla="*/ 14697 w 30119"/>
                <a:gd name="csY14" fmla="*/ 424 h 32179"/>
                <a:gd name="csX15" fmla="*/ 16007 w 30119"/>
                <a:gd name="csY15" fmla="*/ 36 h 32179"/>
                <a:gd name="csX16" fmla="*/ 24882 w 30119"/>
                <a:gd name="csY16" fmla="*/ 3671 h 32179"/>
                <a:gd name="csX17" fmla="*/ 30067 w 30119"/>
                <a:gd name="csY17" fmla="*/ 17215 h 32179"/>
                <a:gd name="csX18" fmla="*/ 28222 w 30119"/>
                <a:gd name="csY18" fmla="*/ 21090 h 32179"/>
                <a:gd name="csX19" fmla="*/ 23738 w 30119"/>
                <a:gd name="csY19" fmla="*/ 25131 h 32179"/>
                <a:gd name="csX20" fmla="*/ 19826 w 30119"/>
                <a:gd name="csY20" fmla="*/ 27695 h 32179"/>
                <a:gd name="csX21" fmla="*/ 17852 w 30119"/>
                <a:gd name="csY21" fmla="*/ 27991 h 32179"/>
                <a:gd name="csX22" fmla="*/ 16579 w 30119"/>
                <a:gd name="csY22" fmla="*/ 29116 h 32179"/>
                <a:gd name="csX23" fmla="*/ 15933 w 30119"/>
                <a:gd name="csY23" fmla="*/ 29707 h 32179"/>
                <a:gd name="csX24" fmla="*/ 15029 w 30119"/>
                <a:gd name="csY24" fmla="*/ 30260 h 32179"/>
                <a:gd name="csX25" fmla="*/ 13516 w 30119"/>
                <a:gd name="csY25" fmla="*/ 30851 h 32179"/>
                <a:gd name="csX26" fmla="*/ 11172 w 30119"/>
                <a:gd name="csY26" fmla="*/ 32068 h 32179"/>
                <a:gd name="csX27" fmla="*/ 10324 w 30119"/>
                <a:gd name="csY27" fmla="*/ 32179 h 32179"/>
                <a:gd name="csX28" fmla="*/ 11486 w 30119"/>
                <a:gd name="csY28" fmla="*/ 26514 h 32179"/>
                <a:gd name="csX29" fmla="*/ 11541 w 30119"/>
                <a:gd name="csY29" fmla="*/ 26570 h 32179"/>
                <a:gd name="csX30" fmla="*/ 11486 w 30119"/>
                <a:gd name="csY30" fmla="*/ 26514 h 32179"/>
                <a:gd name="csX31" fmla="*/ 6929 w 30119"/>
                <a:gd name="csY31" fmla="*/ 22215 h 32179"/>
                <a:gd name="csX32" fmla="*/ 7242 w 30119"/>
                <a:gd name="csY32" fmla="*/ 22510 h 32179"/>
                <a:gd name="csX33" fmla="*/ 10582 w 30119"/>
                <a:gd name="csY33" fmla="*/ 25684 h 32179"/>
                <a:gd name="csX34" fmla="*/ 10822 w 30119"/>
                <a:gd name="csY34" fmla="*/ 25518 h 32179"/>
                <a:gd name="csX35" fmla="*/ 12483 w 30119"/>
                <a:gd name="csY35" fmla="*/ 24835 h 32179"/>
                <a:gd name="csX36" fmla="*/ 12593 w 30119"/>
                <a:gd name="csY36" fmla="*/ 24706 h 32179"/>
                <a:gd name="csX37" fmla="*/ 15638 w 30119"/>
                <a:gd name="csY37" fmla="*/ 22344 h 32179"/>
                <a:gd name="csX38" fmla="*/ 17963 w 30119"/>
                <a:gd name="csY38" fmla="*/ 21938 h 32179"/>
                <a:gd name="csX39" fmla="*/ 19826 w 30119"/>
                <a:gd name="csY39" fmla="*/ 20647 h 32179"/>
                <a:gd name="csX40" fmla="*/ 24144 w 30119"/>
                <a:gd name="csY40" fmla="*/ 16643 h 32179"/>
                <a:gd name="csX41" fmla="*/ 20251 w 30119"/>
                <a:gd name="csY41" fmla="*/ 7362 h 32179"/>
                <a:gd name="csX42" fmla="*/ 17132 w 30119"/>
                <a:gd name="csY42" fmla="*/ 5959 h 32179"/>
                <a:gd name="csX43" fmla="*/ 16191 w 30119"/>
                <a:gd name="csY43" fmla="*/ 6642 h 32179"/>
                <a:gd name="csX44" fmla="*/ 15010 w 30119"/>
                <a:gd name="csY44" fmla="*/ 7362 h 32179"/>
                <a:gd name="csX45" fmla="*/ 14106 w 30119"/>
                <a:gd name="csY45" fmla="*/ 8192 h 32179"/>
                <a:gd name="csX46" fmla="*/ 13147 w 30119"/>
                <a:gd name="csY46" fmla="*/ 10351 h 32179"/>
                <a:gd name="csX47" fmla="*/ 12280 w 30119"/>
                <a:gd name="csY47" fmla="*/ 11237 h 32179"/>
                <a:gd name="csX48" fmla="*/ 8423 w 30119"/>
                <a:gd name="csY48" fmla="*/ 17012 h 32179"/>
                <a:gd name="csX49" fmla="*/ 8848 w 30119"/>
                <a:gd name="csY49" fmla="*/ 18045 h 32179"/>
                <a:gd name="csX50" fmla="*/ 8276 w 30119"/>
                <a:gd name="csY50" fmla="*/ 19798 h 32179"/>
                <a:gd name="csX51" fmla="*/ 7611 w 30119"/>
                <a:gd name="csY51" fmla="*/ 21219 h 32179"/>
                <a:gd name="csX52" fmla="*/ 6947 w 30119"/>
                <a:gd name="csY52" fmla="*/ 22215 h 32179"/>
                <a:gd name="csX53" fmla="*/ 7464 w 30119"/>
                <a:gd name="csY53" fmla="*/ 18470 h 32179"/>
                <a:gd name="csX54" fmla="*/ 7759 w 30119"/>
                <a:gd name="csY54" fmla="*/ 18857 h 32179"/>
                <a:gd name="csX55" fmla="*/ 7814 w 30119"/>
                <a:gd name="csY55" fmla="*/ 18802 h 32179"/>
                <a:gd name="csX56" fmla="*/ 7482 w 30119"/>
                <a:gd name="csY56" fmla="*/ 18396 h 32179"/>
                <a:gd name="csX57" fmla="*/ 7464 w 30119"/>
                <a:gd name="csY57" fmla="*/ 18451 h 32179"/>
                <a:gd name="csX58" fmla="*/ 7501 w 30119"/>
                <a:gd name="csY58" fmla="*/ 18414 h 32179"/>
                <a:gd name="csX59" fmla="*/ 7833 w 30119"/>
                <a:gd name="csY59" fmla="*/ 18820 h 32179"/>
                <a:gd name="csX60" fmla="*/ 8386 w 30119"/>
                <a:gd name="csY60" fmla="*/ 17030 h 32179"/>
                <a:gd name="csX61" fmla="*/ 7501 w 30119"/>
                <a:gd name="csY61" fmla="*/ 18414 h 32179"/>
                <a:gd name="csX62" fmla="*/ 7777 w 30119"/>
                <a:gd name="csY62" fmla="*/ 15536 h 32179"/>
                <a:gd name="csX63" fmla="*/ 8368 w 30119"/>
                <a:gd name="csY63" fmla="*/ 16975 h 32179"/>
                <a:gd name="csX64" fmla="*/ 7777 w 30119"/>
                <a:gd name="csY64" fmla="*/ 15536 h 321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Lst>
              <a:rect l="l" t="t" r="r" b="b"/>
              <a:pathLst>
                <a:path w="30119" h="32179">
                  <a:moveTo>
                    <a:pt x="10342" y="32179"/>
                  </a:moveTo>
                  <a:cubicBezTo>
                    <a:pt x="9346" y="32179"/>
                    <a:pt x="8294" y="31755"/>
                    <a:pt x="7445" y="30888"/>
                  </a:cubicBezTo>
                  <a:cubicBezTo>
                    <a:pt x="6043" y="29633"/>
                    <a:pt x="4548" y="28212"/>
                    <a:pt x="3091" y="26791"/>
                  </a:cubicBezTo>
                  <a:lnTo>
                    <a:pt x="932" y="24725"/>
                  </a:lnTo>
                  <a:cubicBezTo>
                    <a:pt x="-157" y="23691"/>
                    <a:pt x="-323" y="21975"/>
                    <a:pt x="600" y="20776"/>
                  </a:cubicBezTo>
                  <a:cubicBezTo>
                    <a:pt x="600" y="20776"/>
                    <a:pt x="1928" y="18986"/>
                    <a:pt x="2500" y="18101"/>
                  </a:cubicBezTo>
                  <a:cubicBezTo>
                    <a:pt x="2500" y="18082"/>
                    <a:pt x="2500" y="18045"/>
                    <a:pt x="2519" y="18027"/>
                  </a:cubicBezTo>
                  <a:cubicBezTo>
                    <a:pt x="2426" y="17695"/>
                    <a:pt x="2408" y="17326"/>
                    <a:pt x="2426" y="16957"/>
                  </a:cubicBezTo>
                  <a:cubicBezTo>
                    <a:pt x="2463" y="16458"/>
                    <a:pt x="2592" y="16034"/>
                    <a:pt x="2795" y="15665"/>
                  </a:cubicBezTo>
                  <a:lnTo>
                    <a:pt x="2334" y="15388"/>
                  </a:lnTo>
                  <a:cubicBezTo>
                    <a:pt x="3939" y="12823"/>
                    <a:pt x="6375" y="9152"/>
                    <a:pt x="7353" y="7805"/>
                  </a:cubicBezTo>
                  <a:cubicBezTo>
                    <a:pt x="7556" y="7472"/>
                    <a:pt x="7851" y="7048"/>
                    <a:pt x="8257" y="6642"/>
                  </a:cubicBezTo>
                  <a:cubicBezTo>
                    <a:pt x="8792" y="5111"/>
                    <a:pt x="9327" y="4373"/>
                    <a:pt x="10693" y="3081"/>
                  </a:cubicBezTo>
                  <a:cubicBezTo>
                    <a:pt x="11265" y="2509"/>
                    <a:pt x="11911" y="2195"/>
                    <a:pt x="12335" y="1992"/>
                  </a:cubicBezTo>
                  <a:cubicBezTo>
                    <a:pt x="13165" y="1402"/>
                    <a:pt x="13996" y="830"/>
                    <a:pt x="14697" y="424"/>
                  </a:cubicBezTo>
                  <a:cubicBezTo>
                    <a:pt x="15103" y="184"/>
                    <a:pt x="15545" y="55"/>
                    <a:pt x="16007" y="36"/>
                  </a:cubicBezTo>
                  <a:cubicBezTo>
                    <a:pt x="19568" y="-240"/>
                    <a:pt x="22834" y="1070"/>
                    <a:pt x="24882" y="3671"/>
                  </a:cubicBezTo>
                  <a:cubicBezTo>
                    <a:pt x="27059" y="6402"/>
                    <a:pt x="30214" y="13303"/>
                    <a:pt x="30067" y="17215"/>
                  </a:cubicBezTo>
                  <a:cubicBezTo>
                    <a:pt x="30344" y="18599"/>
                    <a:pt x="29495" y="20536"/>
                    <a:pt x="28222" y="21090"/>
                  </a:cubicBezTo>
                  <a:cubicBezTo>
                    <a:pt x="28185" y="21108"/>
                    <a:pt x="27188" y="21588"/>
                    <a:pt x="23738" y="25131"/>
                  </a:cubicBezTo>
                  <a:cubicBezTo>
                    <a:pt x="23018" y="25721"/>
                    <a:pt x="21136" y="27105"/>
                    <a:pt x="19826" y="27695"/>
                  </a:cubicBezTo>
                  <a:cubicBezTo>
                    <a:pt x="19051" y="28009"/>
                    <a:pt x="18369" y="27991"/>
                    <a:pt x="17852" y="27991"/>
                  </a:cubicBezTo>
                  <a:cubicBezTo>
                    <a:pt x="17520" y="28267"/>
                    <a:pt x="17022" y="28710"/>
                    <a:pt x="16579" y="29116"/>
                  </a:cubicBezTo>
                  <a:lnTo>
                    <a:pt x="15933" y="29707"/>
                  </a:lnTo>
                  <a:cubicBezTo>
                    <a:pt x="15656" y="29946"/>
                    <a:pt x="15361" y="30131"/>
                    <a:pt x="15029" y="30260"/>
                  </a:cubicBezTo>
                  <a:cubicBezTo>
                    <a:pt x="14973" y="30279"/>
                    <a:pt x="13571" y="30814"/>
                    <a:pt x="13516" y="30851"/>
                  </a:cubicBezTo>
                  <a:cubicBezTo>
                    <a:pt x="12999" y="31275"/>
                    <a:pt x="12261" y="31865"/>
                    <a:pt x="11172" y="32068"/>
                  </a:cubicBezTo>
                  <a:cubicBezTo>
                    <a:pt x="10896" y="32142"/>
                    <a:pt x="10619" y="32179"/>
                    <a:pt x="10324" y="32179"/>
                  </a:cubicBezTo>
                  <a:close/>
                  <a:moveTo>
                    <a:pt x="11486" y="26514"/>
                  </a:moveTo>
                  <a:cubicBezTo>
                    <a:pt x="11486" y="26514"/>
                    <a:pt x="11523" y="26551"/>
                    <a:pt x="11541" y="26570"/>
                  </a:cubicBezTo>
                  <a:cubicBezTo>
                    <a:pt x="11541" y="26570"/>
                    <a:pt x="11505" y="26533"/>
                    <a:pt x="11486" y="26514"/>
                  </a:cubicBezTo>
                  <a:close/>
                  <a:moveTo>
                    <a:pt x="6929" y="22215"/>
                  </a:moveTo>
                  <a:lnTo>
                    <a:pt x="7242" y="22510"/>
                  </a:lnTo>
                  <a:cubicBezTo>
                    <a:pt x="8331" y="23562"/>
                    <a:pt x="9438" y="24632"/>
                    <a:pt x="10582" y="25684"/>
                  </a:cubicBezTo>
                  <a:cubicBezTo>
                    <a:pt x="10693" y="25610"/>
                    <a:pt x="10767" y="25537"/>
                    <a:pt x="10822" y="25518"/>
                  </a:cubicBezTo>
                  <a:cubicBezTo>
                    <a:pt x="11357" y="25204"/>
                    <a:pt x="11984" y="25001"/>
                    <a:pt x="12483" y="24835"/>
                  </a:cubicBezTo>
                  <a:lnTo>
                    <a:pt x="12593" y="24706"/>
                  </a:lnTo>
                  <a:cubicBezTo>
                    <a:pt x="13479" y="23894"/>
                    <a:pt x="14475" y="22990"/>
                    <a:pt x="15638" y="22344"/>
                  </a:cubicBezTo>
                  <a:cubicBezTo>
                    <a:pt x="16634" y="21920"/>
                    <a:pt x="17428" y="21883"/>
                    <a:pt x="17963" y="21938"/>
                  </a:cubicBezTo>
                  <a:cubicBezTo>
                    <a:pt x="18461" y="21643"/>
                    <a:pt x="19254" y="21090"/>
                    <a:pt x="19826" y="20647"/>
                  </a:cubicBezTo>
                  <a:cubicBezTo>
                    <a:pt x="21837" y="18543"/>
                    <a:pt x="23203" y="17344"/>
                    <a:pt x="24144" y="16643"/>
                  </a:cubicBezTo>
                  <a:cubicBezTo>
                    <a:pt x="24070" y="14669"/>
                    <a:pt x="21948" y="9465"/>
                    <a:pt x="20251" y="7362"/>
                  </a:cubicBezTo>
                  <a:cubicBezTo>
                    <a:pt x="19531" y="6458"/>
                    <a:pt x="18498" y="5996"/>
                    <a:pt x="17132" y="5959"/>
                  </a:cubicBezTo>
                  <a:cubicBezTo>
                    <a:pt x="16819" y="6181"/>
                    <a:pt x="16487" y="6421"/>
                    <a:pt x="16191" y="6642"/>
                  </a:cubicBezTo>
                  <a:cubicBezTo>
                    <a:pt x="16025" y="6771"/>
                    <a:pt x="15195" y="7251"/>
                    <a:pt x="15010" y="7362"/>
                  </a:cubicBezTo>
                  <a:cubicBezTo>
                    <a:pt x="14457" y="7786"/>
                    <a:pt x="14235" y="8008"/>
                    <a:pt x="14106" y="8192"/>
                  </a:cubicBezTo>
                  <a:cubicBezTo>
                    <a:pt x="14106" y="8469"/>
                    <a:pt x="13903" y="9188"/>
                    <a:pt x="13147" y="10351"/>
                  </a:cubicBezTo>
                  <a:cubicBezTo>
                    <a:pt x="12907" y="10701"/>
                    <a:pt x="12630" y="10997"/>
                    <a:pt x="12280" y="11237"/>
                  </a:cubicBezTo>
                  <a:cubicBezTo>
                    <a:pt x="11246" y="12713"/>
                    <a:pt x="9696" y="15001"/>
                    <a:pt x="8423" y="17012"/>
                  </a:cubicBezTo>
                  <a:lnTo>
                    <a:pt x="8848" y="18045"/>
                  </a:lnTo>
                  <a:cubicBezTo>
                    <a:pt x="8848" y="18673"/>
                    <a:pt x="8645" y="19300"/>
                    <a:pt x="8276" y="19798"/>
                  </a:cubicBezTo>
                  <a:cubicBezTo>
                    <a:pt x="7999" y="20444"/>
                    <a:pt x="7833" y="20831"/>
                    <a:pt x="7611" y="21219"/>
                  </a:cubicBezTo>
                  <a:cubicBezTo>
                    <a:pt x="7427" y="21496"/>
                    <a:pt x="7187" y="21846"/>
                    <a:pt x="6947" y="22215"/>
                  </a:cubicBezTo>
                  <a:close/>
                  <a:moveTo>
                    <a:pt x="7464" y="18470"/>
                  </a:moveTo>
                  <a:lnTo>
                    <a:pt x="7759" y="18857"/>
                  </a:lnTo>
                  <a:lnTo>
                    <a:pt x="7814" y="18802"/>
                  </a:lnTo>
                  <a:lnTo>
                    <a:pt x="7482" y="18396"/>
                  </a:lnTo>
                  <a:cubicBezTo>
                    <a:pt x="7482" y="18396"/>
                    <a:pt x="7464" y="18433"/>
                    <a:pt x="7464" y="18451"/>
                  </a:cubicBezTo>
                  <a:close/>
                  <a:moveTo>
                    <a:pt x="7501" y="18414"/>
                  </a:moveTo>
                  <a:lnTo>
                    <a:pt x="7833" y="18820"/>
                  </a:lnTo>
                  <a:cubicBezTo>
                    <a:pt x="8220" y="18414"/>
                    <a:pt x="8442" y="17732"/>
                    <a:pt x="8386" y="17030"/>
                  </a:cubicBezTo>
                  <a:cubicBezTo>
                    <a:pt x="8073" y="17510"/>
                    <a:pt x="7777" y="17971"/>
                    <a:pt x="7501" y="18414"/>
                  </a:cubicBezTo>
                  <a:close/>
                  <a:moveTo>
                    <a:pt x="7777" y="15536"/>
                  </a:moveTo>
                  <a:lnTo>
                    <a:pt x="8368" y="16975"/>
                  </a:lnTo>
                  <a:cubicBezTo>
                    <a:pt x="8312" y="16458"/>
                    <a:pt x="8128" y="15942"/>
                    <a:pt x="7777" y="15536"/>
                  </a:cubicBezTo>
                  <a:close/>
                </a:path>
              </a:pathLst>
            </a:custGeom>
            <a:solidFill>
              <a:srgbClr val="FFFFFF"/>
            </a:solidFill>
            <a:ln w="1835" cap="flat">
              <a:noFill/>
              <a:prstDash val="solid"/>
              <a:miter/>
            </a:ln>
          </p:spPr>
          <p:txBody>
            <a:bodyPr/>
            <a:lstStyle/>
            <a:p>
              <a:endParaRPr lang="en-GB"/>
            </a:p>
          </p:txBody>
        </p:sp>
        <p:sp>
          <p:nvSpPr>
            <p:cNvPr id="1484" name="Freeform: Shape 1483">
              <a:extLst>
                <a:ext uri="{FF2B5EF4-FFF2-40B4-BE49-F238E27FC236}">
                  <a16:creationId xmlns:a16="http://schemas.microsoft.com/office/drawing/2014/main" id="{D6CD6A8A-03CA-5696-E712-2A62146842A6}"/>
                </a:ext>
              </a:extLst>
            </p:cNvPr>
            <p:cNvSpPr/>
            <p:nvPr/>
          </p:nvSpPr>
          <p:spPr>
            <a:xfrm>
              <a:off x="11026667" y="4970596"/>
              <a:ext cx="19437" cy="25983"/>
            </a:xfrm>
            <a:custGeom>
              <a:avLst/>
              <a:gdLst>
                <a:gd name="csX0" fmla="*/ 2892 w 19437"/>
                <a:gd name="csY0" fmla="*/ 19498 h 25983"/>
                <a:gd name="csX1" fmla="*/ 3962 w 19437"/>
                <a:gd name="csY1" fmla="*/ 20698 h 25983"/>
                <a:gd name="csX2" fmla="*/ 4553 w 19437"/>
                <a:gd name="csY2" fmla="*/ 22487 h 25983"/>
                <a:gd name="csX3" fmla="*/ 5032 w 19437"/>
                <a:gd name="csY3" fmla="*/ 25956 h 25983"/>
                <a:gd name="csX4" fmla="*/ 14111 w 19437"/>
                <a:gd name="csY4" fmla="*/ 25846 h 25983"/>
                <a:gd name="csX5" fmla="*/ 15181 w 19437"/>
                <a:gd name="csY5" fmla="*/ 25255 h 25983"/>
                <a:gd name="csX6" fmla="*/ 15531 w 19437"/>
                <a:gd name="csY6" fmla="*/ 23576 h 25983"/>
                <a:gd name="csX7" fmla="*/ 16362 w 19437"/>
                <a:gd name="csY7" fmla="*/ 21897 h 25983"/>
                <a:gd name="csX8" fmla="*/ 16841 w 19437"/>
                <a:gd name="csY8" fmla="*/ 17838 h 25983"/>
                <a:gd name="csX9" fmla="*/ 18041 w 19437"/>
                <a:gd name="csY9" fmla="*/ 16767 h 25983"/>
                <a:gd name="csX10" fmla="*/ 18871 w 19437"/>
                <a:gd name="csY10" fmla="*/ 13298 h 25983"/>
                <a:gd name="csX11" fmla="*/ 18521 w 19437"/>
                <a:gd name="csY11" fmla="*/ 5180 h 25983"/>
                <a:gd name="csX12" fmla="*/ 7302 w 19437"/>
                <a:gd name="csY12" fmla="*/ 50 h 25983"/>
                <a:gd name="csX13" fmla="*/ 973 w 19437"/>
                <a:gd name="csY13" fmla="*/ 2670 h 25983"/>
                <a:gd name="csX14" fmla="*/ 493 w 19437"/>
                <a:gd name="csY14" fmla="*/ 4940 h 25983"/>
                <a:gd name="csX15" fmla="*/ 14 w 19437"/>
                <a:gd name="csY15" fmla="*/ 6619 h 25983"/>
                <a:gd name="csX16" fmla="*/ 973 w 19437"/>
                <a:gd name="csY16" fmla="*/ 10808 h 25983"/>
                <a:gd name="csX17" fmla="*/ 862 w 19437"/>
                <a:gd name="csY17" fmla="*/ 11878 h 25983"/>
                <a:gd name="csX18" fmla="*/ 2541 w 19437"/>
                <a:gd name="csY18" fmla="*/ 20716 h 2598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9437" h="25983">
                  <a:moveTo>
                    <a:pt x="2892" y="19498"/>
                  </a:moveTo>
                  <a:cubicBezTo>
                    <a:pt x="2892" y="21048"/>
                    <a:pt x="3612" y="20329"/>
                    <a:pt x="3962" y="20698"/>
                  </a:cubicBezTo>
                  <a:cubicBezTo>
                    <a:pt x="4073" y="21288"/>
                    <a:pt x="4442" y="21897"/>
                    <a:pt x="4553" y="22487"/>
                  </a:cubicBezTo>
                  <a:cubicBezTo>
                    <a:pt x="4793" y="23558"/>
                    <a:pt x="5032" y="25956"/>
                    <a:pt x="5032" y="25956"/>
                  </a:cubicBezTo>
                  <a:cubicBezTo>
                    <a:pt x="8132" y="25956"/>
                    <a:pt x="11121" y="26067"/>
                    <a:pt x="14111" y="25846"/>
                  </a:cubicBezTo>
                  <a:cubicBezTo>
                    <a:pt x="14461" y="25846"/>
                    <a:pt x="14941" y="25735"/>
                    <a:pt x="15181" y="25255"/>
                  </a:cubicBezTo>
                  <a:cubicBezTo>
                    <a:pt x="15421" y="24905"/>
                    <a:pt x="15421" y="24185"/>
                    <a:pt x="15531" y="23576"/>
                  </a:cubicBezTo>
                  <a:cubicBezTo>
                    <a:pt x="15771" y="22986"/>
                    <a:pt x="16122" y="22506"/>
                    <a:pt x="16362" y="21897"/>
                  </a:cubicBezTo>
                  <a:cubicBezTo>
                    <a:pt x="16472" y="20587"/>
                    <a:pt x="16472" y="19037"/>
                    <a:pt x="16841" y="17838"/>
                  </a:cubicBezTo>
                  <a:cubicBezTo>
                    <a:pt x="17081" y="17247"/>
                    <a:pt x="17801" y="17358"/>
                    <a:pt x="18041" y="16767"/>
                  </a:cubicBezTo>
                  <a:cubicBezTo>
                    <a:pt x="18391" y="15697"/>
                    <a:pt x="18871" y="13298"/>
                    <a:pt x="18871" y="13298"/>
                  </a:cubicBezTo>
                  <a:cubicBezTo>
                    <a:pt x="18760" y="3150"/>
                    <a:pt x="20421" y="7449"/>
                    <a:pt x="18521" y="5180"/>
                  </a:cubicBezTo>
                  <a:cubicBezTo>
                    <a:pt x="16602" y="3039"/>
                    <a:pt x="10273" y="530"/>
                    <a:pt x="7302" y="50"/>
                  </a:cubicBezTo>
                  <a:cubicBezTo>
                    <a:pt x="4442" y="-300"/>
                    <a:pt x="2283" y="1250"/>
                    <a:pt x="973" y="2670"/>
                  </a:cubicBezTo>
                  <a:cubicBezTo>
                    <a:pt x="862" y="3390"/>
                    <a:pt x="622" y="4220"/>
                    <a:pt x="493" y="4940"/>
                  </a:cubicBezTo>
                  <a:cubicBezTo>
                    <a:pt x="383" y="5530"/>
                    <a:pt x="143" y="6010"/>
                    <a:pt x="14" y="6619"/>
                  </a:cubicBezTo>
                  <a:cubicBezTo>
                    <a:pt x="-97" y="9608"/>
                    <a:pt x="493" y="8409"/>
                    <a:pt x="973" y="10808"/>
                  </a:cubicBezTo>
                  <a:cubicBezTo>
                    <a:pt x="973" y="11158"/>
                    <a:pt x="622" y="10217"/>
                    <a:pt x="862" y="11878"/>
                  </a:cubicBezTo>
                  <a:cubicBezTo>
                    <a:pt x="1102" y="13538"/>
                    <a:pt x="1932" y="17727"/>
                    <a:pt x="2541" y="20716"/>
                  </a:cubicBezTo>
                </a:path>
              </a:pathLst>
            </a:custGeom>
            <a:solidFill>
              <a:srgbClr val="FFFFFF"/>
            </a:solidFill>
            <a:ln w="1835" cap="flat">
              <a:noFill/>
              <a:prstDash val="solid"/>
              <a:miter/>
            </a:ln>
          </p:spPr>
          <p:txBody>
            <a:bodyPr/>
            <a:lstStyle/>
            <a:p>
              <a:endParaRPr lang="en-GB"/>
            </a:p>
          </p:txBody>
        </p:sp>
        <p:sp>
          <p:nvSpPr>
            <p:cNvPr id="1485" name="Freeform: Shape 1484">
              <a:extLst>
                <a:ext uri="{FF2B5EF4-FFF2-40B4-BE49-F238E27FC236}">
                  <a16:creationId xmlns:a16="http://schemas.microsoft.com/office/drawing/2014/main" id="{5FEB06EE-565D-9031-C147-6259E665B0EA}"/>
                </a:ext>
              </a:extLst>
            </p:cNvPr>
            <p:cNvSpPr/>
            <p:nvPr/>
          </p:nvSpPr>
          <p:spPr>
            <a:xfrm>
              <a:off x="11023688" y="4967593"/>
              <a:ext cx="25345" cy="31967"/>
            </a:xfrm>
            <a:custGeom>
              <a:avLst/>
              <a:gdLst>
                <a:gd name="csX0" fmla="*/ 12717 w 25345"/>
                <a:gd name="csY0" fmla="*/ 31967 h 31967"/>
                <a:gd name="csX1" fmla="*/ 10355 w 25345"/>
                <a:gd name="csY1" fmla="*/ 31949 h 31967"/>
                <a:gd name="csX2" fmla="*/ 8012 w 25345"/>
                <a:gd name="csY2" fmla="*/ 31949 h 31967"/>
                <a:gd name="csX3" fmla="*/ 5041 w 25345"/>
                <a:gd name="csY3" fmla="*/ 29255 h 31967"/>
                <a:gd name="csX4" fmla="*/ 4617 w 25345"/>
                <a:gd name="csY4" fmla="*/ 26118 h 31967"/>
                <a:gd name="csX5" fmla="*/ 4580 w 25345"/>
                <a:gd name="csY5" fmla="*/ 26044 h 31967"/>
                <a:gd name="csX6" fmla="*/ 3122 w 25345"/>
                <a:gd name="csY6" fmla="*/ 24199 h 31967"/>
                <a:gd name="csX7" fmla="*/ 2569 w 25345"/>
                <a:gd name="csY7" fmla="*/ 24310 h 31967"/>
                <a:gd name="csX8" fmla="*/ 871 w 25345"/>
                <a:gd name="csY8" fmla="*/ 15306 h 31967"/>
                <a:gd name="csX9" fmla="*/ 797 w 25345"/>
                <a:gd name="csY9" fmla="*/ 13645 h 31967"/>
                <a:gd name="csX10" fmla="*/ 779 w 25345"/>
                <a:gd name="csY10" fmla="*/ 13645 h 31967"/>
                <a:gd name="csX11" fmla="*/ 22 w 25345"/>
                <a:gd name="csY11" fmla="*/ 9475 h 31967"/>
                <a:gd name="csX12" fmla="*/ 410 w 25345"/>
                <a:gd name="csY12" fmla="*/ 7796 h 31967"/>
                <a:gd name="csX13" fmla="*/ 816 w 25345"/>
                <a:gd name="csY13" fmla="*/ 6061 h 31967"/>
                <a:gd name="csX14" fmla="*/ 1019 w 25345"/>
                <a:gd name="csY14" fmla="*/ 5120 h 31967"/>
                <a:gd name="csX15" fmla="*/ 1757 w 25345"/>
                <a:gd name="csY15" fmla="*/ 3626 h 31967"/>
                <a:gd name="csX16" fmla="*/ 10650 w 25345"/>
                <a:gd name="csY16" fmla="*/ 65 h 31967"/>
                <a:gd name="csX17" fmla="*/ 23751 w 25345"/>
                <a:gd name="csY17" fmla="*/ 6190 h 31967"/>
                <a:gd name="csX18" fmla="*/ 25190 w 25345"/>
                <a:gd name="csY18" fmla="*/ 10194 h 31967"/>
                <a:gd name="csX19" fmla="*/ 24858 w 25345"/>
                <a:gd name="csY19" fmla="*/ 16247 h 31967"/>
                <a:gd name="csX20" fmla="*/ 23862 w 25345"/>
                <a:gd name="csY20" fmla="*/ 20693 h 31967"/>
                <a:gd name="csX21" fmla="*/ 22515 w 25345"/>
                <a:gd name="csY21" fmla="*/ 22483 h 31967"/>
                <a:gd name="csX22" fmla="*/ 22404 w 25345"/>
                <a:gd name="csY22" fmla="*/ 23996 h 31967"/>
                <a:gd name="csX23" fmla="*/ 22330 w 25345"/>
                <a:gd name="csY23" fmla="*/ 25140 h 31967"/>
                <a:gd name="csX24" fmla="*/ 22127 w 25345"/>
                <a:gd name="csY24" fmla="*/ 26007 h 31967"/>
                <a:gd name="csX25" fmla="*/ 21555 w 25345"/>
                <a:gd name="csY25" fmla="*/ 27133 h 31967"/>
                <a:gd name="csX26" fmla="*/ 20633 w 25345"/>
                <a:gd name="csY26" fmla="*/ 29901 h 31967"/>
                <a:gd name="csX27" fmla="*/ 17090 w 25345"/>
                <a:gd name="csY27" fmla="*/ 31801 h 31967"/>
                <a:gd name="csX28" fmla="*/ 12717 w 25345"/>
                <a:gd name="csY28" fmla="*/ 31949 h 31967"/>
                <a:gd name="csX29" fmla="*/ 10650 w 25345"/>
                <a:gd name="csY29" fmla="*/ 25989 h 31967"/>
                <a:gd name="csX30" fmla="*/ 15614 w 25345"/>
                <a:gd name="csY30" fmla="*/ 25934 h 31967"/>
                <a:gd name="csX31" fmla="*/ 16352 w 25345"/>
                <a:gd name="csY31" fmla="*/ 24236 h 31967"/>
                <a:gd name="csX32" fmla="*/ 16463 w 25345"/>
                <a:gd name="csY32" fmla="*/ 23646 h 31967"/>
                <a:gd name="csX33" fmla="*/ 16961 w 25345"/>
                <a:gd name="csY33" fmla="*/ 19992 h 31967"/>
                <a:gd name="csX34" fmla="*/ 18437 w 25345"/>
                <a:gd name="csY34" fmla="*/ 18018 h 31967"/>
                <a:gd name="csX35" fmla="*/ 18935 w 25345"/>
                <a:gd name="csY35" fmla="*/ 15711 h 31967"/>
                <a:gd name="csX36" fmla="*/ 19138 w 25345"/>
                <a:gd name="csY36" fmla="*/ 10028 h 31967"/>
                <a:gd name="csX37" fmla="*/ 9802 w 25345"/>
                <a:gd name="csY37" fmla="*/ 5987 h 31967"/>
                <a:gd name="csX38" fmla="*/ 6683 w 25345"/>
                <a:gd name="csY38" fmla="*/ 7150 h 31967"/>
                <a:gd name="csX39" fmla="*/ 6406 w 25345"/>
                <a:gd name="csY39" fmla="*/ 8405 h 31967"/>
                <a:gd name="csX40" fmla="*/ 6056 w 25345"/>
                <a:gd name="csY40" fmla="*/ 9659 h 31967"/>
                <a:gd name="csX41" fmla="*/ 5964 w 25345"/>
                <a:gd name="csY41" fmla="*/ 10785 h 31967"/>
                <a:gd name="csX42" fmla="*/ 6868 w 25345"/>
                <a:gd name="csY42" fmla="*/ 13202 h 31967"/>
                <a:gd name="csX43" fmla="*/ 6812 w 25345"/>
                <a:gd name="csY43" fmla="*/ 14604 h 31967"/>
                <a:gd name="csX44" fmla="*/ 8030 w 25345"/>
                <a:gd name="csY44" fmla="*/ 21173 h 31967"/>
                <a:gd name="csX45" fmla="*/ 9027 w 25345"/>
                <a:gd name="csY45" fmla="*/ 21579 h 31967"/>
                <a:gd name="csX46" fmla="*/ 9838 w 25345"/>
                <a:gd name="csY46" fmla="*/ 23111 h 31967"/>
                <a:gd name="csX47" fmla="*/ 10429 w 25345"/>
                <a:gd name="csY47" fmla="*/ 24900 h 31967"/>
                <a:gd name="csX48" fmla="*/ 10613 w 25345"/>
                <a:gd name="csY48" fmla="*/ 25971 h 31967"/>
                <a:gd name="csX49" fmla="*/ 16832 w 25345"/>
                <a:gd name="csY49" fmla="*/ 25860 h 31967"/>
                <a:gd name="csX50" fmla="*/ 16721 w 25345"/>
                <a:gd name="csY50" fmla="*/ 25860 h 31967"/>
                <a:gd name="csX51" fmla="*/ 16832 w 25345"/>
                <a:gd name="csY51" fmla="*/ 25860 h 31967"/>
                <a:gd name="csX52" fmla="*/ 16832 w 25345"/>
                <a:gd name="csY52" fmla="*/ 25860 h 31967"/>
                <a:gd name="csX53" fmla="*/ 8325 w 25345"/>
                <a:gd name="csY53" fmla="*/ 22557 h 31967"/>
                <a:gd name="csX54" fmla="*/ 8842 w 25345"/>
                <a:gd name="csY54" fmla="*/ 22557 h 31967"/>
                <a:gd name="csX55" fmla="*/ 8842 w 25345"/>
                <a:gd name="csY55" fmla="*/ 22502 h 31967"/>
                <a:gd name="csX56" fmla="*/ 8842 w 25345"/>
                <a:gd name="csY56" fmla="*/ 22502 h 31967"/>
                <a:gd name="csX57" fmla="*/ 8049 w 25345"/>
                <a:gd name="csY57" fmla="*/ 21210 h 31967"/>
                <a:gd name="csX58" fmla="*/ 8307 w 25345"/>
                <a:gd name="csY58" fmla="*/ 22502 h 31967"/>
                <a:gd name="csX59" fmla="*/ 5853 w 25345"/>
                <a:gd name="csY59" fmla="*/ 22502 h 31967"/>
                <a:gd name="csX60" fmla="*/ 8307 w 25345"/>
                <a:gd name="csY60" fmla="*/ 22502 h 31967"/>
                <a:gd name="csX61" fmla="*/ 8307 w 25345"/>
                <a:gd name="csY61" fmla="*/ 22557 h 31967"/>
                <a:gd name="csX62" fmla="*/ 6591 w 25345"/>
                <a:gd name="csY62" fmla="*/ 20583 h 31967"/>
                <a:gd name="csX63" fmla="*/ 7993 w 25345"/>
                <a:gd name="csY63" fmla="*/ 21155 h 31967"/>
                <a:gd name="csX64" fmla="*/ 6591 w 25345"/>
                <a:gd name="csY64" fmla="*/ 20583 h 319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Lst>
              <a:rect l="l" t="t" r="r" b="b"/>
              <a:pathLst>
                <a:path w="25345" h="31967">
                  <a:moveTo>
                    <a:pt x="12717" y="31967"/>
                  </a:moveTo>
                  <a:cubicBezTo>
                    <a:pt x="11942" y="31967"/>
                    <a:pt x="11149" y="31967"/>
                    <a:pt x="10355" y="31949"/>
                  </a:cubicBezTo>
                  <a:lnTo>
                    <a:pt x="8012" y="31949"/>
                  </a:lnTo>
                  <a:cubicBezTo>
                    <a:pt x="6480" y="31949"/>
                    <a:pt x="5207" y="30786"/>
                    <a:pt x="5041" y="29255"/>
                  </a:cubicBezTo>
                  <a:cubicBezTo>
                    <a:pt x="5041" y="29237"/>
                    <a:pt x="4838" y="27078"/>
                    <a:pt x="4617" y="26118"/>
                  </a:cubicBezTo>
                  <a:cubicBezTo>
                    <a:pt x="4617" y="26100"/>
                    <a:pt x="4598" y="26063"/>
                    <a:pt x="4580" y="26044"/>
                  </a:cubicBezTo>
                  <a:cubicBezTo>
                    <a:pt x="3952" y="25675"/>
                    <a:pt x="3417" y="25085"/>
                    <a:pt x="3122" y="24199"/>
                  </a:cubicBezTo>
                  <a:lnTo>
                    <a:pt x="2569" y="24310"/>
                  </a:lnTo>
                  <a:cubicBezTo>
                    <a:pt x="1960" y="21265"/>
                    <a:pt x="1111" y="17003"/>
                    <a:pt x="871" y="15306"/>
                  </a:cubicBezTo>
                  <a:cubicBezTo>
                    <a:pt x="797" y="14881"/>
                    <a:pt x="723" y="14272"/>
                    <a:pt x="797" y="13645"/>
                  </a:cubicBezTo>
                  <a:lnTo>
                    <a:pt x="779" y="13645"/>
                  </a:lnTo>
                  <a:cubicBezTo>
                    <a:pt x="114" y="12464"/>
                    <a:pt x="-70" y="11505"/>
                    <a:pt x="22" y="9475"/>
                  </a:cubicBezTo>
                  <a:cubicBezTo>
                    <a:pt x="170" y="8589"/>
                    <a:pt x="299" y="8183"/>
                    <a:pt x="410" y="7796"/>
                  </a:cubicBezTo>
                  <a:cubicBezTo>
                    <a:pt x="594" y="7021"/>
                    <a:pt x="705" y="6541"/>
                    <a:pt x="816" y="6061"/>
                  </a:cubicBezTo>
                  <a:lnTo>
                    <a:pt x="1019" y="5120"/>
                  </a:lnTo>
                  <a:cubicBezTo>
                    <a:pt x="1111" y="4567"/>
                    <a:pt x="1369" y="4050"/>
                    <a:pt x="1757" y="3626"/>
                  </a:cubicBezTo>
                  <a:cubicBezTo>
                    <a:pt x="4248" y="913"/>
                    <a:pt x="7477" y="-305"/>
                    <a:pt x="10650" y="65"/>
                  </a:cubicBezTo>
                  <a:cubicBezTo>
                    <a:pt x="13732" y="563"/>
                    <a:pt x="21057" y="3146"/>
                    <a:pt x="23751" y="6190"/>
                  </a:cubicBezTo>
                  <a:cubicBezTo>
                    <a:pt x="24932" y="6947"/>
                    <a:pt x="25688" y="8903"/>
                    <a:pt x="25190" y="10194"/>
                  </a:cubicBezTo>
                  <a:cubicBezTo>
                    <a:pt x="25190" y="10250"/>
                    <a:pt x="24803" y="11338"/>
                    <a:pt x="24858" y="16247"/>
                  </a:cubicBezTo>
                  <a:cubicBezTo>
                    <a:pt x="24803" y="16855"/>
                    <a:pt x="24268" y="19513"/>
                    <a:pt x="23862" y="20693"/>
                  </a:cubicBezTo>
                  <a:cubicBezTo>
                    <a:pt x="23493" y="21579"/>
                    <a:pt x="22976" y="22133"/>
                    <a:pt x="22515" y="22483"/>
                  </a:cubicBezTo>
                  <a:cubicBezTo>
                    <a:pt x="22478" y="22889"/>
                    <a:pt x="22441" y="23443"/>
                    <a:pt x="22404" y="23996"/>
                  </a:cubicBezTo>
                  <a:lnTo>
                    <a:pt x="22330" y="25140"/>
                  </a:lnTo>
                  <a:cubicBezTo>
                    <a:pt x="22312" y="25435"/>
                    <a:pt x="22238" y="25731"/>
                    <a:pt x="22127" y="26007"/>
                  </a:cubicBezTo>
                  <a:cubicBezTo>
                    <a:pt x="21961" y="26413"/>
                    <a:pt x="21758" y="26782"/>
                    <a:pt x="21555" y="27133"/>
                  </a:cubicBezTo>
                  <a:cubicBezTo>
                    <a:pt x="21315" y="28148"/>
                    <a:pt x="21205" y="29052"/>
                    <a:pt x="20633" y="29901"/>
                  </a:cubicBezTo>
                  <a:cubicBezTo>
                    <a:pt x="20153" y="30953"/>
                    <a:pt x="18751" y="31801"/>
                    <a:pt x="17090" y="31801"/>
                  </a:cubicBezTo>
                  <a:cubicBezTo>
                    <a:pt x="15725" y="31912"/>
                    <a:pt x="14248" y="31949"/>
                    <a:pt x="12717" y="31949"/>
                  </a:cubicBezTo>
                  <a:close/>
                  <a:moveTo>
                    <a:pt x="10650" y="25989"/>
                  </a:moveTo>
                  <a:cubicBezTo>
                    <a:pt x="12329" y="25989"/>
                    <a:pt x="13953" y="26026"/>
                    <a:pt x="15614" y="25934"/>
                  </a:cubicBezTo>
                  <a:cubicBezTo>
                    <a:pt x="15927" y="25011"/>
                    <a:pt x="16130" y="24624"/>
                    <a:pt x="16352" y="24236"/>
                  </a:cubicBezTo>
                  <a:lnTo>
                    <a:pt x="16463" y="23646"/>
                  </a:lnTo>
                  <a:cubicBezTo>
                    <a:pt x="16536" y="22483"/>
                    <a:pt x="16610" y="21192"/>
                    <a:pt x="16961" y="19992"/>
                  </a:cubicBezTo>
                  <a:cubicBezTo>
                    <a:pt x="17385" y="18959"/>
                    <a:pt x="17957" y="18369"/>
                    <a:pt x="18437" y="18018"/>
                  </a:cubicBezTo>
                  <a:cubicBezTo>
                    <a:pt x="18677" y="17077"/>
                    <a:pt x="18935" y="15730"/>
                    <a:pt x="18935" y="15711"/>
                  </a:cubicBezTo>
                  <a:cubicBezTo>
                    <a:pt x="18861" y="12981"/>
                    <a:pt x="18972" y="11209"/>
                    <a:pt x="19138" y="10028"/>
                  </a:cubicBezTo>
                  <a:cubicBezTo>
                    <a:pt x="17846" y="8737"/>
                    <a:pt x="12625" y="6449"/>
                    <a:pt x="9802" y="5987"/>
                  </a:cubicBezTo>
                  <a:cubicBezTo>
                    <a:pt x="8731" y="5785"/>
                    <a:pt x="7698" y="6246"/>
                    <a:pt x="6683" y="7150"/>
                  </a:cubicBezTo>
                  <a:lnTo>
                    <a:pt x="6406" y="8405"/>
                  </a:lnTo>
                  <a:cubicBezTo>
                    <a:pt x="6296" y="8958"/>
                    <a:pt x="6167" y="9309"/>
                    <a:pt x="6056" y="9659"/>
                  </a:cubicBezTo>
                  <a:cubicBezTo>
                    <a:pt x="5927" y="10508"/>
                    <a:pt x="5964" y="10748"/>
                    <a:pt x="5964" y="10785"/>
                  </a:cubicBezTo>
                  <a:cubicBezTo>
                    <a:pt x="6240" y="11154"/>
                    <a:pt x="6591" y="11855"/>
                    <a:pt x="6868" y="13202"/>
                  </a:cubicBezTo>
                  <a:cubicBezTo>
                    <a:pt x="6960" y="13663"/>
                    <a:pt x="6942" y="14162"/>
                    <a:pt x="6812" y="14604"/>
                  </a:cubicBezTo>
                  <a:cubicBezTo>
                    <a:pt x="7089" y="16302"/>
                    <a:pt x="7569" y="18867"/>
                    <a:pt x="8030" y="21173"/>
                  </a:cubicBezTo>
                  <a:lnTo>
                    <a:pt x="9027" y="21579"/>
                  </a:lnTo>
                  <a:cubicBezTo>
                    <a:pt x="9451" y="22003"/>
                    <a:pt x="9728" y="22539"/>
                    <a:pt x="9838" y="23111"/>
                  </a:cubicBezTo>
                  <a:cubicBezTo>
                    <a:pt x="10171" y="23941"/>
                    <a:pt x="10337" y="24421"/>
                    <a:pt x="10429" y="24900"/>
                  </a:cubicBezTo>
                  <a:cubicBezTo>
                    <a:pt x="10503" y="25177"/>
                    <a:pt x="10558" y="25565"/>
                    <a:pt x="10613" y="25971"/>
                  </a:cubicBezTo>
                  <a:close/>
                  <a:moveTo>
                    <a:pt x="16832" y="25860"/>
                  </a:moveTo>
                  <a:cubicBezTo>
                    <a:pt x="16832" y="25860"/>
                    <a:pt x="16758" y="25860"/>
                    <a:pt x="16721" y="25860"/>
                  </a:cubicBezTo>
                  <a:cubicBezTo>
                    <a:pt x="16758" y="25860"/>
                    <a:pt x="16795" y="25860"/>
                    <a:pt x="16832" y="25860"/>
                  </a:cubicBezTo>
                  <a:lnTo>
                    <a:pt x="16832" y="25860"/>
                  </a:lnTo>
                  <a:close/>
                  <a:moveTo>
                    <a:pt x="8325" y="22557"/>
                  </a:moveTo>
                  <a:lnTo>
                    <a:pt x="8842" y="22557"/>
                  </a:lnTo>
                  <a:lnTo>
                    <a:pt x="8842" y="22502"/>
                  </a:lnTo>
                  <a:lnTo>
                    <a:pt x="8842" y="22502"/>
                  </a:lnTo>
                  <a:cubicBezTo>
                    <a:pt x="8787" y="22059"/>
                    <a:pt x="8473" y="21579"/>
                    <a:pt x="8049" y="21210"/>
                  </a:cubicBezTo>
                  <a:cubicBezTo>
                    <a:pt x="8141" y="21653"/>
                    <a:pt x="8215" y="22077"/>
                    <a:pt x="8307" y="22502"/>
                  </a:cubicBezTo>
                  <a:lnTo>
                    <a:pt x="5853" y="22502"/>
                  </a:lnTo>
                  <a:lnTo>
                    <a:pt x="8307" y="22502"/>
                  </a:lnTo>
                  <a:cubicBezTo>
                    <a:pt x="8307" y="22502"/>
                    <a:pt x="8307" y="22539"/>
                    <a:pt x="8307" y="22557"/>
                  </a:cubicBezTo>
                  <a:close/>
                  <a:moveTo>
                    <a:pt x="6591" y="20583"/>
                  </a:moveTo>
                  <a:lnTo>
                    <a:pt x="7993" y="21155"/>
                  </a:lnTo>
                  <a:cubicBezTo>
                    <a:pt x="7606" y="20841"/>
                    <a:pt x="7108" y="20601"/>
                    <a:pt x="6591" y="20583"/>
                  </a:cubicBezTo>
                  <a:close/>
                </a:path>
              </a:pathLst>
            </a:custGeom>
            <a:solidFill>
              <a:srgbClr val="FFFFFF"/>
            </a:solidFill>
            <a:ln w="1835" cap="flat">
              <a:noFill/>
              <a:prstDash val="solid"/>
              <a:miter/>
            </a:ln>
          </p:spPr>
          <p:txBody>
            <a:bodyPr/>
            <a:lstStyle/>
            <a:p>
              <a:endParaRPr lang="en-GB"/>
            </a:p>
          </p:txBody>
        </p:sp>
        <p:sp>
          <p:nvSpPr>
            <p:cNvPr id="1486" name="Freeform: Shape 1485">
              <a:extLst>
                <a:ext uri="{FF2B5EF4-FFF2-40B4-BE49-F238E27FC236}">
                  <a16:creationId xmlns:a16="http://schemas.microsoft.com/office/drawing/2014/main" id="{CA8535C8-138B-7307-31B2-C910120963C7}"/>
                </a:ext>
              </a:extLst>
            </p:cNvPr>
            <p:cNvSpPr/>
            <p:nvPr/>
          </p:nvSpPr>
          <p:spPr>
            <a:xfrm>
              <a:off x="10893644" y="4996923"/>
              <a:ext cx="20938" cy="21197"/>
            </a:xfrm>
            <a:custGeom>
              <a:avLst/>
              <a:gdLst>
                <a:gd name="csX0" fmla="*/ 7049 w 20938"/>
                <a:gd name="csY0" fmla="*/ 570 h 21197"/>
                <a:gd name="csX1" fmla="*/ 10038 w 20938"/>
                <a:gd name="csY1" fmla="*/ 681 h 21197"/>
                <a:gd name="csX2" fmla="*/ 20316 w 20938"/>
                <a:gd name="csY2" fmla="*/ 11660 h 21197"/>
                <a:gd name="csX3" fmla="*/ 20316 w 20938"/>
                <a:gd name="csY3" fmla="*/ 14649 h 21197"/>
                <a:gd name="csX4" fmla="*/ 13987 w 20938"/>
                <a:gd name="csY4" fmla="*/ 20627 h 21197"/>
                <a:gd name="csX5" fmla="*/ 10887 w 20938"/>
                <a:gd name="csY5" fmla="*/ 20516 h 21197"/>
                <a:gd name="csX6" fmla="*/ 610 w 20938"/>
                <a:gd name="csY6" fmla="*/ 9538 h 21197"/>
                <a:gd name="csX7" fmla="*/ 720 w 20938"/>
                <a:gd name="csY7" fmla="*/ 6548 h 21197"/>
                <a:gd name="csX8" fmla="*/ 7049 w 20938"/>
                <a:gd name="csY8" fmla="*/ 570 h 211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938" h="21197">
                  <a:moveTo>
                    <a:pt x="7049" y="570"/>
                  </a:moveTo>
                  <a:cubicBezTo>
                    <a:pt x="7879" y="-260"/>
                    <a:pt x="9319" y="-149"/>
                    <a:pt x="10038" y="681"/>
                  </a:cubicBezTo>
                  <a:lnTo>
                    <a:pt x="20316" y="11660"/>
                  </a:lnTo>
                  <a:cubicBezTo>
                    <a:pt x="21146" y="12490"/>
                    <a:pt x="21146" y="13818"/>
                    <a:pt x="20316" y="14649"/>
                  </a:cubicBezTo>
                  <a:lnTo>
                    <a:pt x="13987" y="20627"/>
                  </a:lnTo>
                  <a:cubicBezTo>
                    <a:pt x="13027" y="21457"/>
                    <a:pt x="11717" y="21347"/>
                    <a:pt x="10887" y="20516"/>
                  </a:cubicBezTo>
                  <a:lnTo>
                    <a:pt x="610" y="9538"/>
                  </a:lnTo>
                  <a:cubicBezTo>
                    <a:pt x="-221" y="8707"/>
                    <a:pt x="-221" y="7379"/>
                    <a:pt x="720" y="6548"/>
                  </a:cubicBezTo>
                  <a:lnTo>
                    <a:pt x="7049" y="570"/>
                  </a:lnTo>
                  <a:close/>
                </a:path>
              </a:pathLst>
            </a:custGeom>
            <a:solidFill>
              <a:srgbClr val="FFFFFF"/>
            </a:solidFill>
            <a:ln w="1835" cap="flat">
              <a:noFill/>
              <a:prstDash val="solid"/>
              <a:miter/>
            </a:ln>
          </p:spPr>
          <p:txBody>
            <a:bodyPr/>
            <a:lstStyle/>
            <a:p>
              <a:endParaRPr lang="en-GB"/>
            </a:p>
          </p:txBody>
        </p:sp>
        <p:sp>
          <p:nvSpPr>
            <p:cNvPr id="1487" name="Freeform: Shape 1486">
              <a:extLst>
                <a:ext uri="{FF2B5EF4-FFF2-40B4-BE49-F238E27FC236}">
                  <a16:creationId xmlns:a16="http://schemas.microsoft.com/office/drawing/2014/main" id="{672EAEA9-0770-1F68-7234-0176E958B48B}"/>
                </a:ext>
              </a:extLst>
            </p:cNvPr>
            <p:cNvSpPr/>
            <p:nvPr/>
          </p:nvSpPr>
          <p:spPr>
            <a:xfrm>
              <a:off x="10890652" y="4993969"/>
              <a:ext cx="26924" cy="27160"/>
            </a:xfrm>
            <a:custGeom>
              <a:avLst/>
              <a:gdLst>
                <a:gd name="csX0" fmla="*/ 15448 w 26924"/>
                <a:gd name="csY0" fmla="*/ 27142 h 27160"/>
                <a:gd name="csX1" fmla="*/ 11757 w 26924"/>
                <a:gd name="csY1" fmla="*/ 25592 h 27160"/>
                <a:gd name="csX2" fmla="*/ 1406 w 26924"/>
                <a:gd name="csY2" fmla="*/ 14540 h 27160"/>
                <a:gd name="csX3" fmla="*/ 4 w 26924"/>
                <a:gd name="csY3" fmla="*/ 10905 h 27160"/>
                <a:gd name="csX4" fmla="*/ 1757 w 26924"/>
                <a:gd name="csY4" fmla="*/ 7270 h 27160"/>
                <a:gd name="csX5" fmla="*/ 7993 w 26924"/>
                <a:gd name="csY5" fmla="*/ 1384 h 27160"/>
                <a:gd name="csX6" fmla="*/ 11702 w 26924"/>
                <a:gd name="csY6" fmla="*/ 0 h 27160"/>
                <a:gd name="csX7" fmla="*/ 15300 w 26924"/>
                <a:gd name="csY7" fmla="*/ 1716 h 27160"/>
                <a:gd name="csX8" fmla="*/ 25485 w 26924"/>
                <a:gd name="csY8" fmla="*/ 12621 h 27160"/>
                <a:gd name="csX9" fmla="*/ 26925 w 26924"/>
                <a:gd name="csY9" fmla="*/ 16127 h 27160"/>
                <a:gd name="csX10" fmla="*/ 25412 w 26924"/>
                <a:gd name="csY10" fmla="*/ 19762 h 27160"/>
                <a:gd name="csX11" fmla="*/ 19027 w 26924"/>
                <a:gd name="csY11" fmla="*/ 25795 h 27160"/>
                <a:gd name="csX12" fmla="*/ 15466 w 26924"/>
                <a:gd name="csY12" fmla="*/ 27161 h 27160"/>
                <a:gd name="csX13" fmla="*/ 6388 w 26924"/>
                <a:gd name="csY13" fmla="*/ 11108 h 27160"/>
                <a:gd name="csX14" fmla="*/ 15540 w 26924"/>
                <a:gd name="csY14" fmla="*/ 20887 h 27160"/>
                <a:gd name="csX15" fmla="*/ 20596 w 26924"/>
                <a:gd name="csY15" fmla="*/ 16108 h 27160"/>
                <a:gd name="csX16" fmla="*/ 11462 w 26924"/>
                <a:gd name="csY16" fmla="*/ 6329 h 27160"/>
                <a:gd name="csX17" fmla="*/ 6407 w 26924"/>
                <a:gd name="csY17" fmla="*/ 11108 h 27160"/>
                <a:gd name="csX18" fmla="*/ 21260 w 26924"/>
                <a:gd name="csY18" fmla="*/ 15462 h 27160"/>
                <a:gd name="csX19" fmla="*/ 21260 w 26924"/>
                <a:gd name="csY19" fmla="*/ 15462 h 27160"/>
                <a:gd name="csX20" fmla="*/ 5705 w 26924"/>
                <a:gd name="csY20" fmla="*/ 10370 h 27160"/>
                <a:gd name="csX21" fmla="*/ 5742 w 26924"/>
                <a:gd name="csY21" fmla="*/ 10407 h 27160"/>
                <a:gd name="csX22" fmla="*/ 5705 w 26924"/>
                <a:gd name="csY22" fmla="*/ 10370 h 27160"/>
                <a:gd name="csX23" fmla="*/ 10853 w 26924"/>
                <a:gd name="csY23" fmla="*/ 5683 h 27160"/>
                <a:gd name="csX24" fmla="*/ 10890 w 26924"/>
                <a:gd name="csY24" fmla="*/ 5720 h 27160"/>
                <a:gd name="csX25" fmla="*/ 10853 w 26924"/>
                <a:gd name="csY25" fmla="*/ 5683 h 271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6924" h="27160">
                  <a:moveTo>
                    <a:pt x="15448" y="27142"/>
                  </a:moveTo>
                  <a:cubicBezTo>
                    <a:pt x="14101" y="27142"/>
                    <a:pt x="12772" y="26626"/>
                    <a:pt x="11757" y="25592"/>
                  </a:cubicBezTo>
                  <a:lnTo>
                    <a:pt x="1406" y="14540"/>
                  </a:lnTo>
                  <a:cubicBezTo>
                    <a:pt x="502" y="13636"/>
                    <a:pt x="-52" y="12270"/>
                    <a:pt x="4" y="10905"/>
                  </a:cubicBezTo>
                  <a:cubicBezTo>
                    <a:pt x="59" y="9503"/>
                    <a:pt x="668" y="8211"/>
                    <a:pt x="1757" y="7270"/>
                  </a:cubicBezTo>
                  <a:lnTo>
                    <a:pt x="7993" y="1384"/>
                  </a:lnTo>
                  <a:cubicBezTo>
                    <a:pt x="8953" y="443"/>
                    <a:pt x="10134" y="37"/>
                    <a:pt x="11702" y="0"/>
                  </a:cubicBezTo>
                  <a:cubicBezTo>
                    <a:pt x="13104" y="55"/>
                    <a:pt x="14415" y="683"/>
                    <a:pt x="15300" y="1716"/>
                  </a:cubicBezTo>
                  <a:lnTo>
                    <a:pt x="25485" y="12621"/>
                  </a:lnTo>
                  <a:cubicBezTo>
                    <a:pt x="26371" y="13488"/>
                    <a:pt x="26925" y="14780"/>
                    <a:pt x="26925" y="16127"/>
                  </a:cubicBezTo>
                  <a:cubicBezTo>
                    <a:pt x="26925" y="17474"/>
                    <a:pt x="26408" y="18765"/>
                    <a:pt x="25412" y="19762"/>
                  </a:cubicBezTo>
                  <a:lnTo>
                    <a:pt x="19027" y="25795"/>
                  </a:lnTo>
                  <a:cubicBezTo>
                    <a:pt x="17957" y="26718"/>
                    <a:pt x="16703" y="27161"/>
                    <a:pt x="15466" y="27161"/>
                  </a:cubicBezTo>
                  <a:close/>
                  <a:moveTo>
                    <a:pt x="6388" y="11108"/>
                  </a:moveTo>
                  <a:lnTo>
                    <a:pt x="15540" y="20887"/>
                  </a:lnTo>
                  <a:lnTo>
                    <a:pt x="20596" y="16108"/>
                  </a:lnTo>
                  <a:lnTo>
                    <a:pt x="11462" y="6329"/>
                  </a:lnTo>
                  <a:lnTo>
                    <a:pt x="6407" y="11108"/>
                  </a:lnTo>
                  <a:close/>
                  <a:moveTo>
                    <a:pt x="21260" y="15462"/>
                  </a:moveTo>
                  <a:lnTo>
                    <a:pt x="21260" y="15462"/>
                  </a:lnTo>
                  <a:close/>
                  <a:moveTo>
                    <a:pt x="5705" y="10370"/>
                  </a:moveTo>
                  <a:lnTo>
                    <a:pt x="5742" y="10407"/>
                  </a:lnTo>
                  <a:lnTo>
                    <a:pt x="5705" y="10370"/>
                  </a:lnTo>
                  <a:close/>
                  <a:moveTo>
                    <a:pt x="10853" y="5683"/>
                  </a:moveTo>
                  <a:lnTo>
                    <a:pt x="10890" y="5720"/>
                  </a:lnTo>
                  <a:lnTo>
                    <a:pt x="10853" y="5683"/>
                  </a:lnTo>
                  <a:close/>
                </a:path>
              </a:pathLst>
            </a:custGeom>
            <a:solidFill>
              <a:srgbClr val="FFFFFF"/>
            </a:solidFill>
            <a:ln w="1835" cap="flat">
              <a:noFill/>
              <a:prstDash val="solid"/>
              <a:miter/>
            </a:ln>
          </p:spPr>
          <p:txBody>
            <a:bodyPr/>
            <a:lstStyle/>
            <a:p>
              <a:endParaRPr lang="en-GB"/>
            </a:p>
          </p:txBody>
        </p:sp>
        <p:sp>
          <p:nvSpPr>
            <p:cNvPr id="1488" name="Freeform: Shape 1487">
              <a:extLst>
                <a:ext uri="{FF2B5EF4-FFF2-40B4-BE49-F238E27FC236}">
                  <a16:creationId xmlns:a16="http://schemas.microsoft.com/office/drawing/2014/main" id="{CDC3931A-78A5-44B4-D213-737E483D5E67}"/>
                </a:ext>
              </a:extLst>
            </p:cNvPr>
            <p:cNvSpPr/>
            <p:nvPr/>
          </p:nvSpPr>
          <p:spPr>
            <a:xfrm>
              <a:off x="10938115" y="4927478"/>
              <a:ext cx="20899" cy="21174"/>
            </a:xfrm>
            <a:custGeom>
              <a:avLst/>
              <a:gdLst>
                <a:gd name="csX0" fmla="*/ 7010 w 20899"/>
                <a:gd name="csY0" fmla="*/ 527 h 21174"/>
                <a:gd name="csX1" fmla="*/ 9999 w 20899"/>
                <a:gd name="csY1" fmla="*/ 637 h 21174"/>
                <a:gd name="csX2" fmla="*/ 20276 w 20899"/>
                <a:gd name="csY2" fmla="*/ 11616 h 21174"/>
                <a:gd name="csX3" fmla="*/ 20276 w 20899"/>
                <a:gd name="csY3" fmla="*/ 14716 h 21174"/>
                <a:gd name="csX4" fmla="*/ 13948 w 20899"/>
                <a:gd name="csY4" fmla="*/ 20565 h 21174"/>
                <a:gd name="csX5" fmla="*/ 10848 w 20899"/>
                <a:gd name="csY5" fmla="*/ 20454 h 21174"/>
                <a:gd name="csX6" fmla="*/ 570 w 20899"/>
                <a:gd name="csY6" fmla="*/ 9586 h 21174"/>
                <a:gd name="csX7" fmla="*/ 681 w 20899"/>
                <a:gd name="csY7" fmla="*/ 6486 h 21174"/>
                <a:gd name="csX8" fmla="*/ 7010 w 20899"/>
                <a:gd name="csY8" fmla="*/ 508 h 211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899" h="21174">
                  <a:moveTo>
                    <a:pt x="7010" y="527"/>
                  </a:moveTo>
                  <a:cubicBezTo>
                    <a:pt x="7840" y="-193"/>
                    <a:pt x="9279" y="-193"/>
                    <a:pt x="9999" y="637"/>
                  </a:cubicBezTo>
                  <a:lnTo>
                    <a:pt x="20276" y="11616"/>
                  </a:lnTo>
                  <a:cubicBezTo>
                    <a:pt x="21107" y="12446"/>
                    <a:pt x="21107" y="13886"/>
                    <a:pt x="20276" y="14716"/>
                  </a:cubicBezTo>
                  <a:lnTo>
                    <a:pt x="13948" y="20565"/>
                  </a:lnTo>
                  <a:cubicBezTo>
                    <a:pt x="12988" y="21395"/>
                    <a:pt x="11678" y="21395"/>
                    <a:pt x="10848" y="20454"/>
                  </a:cubicBezTo>
                  <a:lnTo>
                    <a:pt x="570" y="9586"/>
                  </a:lnTo>
                  <a:cubicBezTo>
                    <a:pt x="-260" y="8627"/>
                    <a:pt x="-149" y="7317"/>
                    <a:pt x="681" y="6486"/>
                  </a:cubicBezTo>
                  <a:lnTo>
                    <a:pt x="7010" y="508"/>
                  </a:lnTo>
                  <a:close/>
                </a:path>
              </a:pathLst>
            </a:custGeom>
            <a:solidFill>
              <a:srgbClr val="FFFFFF"/>
            </a:solidFill>
            <a:ln w="1835" cap="flat">
              <a:noFill/>
              <a:prstDash val="solid"/>
              <a:miter/>
            </a:ln>
          </p:spPr>
          <p:txBody>
            <a:bodyPr/>
            <a:lstStyle/>
            <a:p>
              <a:endParaRPr lang="en-GB"/>
            </a:p>
          </p:txBody>
        </p:sp>
        <p:sp>
          <p:nvSpPr>
            <p:cNvPr id="1489" name="Freeform: Shape 1488">
              <a:extLst>
                <a:ext uri="{FF2B5EF4-FFF2-40B4-BE49-F238E27FC236}">
                  <a16:creationId xmlns:a16="http://schemas.microsoft.com/office/drawing/2014/main" id="{B2056009-0F5E-B2BD-6615-E21AA283F447}"/>
                </a:ext>
              </a:extLst>
            </p:cNvPr>
            <p:cNvSpPr/>
            <p:nvPr/>
          </p:nvSpPr>
          <p:spPr>
            <a:xfrm>
              <a:off x="10935136" y="4924491"/>
              <a:ext cx="26909" cy="27168"/>
            </a:xfrm>
            <a:custGeom>
              <a:avLst/>
              <a:gdLst>
                <a:gd name="csX0" fmla="*/ 15377 w 26909"/>
                <a:gd name="csY0" fmla="*/ 27169 h 27168"/>
                <a:gd name="csX1" fmla="*/ 15248 w 26909"/>
                <a:gd name="csY1" fmla="*/ 27169 h 27168"/>
                <a:gd name="csX2" fmla="*/ 11576 w 26909"/>
                <a:gd name="csY2" fmla="*/ 25416 h 27168"/>
                <a:gd name="csX3" fmla="*/ 1391 w 26909"/>
                <a:gd name="csY3" fmla="*/ 14622 h 27168"/>
                <a:gd name="csX4" fmla="*/ 1575 w 26909"/>
                <a:gd name="csY4" fmla="*/ 7352 h 27168"/>
                <a:gd name="csX5" fmla="*/ 7959 w 26909"/>
                <a:gd name="csY5" fmla="*/ 1337 h 27168"/>
                <a:gd name="csX6" fmla="*/ 8052 w 26909"/>
                <a:gd name="csY6" fmla="*/ 1263 h 27168"/>
                <a:gd name="csX7" fmla="*/ 11853 w 26909"/>
                <a:gd name="csY7" fmla="*/ 8 h 27168"/>
                <a:gd name="csX8" fmla="*/ 15266 w 26909"/>
                <a:gd name="csY8" fmla="*/ 1669 h 27168"/>
                <a:gd name="csX9" fmla="*/ 25451 w 26909"/>
                <a:gd name="csY9" fmla="*/ 12555 h 27168"/>
                <a:gd name="csX10" fmla="*/ 25378 w 26909"/>
                <a:gd name="csY10" fmla="*/ 19807 h 27168"/>
                <a:gd name="csX11" fmla="*/ 18975 w 26909"/>
                <a:gd name="csY11" fmla="*/ 25748 h 27168"/>
                <a:gd name="csX12" fmla="*/ 15395 w 26909"/>
                <a:gd name="csY12" fmla="*/ 27151 h 27168"/>
                <a:gd name="csX13" fmla="*/ 15949 w 26909"/>
                <a:gd name="csY13" fmla="*/ 21375 h 27168"/>
                <a:gd name="csX14" fmla="*/ 15967 w 26909"/>
                <a:gd name="csY14" fmla="*/ 21375 h 27168"/>
                <a:gd name="csX15" fmla="*/ 15949 w 26909"/>
                <a:gd name="csY15" fmla="*/ 21375 h 27168"/>
                <a:gd name="csX16" fmla="*/ 6280 w 26909"/>
                <a:gd name="csY16" fmla="*/ 11135 h 27168"/>
                <a:gd name="csX17" fmla="*/ 15469 w 26909"/>
                <a:gd name="csY17" fmla="*/ 20859 h 27168"/>
                <a:gd name="csX18" fmla="*/ 20580 w 26909"/>
                <a:gd name="csY18" fmla="*/ 16116 h 27168"/>
                <a:gd name="csX19" fmla="*/ 11410 w 26909"/>
                <a:gd name="csY19" fmla="*/ 6300 h 27168"/>
                <a:gd name="csX20" fmla="*/ 6299 w 26909"/>
                <a:gd name="csY20" fmla="*/ 11135 h 27168"/>
                <a:gd name="csX21" fmla="*/ 21115 w 26909"/>
                <a:gd name="csY21" fmla="*/ 16707 h 27168"/>
                <a:gd name="csX22" fmla="*/ 21134 w 26909"/>
                <a:gd name="csY22" fmla="*/ 16707 h 27168"/>
                <a:gd name="csX23" fmla="*/ 21115 w 26909"/>
                <a:gd name="csY23" fmla="*/ 16707 h 27168"/>
                <a:gd name="csX24" fmla="*/ 10801 w 26909"/>
                <a:gd name="csY24" fmla="*/ 5673 h 27168"/>
                <a:gd name="csX25" fmla="*/ 10838 w 26909"/>
                <a:gd name="csY25" fmla="*/ 5710 h 27168"/>
                <a:gd name="csX26" fmla="*/ 10801 w 26909"/>
                <a:gd name="csY26" fmla="*/ 5673 h 271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26909" h="27168">
                  <a:moveTo>
                    <a:pt x="15377" y="27169"/>
                  </a:moveTo>
                  <a:lnTo>
                    <a:pt x="15248" y="27169"/>
                  </a:lnTo>
                  <a:cubicBezTo>
                    <a:pt x="13845" y="27114"/>
                    <a:pt x="12535" y="26505"/>
                    <a:pt x="11576" y="25416"/>
                  </a:cubicBezTo>
                  <a:lnTo>
                    <a:pt x="1391" y="14622"/>
                  </a:lnTo>
                  <a:cubicBezTo>
                    <a:pt x="-547" y="12426"/>
                    <a:pt x="-436" y="9326"/>
                    <a:pt x="1575" y="7352"/>
                  </a:cubicBezTo>
                  <a:lnTo>
                    <a:pt x="7959" y="1337"/>
                  </a:lnTo>
                  <a:cubicBezTo>
                    <a:pt x="7959" y="1337"/>
                    <a:pt x="8015" y="1281"/>
                    <a:pt x="8052" y="1263"/>
                  </a:cubicBezTo>
                  <a:cubicBezTo>
                    <a:pt x="9085" y="359"/>
                    <a:pt x="10598" y="-66"/>
                    <a:pt x="11853" y="8"/>
                  </a:cubicBezTo>
                  <a:cubicBezTo>
                    <a:pt x="13200" y="100"/>
                    <a:pt x="14417" y="691"/>
                    <a:pt x="15266" y="1669"/>
                  </a:cubicBezTo>
                  <a:lnTo>
                    <a:pt x="25451" y="12555"/>
                  </a:lnTo>
                  <a:cubicBezTo>
                    <a:pt x="27407" y="14511"/>
                    <a:pt x="27407" y="17796"/>
                    <a:pt x="25378" y="19807"/>
                  </a:cubicBezTo>
                  <a:lnTo>
                    <a:pt x="18975" y="25748"/>
                  </a:lnTo>
                  <a:cubicBezTo>
                    <a:pt x="17905" y="26689"/>
                    <a:pt x="16668" y="27151"/>
                    <a:pt x="15395" y="27151"/>
                  </a:cubicBezTo>
                  <a:close/>
                  <a:moveTo>
                    <a:pt x="15949" y="21375"/>
                  </a:moveTo>
                  <a:lnTo>
                    <a:pt x="15967" y="21375"/>
                  </a:lnTo>
                  <a:cubicBezTo>
                    <a:pt x="15967" y="21375"/>
                    <a:pt x="15967" y="21375"/>
                    <a:pt x="15949" y="21375"/>
                  </a:cubicBezTo>
                  <a:close/>
                  <a:moveTo>
                    <a:pt x="6280" y="11135"/>
                  </a:moveTo>
                  <a:lnTo>
                    <a:pt x="15469" y="20859"/>
                  </a:lnTo>
                  <a:lnTo>
                    <a:pt x="20580" y="16116"/>
                  </a:lnTo>
                  <a:lnTo>
                    <a:pt x="11410" y="6300"/>
                  </a:lnTo>
                  <a:lnTo>
                    <a:pt x="6299" y="11135"/>
                  </a:lnTo>
                  <a:close/>
                  <a:moveTo>
                    <a:pt x="21115" y="16707"/>
                  </a:moveTo>
                  <a:lnTo>
                    <a:pt x="21134" y="16707"/>
                  </a:lnTo>
                  <a:cubicBezTo>
                    <a:pt x="21134" y="16707"/>
                    <a:pt x="21115" y="16707"/>
                    <a:pt x="21115" y="16707"/>
                  </a:cubicBezTo>
                  <a:close/>
                  <a:moveTo>
                    <a:pt x="10801" y="5673"/>
                  </a:moveTo>
                  <a:lnTo>
                    <a:pt x="10838" y="5710"/>
                  </a:lnTo>
                  <a:lnTo>
                    <a:pt x="10801" y="5673"/>
                  </a:lnTo>
                  <a:close/>
                </a:path>
              </a:pathLst>
            </a:custGeom>
            <a:solidFill>
              <a:srgbClr val="FFFFFF"/>
            </a:solidFill>
            <a:ln w="1835" cap="flat">
              <a:noFill/>
              <a:prstDash val="solid"/>
              <a:miter/>
            </a:ln>
          </p:spPr>
          <p:txBody>
            <a:bodyPr/>
            <a:lstStyle/>
            <a:p>
              <a:endParaRPr lang="en-GB"/>
            </a:p>
          </p:txBody>
        </p:sp>
        <p:sp>
          <p:nvSpPr>
            <p:cNvPr id="1490" name="Freeform: Shape 1489">
              <a:extLst>
                <a:ext uri="{FF2B5EF4-FFF2-40B4-BE49-F238E27FC236}">
                  <a16:creationId xmlns:a16="http://schemas.microsoft.com/office/drawing/2014/main" id="{933A695B-8692-5CBB-F164-47AE1A65EE56}"/>
                </a:ext>
              </a:extLst>
            </p:cNvPr>
            <p:cNvSpPr/>
            <p:nvPr/>
          </p:nvSpPr>
          <p:spPr>
            <a:xfrm>
              <a:off x="10945163" y="4835951"/>
              <a:ext cx="20913" cy="21236"/>
            </a:xfrm>
            <a:custGeom>
              <a:avLst/>
              <a:gdLst>
                <a:gd name="csX0" fmla="*/ 7010 w 20913"/>
                <a:gd name="csY0" fmla="*/ 570 h 21236"/>
                <a:gd name="csX1" fmla="*/ 10110 w 20913"/>
                <a:gd name="csY1" fmla="*/ 681 h 21236"/>
                <a:gd name="csX2" fmla="*/ 20387 w 20913"/>
                <a:gd name="csY2" fmla="*/ 11660 h 21236"/>
                <a:gd name="csX3" fmla="*/ 20276 w 20913"/>
                <a:gd name="csY3" fmla="*/ 14649 h 21236"/>
                <a:gd name="csX4" fmla="*/ 13948 w 20913"/>
                <a:gd name="csY4" fmla="*/ 20627 h 21236"/>
                <a:gd name="csX5" fmla="*/ 10848 w 20913"/>
                <a:gd name="csY5" fmla="*/ 20516 h 21236"/>
                <a:gd name="csX6" fmla="*/ 570 w 20913"/>
                <a:gd name="csY6" fmla="*/ 9648 h 21236"/>
                <a:gd name="csX7" fmla="*/ 681 w 20913"/>
                <a:gd name="csY7" fmla="*/ 6548 h 21236"/>
                <a:gd name="csX8" fmla="*/ 7010 w 20913"/>
                <a:gd name="csY8" fmla="*/ 570 h 212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913" h="21236">
                  <a:moveTo>
                    <a:pt x="7010" y="570"/>
                  </a:moveTo>
                  <a:cubicBezTo>
                    <a:pt x="7840" y="-260"/>
                    <a:pt x="9279" y="-149"/>
                    <a:pt x="10110" y="681"/>
                  </a:cubicBezTo>
                  <a:lnTo>
                    <a:pt x="20387" y="11660"/>
                  </a:lnTo>
                  <a:cubicBezTo>
                    <a:pt x="21107" y="12490"/>
                    <a:pt x="21107" y="13929"/>
                    <a:pt x="20276" y="14649"/>
                  </a:cubicBezTo>
                  <a:lnTo>
                    <a:pt x="13948" y="20627"/>
                  </a:lnTo>
                  <a:cubicBezTo>
                    <a:pt x="12988" y="21457"/>
                    <a:pt x="11678" y="21457"/>
                    <a:pt x="10848" y="20516"/>
                  </a:cubicBezTo>
                  <a:lnTo>
                    <a:pt x="570" y="9648"/>
                  </a:lnTo>
                  <a:cubicBezTo>
                    <a:pt x="-260" y="8689"/>
                    <a:pt x="-149" y="7379"/>
                    <a:pt x="681" y="6548"/>
                  </a:cubicBezTo>
                  <a:lnTo>
                    <a:pt x="7010" y="570"/>
                  </a:lnTo>
                  <a:close/>
                </a:path>
              </a:pathLst>
            </a:custGeom>
            <a:solidFill>
              <a:srgbClr val="FFFFFF"/>
            </a:solidFill>
            <a:ln w="1835" cap="flat">
              <a:noFill/>
              <a:prstDash val="solid"/>
              <a:miter/>
            </a:ln>
          </p:spPr>
          <p:txBody>
            <a:bodyPr/>
            <a:lstStyle/>
            <a:p>
              <a:endParaRPr lang="en-GB"/>
            </a:p>
          </p:txBody>
        </p:sp>
        <p:sp>
          <p:nvSpPr>
            <p:cNvPr id="1491" name="Freeform: Shape 1490">
              <a:extLst>
                <a:ext uri="{FF2B5EF4-FFF2-40B4-BE49-F238E27FC236}">
                  <a16:creationId xmlns:a16="http://schemas.microsoft.com/office/drawing/2014/main" id="{51951ACC-6B04-0C9A-6C5F-25856BAF9455}"/>
                </a:ext>
              </a:extLst>
            </p:cNvPr>
            <p:cNvSpPr/>
            <p:nvPr/>
          </p:nvSpPr>
          <p:spPr>
            <a:xfrm>
              <a:off x="10942166" y="4832964"/>
              <a:ext cx="26874" cy="27249"/>
            </a:xfrm>
            <a:custGeom>
              <a:avLst/>
              <a:gdLst>
                <a:gd name="csX0" fmla="*/ 15395 w 26874"/>
                <a:gd name="csY0" fmla="*/ 27231 h 27249"/>
                <a:gd name="csX1" fmla="*/ 15045 w 26874"/>
                <a:gd name="csY1" fmla="*/ 27231 h 27249"/>
                <a:gd name="csX2" fmla="*/ 11576 w 26874"/>
                <a:gd name="csY2" fmla="*/ 25478 h 27249"/>
                <a:gd name="csX3" fmla="*/ 1391 w 26874"/>
                <a:gd name="csY3" fmla="*/ 14702 h 27249"/>
                <a:gd name="csX4" fmla="*/ 1575 w 26874"/>
                <a:gd name="csY4" fmla="*/ 7433 h 27249"/>
                <a:gd name="csX5" fmla="*/ 7922 w 26874"/>
                <a:gd name="csY5" fmla="*/ 1436 h 27249"/>
                <a:gd name="csX6" fmla="*/ 15211 w 26874"/>
                <a:gd name="csY6" fmla="*/ 1583 h 27249"/>
                <a:gd name="csX7" fmla="*/ 25562 w 26874"/>
                <a:gd name="csY7" fmla="*/ 12636 h 27249"/>
                <a:gd name="csX8" fmla="*/ 25212 w 26874"/>
                <a:gd name="csY8" fmla="*/ 19924 h 27249"/>
                <a:gd name="csX9" fmla="*/ 18975 w 26874"/>
                <a:gd name="csY9" fmla="*/ 25810 h 27249"/>
                <a:gd name="csX10" fmla="*/ 15377 w 26874"/>
                <a:gd name="csY10" fmla="*/ 27250 h 27249"/>
                <a:gd name="csX11" fmla="*/ 6280 w 26874"/>
                <a:gd name="csY11" fmla="*/ 11178 h 27249"/>
                <a:gd name="csX12" fmla="*/ 15469 w 26874"/>
                <a:gd name="csY12" fmla="*/ 20884 h 27249"/>
                <a:gd name="csX13" fmla="*/ 20599 w 26874"/>
                <a:gd name="csY13" fmla="*/ 16049 h 27249"/>
                <a:gd name="csX14" fmla="*/ 11447 w 26874"/>
                <a:gd name="csY14" fmla="*/ 6289 h 27249"/>
                <a:gd name="csX15" fmla="*/ 6262 w 26874"/>
                <a:gd name="csY15" fmla="*/ 11178 h 27249"/>
                <a:gd name="csX16" fmla="*/ 21208 w 26874"/>
                <a:gd name="csY16" fmla="*/ 15477 h 27249"/>
                <a:gd name="csX17" fmla="*/ 21208 w 26874"/>
                <a:gd name="csY17" fmla="*/ 15477 h 27249"/>
                <a:gd name="csX18" fmla="*/ 21208 w 26874"/>
                <a:gd name="csY18" fmla="*/ 15477 h 27249"/>
                <a:gd name="csX19" fmla="*/ 21208 w 26874"/>
                <a:gd name="csY19" fmla="*/ 15477 h 272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Lst>
              <a:rect l="l" t="t" r="r" b="b"/>
              <a:pathLst>
                <a:path w="26874" h="27249">
                  <a:moveTo>
                    <a:pt x="15395" y="27231"/>
                  </a:moveTo>
                  <a:cubicBezTo>
                    <a:pt x="15285" y="27231"/>
                    <a:pt x="15155" y="27231"/>
                    <a:pt x="15045" y="27231"/>
                  </a:cubicBezTo>
                  <a:cubicBezTo>
                    <a:pt x="13698" y="27139"/>
                    <a:pt x="12480" y="26512"/>
                    <a:pt x="11576" y="25478"/>
                  </a:cubicBezTo>
                  <a:lnTo>
                    <a:pt x="1391" y="14702"/>
                  </a:lnTo>
                  <a:cubicBezTo>
                    <a:pt x="-547" y="12507"/>
                    <a:pt x="-436" y="9407"/>
                    <a:pt x="1575" y="7433"/>
                  </a:cubicBezTo>
                  <a:lnTo>
                    <a:pt x="7922" y="1436"/>
                  </a:lnTo>
                  <a:cubicBezTo>
                    <a:pt x="9897" y="-539"/>
                    <a:pt x="13163" y="-465"/>
                    <a:pt x="15211" y="1583"/>
                  </a:cubicBezTo>
                  <a:lnTo>
                    <a:pt x="25562" y="12636"/>
                  </a:lnTo>
                  <a:cubicBezTo>
                    <a:pt x="27463" y="14869"/>
                    <a:pt x="27260" y="18171"/>
                    <a:pt x="25212" y="19924"/>
                  </a:cubicBezTo>
                  <a:lnTo>
                    <a:pt x="18975" y="25810"/>
                  </a:lnTo>
                  <a:cubicBezTo>
                    <a:pt x="17886" y="26770"/>
                    <a:pt x="16650" y="27250"/>
                    <a:pt x="15377" y="27250"/>
                  </a:cubicBezTo>
                  <a:close/>
                  <a:moveTo>
                    <a:pt x="6280" y="11178"/>
                  </a:moveTo>
                  <a:lnTo>
                    <a:pt x="15469" y="20884"/>
                  </a:lnTo>
                  <a:lnTo>
                    <a:pt x="20599" y="16049"/>
                  </a:lnTo>
                  <a:lnTo>
                    <a:pt x="11447" y="6289"/>
                  </a:lnTo>
                  <a:lnTo>
                    <a:pt x="6262" y="11178"/>
                  </a:lnTo>
                  <a:close/>
                  <a:moveTo>
                    <a:pt x="21208" y="15477"/>
                  </a:moveTo>
                  <a:lnTo>
                    <a:pt x="21208" y="15477"/>
                  </a:lnTo>
                  <a:cubicBezTo>
                    <a:pt x="21208" y="15477"/>
                    <a:pt x="21208" y="15477"/>
                    <a:pt x="21208" y="15477"/>
                  </a:cubicBezTo>
                  <a:lnTo>
                    <a:pt x="21208" y="15477"/>
                  </a:lnTo>
                  <a:close/>
                </a:path>
              </a:pathLst>
            </a:custGeom>
            <a:solidFill>
              <a:srgbClr val="FFFFFF"/>
            </a:solidFill>
            <a:ln w="1835" cap="flat">
              <a:noFill/>
              <a:prstDash val="solid"/>
              <a:miter/>
            </a:ln>
          </p:spPr>
          <p:txBody>
            <a:bodyPr/>
            <a:lstStyle/>
            <a:p>
              <a:endParaRPr lang="en-GB"/>
            </a:p>
          </p:txBody>
        </p:sp>
        <p:sp>
          <p:nvSpPr>
            <p:cNvPr id="1492" name="Freeform: Shape 1491">
              <a:extLst>
                <a:ext uri="{FF2B5EF4-FFF2-40B4-BE49-F238E27FC236}">
                  <a16:creationId xmlns:a16="http://schemas.microsoft.com/office/drawing/2014/main" id="{E701F354-9F46-1B53-A9E6-913F7900E440}"/>
                </a:ext>
              </a:extLst>
            </p:cNvPr>
            <p:cNvSpPr/>
            <p:nvPr/>
          </p:nvSpPr>
          <p:spPr>
            <a:xfrm>
              <a:off x="11029656" y="5027737"/>
              <a:ext cx="20899" cy="21236"/>
            </a:xfrm>
            <a:custGeom>
              <a:avLst/>
              <a:gdLst>
                <a:gd name="csX0" fmla="*/ 6952 w 20899"/>
                <a:gd name="csY0" fmla="*/ 570 h 21236"/>
                <a:gd name="csX1" fmla="*/ 10052 w 20899"/>
                <a:gd name="csY1" fmla="*/ 681 h 21236"/>
                <a:gd name="csX2" fmla="*/ 20329 w 20899"/>
                <a:gd name="csY2" fmla="*/ 11660 h 21236"/>
                <a:gd name="csX3" fmla="*/ 20218 w 20899"/>
                <a:gd name="csY3" fmla="*/ 14649 h 21236"/>
                <a:gd name="csX4" fmla="*/ 13889 w 20899"/>
                <a:gd name="csY4" fmla="*/ 20627 h 21236"/>
                <a:gd name="csX5" fmla="*/ 10900 w 20899"/>
                <a:gd name="csY5" fmla="*/ 20516 h 21236"/>
                <a:gd name="csX6" fmla="*/ 623 w 20899"/>
                <a:gd name="csY6" fmla="*/ 9648 h 21236"/>
                <a:gd name="csX7" fmla="*/ 623 w 20899"/>
                <a:gd name="csY7" fmla="*/ 6548 h 21236"/>
                <a:gd name="csX8" fmla="*/ 6952 w 20899"/>
                <a:gd name="csY8" fmla="*/ 570 h 212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899" h="21236">
                  <a:moveTo>
                    <a:pt x="6952" y="570"/>
                  </a:moveTo>
                  <a:cubicBezTo>
                    <a:pt x="7911" y="-260"/>
                    <a:pt x="9221" y="-149"/>
                    <a:pt x="10052" y="681"/>
                  </a:cubicBezTo>
                  <a:lnTo>
                    <a:pt x="20329" y="11660"/>
                  </a:lnTo>
                  <a:cubicBezTo>
                    <a:pt x="21159" y="12490"/>
                    <a:pt x="21049" y="13929"/>
                    <a:pt x="20218" y="14649"/>
                  </a:cubicBezTo>
                  <a:lnTo>
                    <a:pt x="13889" y="20627"/>
                  </a:lnTo>
                  <a:cubicBezTo>
                    <a:pt x="13059" y="21457"/>
                    <a:pt x="11620" y="21457"/>
                    <a:pt x="10900" y="20516"/>
                  </a:cubicBezTo>
                  <a:lnTo>
                    <a:pt x="623" y="9648"/>
                  </a:lnTo>
                  <a:cubicBezTo>
                    <a:pt x="-208" y="8689"/>
                    <a:pt x="-208" y="7379"/>
                    <a:pt x="623" y="6548"/>
                  </a:cubicBezTo>
                  <a:lnTo>
                    <a:pt x="6952" y="570"/>
                  </a:lnTo>
                  <a:close/>
                </a:path>
              </a:pathLst>
            </a:custGeom>
            <a:solidFill>
              <a:srgbClr val="FFFFFF"/>
            </a:solidFill>
            <a:ln w="1835" cap="flat">
              <a:noFill/>
              <a:prstDash val="solid"/>
              <a:miter/>
            </a:ln>
          </p:spPr>
          <p:txBody>
            <a:bodyPr/>
            <a:lstStyle/>
            <a:p>
              <a:endParaRPr lang="en-GB"/>
            </a:p>
          </p:txBody>
        </p:sp>
        <p:sp>
          <p:nvSpPr>
            <p:cNvPr id="1493" name="Freeform: Shape 1492">
              <a:extLst>
                <a:ext uri="{FF2B5EF4-FFF2-40B4-BE49-F238E27FC236}">
                  <a16:creationId xmlns:a16="http://schemas.microsoft.com/office/drawing/2014/main" id="{38E9FBC0-3955-EF04-B1BC-DB05BB6723CA}"/>
                </a:ext>
              </a:extLst>
            </p:cNvPr>
            <p:cNvSpPr/>
            <p:nvPr/>
          </p:nvSpPr>
          <p:spPr>
            <a:xfrm>
              <a:off x="11026662" y="5024756"/>
              <a:ext cx="26869" cy="27243"/>
            </a:xfrm>
            <a:custGeom>
              <a:avLst/>
              <a:gdLst>
                <a:gd name="csX0" fmla="*/ 15389 w 26869"/>
                <a:gd name="csY0" fmla="*/ 27225 h 27243"/>
                <a:gd name="csX1" fmla="*/ 15057 w 26869"/>
                <a:gd name="csY1" fmla="*/ 27225 h 27243"/>
                <a:gd name="csX2" fmla="*/ 11496 w 26869"/>
                <a:gd name="csY2" fmla="*/ 25306 h 27243"/>
                <a:gd name="csX3" fmla="*/ 1440 w 26869"/>
                <a:gd name="csY3" fmla="*/ 14697 h 27243"/>
                <a:gd name="csX4" fmla="*/ 1495 w 26869"/>
                <a:gd name="csY4" fmla="*/ 7427 h 27243"/>
                <a:gd name="csX5" fmla="*/ 7879 w 26869"/>
                <a:gd name="csY5" fmla="*/ 1393 h 27243"/>
                <a:gd name="csX6" fmla="*/ 7953 w 26869"/>
                <a:gd name="csY6" fmla="*/ 1338 h 27243"/>
                <a:gd name="csX7" fmla="*/ 15131 w 26869"/>
                <a:gd name="csY7" fmla="*/ 1559 h 27243"/>
                <a:gd name="csX8" fmla="*/ 25482 w 26869"/>
                <a:gd name="csY8" fmla="*/ 12630 h 27243"/>
                <a:gd name="csX9" fmla="*/ 26866 w 26869"/>
                <a:gd name="csY9" fmla="*/ 16321 h 27243"/>
                <a:gd name="csX10" fmla="*/ 25113 w 26869"/>
                <a:gd name="csY10" fmla="*/ 19937 h 27243"/>
                <a:gd name="csX11" fmla="*/ 18913 w 26869"/>
                <a:gd name="csY11" fmla="*/ 25805 h 27243"/>
                <a:gd name="csX12" fmla="*/ 15389 w 26869"/>
                <a:gd name="csY12" fmla="*/ 27244 h 27243"/>
                <a:gd name="csX13" fmla="*/ 14780 w 26869"/>
                <a:gd name="csY13" fmla="*/ 21469 h 27243"/>
                <a:gd name="csX14" fmla="*/ 14725 w 26869"/>
                <a:gd name="csY14" fmla="*/ 21524 h 27243"/>
                <a:gd name="csX15" fmla="*/ 14780 w 26869"/>
                <a:gd name="csY15" fmla="*/ 21469 h 27243"/>
                <a:gd name="csX16" fmla="*/ 16035 w 26869"/>
                <a:gd name="csY16" fmla="*/ 21432 h 27243"/>
                <a:gd name="csX17" fmla="*/ 16035 w 26869"/>
                <a:gd name="csY17" fmla="*/ 21432 h 27243"/>
                <a:gd name="csX18" fmla="*/ 16035 w 26869"/>
                <a:gd name="csY18" fmla="*/ 21432 h 27243"/>
                <a:gd name="csX19" fmla="*/ 6274 w 26869"/>
                <a:gd name="csY19" fmla="*/ 11117 h 27243"/>
                <a:gd name="csX20" fmla="*/ 15444 w 26869"/>
                <a:gd name="csY20" fmla="*/ 20823 h 27243"/>
                <a:gd name="csX21" fmla="*/ 20518 w 26869"/>
                <a:gd name="csY21" fmla="*/ 16044 h 27243"/>
                <a:gd name="csX22" fmla="*/ 11385 w 26869"/>
                <a:gd name="csY22" fmla="*/ 6264 h 27243"/>
                <a:gd name="csX23" fmla="*/ 6274 w 26869"/>
                <a:gd name="csY23" fmla="*/ 11099 h 27243"/>
                <a:gd name="csX24" fmla="*/ 21146 w 26869"/>
                <a:gd name="csY24" fmla="*/ 16726 h 27243"/>
                <a:gd name="csX25" fmla="*/ 21201 w 26869"/>
                <a:gd name="csY25" fmla="*/ 16782 h 27243"/>
                <a:gd name="csX26" fmla="*/ 21146 w 26869"/>
                <a:gd name="csY26" fmla="*/ 16726 h 27243"/>
                <a:gd name="csX27" fmla="*/ 21146 w 26869"/>
                <a:gd name="csY27" fmla="*/ 15472 h 27243"/>
                <a:gd name="csX28" fmla="*/ 21109 w 26869"/>
                <a:gd name="csY28" fmla="*/ 15509 h 27243"/>
                <a:gd name="csX29" fmla="*/ 21146 w 26869"/>
                <a:gd name="csY29" fmla="*/ 15472 h 272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26869" h="27243">
                  <a:moveTo>
                    <a:pt x="15389" y="27225"/>
                  </a:moveTo>
                  <a:cubicBezTo>
                    <a:pt x="15278" y="27225"/>
                    <a:pt x="15168" y="27225"/>
                    <a:pt x="15057" y="27225"/>
                  </a:cubicBezTo>
                  <a:cubicBezTo>
                    <a:pt x="13654" y="27133"/>
                    <a:pt x="12344" y="26432"/>
                    <a:pt x="11496" y="25306"/>
                  </a:cubicBezTo>
                  <a:lnTo>
                    <a:pt x="1440" y="14697"/>
                  </a:lnTo>
                  <a:cubicBezTo>
                    <a:pt x="-516" y="12464"/>
                    <a:pt x="-461" y="9383"/>
                    <a:pt x="1495" y="7427"/>
                  </a:cubicBezTo>
                  <a:lnTo>
                    <a:pt x="7879" y="1393"/>
                  </a:lnTo>
                  <a:cubicBezTo>
                    <a:pt x="7879" y="1393"/>
                    <a:pt x="7934" y="1338"/>
                    <a:pt x="7953" y="1338"/>
                  </a:cubicBezTo>
                  <a:cubicBezTo>
                    <a:pt x="10038" y="-526"/>
                    <a:pt x="13101" y="-434"/>
                    <a:pt x="15131" y="1559"/>
                  </a:cubicBezTo>
                  <a:lnTo>
                    <a:pt x="25482" y="12630"/>
                  </a:lnTo>
                  <a:cubicBezTo>
                    <a:pt x="26386" y="13534"/>
                    <a:pt x="26921" y="14900"/>
                    <a:pt x="26866" y="16321"/>
                  </a:cubicBezTo>
                  <a:cubicBezTo>
                    <a:pt x="26810" y="17723"/>
                    <a:pt x="26165" y="19051"/>
                    <a:pt x="25113" y="19937"/>
                  </a:cubicBezTo>
                  <a:lnTo>
                    <a:pt x="18913" y="25805"/>
                  </a:lnTo>
                  <a:cubicBezTo>
                    <a:pt x="18028" y="26709"/>
                    <a:pt x="16736" y="27244"/>
                    <a:pt x="15389" y="27244"/>
                  </a:cubicBezTo>
                  <a:close/>
                  <a:moveTo>
                    <a:pt x="14780" y="21469"/>
                  </a:moveTo>
                  <a:lnTo>
                    <a:pt x="14725" y="21524"/>
                  </a:lnTo>
                  <a:lnTo>
                    <a:pt x="14780" y="21469"/>
                  </a:lnTo>
                  <a:close/>
                  <a:moveTo>
                    <a:pt x="16035" y="21432"/>
                  </a:moveTo>
                  <a:lnTo>
                    <a:pt x="16035" y="21432"/>
                  </a:lnTo>
                  <a:cubicBezTo>
                    <a:pt x="16035" y="21432"/>
                    <a:pt x="16035" y="21432"/>
                    <a:pt x="16035" y="21432"/>
                  </a:cubicBezTo>
                  <a:close/>
                  <a:moveTo>
                    <a:pt x="6274" y="11117"/>
                  </a:moveTo>
                  <a:lnTo>
                    <a:pt x="15444" y="20823"/>
                  </a:lnTo>
                  <a:lnTo>
                    <a:pt x="20518" y="16044"/>
                  </a:lnTo>
                  <a:lnTo>
                    <a:pt x="11385" y="6264"/>
                  </a:lnTo>
                  <a:lnTo>
                    <a:pt x="6274" y="11099"/>
                  </a:lnTo>
                  <a:close/>
                  <a:moveTo>
                    <a:pt x="21146" y="16726"/>
                  </a:moveTo>
                  <a:lnTo>
                    <a:pt x="21201" y="16782"/>
                  </a:lnTo>
                  <a:lnTo>
                    <a:pt x="21146" y="16726"/>
                  </a:lnTo>
                  <a:close/>
                  <a:moveTo>
                    <a:pt x="21146" y="15472"/>
                  </a:moveTo>
                  <a:cubicBezTo>
                    <a:pt x="21146" y="15472"/>
                    <a:pt x="21127" y="15472"/>
                    <a:pt x="21109" y="15509"/>
                  </a:cubicBezTo>
                  <a:lnTo>
                    <a:pt x="21146" y="15472"/>
                  </a:lnTo>
                  <a:close/>
                </a:path>
              </a:pathLst>
            </a:custGeom>
            <a:solidFill>
              <a:srgbClr val="FFFFFF"/>
            </a:solidFill>
            <a:ln w="1835" cap="flat">
              <a:noFill/>
              <a:prstDash val="solid"/>
              <a:miter/>
            </a:ln>
          </p:spPr>
          <p:txBody>
            <a:bodyPr/>
            <a:lstStyle/>
            <a:p>
              <a:endParaRPr lang="en-GB"/>
            </a:p>
          </p:txBody>
        </p:sp>
        <p:sp>
          <p:nvSpPr>
            <p:cNvPr id="1494" name="Freeform: Shape 1493">
              <a:extLst>
                <a:ext uri="{FF2B5EF4-FFF2-40B4-BE49-F238E27FC236}">
                  <a16:creationId xmlns:a16="http://schemas.microsoft.com/office/drawing/2014/main" id="{144BEFA9-02B8-EBAA-BE7E-13671A324BDB}"/>
                </a:ext>
              </a:extLst>
            </p:cNvPr>
            <p:cNvSpPr/>
            <p:nvPr/>
          </p:nvSpPr>
          <p:spPr>
            <a:xfrm>
              <a:off x="10864736" y="4956570"/>
              <a:ext cx="20899" cy="21197"/>
            </a:xfrm>
            <a:custGeom>
              <a:avLst/>
              <a:gdLst>
                <a:gd name="csX0" fmla="*/ 6952 w 20899"/>
                <a:gd name="csY0" fmla="*/ 570 h 21197"/>
                <a:gd name="csX1" fmla="*/ 10052 w 20899"/>
                <a:gd name="csY1" fmla="*/ 681 h 21197"/>
                <a:gd name="csX2" fmla="*/ 20329 w 20899"/>
                <a:gd name="csY2" fmla="*/ 11660 h 21197"/>
                <a:gd name="csX3" fmla="*/ 20218 w 20899"/>
                <a:gd name="csY3" fmla="*/ 14649 h 21197"/>
                <a:gd name="csX4" fmla="*/ 13889 w 20899"/>
                <a:gd name="csY4" fmla="*/ 20627 h 21197"/>
                <a:gd name="csX5" fmla="*/ 10900 w 20899"/>
                <a:gd name="csY5" fmla="*/ 20516 h 21197"/>
                <a:gd name="csX6" fmla="*/ 623 w 20899"/>
                <a:gd name="csY6" fmla="*/ 9538 h 21197"/>
                <a:gd name="csX7" fmla="*/ 623 w 20899"/>
                <a:gd name="csY7" fmla="*/ 6548 h 21197"/>
                <a:gd name="csX8" fmla="*/ 6952 w 20899"/>
                <a:gd name="csY8" fmla="*/ 570 h 211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899" h="21197">
                  <a:moveTo>
                    <a:pt x="6952" y="570"/>
                  </a:moveTo>
                  <a:cubicBezTo>
                    <a:pt x="7911" y="-260"/>
                    <a:pt x="9221" y="-149"/>
                    <a:pt x="10052" y="681"/>
                  </a:cubicBezTo>
                  <a:lnTo>
                    <a:pt x="20329" y="11660"/>
                  </a:lnTo>
                  <a:cubicBezTo>
                    <a:pt x="21159" y="12490"/>
                    <a:pt x="21049" y="13800"/>
                    <a:pt x="20218" y="14649"/>
                  </a:cubicBezTo>
                  <a:lnTo>
                    <a:pt x="13889" y="20627"/>
                  </a:lnTo>
                  <a:cubicBezTo>
                    <a:pt x="13059" y="21457"/>
                    <a:pt x="11620" y="21347"/>
                    <a:pt x="10900" y="20516"/>
                  </a:cubicBezTo>
                  <a:lnTo>
                    <a:pt x="623" y="9538"/>
                  </a:lnTo>
                  <a:cubicBezTo>
                    <a:pt x="-208" y="8707"/>
                    <a:pt x="-208" y="7397"/>
                    <a:pt x="623" y="6548"/>
                  </a:cubicBezTo>
                  <a:lnTo>
                    <a:pt x="6952" y="570"/>
                  </a:lnTo>
                  <a:close/>
                </a:path>
              </a:pathLst>
            </a:custGeom>
            <a:solidFill>
              <a:srgbClr val="FFFFFF"/>
            </a:solidFill>
            <a:ln w="1835" cap="flat">
              <a:noFill/>
              <a:prstDash val="solid"/>
              <a:miter/>
            </a:ln>
          </p:spPr>
          <p:txBody>
            <a:bodyPr/>
            <a:lstStyle/>
            <a:p>
              <a:endParaRPr lang="en-GB"/>
            </a:p>
          </p:txBody>
        </p:sp>
        <p:sp>
          <p:nvSpPr>
            <p:cNvPr id="1495" name="Freeform: Shape 1494">
              <a:extLst>
                <a:ext uri="{FF2B5EF4-FFF2-40B4-BE49-F238E27FC236}">
                  <a16:creationId xmlns:a16="http://schemas.microsoft.com/office/drawing/2014/main" id="{9EEB8114-22C0-768C-0484-BA1F4D13A8F4}"/>
                </a:ext>
              </a:extLst>
            </p:cNvPr>
            <p:cNvSpPr/>
            <p:nvPr/>
          </p:nvSpPr>
          <p:spPr>
            <a:xfrm>
              <a:off x="10861730" y="4953577"/>
              <a:ext cx="26862" cy="27180"/>
            </a:xfrm>
            <a:custGeom>
              <a:avLst/>
              <a:gdLst>
                <a:gd name="csX0" fmla="*/ 15456 w 26862"/>
                <a:gd name="csY0" fmla="*/ 27181 h 27180"/>
                <a:gd name="csX1" fmla="*/ 15234 w 26862"/>
                <a:gd name="csY1" fmla="*/ 27181 h 27180"/>
                <a:gd name="csX2" fmla="*/ 11618 w 26862"/>
                <a:gd name="csY2" fmla="*/ 25428 h 27180"/>
                <a:gd name="csX3" fmla="*/ 1432 w 26862"/>
                <a:gd name="csY3" fmla="*/ 14560 h 27180"/>
                <a:gd name="csX4" fmla="*/ 1488 w 26862"/>
                <a:gd name="csY4" fmla="*/ 7437 h 27180"/>
                <a:gd name="csX5" fmla="*/ 7890 w 26862"/>
                <a:gd name="csY5" fmla="*/ 1404 h 27180"/>
                <a:gd name="csX6" fmla="*/ 7964 w 26862"/>
                <a:gd name="csY6" fmla="*/ 1330 h 27180"/>
                <a:gd name="csX7" fmla="*/ 15142 w 26862"/>
                <a:gd name="csY7" fmla="*/ 1570 h 27180"/>
                <a:gd name="csX8" fmla="*/ 25493 w 26862"/>
                <a:gd name="csY8" fmla="*/ 12622 h 27180"/>
                <a:gd name="csX9" fmla="*/ 25309 w 26862"/>
                <a:gd name="csY9" fmla="*/ 19763 h 27180"/>
                <a:gd name="csX10" fmla="*/ 18925 w 26862"/>
                <a:gd name="csY10" fmla="*/ 25797 h 27180"/>
                <a:gd name="csX11" fmla="*/ 15456 w 26862"/>
                <a:gd name="csY11" fmla="*/ 27181 h 27180"/>
                <a:gd name="csX12" fmla="*/ 14810 w 26862"/>
                <a:gd name="csY12" fmla="*/ 21461 h 27180"/>
                <a:gd name="csX13" fmla="*/ 14754 w 26862"/>
                <a:gd name="csY13" fmla="*/ 21516 h 27180"/>
                <a:gd name="csX14" fmla="*/ 14810 w 26862"/>
                <a:gd name="csY14" fmla="*/ 21461 h 27180"/>
                <a:gd name="csX15" fmla="*/ 16046 w 26862"/>
                <a:gd name="csY15" fmla="*/ 21424 h 27180"/>
                <a:gd name="csX16" fmla="*/ 16083 w 26862"/>
                <a:gd name="csY16" fmla="*/ 21461 h 27180"/>
                <a:gd name="csX17" fmla="*/ 16046 w 26862"/>
                <a:gd name="csY17" fmla="*/ 21424 h 27180"/>
                <a:gd name="csX18" fmla="*/ 6341 w 26862"/>
                <a:gd name="csY18" fmla="*/ 11054 h 27180"/>
                <a:gd name="csX19" fmla="*/ 15474 w 26862"/>
                <a:gd name="csY19" fmla="*/ 20833 h 27180"/>
                <a:gd name="csX20" fmla="*/ 20548 w 26862"/>
                <a:gd name="csY20" fmla="*/ 16054 h 27180"/>
                <a:gd name="csX21" fmla="*/ 11396 w 26862"/>
                <a:gd name="csY21" fmla="*/ 6275 h 27180"/>
                <a:gd name="csX22" fmla="*/ 6341 w 26862"/>
                <a:gd name="csY22" fmla="*/ 11054 h 27180"/>
                <a:gd name="csX23" fmla="*/ 21176 w 26862"/>
                <a:gd name="csY23" fmla="*/ 16737 h 27180"/>
                <a:gd name="csX24" fmla="*/ 21213 w 26862"/>
                <a:gd name="csY24" fmla="*/ 16774 h 27180"/>
                <a:gd name="csX25" fmla="*/ 21176 w 26862"/>
                <a:gd name="csY25" fmla="*/ 16737 h 27180"/>
                <a:gd name="csX26" fmla="*/ 5750 w 26862"/>
                <a:gd name="csY26" fmla="*/ 10426 h 27180"/>
                <a:gd name="csX27" fmla="*/ 5787 w 26862"/>
                <a:gd name="csY27" fmla="*/ 10463 h 27180"/>
                <a:gd name="csX28" fmla="*/ 5750 w 26862"/>
                <a:gd name="csY28" fmla="*/ 10426 h 271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26862" h="27180">
                  <a:moveTo>
                    <a:pt x="15456" y="27181"/>
                  </a:moveTo>
                  <a:lnTo>
                    <a:pt x="15234" y="27181"/>
                  </a:lnTo>
                  <a:cubicBezTo>
                    <a:pt x="13832" y="27125"/>
                    <a:pt x="12503" y="26479"/>
                    <a:pt x="11618" y="25428"/>
                  </a:cubicBezTo>
                  <a:lnTo>
                    <a:pt x="1432" y="14560"/>
                  </a:lnTo>
                  <a:cubicBezTo>
                    <a:pt x="-487" y="12604"/>
                    <a:pt x="-487" y="9449"/>
                    <a:pt x="1488" y="7437"/>
                  </a:cubicBezTo>
                  <a:lnTo>
                    <a:pt x="7890" y="1404"/>
                  </a:lnTo>
                  <a:cubicBezTo>
                    <a:pt x="7890" y="1404"/>
                    <a:pt x="7946" y="1348"/>
                    <a:pt x="7964" y="1330"/>
                  </a:cubicBezTo>
                  <a:cubicBezTo>
                    <a:pt x="10068" y="-552"/>
                    <a:pt x="13168" y="-405"/>
                    <a:pt x="15142" y="1570"/>
                  </a:cubicBezTo>
                  <a:lnTo>
                    <a:pt x="25493" y="12622"/>
                  </a:lnTo>
                  <a:cubicBezTo>
                    <a:pt x="27375" y="14504"/>
                    <a:pt x="27320" y="17733"/>
                    <a:pt x="25309" y="19763"/>
                  </a:cubicBezTo>
                  <a:lnTo>
                    <a:pt x="18925" y="25797"/>
                  </a:lnTo>
                  <a:cubicBezTo>
                    <a:pt x="18057" y="26664"/>
                    <a:pt x="16784" y="27181"/>
                    <a:pt x="15456" y="27181"/>
                  </a:cubicBezTo>
                  <a:close/>
                  <a:moveTo>
                    <a:pt x="14810" y="21461"/>
                  </a:moveTo>
                  <a:cubicBezTo>
                    <a:pt x="14810" y="21461"/>
                    <a:pt x="14773" y="21497"/>
                    <a:pt x="14754" y="21516"/>
                  </a:cubicBezTo>
                  <a:lnTo>
                    <a:pt x="14810" y="21461"/>
                  </a:lnTo>
                  <a:close/>
                  <a:moveTo>
                    <a:pt x="16046" y="21424"/>
                  </a:moveTo>
                  <a:lnTo>
                    <a:pt x="16083" y="21461"/>
                  </a:lnTo>
                  <a:lnTo>
                    <a:pt x="16046" y="21424"/>
                  </a:lnTo>
                  <a:close/>
                  <a:moveTo>
                    <a:pt x="6341" y="11054"/>
                  </a:moveTo>
                  <a:lnTo>
                    <a:pt x="15474" y="20833"/>
                  </a:lnTo>
                  <a:lnTo>
                    <a:pt x="20548" y="16054"/>
                  </a:lnTo>
                  <a:lnTo>
                    <a:pt x="11396" y="6275"/>
                  </a:lnTo>
                  <a:lnTo>
                    <a:pt x="6341" y="11054"/>
                  </a:lnTo>
                  <a:close/>
                  <a:moveTo>
                    <a:pt x="21176" y="16737"/>
                  </a:moveTo>
                  <a:lnTo>
                    <a:pt x="21213" y="16774"/>
                  </a:lnTo>
                  <a:lnTo>
                    <a:pt x="21176" y="16737"/>
                  </a:lnTo>
                  <a:close/>
                  <a:moveTo>
                    <a:pt x="5750" y="10426"/>
                  </a:moveTo>
                  <a:lnTo>
                    <a:pt x="5787" y="10463"/>
                  </a:lnTo>
                  <a:lnTo>
                    <a:pt x="5750" y="10426"/>
                  </a:lnTo>
                  <a:close/>
                </a:path>
              </a:pathLst>
            </a:custGeom>
            <a:solidFill>
              <a:srgbClr val="FFFFFF"/>
            </a:solidFill>
            <a:ln w="1835" cap="flat">
              <a:noFill/>
              <a:prstDash val="solid"/>
              <a:miter/>
            </a:ln>
          </p:spPr>
          <p:txBody>
            <a:bodyPr/>
            <a:lstStyle/>
            <a:p>
              <a:endParaRPr lang="en-GB"/>
            </a:p>
          </p:txBody>
        </p:sp>
        <p:sp>
          <p:nvSpPr>
            <p:cNvPr id="1496" name="Freeform: Shape 1495">
              <a:extLst>
                <a:ext uri="{FF2B5EF4-FFF2-40B4-BE49-F238E27FC236}">
                  <a16:creationId xmlns:a16="http://schemas.microsoft.com/office/drawing/2014/main" id="{EE31676D-1AE6-45C3-2129-72C5D2E792AF}"/>
                </a:ext>
              </a:extLst>
            </p:cNvPr>
            <p:cNvSpPr/>
            <p:nvPr/>
          </p:nvSpPr>
          <p:spPr>
            <a:xfrm>
              <a:off x="11103236" y="4863462"/>
              <a:ext cx="19060" cy="20351"/>
            </a:xfrm>
            <a:custGeom>
              <a:avLst/>
              <a:gdLst>
                <a:gd name="csX0" fmla="*/ 0 w 19060"/>
                <a:gd name="csY0" fmla="*/ 13192 h 20351"/>
                <a:gd name="csX1" fmla="*/ 0 w 19060"/>
                <a:gd name="csY1" fmla="*/ 13192 h 20351"/>
                <a:gd name="csX2" fmla="*/ 1919 w 19060"/>
                <a:gd name="csY2" fmla="*/ 20000 h 20351"/>
                <a:gd name="csX3" fmla="*/ 6107 w 19060"/>
                <a:gd name="csY3" fmla="*/ 20111 h 20351"/>
                <a:gd name="csX4" fmla="*/ 13396 w 19060"/>
                <a:gd name="csY4" fmla="*/ 17011 h 20351"/>
                <a:gd name="csX5" fmla="*/ 14595 w 19060"/>
                <a:gd name="csY5" fmla="*/ 15461 h 20351"/>
                <a:gd name="csX6" fmla="*/ 16385 w 19060"/>
                <a:gd name="csY6" fmla="*/ 13782 h 20351"/>
                <a:gd name="csX7" fmla="*/ 18304 w 19060"/>
                <a:gd name="csY7" fmla="*/ 6254 h 20351"/>
                <a:gd name="csX8" fmla="*/ 13654 w 19060"/>
                <a:gd name="csY8" fmla="*/ 1124 h 20351"/>
                <a:gd name="csX9" fmla="*/ 11274 w 19060"/>
                <a:gd name="csY9" fmla="*/ 165 h 20351"/>
                <a:gd name="csX10" fmla="*/ 9134 w 19060"/>
                <a:gd name="csY10" fmla="*/ 54 h 20351"/>
                <a:gd name="csX11" fmla="*/ 5074 w 19060"/>
                <a:gd name="csY11" fmla="*/ 1124 h 20351"/>
                <a:gd name="csX12" fmla="*/ 3764 w 19060"/>
                <a:gd name="csY12" fmla="*/ 5663 h 20351"/>
                <a:gd name="csX13" fmla="*/ 4724 w 19060"/>
                <a:gd name="csY13" fmla="*/ 7342 h 20351"/>
                <a:gd name="csX14" fmla="*/ 2805 w 19060"/>
                <a:gd name="csY14" fmla="*/ 10922 h 20351"/>
                <a:gd name="csX15" fmla="*/ 55 w 19060"/>
                <a:gd name="csY15" fmla="*/ 13192 h 203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060" h="20351">
                  <a:moveTo>
                    <a:pt x="0" y="13192"/>
                  </a:moveTo>
                  <a:lnTo>
                    <a:pt x="0" y="13192"/>
                  </a:lnTo>
                  <a:cubicBezTo>
                    <a:pt x="590" y="15461"/>
                    <a:pt x="240" y="18081"/>
                    <a:pt x="1919" y="20000"/>
                  </a:cubicBezTo>
                  <a:cubicBezTo>
                    <a:pt x="2509" y="20720"/>
                    <a:pt x="6107" y="20111"/>
                    <a:pt x="6107" y="20111"/>
                  </a:cubicBezTo>
                  <a:cubicBezTo>
                    <a:pt x="8617" y="19391"/>
                    <a:pt x="11717" y="18672"/>
                    <a:pt x="13396" y="17011"/>
                  </a:cubicBezTo>
                  <a:cubicBezTo>
                    <a:pt x="13986" y="16531"/>
                    <a:pt x="14115" y="15941"/>
                    <a:pt x="14595" y="15461"/>
                  </a:cubicBezTo>
                  <a:cubicBezTo>
                    <a:pt x="15075" y="14871"/>
                    <a:pt x="15795" y="14391"/>
                    <a:pt x="16385" y="13782"/>
                  </a:cubicBezTo>
                  <a:cubicBezTo>
                    <a:pt x="19374" y="9003"/>
                    <a:pt x="19614" y="10553"/>
                    <a:pt x="18304" y="6254"/>
                  </a:cubicBezTo>
                  <a:cubicBezTo>
                    <a:pt x="18193" y="5774"/>
                    <a:pt x="14724" y="2194"/>
                    <a:pt x="13654" y="1124"/>
                  </a:cubicBezTo>
                  <a:cubicBezTo>
                    <a:pt x="12455" y="165"/>
                    <a:pt x="12104" y="534"/>
                    <a:pt x="11274" y="165"/>
                  </a:cubicBezTo>
                  <a:cubicBezTo>
                    <a:pt x="10554" y="54"/>
                    <a:pt x="9964" y="-75"/>
                    <a:pt x="9134" y="54"/>
                  </a:cubicBezTo>
                  <a:cubicBezTo>
                    <a:pt x="7823" y="294"/>
                    <a:pt x="6274" y="534"/>
                    <a:pt x="5074" y="1124"/>
                  </a:cubicBezTo>
                  <a:cubicBezTo>
                    <a:pt x="3524" y="2084"/>
                    <a:pt x="3764" y="4944"/>
                    <a:pt x="3764" y="5663"/>
                  </a:cubicBezTo>
                  <a:cubicBezTo>
                    <a:pt x="4115" y="6143"/>
                    <a:pt x="4963" y="6383"/>
                    <a:pt x="4724" y="7342"/>
                  </a:cubicBezTo>
                  <a:cubicBezTo>
                    <a:pt x="4613" y="8173"/>
                    <a:pt x="3893" y="10922"/>
                    <a:pt x="2805" y="10922"/>
                  </a:cubicBezTo>
                  <a:lnTo>
                    <a:pt x="55" y="13192"/>
                  </a:lnTo>
                  <a:close/>
                </a:path>
              </a:pathLst>
            </a:custGeom>
            <a:solidFill>
              <a:srgbClr val="FFFFFF"/>
            </a:solidFill>
            <a:ln w="1835" cap="flat">
              <a:noFill/>
              <a:prstDash val="solid"/>
              <a:miter/>
            </a:ln>
          </p:spPr>
          <p:txBody>
            <a:bodyPr/>
            <a:lstStyle/>
            <a:p>
              <a:endParaRPr lang="en-GB"/>
            </a:p>
          </p:txBody>
        </p:sp>
        <p:sp>
          <p:nvSpPr>
            <p:cNvPr id="1497" name="Freeform: Shape 1496">
              <a:extLst>
                <a:ext uri="{FF2B5EF4-FFF2-40B4-BE49-F238E27FC236}">
                  <a16:creationId xmlns:a16="http://schemas.microsoft.com/office/drawing/2014/main" id="{AAC89FC0-B9C8-BDA3-B225-495DF4FB032B}"/>
                </a:ext>
              </a:extLst>
            </p:cNvPr>
            <p:cNvSpPr/>
            <p:nvPr/>
          </p:nvSpPr>
          <p:spPr>
            <a:xfrm>
              <a:off x="11100258" y="4860479"/>
              <a:ext cx="24952" cy="26286"/>
            </a:xfrm>
            <a:custGeom>
              <a:avLst/>
              <a:gdLst>
                <a:gd name="csX0" fmla="*/ 6576 w 24952"/>
                <a:gd name="csY0" fmla="*/ 26286 h 26286"/>
                <a:gd name="csX1" fmla="*/ 2609 w 24952"/>
                <a:gd name="csY1" fmla="*/ 24902 h 26286"/>
                <a:gd name="csX2" fmla="*/ 395 w 24952"/>
                <a:gd name="csY2" fmla="*/ 18795 h 26286"/>
                <a:gd name="csX3" fmla="*/ 100 w 24952"/>
                <a:gd name="csY3" fmla="*/ 16913 h 26286"/>
                <a:gd name="csX4" fmla="*/ 1078 w 24952"/>
                <a:gd name="csY4" fmla="*/ 13832 h 26286"/>
                <a:gd name="csX5" fmla="*/ 3827 w 24952"/>
                <a:gd name="csY5" fmla="*/ 11562 h 26286"/>
                <a:gd name="csX6" fmla="*/ 4288 w 24952"/>
                <a:gd name="csY6" fmla="*/ 11267 h 26286"/>
                <a:gd name="csX7" fmla="*/ 4491 w 24952"/>
                <a:gd name="csY7" fmla="*/ 10658 h 26286"/>
                <a:gd name="csX8" fmla="*/ 4307 w 24952"/>
                <a:gd name="csY8" fmla="*/ 10418 h 26286"/>
                <a:gd name="csX9" fmla="*/ 3698 w 24952"/>
                <a:gd name="csY9" fmla="*/ 8628 h 26286"/>
                <a:gd name="csX10" fmla="*/ 6447 w 24952"/>
                <a:gd name="csY10" fmla="*/ 1543 h 26286"/>
                <a:gd name="csX11" fmla="*/ 11282 w 24952"/>
                <a:gd name="csY11" fmla="*/ 122 h 26286"/>
                <a:gd name="csX12" fmla="*/ 14566 w 24952"/>
                <a:gd name="csY12" fmla="*/ 177 h 26286"/>
                <a:gd name="csX13" fmla="*/ 15378 w 24952"/>
                <a:gd name="csY13" fmla="*/ 399 h 26286"/>
                <a:gd name="csX14" fmla="*/ 18441 w 24952"/>
                <a:gd name="csY14" fmla="*/ 1764 h 26286"/>
                <a:gd name="csX15" fmla="*/ 24142 w 24952"/>
                <a:gd name="csY15" fmla="*/ 8517 h 26286"/>
                <a:gd name="csX16" fmla="*/ 23423 w 24952"/>
                <a:gd name="csY16" fmla="*/ 16009 h 26286"/>
                <a:gd name="csX17" fmla="*/ 21854 w 24952"/>
                <a:gd name="csY17" fmla="*/ 18352 h 26286"/>
                <a:gd name="csX18" fmla="*/ 20507 w 24952"/>
                <a:gd name="csY18" fmla="*/ 19718 h 26286"/>
                <a:gd name="csX19" fmla="*/ 19880 w 24952"/>
                <a:gd name="csY19" fmla="*/ 20308 h 26286"/>
                <a:gd name="csX20" fmla="*/ 18201 w 24952"/>
                <a:gd name="csY20" fmla="*/ 22338 h 26286"/>
                <a:gd name="csX21" fmla="*/ 10654 w 24952"/>
                <a:gd name="csY21" fmla="*/ 25751 h 26286"/>
                <a:gd name="csX22" fmla="*/ 9879 w 24952"/>
                <a:gd name="csY22" fmla="*/ 25954 h 26286"/>
                <a:gd name="csX23" fmla="*/ 6576 w 24952"/>
                <a:gd name="csY23" fmla="*/ 26286 h 26286"/>
                <a:gd name="csX24" fmla="*/ 6226 w 24952"/>
                <a:gd name="csY24" fmla="*/ 17356 h 26286"/>
                <a:gd name="csX25" fmla="*/ 6318 w 24952"/>
                <a:gd name="csY25" fmla="*/ 18075 h 26286"/>
                <a:gd name="csX26" fmla="*/ 6742 w 24952"/>
                <a:gd name="csY26" fmla="*/ 20345 h 26286"/>
                <a:gd name="csX27" fmla="*/ 8569 w 24952"/>
                <a:gd name="csY27" fmla="*/ 20142 h 26286"/>
                <a:gd name="csX28" fmla="*/ 9049 w 24952"/>
                <a:gd name="csY28" fmla="*/ 19994 h 26286"/>
                <a:gd name="csX29" fmla="*/ 14234 w 24952"/>
                <a:gd name="csY29" fmla="*/ 17891 h 26286"/>
                <a:gd name="csX30" fmla="*/ 15433 w 24952"/>
                <a:gd name="csY30" fmla="*/ 16341 h 26286"/>
                <a:gd name="csX31" fmla="*/ 16633 w 24952"/>
                <a:gd name="csY31" fmla="*/ 15197 h 26286"/>
                <a:gd name="csX32" fmla="*/ 17223 w 24952"/>
                <a:gd name="csY32" fmla="*/ 14680 h 26286"/>
                <a:gd name="csX33" fmla="*/ 18570 w 24952"/>
                <a:gd name="csY33" fmla="*/ 12577 h 26286"/>
                <a:gd name="csX34" fmla="*/ 19123 w 24952"/>
                <a:gd name="csY34" fmla="*/ 11765 h 26286"/>
                <a:gd name="csX35" fmla="*/ 18570 w 24952"/>
                <a:gd name="csY35" fmla="*/ 10732 h 26286"/>
                <a:gd name="csX36" fmla="*/ 18515 w 24952"/>
                <a:gd name="csY36" fmla="*/ 10529 h 26286"/>
                <a:gd name="csX37" fmla="*/ 14474 w 24952"/>
                <a:gd name="csY37" fmla="*/ 6229 h 26286"/>
                <a:gd name="csX38" fmla="*/ 13016 w 24952"/>
                <a:gd name="csY38" fmla="*/ 5897 h 26286"/>
                <a:gd name="csX39" fmla="*/ 12462 w 24952"/>
                <a:gd name="csY39" fmla="*/ 5990 h 26286"/>
                <a:gd name="csX40" fmla="*/ 9399 w 24952"/>
                <a:gd name="csY40" fmla="*/ 6728 h 26286"/>
                <a:gd name="csX41" fmla="*/ 9639 w 24952"/>
                <a:gd name="csY41" fmla="*/ 7392 h 26286"/>
                <a:gd name="csX42" fmla="*/ 10525 w 24952"/>
                <a:gd name="csY42" fmla="*/ 11027 h 26286"/>
                <a:gd name="csX43" fmla="*/ 7093 w 24952"/>
                <a:gd name="csY43" fmla="*/ 16618 h 26286"/>
                <a:gd name="csX44" fmla="*/ 6207 w 24952"/>
                <a:gd name="csY44" fmla="*/ 17356 h 26286"/>
                <a:gd name="csX45" fmla="*/ 5728 w 24952"/>
                <a:gd name="csY45" fmla="*/ 10916 h 26286"/>
                <a:gd name="csX46" fmla="*/ 5728 w 24952"/>
                <a:gd name="csY46" fmla="*/ 10916 h 26286"/>
                <a:gd name="csX47" fmla="*/ 5728 w 24952"/>
                <a:gd name="csY47" fmla="*/ 10916 h 26286"/>
                <a:gd name="csX48" fmla="*/ 18349 w 24952"/>
                <a:gd name="csY48" fmla="*/ 9957 h 26286"/>
                <a:gd name="csX49" fmla="*/ 18422 w 24952"/>
                <a:gd name="csY49" fmla="*/ 10215 h 26286"/>
                <a:gd name="csX50" fmla="*/ 18349 w 24952"/>
                <a:gd name="csY50" fmla="*/ 9957 h 26286"/>
                <a:gd name="csX51" fmla="*/ 4694 w 24952"/>
                <a:gd name="csY51" fmla="*/ 9901 h 26286"/>
                <a:gd name="csX52" fmla="*/ 4676 w 24952"/>
                <a:gd name="csY52" fmla="*/ 10012 h 26286"/>
                <a:gd name="csX53" fmla="*/ 4694 w 24952"/>
                <a:gd name="csY53" fmla="*/ 9901 h 262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4952" h="26286">
                  <a:moveTo>
                    <a:pt x="6576" y="26286"/>
                  </a:moveTo>
                  <a:cubicBezTo>
                    <a:pt x="3772" y="26286"/>
                    <a:pt x="2997" y="25364"/>
                    <a:pt x="2609" y="24902"/>
                  </a:cubicBezTo>
                  <a:cubicBezTo>
                    <a:pt x="912" y="22947"/>
                    <a:pt x="617" y="20640"/>
                    <a:pt x="395" y="18795"/>
                  </a:cubicBezTo>
                  <a:cubicBezTo>
                    <a:pt x="321" y="18149"/>
                    <a:pt x="247" y="17522"/>
                    <a:pt x="100" y="16913"/>
                  </a:cubicBezTo>
                  <a:cubicBezTo>
                    <a:pt x="-195" y="15787"/>
                    <a:pt x="174" y="14588"/>
                    <a:pt x="1078" y="13832"/>
                  </a:cubicBezTo>
                  <a:lnTo>
                    <a:pt x="3827" y="11562"/>
                  </a:lnTo>
                  <a:cubicBezTo>
                    <a:pt x="3975" y="11451"/>
                    <a:pt x="4122" y="11359"/>
                    <a:pt x="4288" y="11267"/>
                  </a:cubicBezTo>
                  <a:cubicBezTo>
                    <a:pt x="4362" y="11101"/>
                    <a:pt x="4436" y="10879"/>
                    <a:pt x="4491" y="10658"/>
                  </a:cubicBezTo>
                  <a:cubicBezTo>
                    <a:pt x="4436" y="10584"/>
                    <a:pt x="4362" y="10510"/>
                    <a:pt x="4307" y="10418"/>
                  </a:cubicBezTo>
                  <a:cubicBezTo>
                    <a:pt x="3919" y="9901"/>
                    <a:pt x="3698" y="9274"/>
                    <a:pt x="3698" y="8628"/>
                  </a:cubicBezTo>
                  <a:cubicBezTo>
                    <a:pt x="3661" y="7041"/>
                    <a:pt x="3550" y="3314"/>
                    <a:pt x="6447" y="1543"/>
                  </a:cubicBezTo>
                  <a:cubicBezTo>
                    <a:pt x="8182" y="676"/>
                    <a:pt x="9898" y="362"/>
                    <a:pt x="11282" y="122"/>
                  </a:cubicBezTo>
                  <a:cubicBezTo>
                    <a:pt x="12905" y="-118"/>
                    <a:pt x="13828" y="48"/>
                    <a:pt x="14566" y="177"/>
                  </a:cubicBezTo>
                  <a:cubicBezTo>
                    <a:pt x="14806" y="214"/>
                    <a:pt x="15156" y="306"/>
                    <a:pt x="15378" y="399"/>
                  </a:cubicBezTo>
                  <a:cubicBezTo>
                    <a:pt x="16227" y="509"/>
                    <a:pt x="17168" y="731"/>
                    <a:pt x="18441" y="1764"/>
                  </a:cubicBezTo>
                  <a:cubicBezTo>
                    <a:pt x="23773" y="7078"/>
                    <a:pt x="23976" y="7835"/>
                    <a:pt x="24142" y="8517"/>
                  </a:cubicBezTo>
                  <a:cubicBezTo>
                    <a:pt x="25305" y="12263"/>
                    <a:pt x="25342" y="13315"/>
                    <a:pt x="23423" y="16009"/>
                  </a:cubicBezTo>
                  <a:cubicBezTo>
                    <a:pt x="23035" y="16562"/>
                    <a:pt x="22519" y="17300"/>
                    <a:pt x="21854" y="18352"/>
                  </a:cubicBezTo>
                  <a:cubicBezTo>
                    <a:pt x="21135" y="19182"/>
                    <a:pt x="20821" y="19441"/>
                    <a:pt x="20507" y="19718"/>
                  </a:cubicBezTo>
                  <a:cubicBezTo>
                    <a:pt x="20267" y="19921"/>
                    <a:pt x="20046" y="20087"/>
                    <a:pt x="19880" y="20308"/>
                  </a:cubicBezTo>
                  <a:cubicBezTo>
                    <a:pt x="19363" y="21065"/>
                    <a:pt x="18957" y="21729"/>
                    <a:pt x="18201" y="22338"/>
                  </a:cubicBezTo>
                  <a:cubicBezTo>
                    <a:pt x="16411" y="24164"/>
                    <a:pt x="13348" y="25013"/>
                    <a:pt x="10654" y="25751"/>
                  </a:cubicBezTo>
                  <a:lnTo>
                    <a:pt x="9879" y="25954"/>
                  </a:lnTo>
                  <a:cubicBezTo>
                    <a:pt x="8532" y="26194"/>
                    <a:pt x="7462" y="26286"/>
                    <a:pt x="6576" y="26286"/>
                  </a:cubicBezTo>
                  <a:close/>
                  <a:moveTo>
                    <a:pt x="6226" y="17356"/>
                  </a:moveTo>
                  <a:cubicBezTo>
                    <a:pt x="6263" y="17596"/>
                    <a:pt x="6300" y="17836"/>
                    <a:pt x="6318" y="18075"/>
                  </a:cubicBezTo>
                  <a:cubicBezTo>
                    <a:pt x="6429" y="19053"/>
                    <a:pt x="6539" y="19773"/>
                    <a:pt x="6742" y="20345"/>
                  </a:cubicBezTo>
                  <a:cubicBezTo>
                    <a:pt x="7296" y="20326"/>
                    <a:pt x="8034" y="20234"/>
                    <a:pt x="8569" y="20142"/>
                  </a:cubicBezTo>
                  <a:lnTo>
                    <a:pt x="9049" y="19994"/>
                  </a:lnTo>
                  <a:cubicBezTo>
                    <a:pt x="10931" y="19478"/>
                    <a:pt x="13274" y="18832"/>
                    <a:pt x="14234" y="17891"/>
                  </a:cubicBezTo>
                  <a:cubicBezTo>
                    <a:pt x="14695" y="17264"/>
                    <a:pt x="14972" y="16802"/>
                    <a:pt x="15433" y="16341"/>
                  </a:cubicBezTo>
                  <a:cubicBezTo>
                    <a:pt x="15599" y="16083"/>
                    <a:pt x="16116" y="15640"/>
                    <a:pt x="16633" y="15197"/>
                  </a:cubicBezTo>
                  <a:lnTo>
                    <a:pt x="17223" y="14680"/>
                  </a:lnTo>
                  <a:cubicBezTo>
                    <a:pt x="17555" y="14016"/>
                    <a:pt x="18127" y="13204"/>
                    <a:pt x="18570" y="12577"/>
                  </a:cubicBezTo>
                  <a:cubicBezTo>
                    <a:pt x="18828" y="12208"/>
                    <a:pt x="19013" y="11986"/>
                    <a:pt x="19123" y="11765"/>
                  </a:cubicBezTo>
                  <a:cubicBezTo>
                    <a:pt x="18957" y="11913"/>
                    <a:pt x="18810" y="11488"/>
                    <a:pt x="18570" y="10732"/>
                  </a:cubicBezTo>
                  <a:cubicBezTo>
                    <a:pt x="18570" y="10732"/>
                    <a:pt x="18551" y="10639"/>
                    <a:pt x="18515" y="10529"/>
                  </a:cubicBezTo>
                  <a:cubicBezTo>
                    <a:pt x="17869" y="9735"/>
                    <a:pt x="15876" y="7613"/>
                    <a:pt x="14474" y="6229"/>
                  </a:cubicBezTo>
                  <a:cubicBezTo>
                    <a:pt x="14197" y="6229"/>
                    <a:pt x="13662" y="6193"/>
                    <a:pt x="13016" y="5897"/>
                  </a:cubicBezTo>
                  <a:cubicBezTo>
                    <a:pt x="12998" y="5971"/>
                    <a:pt x="12776" y="5953"/>
                    <a:pt x="12462" y="5990"/>
                  </a:cubicBezTo>
                  <a:cubicBezTo>
                    <a:pt x="11282" y="6193"/>
                    <a:pt x="10138" y="6414"/>
                    <a:pt x="9399" y="6728"/>
                  </a:cubicBezTo>
                  <a:cubicBezTo>
                    <a:pt x="9676" y="6635"/>
                    <a:pt x="9639" y="6838"/>
                    <a:pt x="9639" y="7392"/>
                  </a:cubicBezTo>
                  <a:cubicBezTo>
                    <a:pt x="10543" y="8388"/>
                    <a:pt x="10857" y="9643"/>
                    <a:pt x="10525" y="11027"/>
                  </a:cubicBezTo>
                  <a:cubicBezTo>
                    <a:pt x="10488" y="11322"/>
                    <a:pt x="9824" y="15511"/>
                    <a:pt x="7093" y="16618"/>
                  </a:cubicBezTo>
                  <a:lnTo>
                    <a:pt x="6207" y="17356"/>
                  </a:lnTo>
                  <a:close/>
                  <a:moveTo>
                    <a:pt x="5728" y="10916"/>
                  </a:moveTo>
                  <a:lnTo>
                    <a:pt x="5728" y="10916"/>
                  </a:lnTo>
                  <a:lnTo>
                    <a:pt x="5728" y="10916"/>
                  </a:lnTo>
                  <a:close/>
                  <a:moveTo>
                    <a:pt x="18349" y="9957"/>
                  </a:moveTo>
                  <a:cubicBezTo>
                    <a:pt x="18367" y="10049"/>
                    <a:pt x="18404" y="10123"/>
                    <a:pt x="18422" y="10215"/>
                  </a:cubicBezTo>
                  <a:cubicBezTo>
                    <a:pt x="18385" y="10086"/>
                    <a:pt x="18349" y="9975"/>
                    <a:pt x="18349" y="9957"/>
                  </a:cubicBezTo>
                  <a:close/>
                  <a:moveTo>
                    <a:pt x="4694" y="9901"/>
                  </a:moveTo>
                  <a:cubicBezTo>
                    <a:pt x="4694" y="9901"/>
                    <a:pt x="4676" y="9975"/>
                    <a:pt x="4676" y="10012"/>
                  </a:cubicBezTo>
                  <a:cubicBezTo>
                    <a:pt x="4676" y="9975"/>
                    <a:pt x="4676" y="9938"/>
                    <a:pt x="4694" y="9901"/>
                  </a:cubicBezTo>
                  <a:close/>
                </a:path>
              </a:pathLst>
            </a:custGeom>
            <a:solidFill>
              <a:srgbClr val="FFFFFF"/>
            </a:solidFill>
            <a:ln w="1835" cap="flat">
              <a:noFill/>
              <a:prstDash val="solid"/>
              <a:miter/>
            </a:ln>
          </p:spPr>
          <p:txBody>
            <a:bodyPr/>
            <a:lstStyle/>
            <a:p>
              <a:endParaRPr lang="en-GB"/>
            </a:p>
          </p:txBody>
        </p:sp>
        <p:sp>
          <p:nvSpPr>
            <p:cNvPr id="1498" name="Freeform: Shape 1497">
              <a:extLst>
                <a:ext uri="{FF2B5EF4-FFF2-40B4-BE49-F238E27FC236}">
                  <a16:creationId xmlns:a16="http://schemas.microsoft.com/office/drawing/2014/main" id="{B8D1EA3C-948E-73F3-0CA3-2EC043B28F83}"/>
                </a:ext>
              </a:extLst>
            </p:cNvPr>
            <p:cNvSpPr/>
            <p:nvPr/>
          </p:nvSpPr>
          <p:spPr>
            <a:xfrm>
              <a:off x="11098629" y="4913351"/>
              <a:ext cx="16564" cy="22126"/>
            </a:xfrm>
            <a:custGeom>
              <a:avLst/>
              <a:gdLst>
                <a:gd name="csX0" fmla="*/ 16195 w 16564"/>
                <a:gd name="csY0" fmla="*/ 5576 h 22126"/>
                <a:gd name="csX1" fmla="*/ 16195 w 16564"/>
                <a:gd name="csY1" fmla="*/ 5576 h 22126"/>
                <a:gd name="csX2" fmla="*/ 12006 w 16564"/>
                <a:gd name="csY2" fmla="*/ 77 h 22126"/>
                <a:gd name="csX3" fmla="*/ 7947 w 16564"/>
                <a:gd name="csY3" fmla="*/ 1516 h 22126"/>
                <a:gd name="csX4" fmla="*/ 2449 w 16564"/>
                <a:gd name="csY4" fmla="*/ 7015 h 22126"/>
                <a:gd name="csX5" fmla="*/ 1969 w 16564"/>
                <a:gd name="csY5" fmla="*/ 8934 h 22126"/>
                <a:gd name="csX6" fmla="*/ 899 w 16564"/>
                <a:gd name="csY6" fmla="*/ 11314 h 22126"/>
                <a:gd name="csX7" fmla="*/ 1969 w 16564"/>
                <a:gd name="csY7" fmla="*/ 18842 h 22126"/>
                <a:gd name="csX8" fmla="*/ 8298 w 16564"/>
                <a:gd name="csY8" fmla="*/ 21831 h 22126"/>
                <a:gd name="csX9" fmla="*/ 10807 w 16564"/>
                <a:gd name="csY9" fmla="*/ 21942 h 22126"/>
                <a:gd name="csX10" fmla="*/ 12837 w 16564"/>
                <a:gd name="csY10" fmla="*/ 21223 h 22126"/>
                <a:gd name="csX11" fmla="*/ 16066 w 16564"/>
                <a:gd name="csY11" fmla="*/ 18602 h 22126"/>
                <a:gd name="csX12" fmla="*/ 15715 w 16564"/>
                <a:gd name="csY12" fmla="*/ 14063 h 22126"/>
                <a:gd name="csX13" fmla="*/ 14165 w 16564"/>
                <a:gd name="csY13" fmla="*/ 12864 h 22126"/>
                <a:gd name="csX14" fmla="*/ 14516 w 16564"/>
                <a:gd name="csY14" fmla="*/ 8805 h 22126"/>
                <a:gd name="csX15" fmla="*/ 16195 w 16564"/>
                <a:gd name="csY15" fmla="*/ 5576 h 221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6564" h="22126">
                  <a:moveTo>
                    <a:pt x="16195" y="5576"/>
                  </a:moveTo>
                  <a:lnTo>
                    <a:pt x="16195" y="5576"/>
                  </a:lnTo>
                  <a:cubicBezTo>
                    <a:pt x="14885" y="3657"/>
                    <a:pt x="14276" y="1166"/>
                    <a:pt x="12006" y="77"/>
                  </a:cubicBezTo>
                  <a:cubicBezTo>
                    <a:pt x="11047" y="-403"/>
                    <a:pt x="7947" y="1516"/>
                    <a:pt x="7947" y="1516"/>
                  </a:cubicBezTo>
                  <a:cubicBezTo>
                    <a:pt x="5917" y="3066"/>
                    <a:pt x="3408" y="4856"/>
                    <a:pt x="2449" y="7015"/>
                  </a:cubicBezTo>
                  <a:cubicBezTo>
                    <a:pt x="2098" y="7734"/>
                    <a:pt x="2209" y="8325"/>
                    <a:pt x="1969" y="8934"/>
                  </a:cubicBezTo>
                  <a:cubicBezTo>
                    <a:pt x="1618" y="9764"/>
                    <a:pt x="1249" y="10484"/>
                    <a:pt x="899" y="11314"/>
                  </a:cubicBezTo>
                  <a:cubicBezTo>
                    <a:pt x="-61" y="16813"/>
                    <a:pt x="-891" y="15373"/>
                    <a:pt x="1969" y="18842"/>
                  </a:cubicBezTo>
                  <a:cubicBezTo>
                    <a:pt x="2319" y="19322"/>
                    <a:pt x="6748" y="21352"/>
                    <a:pt x="8298" y="21831"/>
                  </a:cubicBezTo>
                  <a:cubicBezTo>
                    <a:pt x="9737" y="22422"/>
                    <a:pt x="9977" y="21942"/>
                    <a:pt x="10807" y="21942"/>
                  </a:cubicBezTo>
                  <a:cubicBezTo>
                    <a:pt x="11398" y="21702"/>
                    <a:pt x="12117" y="21592"/>
                    <a:pt x="12837" y="21223"/>
                  </a:cubicBezTo>
                  <a:cubicBezTo>
                    <a:pt x="14036" y="20503"/>
                    <a:pt x="15217" y="19673"/>
                    <a:pt x="16066" y="18602"/>
                  </a:cubicBezTo>
                  <a:cubicBezTo>
                    <a:pt x="17265" y="17163"/>
                    <a:pt x="15955" y="14654"/>
                    <a:pt x="15715" y="14063"/>
                  </a:cubicBezTo>
                  <a:cubicBezTo>
                    <a:pt x="15236" y="13584"/>
                    <a:pt x="14405" y="13713"/>
                    <a:pt x="14165" y="12864"/>
                  </a:cubicBezTo>
                  <a:cubicBezTo>
                    <a:pt x="13925" y="11904"/>
                    <a:pt x="13575" y="9155"/>
                    <a:pt x="14516" y="8805"/>
                  </a:cubicBezTo>
                  <a:lnTo>
                    <a:pt x="16195" y="5576"/>
                  </a:lnTo>
                  <a:close/>
                </a:path>
              </a:pathLst>
            </a:custGeom>
            <a:solidFill>
              <a:srgbClr val="FFFFFF"/>
            </a:solidFill>
            <a:ln w="1835" cap="flat">
              <a:noFill/>
              <a:prstDash val="solid"/>
              <a:miter/>
            </a:ln>
          </p:spPr>
          <p:txBody>
            <a:bodyPr/>
            <a:lstStyle/>
            <a:p>
              <a:endParaRPr lang="en-GB"/>
            </a:p>
          </p:txBody>
        </p:sp>
        <p:sp>
          <p:nvSpPr>
            <p:cNvPr id="1499" name="Freeform: Shape 1498">
              <a:extLst>
                <a:ext uri="{FF2B5EF4-FFF2-40B4-BE49-F238E27FC236}">
                  <a16:creationId xmlns:a16="http://schemas.microsoft.com/office/drawing/2014/main" id="{DB925ED4-CF5B-BD20-D723-242C0ACB8C9C}"/>
                </a:ext>
              </a:extLst>
            </p:cNvPr>
            <p:cNvSpPr/>
            <p:nvPr/>
          </p:nvSpPr>
          <p:spPr>
            <a:xfrm>
              <a:off x="11095684" y="4910358"/>
              <a:ext cx="22506" cy="28089"/>
            </a:xfrm>
            <a:custGeom>
              <a:avLst/>
              <a:gdLst>
                <a:gd name="csX0" fmla="*/ 12442 w 22506"/>
                <a:gd name="csY0" fmla="*/ 28090 h 28089"/>
                <a:gd name="csX1" fmla="*/ 10117 w 22506"/>
                <a:gd name="csY1" fmla="*/ 27573 h 28089"/>
                <a:gd name="csX2" fmla="*/ 2551 w 22506"/>
                <a:gd name="csY2" fmla="*/ 23625 h 28089"/>
                <a:gd name="csX3" fmla="*/ 337 w 22506"/>
                <a:gd name="csY3" fmla="*/ 16539 h 28089"/>
                <a:gd name="csX4" fmla="*/ 928 w 22506"/>
                <a:gd name="csY4" fmla="*/ 13790 h 28089"/>
                <a:gd name="csX5" fmla="*/ 2201 w 22506"/>
                <a:gd name="csY5" fmla="*/ 10727 h 28089"/>
                <a:gd name="csX6" fmla="*/ 2754 w 22506"/>
                <a:gd name="csY6" fmla="*/ 8660 h 28089"/>
                <a:gd name="csX7" fmla="*/ 8659 w 22506"/>
                <a:gd name="csY7" fmla="*/ 2461 h 28089"/>
                <a:gd name="csX8" fmla="*/ 9342 w 22506"/>
                <a:gd name="csY8" fmla="*/ 1962 h 28089"/>
                <a:gd name="csX9" fmla="*/ 16298 w 22506"/>
                <a:gd name="csY9" fmla="*/ 394 h 28089"/>
                <a:gd name="csX10" fmla="*/ 20745 w 22506"/>
                <a:gd name="csY10" fmla="*/ 5357 h 28089"/>
                <a:gd name="csX11" fmla="*/ 21612 w 22506"/>
                <a:gd name="csY11" fmla="*/ 6871 h 28089"/>
                <a:gd name="csX12" fmla="*/ 21797 w 22506"/>
                <a:gd name="csY12" fmla="*/ 9933 h 28089"/>
                <a:gd name="csX13" fmla="*/ 20117 w 22506"/>
                <a:gd name="csY13" fmla="*/ 13162 h 28089"/>
                <a:gd name="csX14" fmla="*/ 19822 w 22506"/>
                <a:gd name="csY14" fmla="*/ 13624 h 28089"/>
                <a:gd name="csX15" fmla="*/ 19878 w 22506"/>
                <a:gd name="csY15" fmla="*/ 14233 h 28089"/>
                <a:gd name="csX16" fmla="*/ 20782 w 22506"/>
                <a:gd name="csY16" fmla="*/ 14915 h 28089"/>
                <a:gd name="csX17" fmla="*/ 21464 w 22506"/>
                <a:gd name="csY17" fmla="*/ 15949 h 28089"/>
                <a:gd name="csX18" fmla="*/ 21317 w 22506"/>
                <a:gd name="csY18" fmla="*/ 23477 h 28089"/>
                <a:gd name="csX19" fmla="*/ 17350 w 22506"/>
                <a:gd name="csY19" fmla="*/ 26761 h 28089"/>
                <a:gd name="csX20" fmla="*/ 15375 w 22506"/>
                <a:gd name="csY20" fmla="*/ 27536 h 28089"/>
                <a:gd name="csX21" fmla="*/ 13770 w 22506"/>
                <a:gd name="csY21" fmla="*/ 27905 h 28089"/>
                <a:gd name="csX22" fmla="*/ 12460 w 22506"/>
                <a:gd name="csY22" fmla="*/ 28090 h 28089"/>
                <a:gd name="csX23" fmla="*/ 6039 w 22506"/>
                <a:gd name="csY23" fmla="*/ 18661 h 28089"/>
                <a:gd name="csX24" fmla="*/ 6740 w 22506"/>
                <a:gd name="csY24" fmla="*/ 19325 h 28089"/>
                <a:gd name="csX25" fmla="*/ 7238 w 22506"/>
                <a:gd name="csY25" fmla="*/ 19916 h 28089"/>
                <a:gd name="csX26" fmla="*/ 12146 w 22506"/>
                <a:gd name="csY26" fmla="*/ 21945 h 28089"/>
                <a:gd name="csX27" fmla="*/ 13217 w 22506"/>
                <a:gd name="csY27" fmla="*/ 21945 h 28089"/>
                <a:gd name="csX28" fmla="*/ 13678 w 22506"/>
                <a:gd name="csY28" fmla="*/ 21798 h 28089"/>
                <a:gd name="csX29" fmla="*/ 14490 w 22506"/>
                <a:gd name="csY29" fmla="*/ 21503 h 28089"/>
                <a:gd name="csX30" fmla="*/ 16667 w 22506"/>
                <a:gd name="csY30" fmla="*/ 19731 h 28089"/>
                <a:gd name="csX31" fmla="*/ 16298 w 22506"/>
                <a:gd name="csY31" fmla="*/ 19085 h 28089"/>
                <a:gd name="csX32" fmla="*/ 14250 w 22506"/>
                <a:gd name="csY32" fmla="*/ 16631 h 28089"/>
                <a:gd name="csX33" fmla="*/ 15154 w 22506"/>
                <a:gd name="csY33" fmla="*/ 9767 h 28089"/>
                <a:gd name="csX34" fmla="*/ 15744 w 22506"/>
                <a:gd name="csY34" fmla="*/ 8623 h 28089"/>
                <a:gd name="csX35" fmla="*/ 15468 w 22506"/>
                <a:gd name="csY35" fmla="*/ 8107 h 28089"/>
                <a:gd name="csX36" fmla="*/ 14213 w 22506"/>
                <a:gd name="csY36" fmla="*/ 6114 h 28089"/>
                <a:gd name="csX37" fmla="*/ 12478 w 22506"/>
                <a:gd name="csY37" fmla="*/ 7018 h 28089"/>
                <a:gd name="csX38" fmla="*/ 8161 w 22506"/>
                <a:gd name="csY38" fmla="*/ 11188 h 28089"/>
                <a:gd name="csX39" fmla="*/ 7718 w 22506"/>
                <a:gd name="csY39" fmla="*/ 13015 h 28089"/>
                <a:gd name="csX40" fmla="*/ 6629 w 22506"/>
                <a:gd name="csY40" fmla="*/ 15450 h 28089"/>
                <a:gd name="csX41" fmla="*/ 6168 w 22506"/>
                <a:gd name="csY41" fmla="*/ 17923 h 28089"/>
                <a:gd name="csX42" fmla="*/ 5983 w 22506"/>
                <a:gd name="csY42" fmla="*/ 18753 h 28089"/>
                <a:gd name="csX43" fmla="*/ 6076 w 22506"/>
                <a:gd name="csY43" fmla="*/ 18643 h 28089"/>
                <a:gd name="csX44" fmla="*/ 18494 w 22506"/>
                <a:gd name="csY44" fmla="*/ 14583 h 28089"/>
                <a:gd name="csX45" fmla="*/ 18494 w 22506"/>
                <a:gd name="csY45" fmla="*/ 14583 h 28089"/>
                <a:gd name="csX46" fmla="*/ 18494 w 22506"/>
                <a:gd name="csY46" fmla="*/ 14583 h 28089"/>
                <a:gd name="csX47" fmla="*/ 13678 w 22506"/>
                <a:gd name="csY47" fmla="*/ 5782 h 28089"/>
                <a:gd name="csX48" fmla="*/ 13715 w 22506"/>
                <a:gd name="csY48" fmla="*/ 5782 h 28089"/>
                <a:gd name="csX49" fmla="*/ 13678 w 22506"/>
                <a:gd name="csY49" fmla="*/ 5782 h 2808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22506" h="28089">
                  <a:moveTo>
                    <a:pt x="12442" y="28090"/>
                  </a:moveTo>
                  <a:cubicBezTo>
                    <a:pt x="11814" y="28090"/>
                    <a:pt x="11058" y="27942"/>
                    <a:pt x="10117" y="27573"/>
                  </a:cubicBezTo>
                  <a:cubicBezTo>
                    <a:pt x="10043" y="27555"/>
                    <a:pt x="3788" y="25267"/>
                    <a:pt x="2551" y="23625"/>
                  </a:cubicBezTo>
                  <a:cubicBezTo>
                    <a:pt x="5" y="20580"/>
                    <a:pt x="-419" y="19657"/>
                    <a:pt x="337" y="16539"/>
                  </a:cubicBezTo>
                  <a:cubicBezTo>
                    <a:pt x="485" y="15893"/>
                    <a:pt x="706" y="15026"/>
                    <a:pt x="928" y="13790"/>
                  </a:cubicBezTo>
                  <a:lnTo>
                    <a:pt x="2201" y="10727"/>
                  </a:lnTo>
                  <a:cubicBezTo>
                    <a:pt x="2219" y="10266"/>
                    <a:pt x="2330" y="9509"/>
                    <a:pt x="2754" y="8660"/>
                  </a:cubicBezTo>
                  <a:cubicBezTo>
                    <a:pt x="3898" y="6077"/>
                    <a:pt x="6537" y="4084"/>
                    <a:pt x="8659" y="2461"/>
                  </a:cubicBezTo>
                  <a:cubicBezTo>
                    <a:pt x="8733" y="2405"/>
                    <a:pt x="9268" y="1999"/>
                    <a:pt x="9342" y="1962"/>
                  </a:cubicBezTo>
                  <a:cubicBezTo>
                    <a:pt x="13844" y="-805"/>
                    <a:pt x="15634" y="62"/>
                    <a:pt x="16298" y="394"/>
                  </a:cubicBezTo>
                  <a:cubicBezTo>
                    <a:pt x="18734" y="1556"/>
                    <a:pt x="19859" y="3641"/>
                    <a:pt x="20745" y="5357"/>
                  </a:cubicBezTo>
                  <a:cubicBezTo>
                    <a:pt x="21022" y="5874"/>
                    <a:pt x="21298" y="6391"/>
                    <a:pt x="21612" y="6871"/>
                  </a:cubicBezTo>
                  <a:cubicBezTo>
                    <a:pt x="22239" y="7775"/>
                    <a:pt x="22313" y="8956"/>
                    <a:pt x="21797" y="9933"/>
                  </a:cubicBezTo>
                  <a:lnTo>
                    <a:pt x="20117" y="13162"/>
                  </a:lnTo>
                  <a:cubicBezTo>
                    <a:pt x="20044" y="13329"/>
                    <a:pt x="19951" y="13476"/>
                    <a:pt x="19822" y="13624"/>
                  </a:cubicBezTo>
                  <a:cubicBezTo>
                    <a:pt x="19822" y="13808"/>
                    <a:pt x="19841" y="14011"/>
                    <a:pt x="19878" y="14233"/>
                  </a:cubicBezTo>
                  <a:cubicBezTo>
                    <a:pt x="20173" y="14399"/>
                    <a:pt x="20486" y="14620"/>
                    <a:pt x="20782" y="14915"/>
                  </a:cubicBezTo>
                  <a:cubicBezTo>
                    <a:pt x="21077" y="15211"/>
                    <a:pt x="21298" y="15561"/>
                    <a:pt x="21464" y="15949"/>
                  </a:cubicBezTo>
                  <a:cubicBezTo>
                    <a:pt x="22036" y="17259"/>
                    <a:pt x="23568" y="20801"/>
                    <a:pt x="21317" y="23477"/>
                  </a:cubicBezTo>
                  <a:cubicBezTo>
                    <a:pt x="20228" y="24898"/>
                    <a:pt x="18697" y="25931"/>
                    <a:pt x="17350" y="26761"/>
                  </a:cubicBezTo>
                  <a:cubicBezTo>
                    <a:pt x="16519" y="27186"/>
                    <a:pt x="15929" y="27370"/>
                    <a:pt x="15375" y="27536"/>
                  </a:cubicBezTo>
                  <a:cubicBezTo>
                    <a:pt x="15025" y="27684"/>
                    <a:pt x="14158" y="27905"/>
                    <a:pt x="13770" y="27905"/>
                  </a:cubicBezTo>
                  <a:cubicBezTo>
                    <a:pt x="13383" y="27998"/>
                    <a:pt x="12958" y="28090"/>
                    <a:pt x="12460" y="28090"/>
                  </a:cubicBezTo>
                  <a:close/>
                  <a:moveTo>
                    <a:pt x="6039" y="18661"/>
                  </a:moveTo>
                  <a:cubicBezTo>
                    <a:pt x="6168" y="18661"/>
                    <a:pt x="6408" y="18938"/>
                    <a:pt x="6740" y="19325"/>
                  </a:cubicBezTo>
                  <a:lnTo>
                    <a:pt x="7238" y="19916"/>
                  </a:lnTo>
                  <a:cubicBezTo>
                    <a:pt x="7515" y="19990"/>
                    <a:pt x="10929" y="21576"/>
                    <a:pt x="12146" y="21945"/>
                  </a:cubicBezTo>
                  <a:cubicBezTo>
                    <a:pt x="12515" y="22019"/>
                    <a:pt x="12829" y="21964"/>
                    <a:pt x="13217" y="21945"/>
                  </a:cubicBezTo>
                  <a:cubicBezTo>
                    <a:pt x="13364" y="21890"/>
                    <a:pt x="13512" y="21853"/>
                    <a:pt x="13678" y="21798"/>
                  </a:cubicBezTo>
                  <a:cubicBezTo>
                    <a:pt x="13936" y="21724"/>
                    <a:pt x="14213" y="21650"/>
                    <a:pt x="14490" y="21503"/>
                  </a:cubicBezTo>
                  <a:cubicBezTo>
                    <a:pt x="15136" y="21115"/>
                    <a:pt x="16113" y="20451"/>
                    <a:pt x="16667" y="19731"/>
                  </a:cubicBezTo>
                  <a:cubicBezTo>
                    <a:pt x="16612" y="19768"/>
                    <a:pt x="16556" y="19676"/>
                    <a:pt x="16298" y="19085"/>
                  </a:cubicBezTo>
                  <a:cubicBezTo>
                    <a:pt x="15781" y="18901"/>
                    <a:pt x="14674" y="18181"/>
                    <a:pt x="14250" y="16631"/>
                  </a:cubicBezTo>
                  <a:cubicBezTo>
                    <a:pt x="14010" y="15690"/>
                    <a:pt x="13143" y="11742"/>
                    <a:pt x="15154" y="9767"/>
                  </a:cubicBezTo>
                  <a:lnTo>
                    <a:pt x="15744" y="8623"/>
                  </a:lnTo>
                  <a:cubicBezTo>
                    <a:pt x="15652" y="8457"/>
                    <a:pt x="15560" y="8273"/>
                    <a:pt x="15468" y="8107"/>
                  </a:cubicBezTo>
                  <a:cubicBezTo>
                    <a:pt x="14988" y="7203"/>
                    <a:pt x="14619" y="6538"/>
                    <a:pt x="14213" y="6114"/>
                  </a:cubicBezTo>
                  <a:cubicBezTo>
                    <a:pt x="13715" y="6317"/>
                    <a:pt x="13032" y="6668"/>
                    <a:pt x="12478" y="7018"/>
                  </a:cubicBezTo>
                  <a:cubicBezTo>
                    <a:pt x="10689" y="8402"/>
                    <a:pt x="8714" y="9878"/>
                    <a:pt x="8161" y="11188"/>
                  </a:cubicBezTo>
                  <a:cubicBezTo>
                    <a:pt x="8050" y="11852"/>
                    <a:pt x="7976" y="12406"/>
                    <a:pt x="7718" y="13015"/>
                  </a:cubicBezTo>
                  <a:lnTo>
                    <a:pt x="6629" y="15450"/>
                  </a:lnTo>
                  <a:cubicBezTo>
                    <a:pt x="6574" y="16207"/>
                    <a:pt x="6334" y="17185"/>
                    <a:pt x="6168" y="17923"/>
                  </a:cubicBezTo>
                  <a:cubicBezTo>
                    <a:pt x="6094" y="18274"/>
                    <a:pt x="6002" y="18532"/>
                    <a:pt x="5983" y="18753"/>
                  </a:cubicBezTo>
                  <a:cubicBezTo>
                    <a:pt x="5983" y="18680"/>
                    <a:pt x="6039" y="18643"/>
                    <a:pt x="6076" y="18643"/>
                  </a:cubicBezTo>
                  <a:close/>
                  <a:moveTo>
                    <a:pt x="18494" y="14583"/>
                  </a:moveTo>
                  <a:lnTo>
                    <a:pt x="18494" y="14583"/>
                  </a:lnTo>
                  <a:lnTo>
                    <a:pt x="18494" y="14583"/>
                  </a:lnTo>
                  <a:close/>
                  <a:moveTo>
                    <a:pt x="13678" y="5782"/>
                  </a:moveTo>
                  <a:cubicBezTo>
                    <a:pt x="13678" y="5782"/>
                    <a:pt x="13696" y="5782"/>
                    <a:pt x="13715" y="5782"/>
                  </a:cubicBezTo>
                  <a:cubicBezTo>
                    <a:pt x="13715" y="5782"/>
                    <a:pt x="13696" y="5782"/>
                    <a:pt x="13678" y="5782"/>
                  </a:cubicBezTo>
                  <a:close/>
                </a:path>
              </a:pathLst>
            </a:custGeom>
            <a:solidFill>
              <a:srgbClr val="FFFFFF"/>
            </a:solidFill>
            <a:ln w="1835" cap="flat">
              <a:noFill/>
              <a:prstDash val="solid"/>
              <a:miter/>
            </a:ln>
          </p:spPr>
          <p:txBody>
            <a:bodyPr/>
            <a:lstStyle/>
            <a:p>
              <a:endParaRPr lang="en-GB"/>
            </a:p>
          </p:txBody>
        </p:sp>
        <p:sp>
          <p:nvSpPr>
            <p:cNvPr id="1500" name="Freeform: Shape 1499">
              <a:extLst>
                <a:ext uri="{FF2B5EF4-FFF2-40B4-BE49-F238E27FC236}">
                  <a16:creationId xmlns:a16="http://schemas.microsoft.com/office/drawing/2014/main" id="{7214C7A2-36E0-E63E-2DC1-A05B76B2DEEF}"/>
                </a:ext>
              </a:extLst>
            </p:cNvPr>
            <p:cNvSpPr/>
            <p:nvPr/>
          </p:nvSpPr>
          <p:spPr>
            <a:xfrm>
              <a:off x="10980619" y="4771505"/>
              <a:ext cx="16689" cy="22282"/>
            </a:xfrm>
            <a:custGeom>
              <a:avLst/>
              <a:gdLst>
                <a:gd name="csX0" fmla="*/ 1888 w 16689"/>
                <a:gd name="csY0" fmla="*/ 17246 h 22282"/>
                <a:gd name="csX1" fmla="*/ 1888 w 16689"/>
                <a:gd name="csY1" fmla="*/ 17246 h 22282"/>
                <a:gd name="csX2" fmla="*/ 6778 w 16689"/>
                <a:gd name="csY2" fmla="*/ 22264 h 22282"/>
                <a:gd name="csX3" fmla="*/ 10597 w 16689"/>
                <a:gd name="csY3" fmla="*/ 20235 h 22282"/>
                <a:gd name="csX4" fmla="*/ 15376 w 16689"/>
                <a:gd name="csY4" fmla="*/ 14017 h 22282"/>
                <a:gd name="csX5" fmla="*/ 15616 w 16689"/>
                <a:gd name="csY5" fmla="*/ 11987 h 22282"/>
                <a:gd name="csX6" fmla="*/ 16336 w 16689"/>
                <a:gd name="csY6" fmla="*/ 9607 h 22282"/>
                <a:gd name="csX7" fmla="*/ 14306 w 16689"/>
                <a:gd name="csY7" fmla="*/ 2208 h 22282"/>
                <a:gd name="csX8" fmla="*/ 7627 w 16689"/>
                <a:gd name="csY8" fmla="*/ 67 h 22282"/>
                <a:gd name="csX9" fmla="*/ 5117 w 16689"/>
                <a:gd name="csY9" fmla="*/ 307 h 22282"/>
                <a:gd name="csX10" fmla="*/ 3198 w 16689"/>
                <a:gd name="csY10" fmla="*/ 1377 h 22282"/>
                <a:gd name="csX11" fmla="*/ 338 w 16689"/>
                <a:gd name="csY11" fmla="*/ 4366 h 22282"/>
                <a:gd name="csX12" fmla="*/ 1298 w 16689"/>
                <a:gd name="csY12" fmla="*/ 8905 h 22282"/>
                <a:gd name="csX13" fmla="*/ 2977 w 16689"/>
                <a:gd name="csY13" fmla="*/ 9865 h 22282"/>
                <a:gd name="csX14" fmla="*/ 3088 w 16689"/>
                <a:gd name="csY14" fmla="*/ 13924 h 22282"/>
                <a:gd name="csX15" fmla="*/ 1888 w 16689"/>
                <a:gd name="csY15" fmla="*/ 17264 h 222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6689" h="22282">
                  <a:moveTo>
                    <a:pt x="1888" y="17246"/>
                  </a:moveTo>
                  <a:lnTo>
                    <a:pt x="1888" y="17246"/>
                  </a:lnTo>
                  <a:cubicBezTo>
                    <a:pt x="3567" y="18925"/>
                    <a:pt x="4398" y="21434"/>
                    <a:pt x="6778" y="22264"/>
                  </a:cubicBezTo>
                  <a:cubicBezTo>
                    <a:pt x="7848" y="22504"/>
                    <a:pt x="10597" y="20235"/>
                    <a:pt x="10597" y="20235"/>
                  </a:cubicBezTo>
                  <a:cubicBezTo>
                    <a:pt x="12387" y="18316"/>
                    <a:pt x="14657" y="16286"/>
                    <a:pt x="15376" y="14017"/>
                  </a:cubicBezTo>
                  <a:cubicBezTo>
                    <a:pt x="15616" y="13297"/>
                    <a:pt x="15487" y="12707"/>
                    <a:pt x="15616" y="11987"/>
                  </a:cubicBezTo>
                  <a:cubicBezTo>
                    <a:pt x="15727" y="11267"/>
                    <a:pt x="16096" y="10437"/>
                    <a:pt x="16336" y="9607"/>
                  </a:cubicBezTo>
                  <a:cubicBezTo>
                    <a:pt x="16576" y="4108"/>
                    <a:pt x="17646" y="5307"/>
                    <a:pt x="14306" y="2208"/>
                  </a:cubicBezTo>
                  <a:cubicBezTo>
                    <a:pt x="13956" y="1857"/>
                    <a:pt x="9177" y="418"/>
                    <a:pt x="7627" y="67"/>
                  </a:cubicBezTo>
                  <a:cubicBezTo>
                    <a:pt x="6187" y="-173"/>
                    <a:pt x="5948" y="307"/>
                    <a:pt x="5117" y="307"/>
                  </a:cubicBezTo>
                  <a:cubicBezTo>
                    <a:pt x="4527" y="658"/>
                    <a:pt x="3807" y="897"/>
                    <a:pt x="3198" y="1377"/>
                  </a:cubicBezTo>
                  <a:cubicBezTo>
                    <a:pt x="2128" y="2208"/>
                    <a:pt x="1058" y="3167"/>
                    <a:pt x="338" y="4366"/>
                  </a:cubicBezTo>
                  <a:cubicBezTo>
                    <a:pt x="-732" y="5916"/>
                    <a:pt x="1058" y="8315"/>
                    <a:pt x="1298" y="8905"/>
                  </a:cubicBezTo>
                  <a:cubicBezTo>
                    <a:pt x="1888" y="9145"/>
                    <a:pt x="2737" y="9016"/>
                    <a:pt x="2977" y="9865"/>
                  </a:cubicBezTo>
                  <a:cubicBezTo>
                    <a:pt x="3327" y="10695"/>
                    <a:pt x="4047" y="13445"/>
                    <a:pt x="3088" y="13924"/>
                  </a:cubicBezTo>
                  <a:lnTo>
                    <a:pt x="1888" y="17264"/>
                  </a:lnTo>
                  <a:close/>
                </a:path>
              </a:pathLst>
            </a:custGeom>
            <a:solidFill>
              <a:srgbClr val="FFFFFF"/>
            </a:solidFill>
            <a:ln w="1835" cap="flat">
              <a:noFill/>
              <a:prstDash val="solid"/>
              <a:miter/>
            </a:ln>
          </p:spPr>
          <p:txBody>
            <a:bodyPr/>
            <a:lstStyle/>
            <a:p>
              <a:endParaRPr lang="en-GB"/>
            </a:p>
          </p:txBody>
        </p:sp>
        <p:sp>
          <p:nvSpPr>
            <p:cNvPr id="1501" name="Freeform: Shape 1500">
              <a:extLst>
                <a:ext uri="{FF2B5EF4-FFF2-40B4-BE49-F238E27FC236}">
                  <a16:creationId xmlns:a16="http://schemas.microsoft.com/office/drawing/2014/main" id="{400A6843-9E18-E6FA-01D0-B5C58628A3C6}"/>
                </a:ext>
              </a:extLst>
            </p:cNvPr>
            <p:cNvSpPr/>
            <p:nvPr/>
          </p:nvSpPr>
          <p:spPr>
            <a:xfrm>
              <a:off x="10977629" y="4768502"/>
              <a:ext cx="22648" cy="28274"/>
            </a:xfrm>
            <a:custGeom>
              <a:avLst/>
              <a:gdLst>
                <a:gd name="csX0" fmla="*/ 9897 w 22648"/>
                <a:gd name="csY0" fmla="*/ 28275 h 28274"/>
                <a:gd name="csX1" fmla="*/ 9159 w 22648"/>
                <a:gd name="csY1" fmla="*/ 28183 h 28274"/>
                <a:gd name="csX2" fmla="*/ 3974 w 22648"/>
                <a:gd name="csY2" fmla="*/ 23883 h 28274"/>
                <a:gd name="csX3" fmla="*/ 2793 w 22648"/>
                <a:gd name="csY3" fmla="*/ 22352 h 28274"/>
                <a:gd name="csX4" fmla="*/ 2092 w 22648"/>
                <a:gd name="csY4" fmla="*/ 19234 h 28274"/>
                <a:gd name="csX5" fmla="*/ 3273 w 22648"/>
                <a:gd name="csY5" fmla="*/ 15894 h 28274"/>
                <a:gd name="csX6" fmla="*/ 3550 w 22648"/>
                <a:gd name="csY6" fmla="*/ 15303 h 28274"/>
                <a:gd name="csX7" fmla="*/ 3439 w 22648"/>
                <a:gd name="csY7" fmla="*/ 14731 h 28274"/>
                <a:gd name="csX8" fmla="*/ 3199 w 22648"/>
                <a:gd name="csY8" fmla="*/ 14658 h 28274"/>
                <a:gd name="csX9" fmla="*/ 1520 w 22648"/>
                <a:gd name="csY9" fmla="*/ 13015 h 28274"/>
                <a:gd name="csX10" fmla="*/ 874 w 22648"/>
                <a:gd name="csY10" fmla="*/ 5653 h 28274"/>
                <a:gd name="csX11" fmla="*/ 4380 w 22648"/>
                <a:gd name="csY11" fmla="*/ 2000 h 28274"/>
                <a:gd name="csX12" fmla="*/ 6115 w 22648"/>
                <a:gd name="csY12" fmla="*/ 967 h 28274"/>
                <a:gd name="csX13" fmla="*/ 8107 w 22648"/>
                <a:gd name="csY13" fmla="*/ 302 h 28274"/>
                <a:gd name="csX14" fmla="*/ 11097 w 22648"/>
                <a:gd name="csY14" fmla="*/ 99 h 28274"/>
                <a:gd name="csX15" fmla="*/ 19381 w 22648"/>
                <a:gd name="csY15" fmla="*/ 3052 h 28274"/>
                <a:gd name="csX16" fmla="*/ 22555 w 22648"/>
                <a:gd name="csY16" fmla="*/ 9916 h 28274"/>
                <a:gd name="csX17" fmla="*/ 22315 w 22648"/>
                <a:gd name="csY17" fmla="*/ 12720 h 28274"/>
                <a:gd name="csX18" fmla="*/ 21854 w 22648"/>
                <a:gd name="csY18" fmla="*/ 14473 h 28274"/>
                <a:gd name="csX19" fmla="*/ 21540 w 22648"/>
                <a:gd name="csY19" fmla="*/ 15506 h 28274"/>
                <a:gd name="csX20" fmla="*/ 21208 w 22648"/>
                <a:gd name="csY20" fmla="*/ 17942 h 28274"/>
                <a:gd name="csX21" fmla="*/ 16669 w 22648"/>
                <a:gd name="csY21" fmla="*/ 24326 h 28274"/>
                <a:gd name="csX22" fmla="*/ 15765 w 22648"/>
                <a:gd name="csY22" fmla="*/ 25267 h 28274"/>
                <a:gd name="csX23" fmla="*/ 9879 w 22648"/>
                <a:gd name="csY23" fmla="*/ 28257 h 28274"/>
                <a:gd name="csX24" fmla="*/ 8255 w 22648"/>
                <a:gd name="csY24" fmla="*/ 19658 h 28274"/>
                <a:gd name="csX25" fmla="*/ 8827 w 22648"/>
                <a:gd name="csY25" fmla="*/ 20451 h 28274"/>
                <a:gd name="csX26" fmla="*/ 10119 w 22648"/>
                <a:gd name="csY26" fmla="*/ 22057 h 28274"/>
                <a:gd name="csX27" fmla="*/ 11687 w 22648"/>
                <a:gd name="csY27" fmla="*/ 20931 h 28274"/>
                <a:gd name="csX28" fmla="*/ 12388 w 22648"/>
                <a:gd name="csY28" fmla="*/ 20193 h 28274"/>
                <a:gd name="csX29" fmla="*/ 15525 w 22648"/>
                <a:gd name="csY29" fmla="*/ 16152 h 28274"/>
                <a:gd name="csX30" fmla="*/ 15654 w 22648"/>
                <a:gd name="csY30" fmla="*/ 14529 h 28274"/>
                <a:gd name="csX31" fmla="*/ 16208 w 22648"/>
                <a:gd name="csY31" fmla="*/ 12591 h 28274"/>
                <a:gd name="csX32" fmla="*/ 16466 w 22648"/>
                <a:gd name="csY32" fmla="*/ 11779 h 28274"/>
                <a:gd name="csX33" fmla="*/ 16614 w 22648"/>
                <a:gd name="csY33" fmla="*/ 9251 h 28274"/>
                <a:gd name="csX34" fmla="*/ 16687 w 22648"/>
                <a:gd name="csY34" fmla="*/ 8384 h 28274"/>
                <a:gd name="csX35" fmla="*/ 15580 w 22648"/>
                <a:gd name="csY35" fmla="*/ 7701 h 28274"/>
                <a:gd name="csX36" fmla="*/ 9916 w 22648"/>
                <a:gd name="csY36" fmla="*/ 5967 h 28274"/>
                <a:gd name="csX37" fmla="*/ 8975 w 22648"/>
                <a:gd name="csY37" fmla="*/ 6207 h 28274"/>
                <a:gd name="csX38" fmla="*/ 8698 w 22648"/>
                <a:gd name="csY38" fmla="*/ 6336 h 28274"/>
                <a:gd name="csX39" fmla="*/ 8015 w 22648"/>
                <a:gd name="csY39" fmla="*/ 6723 h 28274"/>
                <a:gd name="csX40" fmla="*/ 5875 w 22648"/>
                <a:gd name="csY40" fmla="*/ 8882 h 28274"/>
                <a:gd name="csX41" fmla="*/ 5875 w 22648"/>
                <a:gd name="csY41" fmla="*/ 8882 h 28274"/>
                <a:gd name="csX42" fmla="*/ 6262 w 22648"/>
                <a:gd name="csY42" fmla="*/ 9381 h 28274"/>
                <a:gd name="csX43" fmla="*/ 8809 w 22648"/>
                <a:gd name="csY43" fmla="*/ 12056 h 28274"/>
                <a:gd name="csX44" fmla="*/ 8606 w 22648"/>
                <a:gd name="csY44" fmla="*/ 18606 h 28274"/>
                <a:gd name="csX45" fmla="*/ 8237 w 22648"/>
                <a:gd name="csY45" fmla="*/ 19658 h 28274"/>
                <a:gd name="csX46" fmla="*/ 4731 w 22648"/>
                <a:gd name="csY46" fmla="*/ 14233 h 28274"/>
                <a:gd name="csX47" fmla="*/ 4712 w 22648"/>
                <a:gd name="csY47" fmla="*/ 14233 h 28274"/>
                <a:gd name="csX48" fmla="*/ 4731 w 22648"/>
                <a:gd name="csY48" fmla="*/ 14233 h 28274"/>
                <a:gd name="csX49" fmla="*/ 3199 w 22648"/>
                <a:gd name="csY49" fmla="*/ 14049 h 28274"/>
                <a:gd name="csX50" fmla="*/ 3255 w 22648"/>
                <a:gd name="csY50" fmla="*/ 14196 h 28274"/>
                <a:gd name="csX51" fmla="*/ 3199 w 22648"/>
                <a:gd name="csY51" fmla="*/ 14049 h 282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22648" h="28274">
                  <a:moveTo>
                    <a:pt x="9897" y="28275"/>
                  </a:moveTo>
                  <a:cubicBezTo>
                    <a:pt x="9547" y="28275"/>
                    <a:pt x="9307" y="28220"/>
                    <a:pt x="9159" y="28183"/>
                  </a:cubicBezTo>
                  <a:cubicBezTo>
                    <a:pt x="6318" y="27223"/>
                    <a:pt x="5026" y="25378"/>
                    <a:pt x="3974" y="23883"/>
                  </a:cubicBezTo>
                  <a:cubicBezTo>
                    <a:pt x="3605" y="23348"/>
                    <a:pt x="3236" y="22813"/>
                    <a:pt x="2793" y="22352"/>
                  </a:cubicBezTo>
                  <a:cubicBezTo>
                    <a:pt x="1981" y="21540"/>
                    <a:pt x="1705" y="20322"/>
                    <a:pt x="2092" y="19234"/>
                  </a:cubicBezTo>
                  <a:lnTo>
                    <a:pt x="3273" y="15894"/>
                  </a:lnTo>
                  <a:cubicBezTo>
                    <a:pt x="3347" y="15691"/>
                    <a:pt x="3439" y="15506"/>
                    <a:pt x="3550" y="15303"/>
                  </a:cubicBezTo>
                  <a:cubicBezTo>
                    <a:pt x="3531" y="15137"/>
                    <a:pt x="3494" y="14934"/>
                    <a:pt x="3439" y="14731"/>
                  </a:cubicBezTo>
                  <a:cubicBezTo>
                    <a:pt x="3365" y="14713"/>
                    <a:pt x="3273" y="14676"/>
                    <a:pt x="3199" y="14658"/>
                  </a:cubicBezTo>
                  <a:cubicBezTo>
                    <a:pt x="2443" y="14362"/>
                    <a:pt x="1834" y="13772"/>
                    <a:pt x="1520" y="13015"/>
                  </a:cubicBezTo>
                  <a:cubicBezTo>
                    <a:pt x="745" y="11669"/>
                    <a:pt x="-1082" y="8476"/>
                    <a:pt x="874" y="5653"/>
                  </a:cubicBezTo>
                  <a:cubicBezTo>
                    <a:pt x="1778" y="4122"/>
                    <a:pt x="3218" y="2886"/>
                    <a:pt x="4380" y="2000"/>
                  </a:cubicBezTo>
                  <a:cubicBezTo>
                    <a:pt x="4989" y="1520"/>
                    <a:pt x="5616" y="1225"/>
                    <a:pt x="6115" y="967"/>
                  </a:cubicBezTo>
                  <a:cubicBezTo>
                    <a:pt x="6576" y="690"/>
                    <a:pt x="7572" y="302"/>
                    <a:pt x="8107" y="302"/>
                  </a:cubicBezTo>
                  <a:cubicBezTo>
                    <a:pt x="8772" y="62"/>
                    <a:pt x="9676" y="-122"/>
                    <a:pt x="11097" y="99"/>
                  </a:cubicBezTo>
                  <a:cubicBezTo>
                    <a:pt x="11373" y="155"/>
                    <a:pt x="18053" y="1760"/>
                    <a:pt x="19381" y="3052"/>
                  </a:cubicBezTo>
                  <a:cubicBezTo>
                    <a:pt x="22168" y="5635"/>
                    <a:pt x="22942" y="6539"/>
                    <a:pt x="22555" y="9916"/>
                  </a:cubicBezTo>
                  <a:cubicBezTo>
                    <a:pt x="22481" y="10580"/>
                    <a:pt x="22370" y="11447"/>
                    <a:pt x="22315" y="12720"/>
                  </a:cubicBezTo>
                  <a:lnTo>
                    <a:pt x="21854" y="14473"/>
                  </a:lnTo>
                  <a:cubicBezTo>
                    <a:pt x="21725" y="14842"/>
                    <a:pt x="21595" y="15193"/>
                    <a:pt x="21540" y="15506"/>
                  </a:cubicBezTo>
                  <a:cubicBezTo>
                    <a:pt x="21503" y="16411"/>
                    <a:pt x="21485" y="17112"/>
                    <a:pt x="21208" y="17942"/>
                  </a:cubicBezTo>
                  <a:cubicBezTo>
                    <a:pt x="20415" y="20470"/>
                    <a:pt x="18440" y="22518"/>
                    <a:pt x="16669" y="24326"/>
                  </a:cubicBezTo>
                  <a:lnTo>
                    <a:pt x="15765" y="25267"/>
                  </a:lnTo>
                  <a:cubicBezTo>
                    <a:pt x="12702" y="27814"/>
                    <a:pt x="10875" y="28257"/>
                    <a:pt x="9879" y="28257"/>
                  </a:cubicBezTo>
                  <a:close/>
                  <a:moveTo>
                    <a:pt x="8255" y="19658"/>
                  </a:moveTo>
                  <a:cubicBezTo>
                    <a:pt x="8458" y="19916"/>
                    <a:pt x="8642" y="20175"/>
                    <a:pt x="8827" y="20451"/>
                  </a:cubicBezTo>
                  <a:cubicBezTo>
                    <a:pt x="9344" y="21171"/>
                    <a:pt x="9731" y="21706"/>
                    <a:pt x="10119" y="22057"/>
                  </a:cubicBezTo>
                  <a:cubicBezTo>
                    <a:pt x="10580" y="21780"/>
                    <a:pt x="11207" y="21337"/>
                    <a:pt x="11687" y="20931"/>
                  </a:cubicBezTo>
                  <a:lnTo>
                    <a:pt x="12388" y="20193"/>
                  </a:lnTo>
                  <a:cubicBezTo>
                    <a:pt x="13680" y="18865"/>
                    <a:pt x="15137" y="17352"/>
                    <a:pt x="15525" y="16152"/>
                  </a:cubicBezTo>
                  <a:cubicBezTo>
                    <a:pt x="15580" y="15340"/>
                    <a:pt x="15580" y="14953"/>
                    <a:pt x="15654" y="14529"/>
                  </a:cubicBezTo>
                  <a:cubicBezTo>
                    <a:pt x="15765" y="13901"/>
                    <a:pt x="15986" y="13255"/>
                    <a:pt x="16208" y="12591"/>
                  </a:cubicBezTo>
                  <a:lnTo>
                    <a:pt x="16466" y="11779"/>
                  </a:lnTo>
                  <a:cubicBezTo>
                    <a:pt x="16411" y="11041"/>
                    <a:pt x="16540" y="10008"/>
                    <a:pt x="16614" y="9251"/>
                  </a:cubicBezTo>
                  <a:cubicBezTo>
                    <a:pt x="16669" y="8882"/>
                    <a:pt x="16706" y="8624"/>
                    <a:pt x="16687" y="8384"/>
                  </a:cubicBezTo>
                  <a:cubicBezTo>
                    <a:pt x="16687" y="8642"/>
                    <a:pt x="16226" y="8292"/>
                    <a:pt x="15580" y="7701"/>
                  </a:cubicBezTo>
                  <a:cubicBezTo>
                    <a:pt x="15137" y="7462"/>
                    <a:pt x="11410" y="6318"/>
                    <a:pt x="9916" y="5967"/>
                  </a:cubicBezTo>
                  <a:cubicBezTo>
                    <a:pt x="9620" y="6059"/>
                    <a:pt x="9325" y="6151"/>
                    <a:pt x="8975" y="6207"/>
                  </a:cubicBezTo>
                  <a:cubicBezTo>
                    <a:pt x="8901" y="6262"/>
                    <a:pt x="8809" y="6299"/>
                    <a:pt x="8698" y="6336"/>
                  </a:cubicBezTo>
                  <a:cubicBezTo>
                    <a:pt x="8421" y="6484"/>
                    <a:pt x="8144" y="6613"/>
                    <a:pt x="8015" y="6723"/>
                  </a:cubicBezTo>
                  <a:cubicBezTo>
                    <a:pt x="7259" y="7314"/>
                    <a:pt x="6373" y="8052"/>
                    <a:pt x="5875" y="8882"/>
                  </a:cubicBezTo>
                  <a:lnTo>
                    <a:pt x="5875" y="8882"/>
                  </a:lnTo>
                  <a:cubicBezTo>
                    <a:pt x="5875" y="8882"/>
                    <a:pt x="6096" y="9122"/>
                    <a:pt x="6262" y="9381"/>
                  </a:cubicBezTo>
                  <a:cubicBezTo>
                    <a:pt x="7591" y="9860"/>
                    <a:pt x="8440" y="10764"/>
                    <a:pt x="8809" y="12056"/>
                  </a:cubicBezTo>
                  <a:cubicBezTo>
                    <a:pt x="9436" y="13458"/>
                    <a:pt x="10156" y="16669"/>
                    <a:pt x="8606" y="18606"/>
                  </a:cubicBezTo>
                  <a:lnTo>
                    <a:pt x="8237" y="19658"/>
                  </a:lnTo>
                  <a:close/>
                  <a:moveTo>
                    <a:pt x="4731" y="14233"/>
                  </a:moveTo>
                  <a:cubicBezTo>
                    <a:pt x="4731" y="14233"/>
                    <a:pt x="4731" y="14233"/>
                    <a:pt x="4712" y="14233"/>
                  </a:cubicBezTo>
                  <a:cubicBezTo>
                    <a:pt x="4712" y="14233"/>
                    <a:pt x="4718" y="14233"/>
                    <a:pt x="4731" y="14233"/>
                  </a:cubicBezTo>
                  <a:close/>
                  <a:moveTo>
                    <a:pt x="3199" y="14049"/>
                  </a:moveTo>
                  <a:cubicBezTo>
                    <a:pt x="3199" y="14049"/>
                    <a:pt x="3236" y="14141"/>
                    <a:pt x="3255" y="14196"/>
                  </a:cubicBezTo>
                  <a:cubicBezTo>
                    <a:pt x="3236" y="14141"/>
                    <a:pt x="3218" y="14086"/>
                    <a:pt x="3199" y="14049"/>
                  </a:cubicBezTo>
                  <a:close/>
                </a:path>
              </a:pathLst>
            </a:custGeom>
            <a:solidFill>
              <a:srgbClr val="FFFFFF"/>
            </a:solidFill>
            <a:ln w="1835" cap="flat">
              <a:noFill/>
              <a:prstDash val="solid"/>
              <a:miter/>
            </a:ln>
          </p:spPr>
          <p:txBody>
            <a:bodyPr/>
            <a:lstStyle/>
            <a:p>
              <a:endParaRPr lang="en-GB"/>
            </a:p>
          </p:txBody>
        </p:sp>
        <p:sp>
          <p:nvSpPr>
            <p:cNvPr id="1502" name="Freeform: Shape 1501">
              <a:extLst>
                <a:ext uri="{FF2B5EF4-FFF2-40B4-BE49-F238E27FC236}">
                  <a16:creationId xmlns:a16="http://schemas.microsoft.com/office/drawing/2014/main" id="{5CB823DE-CC6A-5A1F-F3B5-D4F9E08092F3}"/>
                </a:ext>
              </a:extLst>
            </p:cNvPr>
            <p:cNvSpPr/>
            <p:nvPr/>
          </p:nvSpPr>
          <p:spPr>
            <a:xfrm>
              <a:off x="11065152" y="4874715"/>
              <a:ext cx="21173" cy="18286"/>
            </a:xfrm>
            <a:custGeom>
              <a:avLst/>
              <a:gdLst>
                <a:gd name="csX0" fmla="*/ 14448 w 21173"/>
                <a:gd name="csY0" fmla="*/ 18287 h 18286"/>
                <a:gd name="csX1" fmla="*/ 14448 w 21173"/>
                <a:gd name="csY1" fmla="*/ 18287 h 18286"/>
                <a:gd name="csX2" fmla="*/ 20906 w 21173"/>
                <a:gd name="csY2" fmla="*/ 15667 h 18286"/>
                <a:gd name="csX3" fmla="*/ 20666 w 21173"/>
                <a:gd name="csY3" fmla="*/ 11368 h 18286"/>
                <a:gd name="csX4" fmla="*/ 16717 w 21173"/>
                <a:gd name="csY4" fmla="*/ 4688 h 18286"/>
                <a:gd name="csX5" fmla="*/ 14927 w 21173"/>
                <a:gd name="csY5" fmla="*/ 3729 h 18286"/>
                <a:gd name="csX6" fmla="*/ 13008 w 21173"/>
                <a:gd name="csY6" fmla="*/ 2050 h 18286"/>
                <a:gd name="csX7" fmla="*/ 5369 w 21173"/>
                <a:gd name="csY7" fmla="*/ 1090 h 18286"/>
                <a:gd name="csX8" fmla="*/ 720 w 21173"/>
                <a:gd name="csY8" fmla="*/ 6459 h 18286"/>
                <a:gd name="csX9" fmla="*/ 0 w 21173"/>
                <a:gd name="csY9" fmla="*/ 8840 h 18286"/>
                <a:gd name="csX10" fmla="*/ 111 w 21173"/>
                <a:gd name="csY10" fmla="*/ 10999 h 18286"/>
                <a:gd name="csX11" fmla="*/ 1790 w 21173"/>
                <a:gd name="csY11" fmla="*/ 14818 h 18286"/>
                <a:gd name="csX12" fmla="*/ 6329 w 21173"/>
                <a:gd name="csY12" fmla="*/ 15648 h 18286"/>
                <a:gd name="csX13" fmla="*/ 8008 w 21173"/>
                <a:gd name="csY13" fmla="*/ 14449 h 18286"/>
                <a:gd name="csX14" fmla="*/ 11827 w 21173"/>
                <a:gd name="csY14" fmla="*/ 15888 h 18286"/>
                <a:gd name="csX15" fmla="*/ 14448 w 21173"/>
                <a:gd name="csY15" fmla="*/ 18268 h 182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173" h="18286">
                  <a:moveTo>
                    <a:pt x="14448" y="18287"/>
                  </a:moveTo>
                  <a:lnTo>
                    <a:pt x="14448" y="18287"/>
                  </a:lnTo>
                  <a:cubicBezTo>
                    <a:pt x="16588" y="17457"/>
                    <a:pt x="19227" y="17567"/>
                    <a:pt x="20906" y="15667"/>
                  </a:cubicBezTo>
                  <a:cubicBezTo>
                    <a:pt x="21625" y="14836"/>
                    <a:pt x="20666" y="11368"/>
                    <a:pt x="20666" y="11368"/>
                  </a:cubicBezTo>
                  <a:cubicBezTo>
                    <a:pt x="19596" y="9098"/>
                    <a:pt x="18525" y="6109"/>
                    <a:pt x="16717" y="4688"/>
                  </a:cubicBezTo>
                  <a:cubicBezTo>
                    <a:pt x="16127" y="4208"/>
                    <a:pt x="15518" y="4098"/>
                    <a:pt x="14927" y="3729"/>
                  </a:cubicBezTo>
                  <a:cubicBezTo>
                    <a:pt x="14337" y="3249"/>
                    <a:pt x="13728" y="2658"/>
                    <a:pt x="13008" y="2050"/>
                  </a:cubicBezTo>
                  <a:cubicBezTo>
                    <a:pt x="7990" y="-220"/>
                    <a:pt x="9539" y="-700"/>
                    <a:pt x="5369" y="1090"/>
                  </a:cubicBezTo>
                  <a:cubicBezTo>
                    <a:pt x="4890" y="1330"/>
                    <a:pt x="1661" y="5149"/>
                    <a:pt x="720" y="6459"/>
                  </a:cubicBezTo>
                  <a:cubicBezTo>
                    <a:pt x="-111" y="7770"/>
                    <a:pt x="240" y="8009"/>
                    <a:pt x="0" y="8840"/>
                  </a:cubicBezTo>
                  <a:cubicBezTo>
                    <a:pt x="111" y="9559"/>
                    <a:pt x="0" y="10279"/>
                    <a:pt x="111" y="10999"/>
                  </a:cubicBezTo>
                  <a:cubicBezTo>
                    <a:pt x="590" y="12309"/>
                    <a:pt x="1070" y="13748"/>
                    <a:pt x="1790" y="14818"/>
                  </a:cubicBezTo>
                  <a:cubicBezTo>
                    <a:pt x="2860" y="16368"/>
                    <a:pt x="5738" y="15648"/>
                    <a:pt x="6329" y="15648"/>
                  </a:cubicBezTo>
                  <a:cubicBezTo>
                    <a:pt x="6919" y="15169"/>
                    <a:pt x="7048" y="14338"/>
                    <a:pt x="8008" y="14449"/>
                  </a:cubicBezTo>
                  <a:cubicBezTo>
                    <a:pt x="8838" y="14449"/>
                    <a:pt x="11717" y="14800"/>
                    <a:pt x="11827" y="15888"/>
                  </a:cubicBezTo>
                  <a:lnTo>
                    <a:pt x="14448" y="18268"/>
                  </a:lnTo>
                  <a:close/>
                </a:path>
              </a:pathLst>
            </a:custGeom>
            <a:solidFill>
              <a:srgbClr val="FFFFFF"/>
            </a:solidFill>
            <a:ln w="1835" cap="flat">
              <a:noFill/>
              <a:prstDash val="solid"/>
              <a:miter/>
            </a:ln>
          </p:spPr>
          <p:txBody>
            <a:bodyPr/>
            <a:lstStyle/>
            <a:p>
              <a:endParaRPr lang="en-GB"/>
            </a:p>
          </p:txBody>
        </p:sp>
        <p:sp>
          <p:nvSpPr>
            <p:cNvPr id="1503" name="Freeform: Shape 1502">
              <a:extLst>
                <a:ext uri="{FF2B5EF4-FFF2-40B4-BE49-F238E27FC236}">
                  <a16:creationId xmlns:a16="http://schemas.microsoft.com/office/drawing/2014/main" id="{C9AF382A-CF71-35F2-0804-147C65FD13C9}"/>
                </a:ext>
              </a:extLst>
            </p:cNvPr>
            <p:cNvSpPr/>
            <p:nvPr/>
          </p:nvSpPr>
          <p:spPr>
            <a:xfrm>
              <a:off x="11062205" y="4871734"/>
              <a:ext cx="27093" cy="24256"/>
            </a:xfrm>
            <a:custGeom>
              <a:avLst/>
              <a:gdLst>
                <a:gd name="csX0" fmla="*/ 17394 w 27093"/>
                <a:gd name="csY0" fmla="*/ 24257 h 24256"/>
                <a:gd name="csX1" fmla="*/ 15383 w 27093"/>
                <a:gd name="csY1" fmla="*/ 23482 h 24256"/>
                <a:gd name="csX2" fmla="*/ 12763 w 27093"/>
                <a:gd name="csY2" fmla="*/ 21083 h 24256"/>
                <a:gd name="csX3" fmla="*/ 12376 w 27093"/>
                <a:gd name="csY3" fmla="*/ 20659 h 24256"/>
                <a:gd name="csX4" fmla="*/ 11656 w 27093"/>
                <a:gd name="csY4" fmla="*/ 20511 h 24256"/>
                <a:gd name="csX5" fmla="*/ 11158 w 27093"/>
                <a:gd name="csY5" fmla="*/ 20972 h 24256"/>
                <a:gd name="csX6" fmla="*/ 9294 w 27093"/>
                <a:gd name="csY6" fmla="*/ 21618 h 24256"/>
                <a:gd name="csX7" fmla="*/ 2301 w 27093"/>
                <a:gd name="csY7" fmla="*/ 19496 h 24256"/>
                <a:gd name="csX8" fmla="*/ 437 w 27093"/>
                <a:gd name="csY8" fmla="*/ 15418 h 24256"/>
                <a:gd name="csX9" fmla="*/ 142 w 27093"/>
                <a:gd name="csY9" fmla="*/ 14459 h 24256"/>
                <a:gd name="csX10" fmla="*/ 50 w 27093"/>
                <a:gd name="csY10" fmla="*/ 12891 h 24256"/>
                <a:gd name="csX11" fmla="*/ 105 w 27093"/>
                <a:gd name="csY11" fmla="*/ 11008 h 24256"/>
                <a:gd name="csX12" fmla="*/ 1157 w 27093"/>
                <a:gd name="csY12" fmla="*/ 7835 h 24256"/>
                <a:gd name="csX13" fmla="*/ 7043 w 27093"/>
                <a:gd name="csY13" fmla="*/ 1377 h 24256"/>
                <a:gd name="csX14" fmla="*/ 14719 w 27093"/>
                <a:gd name="csY14" fmla="*/ 1045 h 24256"/>
                <a:gd name="csX15" fmla="*/ 17228 w 27093"/>
                <a:gd name="csY15" fmla="*/ 2299 h 24256"/>
                <a:gd name="csX16" fmla="*/ 17893 w 27093"/>
                <a:gd name="csY16" fmla="*/ 2705 h 24256"/>
                <a:gd name="csX17" fmla="*/ 19775 w 27093"/>
                <a:gd name="csY17" fmla="*/ 4347 h 24256"/>
                <a:gd name="csX18" fmla="*/ 21564 w 27093"/>
                <a:gd name="csY18" fmla="*/ 5288 h 24256"/>
                <a:gd name="csX19" fmla="*/ 25771 w 27093"/>
                <a:gd name="csY19" fmla="*/ 11765 h 24256"/>
                <a:gd name="csX20" fmla="*/ 26343 w 27093"/>
                <a:gd name="csY20" fmla="*/ 13038 h 24256"/>
                <a:gd name="csX21" fmla="*/ 26177 w 27093"/>
                <a:gd name="csY21" fmla="*/ 20548 h 24256"/>
                <a:gd name="csX22" fmla="*/ 20273 w 27093"/>
                <a:gd name="csY22" fmla="*/ 23556 h 24256"/>
                <a:gd name="csX23" fmla="*/ 18520 w 27093"/>
                <a:gd name="csY23" fmla="*/ 24035 h 24256"/>
                <a:gd name="csX24" fmla="*/ 17450 w 27093"/>
                <a:gd name="csY24" fmla="*/ 24238 h 24256"/>
                <a:gd name="csX25" fmla="*/ 10936 w 27093"/>
                <a:gd name="csY25" fmla="*/ 20437 h 24256"/>
                <a:gd name="csX26" fmla="*/ 11084 w 27093"/>
                <a:gd name="csY26" fmla="*/ 20437 h 24256"/>
                <a:gd name="csX27" fmla="*/ 10936 w 27093"/>
                <a:gd name="csY27" fmla="*/ 20437 h 24256"/>
                <a:gd name="csX28" fmla="*/ 11804 w 27093"/>
                <a:gd name="csY28" fmla="*/ 19238 h 24256"/>
                <a:gd name="csX29" fmla="*/ 11804 w 27093"/>
                <a:gd name="csY29" fmla="*/ 19238 h 24256"/>
                <a:gd name="csX30" fmla="*/ 11804 w 27093"/>
                <a:gd name="csY30" fmla="*/ 19238 h 24256"/>
                <a:gd name="csX31" fmla="*/ 17284 w 27093"/>
                <a:gd name="csY31" fmla="*/ 17134 h 24256"/>
                <a:gd name="csX32" fmla="*/ 18151 w 27093"/>
                <a:gd name="csY32" fmla="*/ 17946 h 24256"/>
                <a:gd name="csX33" fmla="*/ 18871 w 27093"/>
                <a:gd name="csY33" fmla="*/ 17780 h 24256"/>
                <a:gd name="csX34" fmla="*/ 21066 w 27093"/>
                <a:gd name="csY34" fmla="*/ 17098 h 24256"/>
                <a:gd name="csX35" fmla="*/ 20697 w 27093"/>
                <a:gd name="csY35" fmla="*/ 15160 h 24256"/>
                <a:gd name="csX36" fmla="*/ 20236 w 27093"/>
                <a:gd name="csY36" fmla="*/ 14256 h 24256"/>
                <a:gd name="csX37" fmla="*/ 17782 w 27093"/>
                <a:gd name="csY37" fmla="*/ 10031 h 24256"/>
                <a:gd name="csX38" fmla="*/ 16306 w 27093"/>
                <a:gd name="csY38" fmla="*/ 9292 h 24256"/>
                <a:gd name="csX39" fmla="*/ 14940 w 27093"/>
                <a:gd name="csY39" fmla="*/ 8167 h 24256"/>
                <a:gd name="csX40" fmla="*/ 14313 w 27093"/>
                <a:gd name="csY40" fmla="*/ 7613 h 24256"/>
                <a:gd name="csX41" fmla="*/ 11840 w 27093"/>
                <a:gd name="csY41" fmla="*/ 6359 h 24256"/>
                <a:gd name="csX42" fmla="*/ 11047 w 27093"/>
                <a:gd name="csY42" fmla="*/ 5953 h 24256"/>
                <a:gd name="csX43" fmla="*/ 9977 w 27093"/>
                <a:gd name="csY43" fmla="*/ 6654 h 24256"/>
                <a:gd name="csX44" fmla="*/ 6047 w 27093"/>
                <a:gd name="csY44" fmla="*/ 11248 h 24256"/>
                <a:gd name="csX45" fmla="*/ 5936 w 27093"/>
                <a:gd name="csY45" fmla="*/ 11968 h 24256"/>
                <a:gd name="csX46" fmla="*/ 5973 w 27093"/>
                <a:gd name="csY46" fmla="*/ 12946 h 24256"/>
                <a:gd name="csX47" fmla="*/ 7191 w 27093"/>
                <a:gd name="csY47" fmla="*/ 16175 h 24256"/>
                <a:gd name="csX48" fmla="*/ 7744 w 27093"/>
                <a:gd name="csY48" fmla="*/ 15880 h 24256"/>
                <a:gd name="csX49" fmla="*/ 11305 w 27093"/>
                <a:gd name="csY49" fmla="*/ 14533 h 24256"/>
                <a:gd name="csX50" fmla="*/ 17247 w 27093"/>
                <a:gd name="csY50" fmla="*/ 17171 h 24256"/>
                <a:gd name="csX51" fmla="*/ 21103 w 27093"/>
                <a:gd name="csY51" fmla="*/ 17614 h 24256"/>
                <a:gd name="csX52" fmla="*/ 21103 w 27093"/>
                <a:gd name="csY52" fmla="*/ 17614 h 242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27093" h="24256">
                  <a:moveTo>
                    <a:pt x="17394" y="24257"/>
                  </a:moveTo>
                  <a:cubicBezTo>
                    <a:pt x="16656" y="24257"/>
                    <a:pt x="15955" y="23980"/>
                    <a:pt x="15383" y="23482"/>
                  </a:cubicBezTo>
                  <a:lnTo>
                    <a:pt x="12763" y="21083"/>
                  </a:lnTo>
                  <a:cubicBezTo>
                    <a:pt x="12615" y="20954"/>
                    <a:pt x="12486" y="20806"/>
                    <a:pt x="12376" y="20659"/>
                  </a:cubicBezTo>
                  <a:cubicBezTo>
                    <a:pt x="12173" y="20603"/>
                    <a:pt x="11896" y="20548"/>
                    <a:pt x="11656" y="20511"/>
                  </a:cubicBezTo>
                  <a:cubicBezTo>
                    <a:pt x="11508" y="20659"/>
                    <a:pt x="11361" y="20825"/>
                    <a:pt x="11158" y="20972"/>
                  </a:cubicBezTo>
                  <a:cubicBezTo>
                    <a:pt x="10641" y="21397"/>
                    <a:pt x="9977" y="21618"/>
                    <a:pt x="9294" y="21618"/>
                  </a:cubicBezTo>
                  <a:cubicBezTo>
                    <a:pt x="7800" y="21803"/>
                    <a:pt x="4220" y="22264"/>
                    <a:pt x="2301" y="19496"/>
                  </a:cubicBezTo>
                  <a:cubicBezTo>
                    <a:pt x="1434" y="18205"/>
                    <a:pt x="899" y="16728"/>
                    <a:pt x="437" y="15418"/>
                  </a:cubicBezTo>
                  <a:cubicBezTo>
                    <a:pt x="364" y="15252"/>
                    <a:pt x="161" y="14643"/>
                    <a:pt x="142" y="14459"/>
                  </a:cubicBezTo>
                  <a:cubicBezTo>
                    <a:pt x="68" y="13942"/>
                    <a:pt x="50" y="13426"/>
                    <a:pt x="50" y="12891"/>
                  </a:cubicBezTo>
                  <a:cubicBezTo>
                    <a:pt x="-24" y="12466"/>
                    <a:pt x="-24" y="11414"/>
                    <a:pt x="105" y="11008"/>
                  </a:cubicBezTo>
                  <a:cubicBezTo>
                    <a:pt x="161" y="10141"/>
                    <a:pt x="271" y="9237"/>
                    <a:pt x="1157" y="7835"/>
                  </a:cubicBezTo>
                  <a:cubicBezTo>
                    <a:pt x="1323" y="7595"/>
                    <a:pt x="5475" y="2133"/>
                    <a:pt x="7043" y="1377"/>
                  </a:cubicBezTo>
                  <a:cubicBezTo>
                    <a:pt x="10918" y="-321"/>
                    <a:pt x="11914" y="-468"/>
                    <a:pt x="14719" y="1045"/>
                  </a:cubicBezTo>
                  <a:cubicBezTo>
                    <a:pt x="15309" y="1340"/>
                    <a:pt x="16066" y="1764"/>
                    <a:pt x="17228" y="2299"/>
                  </a:cubicBezTo>
                  <a:cubicBezTo>
                    <a:pt x="17468" y="2410"/>
                    <a:pt x="17690" y="2539"/>
                    <a:pt x="17893" y="2705"/>
                  </a:cubicBezTo>
                  <a:lnTo>
                    <a:pt x="19775" y="4347"/>
                  </a:lnTo>
                  <a:cubicBezTo>
                    <a:pt x="20291" y="4495"/>
                    <a:pt x="20900" y="4772"/>
                    <a:pt x="21564" y="5288"/>
                  </a:cubicBezTo>
                  <a:cubicBezTo>
                    <a:pt x="23594" y="6912"/>
                    <a:pt x="24757" y="9495"/>
                    <a:pt x="25771" y="11765"/>
                  </a:cubicBezTo>
                  <a:lnTo>
                    <a:pt x="26343" y="13038"/>
                  </a:lnTo>
                  <a:cubicBezTo>
                    <a:pt x="27912" y="18500"/>
                    <a:pt x="26602" y="20050"/>
                    <a:pt x="26177" y="20548"/>
                  </a:cubicBezTo>
                  <a:cubicBezTo>
                    <a:pt x="24388" y="22633"/>
                    <a:pt x="22100" y="23131"/>
                    <a:pt x="20273" y="23556"/>
                  </a:cubicBezTo>
                  <a:cubicBezTo>
                    <a:pt x="19682" y="23703"/>
                    <a:pt x="19092" y="23814"/>
                    <a:pt x="18520" y="24035"/>
                  </a:cubicBezTo>
                  <a:cubicBezTo>
                    <a:pt x="18169" y="24164"/>
                    <a:pt x="17800" y="24238"/>
                    <a:pt x="17450" y="24238"/>
                  </a:cubicBezTo>
                  <a:close/>
                  <a:moveTo>
                    <a:pt x="10936" y="20437"/>
                  </a:moveTo>
                  <a:cubicBezTo>
                    <a:pt x="10936" y="20437"/>
                    <a:pt x="11029" y="20456"/>
                    <a:pt x="11084" y="20437"/>
                  </a:cubicBezTo>
                  <a:lnTo>
                    <a:pt x="10936" y="20437"/>
                  </a:lnTo>
                  <a:close/>
                  <a:moveTo>
                    <a:pt x="11804" y="19238"/>
                  </a:moveTo>
                  <a:lnTo>
                    <a:pt x="11804" y="19238"/>
                  </a:lnTo>
                  <a:cubicBezTo>
                    <a:pt x="11804" y="19238"/>
                    <a:pt x="11804" y="19238"/>
                    <a:pt x="11804" y="19238"/>
                  </a:cubicBezTo>
                  <a:close/>
                  <a:moveTo>
                    <a:pt x="17284" y="17134"/>
                  </a:moveTo>
                  <a:lnTo>
                    <a:pt x="18151" y="17946"/>
                  </a:lnTo>
                  <a:cubicBezTo>
                    <a:pt x="18391" y="17872"/>
                    <a:pt x="18631" y="17836"/>
                    <a:pt x="18871" y="17780"/>
                  </a:cubicBezTo>
                  <a:cubicBezTo>
                    <a:pt x="19848" y="17559"/>
                    <a:pt x="20568" y="17393"/>
                    <a:pt x="21066" y="17098"/>
                  </a:cubicBezTo>
                  <a:cubicBezTo>
                    <a:pt x="21011" y="16544"/>
                    <a:pt x="20845" y="15714"/>
                    <a:pt x="20697" y="15160"/>
                  </a:cubicBezTo>
                  <a:lnTo>
                    <a:pt x="20236" y="14256"/>
                  </a:lnTo>
                  <a:cubicBezTo>
                    <a:pt x="19535" y="12688"/>
                    <a:pt x="18668" y="10732"/>
                    <a:pt x="17782" y="10031"/>
                  </a:cubicBezTo>
                  <a:cubicBezTo>
                    <a:pt x="17007" y="9680"/>
                    <a:pt x="16656" y="9514"/>
                    <a:pt x="16306" y="9292"/>
                  </a:cubicBezTo>
                  <a:cubicBezTo>
                    <a:pt x="15641" y="8794"/>
                    <a:pt x="15309" y="8481"/>
                    <a:pt x="14940" y="8167"/>
                  </a:cubicBezTo>
                  <a:lnTo>
                    <a:pt x="14313" y="7613"/>
                  </a:lnTo>
                  <a:cubicBezTo>
                    <a:pt x="13224" y="7115"/>
                    <a:pt x="12431" y="6691"/>
                    <a:pt x="11840" y="6359"/>
                  </a:cubicBezTo>
                  <a:cubicBezTo>
                    <a:pt x="11508" y="6193"/>
                    <a:pt x="11268" y="6027"/>
                    <a:pt x="11047" y="5953"/>
                  </a:cubicBezTo>
                  <a:cubicBezTo>
                    <a:pt x="11232" y="6082"/>
                    <a:pt x="10752" y="6322"/>
                    <a:pt x="9977" y="6654"/>
                  </a:cubicBezTo>
                  <a:cubicBezTo>
                    <a:pt x="9516" y="7004"/>
                    <a:pt x="6914" y="10067"/>
                    <a:pt x="6047" y="11248"/>
                  </a:cubicBezTo>
                  <a:cubicBezTo>
                    <a:pt x="6047" y="11359"/>
                    <a:pt x="5991" y="11673"/>
                    <a:pt x="5936" y="11968"/>
                  </a:cubicBezTo>
                  <a:cubicBezTo>
                    <a:pt x="5973" y="12300"/>
                    <a:pt x="5973" y="12614"/>
                    <a:pt x="5973" y="12946"/>
                  </a:cubicBezTo>
                  <a:cubicBezTo>
                    <a:pt x="6379" y="14477"/>
                    <a:pt x="6766" y="15529"/>
                    <a:pt x="7191" y="16175"/>
                  </a:cubicBezTo>
                  <a:cubicBezTo>
                    <a:pt x="7154" y="16027"/>
                    <a:pt x="7431" y="15935"/>
                    <a:pt x="7744" y="15880"/>
                  </a:cubicBezTo>
                  <a:cubicBezTo>
                    <a:pt x="8316" y="15215"/>
                    <a:pt x="9405" y="14348"/>
                    <a:pt x="11305" y="14533"/>
                  </a:cubicBezTo>
                  <a:cubicBezTo>
                    <a:pt x="11453" y="14533"/>
                    <a:pt x="15789" y="14588"/>
                    <a:pt x="17247" y="17171"/>
                  </a:cubicBezTo>
                  <a:close/>
                  <a:moveTo>
                    <a:pt x="21103" y="17614"/>
                  </a:moveTo>
                  <a:lnTo>
                    <a:pt x="21103" y="17614"/>
                  </a:lnTo>
                  <a:close/>
                </a:path>
              </a:pathLst>
            </a:custGeom>
            <a:solidFill>
              <a:srgbClr val="FFFFFF"/>
            </a:solidFill>
            <a:ln w="1835" cap="flat">
              <a:noFill/>
              <a:prstDash val="solid"/>
              <a:miter/>
            </a:ln>
          </p:spPr>
          <p:txBody>
            <a:bodyPr/>
            <a:lstStyle/>
            <a:p>
              <a:endParaRPr lang="en-GB"/>
            </a:p>
          </p:txBody>
        </p:sp>
        <p:sp>
          <p:nvSpPr>
            <p:cNvPr id="1504" name="Freeform: Shape 1503">
              <a:extLst>
                <a:ext uri="{FF2B5EF4-FFF2-40B4-BE49-F238E27FC236}">
                  <a16:creationId xmlns:a16="http://schemas.microsoft.com/office/drawing/2014/main" id="{B9025218-F6BE-CA08-3EBC-756E10F778E8}"/>
                </a:ext>
              </a:extLst>
            </p:cNvPr>
            <p:cNvSpPr/>
            <p:nvPr/>
          </p:nvSpPr>
          <p:spPr>
            <a:xfrm>
              <a:off x="11119227" y="4805357"/>
              <a:ext cx="19636" cy="26553"/>
            </a:xfrm>
            <a:custGeom>
              <a:avLst/>
              <a:gdLst>
                <a:gd name="csX0" fmla="*/ 18403 w 19636"/>
                <a:gd name="csY0" fmla="*/ 7879 h 26553"/>
                <a:gd name="csX1" fmla="*/ 17573 w 19636"/>
                <a:gd name="csY1" fmla="*/ 6569 h 26553"/>
                <a:gd name="csX2" fmla="*/ 17222 w 19636"/>
                <a:gd name="csY2" fmla="*/ 4779 h 26553"/>
                <a:gd name="csX3" fmla="*/ 17222 w 19636"/>
                <a:gd name="csY3" fmla="*/ 1199 h 26553"/>
                <a:gd name="csX4" fmla="*/ 8144 w 19636"/>
                <a:gd name="csY4" fmla="*/ 0 h 26553"/>
                <a:gd name="csX5" fmla="*/ 7074 w 19636"/>
                <a:gd name="csY5" fmla="*/ 351 h 26553"/>
                <a:gd name="csX6" fmla="*/ 6354 w 19636"/>
                <a:gd name="csY6" fmla="*/ 2030 h 26553"/>
                <a:gd name="csX7" fmla="*/ 5395 w 19636"/>
                <a:gd name="csY7" fmla="*/ 3580 h 26553"/>
                <a:gd name="csX8" fmla="*/ 4195 w 19636"/>
                <a:gd name="csY8" fmla="*/ 7399 h 26553"/>
                <a:gd name="csX9" fmla="*/ 2996 w 19636"/>
                <a:gd name="csY9" fmla="*/ 8359 h 26553"/>
                <a:gd name="csX10" fmla="*/ 1686 w 19636"/>
                <a:gd name="csY10" fmla="*/ 11588 h 26553"/>
                <a:gd name="csX11" fmla="*/ 856 w 19636"/>
                <a:gd name="csY11" fmla="*/ 19596 h 26553"/>
                <a:gd name="csX12" fmla="*/ 11244 w 19636"/>
                <a:gd name="csY12" fmla="*/ 26275 h 26553"/>
                <a:gd name="csX13" fmla="*/ 17923 w 19636"/>
                <a:gd name="csY13" fmla="*/ 24725 h 26553"/>
                <a:gd name="csX14" fmla="*/ 18754 w 19636"/>
                <a:gd name="csY14" fmla="*/ 22585 h 26553"/>
                <a:gd name="csX15" fmla="*/ 19473 w 19636"/>
                <a:gd name="csY15" fmla="*/ 20906 h 26553"/>
                <a:gd name="csX16" fmla="*/ 19123 w 19636"/>
                <a:gd name="csY16" fmla="*/ 16717 h 26553"/>
                <a:gd name="csX17" fmla="*/ 19363 w 19636"/>
                <a:gd name="csY17" fmla="*/ 15647 h 26553"/>
                <a:gd name="csX18" fmla="*/ 19012 w 19636"/>
                <a:gd name="csY18" fmla="*/ 6809 h 26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9636" h="26553">
                  <a:moveTo>
                    <a:pt x="18403" y="7879"/>
                  </a:moveTo>
                  <a:cubicBezTo>
                    <a:pt x="18643" y="6329"/>
                    <a:pt x="17923" y="7049"/>
                    <a:pt x="17573" y="6569"/>
                  </a:cubicBezTo>
                  <a:cubicBezTo>
                    <a:pt x="17462" y="5978"/>
                    <a:pt x="17333" y="5369"/>
                    <a:pt x="17222" y="4779"/>
                  </a:cubicBezTo>
                  <a:lnTo>
                    <a:pt x="17222" y="1199"/>
                  </a:lnTo>
                  <a:cubicBezTo>
                    <a:pt x="14233" y="849"/>
                    <a:pt x="11244" y="240"/>
                    <a:pt x="8144" y="0"/>
                  </a:cubicBezTo>
                  <a:cubicBezTo>
                    <a:pt x="7793" y="0"/>
                    <a:pt x="7424" y="0"/>
                    <a:pt x="7074" y="351"/>
                  </a:cubicBezTo>
                  <a:cubicBezTo>
                    <a:pt x="6723" y="701"/>
                    <a:pt x="6594" y="1550"/>
                    <a:pt x="6354" y="2030"/>
                  </a:cubicBezTo>
                  <a:cubicBezTo>
                    <a:pt x="6114" y="2620"/>
                    <a:pt x="5635" y="3100"/>
                    <a:pt x="5395" y="3580"/>
                  </a:cubicBezTo>
                  <a:cubicBezTo>
                    <a:pt x="5044" y="4890"/>
                    <a:pt x="4804" y="6329"/>
                    <a:pt x="4195" y="7399"/>
                  </a:cubicBezTo>
                  <a:cubicBezTo>
                    <a:pt x="3955" y="7990"/>
                    <a:pt x="3365" y="7879"/>
                    <a:pt x="2996" y="8359"/>
                  </a:cubicBezTo>
                  <a:cubicBezTo>
                    <a:pt x="2406" y="9318"/>
                    <a:pt x="1686" y="11588"/>
                    <a:pt x="1686" y="11588"/>
                  </a:cubicBezTo>
                  <a:cubicBezTo>
                    <a:pt x="247" y="21625"/>
                    <a:pt x="-824" y="17197"/>
                    <a:pt x="856" y="19596"/>
                  </a:cubicBezTo>
                  <a:cubicBezTo>
                    <a:pt x="2406" y="22105"/>
                    <a:pt x="8384" y="25445"/>
                    <a:pt x="11244" y="26275"/>
                  </a:cubicBezTo>
                  <a:cubicBezTo>
                    <a:pt x="14104" y="27105"/>
                    <a:pt x="16503" y="25925"/>
                    <a:pt x="17923" y="24725"/>
                  </a:cubicBezTo>
                  <a:cubicBezTo>
                    <a:pt x="18274" y="24006"/>
                    <a:pt x="18514" y="23286"/>
                    <a:pt x="18754" y="22585"/>
                  </a:cubicBezTo>
                  <a:cubicBezTo>
                    <a:pt x="18993" y="21994"/>
                    <a:pt x="19344" y="21515"/>
                    <a:pt x="19473" y="20906"/>
                  </a:cubicBezTo>
                  <a:cubicBezTo>
                    <a:pt x="19953" y="18046"/>
                    <a:pt x="19233" y="19227"/>
                    <a:pt x="19123" y="16717"/>
                  </a:cubicBezTo>
                  <a:cubicBezTo>
                    <a:pt x="19123" y="16367"/>
                    <a:pt x="19473" y="17308"/>
                    <a:pt x="19363" y="15647"/>
                  </a:cubicBezTo>
                  <a:cubicBezTo>
                    <a:pt x="19363" y="13968"/>
                    <a:pt x="19123" y="9798"/>
                    <a:pt x="19012" y="6809"/>
                  </a:cubicBezTo>
                </a:path>
              </a:pathLst>
            </a:custGeom>
            <a:solidFill>
              <a:srgbClr val="FFFFFF"/>
            </a:solidFill>
            <a:ln w="1835" cap="flat">
              <a:noFill/>
              <a:prstDash val="solid"/>
              <a:miter/>
            </a:ln>
          </p:spPr>
          <p:txBody>
            <a:bodyPr/>
            <a:lstStyle/>
            <a:p>
              <a:endParaRPr lang="en-GB"/>
            </a:p>
          </p:txBody>
        </p:sp>
        <p:sp>
          <p:nvSpPr>
            <p:cNvPr id="1505" name="Freeform: Shape 1504">
              <a:extLst>
                <a:ext uri="{FF2B5EF4-FFF2-40B4-BE49-F238E27FC236}">
                  <a16:creationId xmlns:a16="http://schemas.microsoft.com/office/drawing/2014/main" id="{718D3181-7A7A-B1BB-CC96-91C37B346D23}"/>
                </a:ext>
              </a:extLst>
            </p:cNvPr>
            <p:cNvSpPr/>
            <p:nvPr/>
          </p:nvSpPr>
          <p:spPr>
            <a:xfrm>
              <a:off x="11116268" y="4802386"/>
              <a:ext cx="25581" cy="32567"/>
            </a:xfrm>
            <a:custGeom>
              <a:avLst/>
              <a:gdLst>
                <a:gd name="csX0" fmla="*/ 16085 w 25581"/>
                <a:gd name="csY0" fmla="*/ 32512 h 32567"/>
                <a:gd name="csX1" fmla="*/ 13336 w 25581"/>
                <a:gd name="csY1" fmla="*/ 32124 h 32567"/>
                <a:gd name="csX2" fmla="*/ 1250 w 25581"/>
                <a:gd name="csY2" fmla="*/ 24135 h 32567"/>
                <a:gd name="csX3" fmla="*/ 383 w 25581"/>
                <a:gd name="csY3" fmla="*/ 20057 h 32567"/>
                <a:gd name="csX4" fmla="*/ 1674 w 25581"/>
                <a:gd name="csY4" fmla="*/ 14134 h 32567"/>
                <a:gd name="csX5" fmla="*/ 3427 w 25581"/>
                <a:gd name="csY5" fmla="*/ 9742 h 32567"/>
                <a:gd name="csX6" fmla="*/ 4682 w 25581"/>
                <a:gd name="csY6" fmla="*/ 8580 h 32567"/>
                <a:gd name="csX7" fmla="*/ 5199 w 25581"/>
                <a:gd name="csY7" fmla="*/ 6790 h 32567"/>
                <a:gd name="csX8" fmla="*/ 5457 w 25581"/>
                <a:gd name="csY8" fmla="*/ 5794 h 32567"/>
                <a:gd name="csX9" fmla="*/ 6306 w 25581"/>
                <a:gd name="csY9" fmla="*/ 4225 h 32567"/>
                <a:gd name="csX10" fmla="*/ 6693 w 25581"/>
                <a:gd name="csY10" fmla="*/ 3450 h 32567"/>
                <a:gd name="csX11" fmla="*/ 7948 w 25581"/>
                <a:gd name="csY11" fmla="*/ 1199 h 32567"/>
                <a:gd name="csX12" fmla="*/ 11103 w 25581"/>
                <a:gd name="csY12" fmla="*/ 0 h 32567"/>
                <a:gd name="csX13" fmla="*/ 17026 w 25581"/>
                <a:gd name="csY13" fmla="*/ 720 h 32567"/>
                <a:gd name="csX14" fmla="*/ 20532 w 25581"/>
                <a:gd name="csY14" fmla="*/ 1218 h 32567"/>
                <a:gd name="csX15" fmla="*/ 23171 w 25581"/>
                <a:gd name="csY15" fmla="*/ 4189 h 32567"/>
                <a:gd name="csX16" fmla="*/ 23171 w 25581"/>
                <a:gd name="csY16" fmla="*/ 7584 h 32567"/>
                <a:gd name="csX17" fmla="*/ 24351 w 25581"/>
                <a:gd name="csY17" fmla="*/ 9724 h 32567"/>
                <a:gd name="csX18" fmla="*/ 24960 w 25581"/>
                <a:gd name="csY18" fmla="*/ 9724 h 32567"/>
                <a:gd name="csX19" fmla="*/ 25108 w 25581"/>
                <a:gd name="csY19" fmla="*/ 13230 h 32567"/>
                <a:gd name="csX20" fmla="*/ 25311 w 25581"/>
                <a:gd name="csY20" fmla="*/ 18655 h 32567"/>
                <a:gd name="csX21" fmla="*/ 25182 w 25581"/>
                <a:gd name="csY21" fmla="*/ 20407 h 32567"/>
                <a:gd name="csX22" fmla="*/ 25182 w 25581"/>
                <a:gd name="csY22" fmla="*/ 20407 h 32567"/>
                <a:gd name="csX23" fmla="*/ 25385 w 25581"/>
                <a:gd name="csY23" fmla="*/ 24393 h 32567"/>
                <a:gd name="csX24" fmla="*/ 24665 w 25581"/>
                <a:gd name="csY24" fmla="*/ 26330 h 32567"/>
                <a:gd name="csX25" fmla="*/ 23576 w 25581"/>
                <a:gd name="csY25" fmla="*/ 29043 h 32567"/>
                <a:gd name="csX26" fmla="*/ 22802 w 25581"/>
                <a:gd name="csY26" fmla="*/ 30039 h 32567"/>
                <a:gd name="csX27" fmla="*/ 16104 w 25581"/>
                <a:gd name="csY27" fmla="*/ 32567 h 32567"/>
                <a:gd name="csX28" fmla="*/ 6398 w 25581"/>
                <a:gd name="csY28" fmla="*/ 21053 h 32567"/>
                <a:gd name="csX29" fmla="*/ 15033 w 25581"/>
                <a:gd name="csY29" fmla="*/ 26386 h 32567"/>
                <a:gd name="csX30" fmla="*/ 18465 w 25581"/>
                <a:gd name="csY30" fmla="*/ 25795 h 32567"/>
                <a:gd name="csX31" fmla="*/ 18853 w 25581"/>
                <a:gd name="csY31" fmla="*/ 24633 h 32567"/>
                <a:gd name="csX32" fmla="*/ 19351 w 25581"/>
                <a:gd name="csY32" fmla="*/ 23563 h 32567"/>
                <a:gd name="csX33" fmla="*/ 19591 w 25581"/>
                <a:gd name="csY33" fmla="*/ 22400 h 32567"/>
                <a:gd name="csX34" fmla="*/ 19074 w 25581"/>
                <a:gd name="csY34" fmla="*/ 19854 h 32567"/>
                <a:gd name="csX35" fmla="*/ 19333 w 25581"/>
                <a:gd name="csY35" fmla="*/ 18489 h 32567"/>
                <a:gd name="csX36" fmla="*/ 19130 w 25581"/>
                <a:gd name="csY36" fmla="*/ 13488 h 32567"/>
                <a:gd name="csX37" fmla="*/ 19056 w 25581"/>
                <a:gd name="csY37" fmla="*/ 11864 h 32567"/>
                <a:gd name="csX38" fmla="*/ 18133 w 25581"/>
                <a:gd name="csY38" fmla="*/ 11348 h 32567"/>
                <a:gd name="csX39" fmla="*/ 17580 w 25581"/>
                <a:gd name="csY39" fmla="*/ 10130 h 32567"/>
                <a:gd name="csX40" fmla="*/ 17192 w 25581"/>
                <a:gd name="csY40" fmla="*/ 6790 h 32567"/>
                <a:gd name="csX41" fmla="*/ 16104 w 25581"/>
                <a:gd name="csY41" fmla="*/ 6624 h 32567"/>
                <a:gd name="csX42" fmla="*/ 12007 w 25581"/>
                <a:gd name="csY42" fmla="*/ 6071 h 32567"/>
                <a:gd name="csX43" fmla="*/ 11934 w 25581"/>
                <a:gd name="csY43" fmla="*/ 6366 h 32567"/>
                <a:gd name="csX44" fmla="*/ 11140 w 25581"/>
                <a:gd name="csY44" fmla="*/ 7676 h 32567"/>
                <a:gd name="csX45" fmla="*/ 10992 w 25581"/>
                <a:gd name="csY45" fmla="*/ 8174 h 32567"/>
                <a:gd name="csX46" fmla="*/ 9738 w 25581"/>
                <a:gd name="csY46" fmla="*/ 11809 h 32567"/>
                <a:gd name="csX47" fmla="*/ 8206 w 25581"/>
                <a:gd name="csY47" fmla="*/ 13414 h 32567"/>
                <a:gd name="csX48" fmla="*/ 7468 w 25581"/>
                <a:gd name="csY48" fmla="*/ 15444 h 32567"/>
                <a:gd name="csX49" fmla="*/ 6380 w 25581"/>
                <a:gd name="csY49" fmla="*/ 21035 h 32567"/>
                <a:gd name="csX50" fmla="*/ 19074 w 25581"/>
                <a:gd name="csY50" fmla="*/ 11864 h 32567"/>
                <a:gd name="csX51" fmla="*/ 20550 w 25581"/>
                <a:gd name="csY51" fmla="*/ 12695 h 32567"/>
                <a:gd name="csX52" fmla="*/ 19074 w 25581"/>
                <a:gd name="csY52" fmla="*/ 11864 h 32567"/>
                <a:gd name="csX53" fmla="*/ 18428 w 25581"/>
                <a:gd name="csY53" fmla="*/ 10407 h 32567"/>
                <a:gd name="csX54" fmla="*/ 19074 w 25581"/>
                <a:gd name="csY54" fmla="*/ 11846 h 32567"/>
                <a:gd name="csX55" fmla="*/ 19019 w 25581"/>
                <a:gd name="csY55" fmla="*/ 10499 h 32567"/>
                <a:gd name="csX56" fmla="*/ 18428 w 25581"/>
                <a:gd name="csY56" fmla="*/ 10407 h 32567"/>
                <a:gd name="csX57" fmla="*/ 18428 w 25581"/>
                <a:gd name="csY57" fmla="*/ 10407 h 32567"/>
                <a:gd name="csX58" fmla="*/ 19019 w 25581"/>
                <a:gd name="csY58" fmla="*/ 10499 h 32567"/>
                <a:gd name="csX59" fmla="*/ 19019 w 25581"/>
                <a:gd name="csY59" fmla="*/ 10407 h 32567"/>
                <a:gd name="csX60" fmla="*/ 18428 w 25581"/>
                <a:gd name="csY60" fmla="*/ 10296 h 32567"/>
                <a:gd name="csX61" fmla="*/ 18428 w 25581"/>
                <a:gd name="csY61" fmla="*/ 10407 h 325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25581" h="32567">
                  <a:moveTo>
                    <a:pt x="16085" y="32512"/>
                  </a:moveTo>
                  <a:cubicBezTo>
                    <a:pt x="15181" y="32512"/>
                    <a:pt x="14258" y="32364"/>
                    <a:pt x="13336" y="32124"/>
                  </a:cubicBezTo>
                  <a:cubicBezTo>
                    <a:pt x="10365" y="31257"/>
                    <a:pt x="3427" y="27641"/>
                    <a:pt x="1250" y="24135"/>
                  </a:cubicBezTo>
                  <a:cubicBezTo>
                    <a:pt x="-5" y="23249"/>
                    <a:pt x="-355" y="21404"/>
                    <a:pt x="383" y="20057"/>
                  </a:cubicBezTo>
                  <a:cubicBezTo>
                    <a:pt x="457" y="19946"/>
                    <a:pt x="992" y="18876"/>
                    <a:pt x="1674" y="14134"/>
                  </a:cubicBezTo>
                  <a:cubicBezTo>
                    <a:pt x="1970" y="13045"/>
                    <a:pt x="2671" y="10923"/>
                    <a:pt x="3427" y="9742"/>
                  </a:cubicBezTo>
                  <a:cubicBezTo>
                    <a:pt x="3630" y="9410"/>
                    <a:pt x="4184" y="8931"/>
                    <a:pt x="4682" y="8580"/>
                  </a:cubicBezTo>
                  <a:cubicBezTo>
                    <a:pt x="4903" y="7971"/>
                    <a:pt x="5051" y="7381"/>
                    <a:pt x="5199" y="6790"/>
                  </a:cubicBezTo>
                  <a:lnTo>
                    <a:pt x="5457" y="5794"/>
                  </a:lnTo>
                  <a:cubicBezTo>
                    <a:pt x="5549" y="5443"/>
                    <a:pt x="6084" y="4502"/>
                    <a:pt x="6306" y="4225"/>
                  </a:cubicBezTo>
                  <a:lnTo>
                    <a:pt x="6693" y="3450"/>
                  </a:lnTo>
                  <a:cubicBezTo>
                    <a:pt x="6878" y="2860"/>
                    <a:pt x="7173" y="1937"/>
                    <a:pt x="7948" y="1199"/>
                  </a:cubicBezTo>
                  <a:cubicBezTo>
                    <a:pt x="9147" y="0"/>
                    <a:pt x="10568" y="0"/>
                    <a:pt x="11103" y="0"/>
                  </a:cubicBezTo>
                  <a:cubicBezTo>
                    <a:pt x="13280" y="166"/>
                    <a:pt x="15163" y="443"/>
                    <a:pt x="17026" y="720"/>
                  </a:cubicBezTo>
                  <a:cubicBezTo>
                    <a:pt x="18189" y="886"/>
                    <a:pt x="19351" y="1070"/>
                    <a:pt x="20532" y="1218"/>
                  </a:cubicBezTo>
                  <a:cubicBezTo>
                    <a:pt x="22045" y="1384"/>
                    <a:pt x="23171" y="2657"/>
                    <a:pt x="23171" y="4189"/>
                  </a:cubicBezTo>
                  <a:lnTo>
                    <a:pt x="23171" y="7584"/>
                  </a:lnTo>
                  <a:cubicBezTo>
                    <a:pt x="23761" y="8045"/>
                    <a:pt x="24204" y="8746"/>
                    <a:pt x="24351" y="9724"/>
                  </a:cubicBezTo>
                  <a:lnTo>
                    <a:pt x="24960" y="9724"/>
                  </a:lnTo>
                  <a:cubicBezTo>
                    <a:pt x="24960" y="9724"/>
                    <a:pt x="25108" y="13230"/>
                    <a:pt x="25108" y="13230"/>
                  </a:cubicBezTo>
                  <a:cubicBezTo>
                    <a:pt x="25219" y="15426"/>
                    <a:pt x="25311" y="17566"/>
                    <a:pt x="25311" y="18655"/>
                  </a:cubicBezTo>
                  <a:cubicBezTo>
                    <a:pt x="25329" y="19024"/>
                    <a:pt x="25385" y="19688"/>
                    <a:pt x="25182" y="20407"/>
                  </a:cubicBezTo>
                  <a:cubicBezTo>
                    <a:pt x="25182" y="20407"/>
                    <a:pt x="25182" y="20407"/>
                    <a:pt x="25182" y="20407"/>
                  </a:cubicBezTo>
                  <a:cubicBezTo>
                    <a:pt x="25643" y="21570"/>
                    <a:pt x="25698" y="22493"/>
                    <a:pt x="25385" y="24393"/>
                  </a:cubicBezTo>
                  <a:cubicBezTo>
                    <a:pt x="25219" y="25279"/>
                    <a:pt x="24887" y="25888"/>
                    <a:pt x="24665" y="26330"/>
                  </a:cubicBezTo>
                  <a:cubicBezTo>
                    <a:pt x="24278" y="27345"/>
                    <a:pt x="23982" y="28176"/>
                    <a:pt x="23576" y="29043"/>
                  </a:cubicBezTo>
                  <a:cubicBezTo>
                    <a:pt x="23392" y="29412"/>
                    <a:pt x="23134" y="29762"/>
                    <a:pt x="22802" y="30039"/>
                  </a:cubicBezTo>
                  <a:cubicBezTo>
                    <a:pt x="20827" y="31700"/>
                    <a:pt x="18484" y="32567"/>
                    <a:pt x="16104" y="32567"/>
                  </a:cubicBezTo>
                  <a:close/>
                  <a:moveTo>
                    <a:pt x="6398" y="21053"/>
                  </a:moveTo>
                  <a:cubicBezTo>
                    <a:pt x="7745" y="22843"/>
                    <a:pt x="12561" y="25666"/>
                    <a:pt x="15033" y="26386"/>
                  </a:cubicBezTo>
                  <a:cubicBezTo>
                    <a:pt x="16380" y="26792"/>
                    <a:pt x="17598" y="26349"/>
                    <a:pt x="18465" y="25795"/>
                  </a:cubicBezTo>
                  <a:cubicBezTo>
                    <a:pt x="18613" y="25408"/>
                    <a:pt x="18742" y="25020"/>
                    <a:pt x="18853" y="24633"/>
                  </a:cubicBezTo>
                  <a:cubicBezTo>
                    <a:pt x="18908" y="24485"/>
                    <a:pt x="19277" y="23692"/>
                    <a:pt x="19351" y="23563"/>
                  </a:cubicBezTo>
                  <a:cubicBezTo>
                    <a:pt x="19554" y="22917"/>
                    <a:pt x="19591" y="22603"/>
                    <a:pt x="19591" y="22400"/>
                  </a:cubicBezTo>
                  <a:cubicBezTo>
                    <a:pt x="19388" y="22031"/>
                    <a:pt x="19130" y="21312"/>
                    <a:pt x="19074" y="19854"/>
                  </a:cubicBezTo>
                  <a:cubicBezTo>
                    <a:pt x="19056" y="19393"/>
                    <a:pt x="19148" y="18913"/>
                    <a:pt x="19333" y="18489"/>
                  </a:cubicBezTo>
                  <a:cubicBezTo>
                    <a:pt x="19296" y="17012"/>
                    <a:pt x="19203" y="15278"/>
                    <a:pt x="19130" y="13488"/>
                  </a:cubicBezTo>
                  <a:lnTo>
                    <a:pt x="19056" y="11864"/>
                  </a:lnTo>
                  <a:lnTo>
                    <a:pt x="18133" y="11348"/>
                  </a:lnTo>
                  <a:cubicBezTo>
                    <a:pt x="17856" y="10979"/>
                    <a:pt x="17672" y="10573"/>
                    <a:pt x="17580" y="10130"/>
                  </a:cubicBezTo>
                  <a:lnTo>
                    <a:pt x="17192" y="6790"/>
                  </a:lnTo>
                  <a:cubicBezTo>
                    <a:pt x="16823" y="6735"/>
                    <a:pt x="16473" y="6679"/>
                    <a:pt x="16104" y="6624"/>
                  </a:cubicBezTo>
                  <a:cubicBezTo>
                    <a:pt x="14757" y="6421"/>
                    <a:pt x="13391" y="6218"/>
                    <a:pt x="12007" y="6071"/>
                  </a:cubicBezTo>
                  <a:cubicBezTo>
                    <a:pt x="11989" y="6200"/>
                    <a:pt x="11952" y="6310"/>
                    <a:pt x="11934" y="6366"/>
                  </a:cubicBezTo>
                  <a:cubicBezTo>
                    <a:pt x="11786" y="6790"/>
                    <a:pt x="11417" y="7307"/>
                    <a:pt x="11140" y="7676"/>
                  </a:cubicBezTo>
                  <a:lnTo>
                    <a:pt x="10992" y="8174"/>
                  </a:lnTo>
                  <a:cubicBezTo>
                    <a:pt x="10716" y="9337"/>
                    <a:pt x="10402" y="10628"/>
                    <a:pt x="9738" y="11809"/>
                  </a:cubicBezTo>
                  <a:cubicBezTo>
                    <a:pt x="9443" y="12621"/>
                    <a:pt x="8723" y="13119"/>
                    <a:pt x="8206" y="13414"/>
                  </a:cubicBezTo>
                  <a:cubicBezTo>
                    <a:pt x="8022" y="13876"/>
                    <a:pt x="7708" y="14706"/>
                    <a:pt x="7468" y="15444"/>
                  </a:cubicBezTo>
                  <a:cubicBezTo>
                    <a:pt x="7099" y="18138"/>
                    <a:pt x="6730" y="19872"/>
                    <a:pt x="6380" y="21035"/>
                  </a:cubicBezTo>
                  <a:close/>
                  <a:moveTo>
                    <a:pt x="19074" y="11864"/>
                  </a:moveTo>
                  <a:cubicBezTo>
                    <a:pt x="19443" y="12289"/>
                    <a:pt x="19960" y="12602"/>
                    <a:pt x="20550" y="12695"/>
                  </a:cubicBezTo>
                  <a:lnTo>
                    <a:pt x="19074" y="11864"/>
                  </a:lnTo>
                  <a:close/>
                  <a:moveTo>
                    <a:pt x="18428" y="10407"/>
                  </a:moveTo>
                  <a:cubicBezTo>
                    <a:pt x="18428" y="10868"/>
                    <a:pt x="18668" y="11403"/>
                    <a:pt x="19074" y="11846"/>
                  </a:cubicBezTo>
                  <a:lnTo>
                    <a:pt x="19019" y="10499"/>
                  </a:lnTo>
                  <a:lnTo>
                    <a:pt x="18428" y="10407"/>
                  </a:lnTo>
                  <a:close/>
                  <a:moveTo>
                    <a:pt x="18428" y="10407"/>
                  </a:moveTo>
                  <a:lnTo>
                    <a:pt x="19019" y="10499"/>
                  </a:lnTo>
                  <a:lnTo>
                    <a:pt x="19019" y="10407"/>
                  </a:lnTo>
                  <a:cubicBezTo>
                    <a:pt x="19019" y="10407"/>
                    <a:pt x="18428" y="10296"/>
                    <a:pt x="18428" y="10296"/>
                  </a:cubicBezTo>
                  <a:lnTo>
                    <a:pt x="18428" y="10407"/>
                  </a:lnTo>
                  <a:close/>
                </a:path>
              </a:pathLst>
            </a:custGeom>
            <a:solidFill>
              <a:srgbClr val="FFFFFF"/>
            </a:solidFill>
            <a:ln w="1835" cap="flat">
              <a:noFill/>
              <a:prstDash val="solid"/>
              <a:miter/>
            </a:ln>
          </p:spPr>
          <p:txBody>
            <a:bodyPr/>
            <a:lstStyle/>
            <a:p>
              <a:endParaRPr lang="en-GB"/>
            </a:p>
          </p:txBody>
        </p:sp>
        <p:sp>
          <p:nvSpPr>
            <p:cNvPr id="1506" name="Freeform: Shape 1505">
              <a:extLst>
                <a:ext uri="{FF2B5EF4-FFF2-40B4-BE49-F238E27FC236}">
                  <a16:creationId xmlns:a16="http://schemas.microsoft.com/office/drawing/2014/main" id="{4B3D27CE-3478-205A-345F-29B521C20065}"/>
                </a:ext>
              </a:extLst>
            </p:cNvPr>
            <p:cNvSpPr/>
            <p:nvPr/>
          </p:nvSpPr>
          <p:spPr>
            <a:xfrm>
              <a:off x="11087089" y="4796869"/>
              <a:ext cx="24727" cy="24712"/>
            </a:xfrm>
            <a:custGeom>
              <a:avLst/>
              <a:gdLst>
                <a:gd name="csX0" fmla="*/ 13288 w 24727"/>
                <a:gd name="csY0" fmla="*/ 3949 h 24712"/>
                <a:gd name="csX1" fmla="*/ 11849 w 24727"/>
                <a:gd name="csY1" fmla="*/ 3469 h 24712"/>
                <a:gd name="csX2" fmla="*/ 10299 w 24727"/>
                <a:gd name="csY2" fmla="*/ 2509 h 24712"/>
                <a:gd name="csX3" fmla="*/ 7789 w 24727"/>
                <a:gd name="csY3" fmla="*/ 0 h 24712"/>
                <a:gd name="csX4" fmla="*/ 501 w 24727"/>
                <a:gd name="csY4" fmla="*/ 5499 h 24712"/>
                <a:gd name="csX5" fmla="*/ 21 w 24727"/>
                <a:gd name="csY5" fmla="*/ 6569 h 24712"/>
                <a:gd name="csX6" fmla="*/ 612 w 24727"/>
                <a:gd name="csY6" fmla="*/ 8119 h 24712"/>
                <a:gd name="csX7" fmla="*/ 962 w 24727"/>
                <a:gd name="csY7" fmla="*/ 9909 h 24712"/>
                <a:gd name="csX8" fmla="*/ 2881 w 24727"/>
                <a:gd name="csY8" fmla="*/ 13488 h 24712"/>
                <a:gd name="csX9" fmla="*/ 2641 w 24727"/>
                <a:gd name="csY9" fmla="*/ 15038 h 24712"/>
                <a:gd name="csX10" fmla="*/ 3951 w 24727"/>
                <a:gd name="csY10" fmla="*/ 18267 h 24712"/>
                <a:gd name="csX11" fmla="*/ 8970 w 24727"/>
                <a:gd name="csY11" fmla="*/ 24596 h 24712"/>
                <a:gd name="csX12" fmla="*/ 21148 w 24727"/>
                <a:gd name="csY12" fmla="*/ 22087 h 24712"/>
                <a:gd name="csX13" fmla="*/ 24728 w 24727"/>
                <a:gd name="csY13" fmla="*/ 16237 h 24712"/>
                <a:gd name="csX14" fmla="*/ 23768 w 24727"/>
                <a:gd name="csY14" fmla="*/ 14079 h 24712"/>
                <a:gd name="csX15" fmla="*/ 23178 w 24727"/>
                <a:gd name="csY15" fmla="*/ 12399 h 24712"/>
                <a:gd name="csX16" fmla="*/ 20078 w 24727"/>
                <a:gd name="csY16" fmla="*/ 9650 h 24712"/>
                <a:gd name="csX17" fmla="*/ 19487 w 24727"/>
                <a:gd name="csY17" fmla="*/ 8691 h 24712"/>
                <a:gd name="csX18" fmla="*/ 13048 w 24727"/>
                <a:gd name="csY18" fmla="*/ 2712 h 247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4727" h="24712">
                  <a:moveTo>
                    <a:pt x="13288" y="3949"/>
                  </a:moveTo>
                  <a:cubicBezTo>
                    <a:pt x="12457" y="2639"/>
                    <a:pt x="12328" y="3598"/>
                    <a:pt x="11849" y="3469"/>
                  </a:cubicBezTo>
                  <a:cubicBezTo>
                    <a:pt x="11258" y="3118"/>
                    <a:pt x="10778" y="2878"/>
                    <a:pt x="10299" y="2509"/>
                  </a:cubicBezTo>
                  <a:cubicBezTo>
                    <a:pt x="9468" y="1679"/>
                    <a:pt x="7789" y="0"/>
                    <a:pt x="7789" y="0"/>
                  </a:cubicBezTo>
                  <a:cubicBezTo>
                    <a:pt x="5409" y="1790"/>
                    <a:pt x="2899" y="3469"/>
                    <a:pt x="501" y="5499"/>
                  </a:cubicBezTo>
                  <a:cubicBezTo>
                    <a:pt x="261" y="5738"/>
                    <a:pt x="-90" y="5978"/>
                    <a:pt x="21" y="6569"/>
                  </a:cubicBezTo>
                  <a:cubicBezTo>
                    <a:pt x="21" y="7049"/>
                    <a:pt x="501" y="7639"/>
                    <a:pt x="612" y="8119"/>
                  </a:cubicBezTo>
                  <a:cubicBezTo>
                    <a:pt x="851" y="8709"/>
                    <a:pt x="851" y="9318"/>
                    <a:pt x="962" y="9909"/>
                  </a:cubicBezTo>
                  <a:cubicBezTo>
                    <a:pt x="1553" y="11108"/>
                    <a:pt x="2512" y="12289"/>
                    <a:pt x="2881" y="13488"/>
                  </a:cubicBezTo>
                  <a:cubicBezTo>
                    <a:pt x="3121" y="14079"/>
                    <a:pt x="2530" y="14448"/>
                    <a:pt x="2641" y="15038"/>
                  </a:cubicBezTo>
                  <a:cubicBezTo>
                    <a:pt x="2881" y="16108"/>
                    <a:pt x="3951" y="18267"/>
                    <a:pt x="3951" y="18267"/>
                  </a:cubicBezTo>
                  <a:cubicBezTo>
                    <a:pt x="9930" y="26386"/>
                    <a:pt x="6092" y="24006"/>
                    <a:pt x="8970" y="24596"/>
                  </a:cubicBezTo>
                  <a:cubicBezTo>
                    <a:pt x="11830" y="25186"/>
                    <a:pt x="18528" y="23397"/>
                    <a:pt x="21148" y="22087"/>
                  </a:cubicBezTo>
                  <a:cubicBezTo>
                    <a:pt x="23768" y="20647"/>
                    <a:pt x="24617" y="18027"/>
                    <a:pt x="24728" y="16237"/>
                  </a:cubicBezTo>
                  <a:cubicBezTo>
                    <a:pt x="24488" y="15518"/>
                    <a:pt x="24137" y="14798"/>
                    <a:pt x="23768" y="14079"/>
                  </a:cubicBezTo>
                  <a:cubicBezTo>
                    <a:pt x="23528" y="13599"/>
                    <a:pt x="23528" y="13008"/>
                    <a:pt x="23178" y="12399"/>
                  </a:cubicBezTo>
                  <a:cubicBezTo>
                    <a:pt x="21499" y="10019"/>
                    <a:pt x="21868" y="11329"/>
                    <a:pt x="20078" y="9650"/>
                  </a:cubicBezTo>
                  <a:cubicBezTo>
                    <a:pt x="19838" y="9410"/>
                    <a:pt x="20668" y="9890"/>
                    <a:pt x="19487" y="8691"/>
                  </a:cubicBezTo>
                  <a:cubicBezTo>
                    <a:pt x="18288" y="7621"/>
                    <a:pt x="15188" y="4742"/>
                    <a:pt x="13048" y="2712"/>
                  </a:cubicBezTo>
                </a:path>
              </a:pathLst>
            </a:custGeom>
            <a:solidFill>
              <a:srgbClr val="FFFFFF"/>
            </a:solidFill>
            <a:ln w="1835" cap="flat">
              <a:noFill/>
              <a:prstDash val="solid"/>
              <a:miter/>
            </a:ln>
          </p:spPr>
          <p:txBody>
            <a:bodyPr/>
            <a:lstStyle/>
            <a:p>
              <a:endParaRPr lang="en-GB"/>
            </a:p>
          </p:txBody>
        </p:sp>
        <p:sp>
          <p:nvSpPr>
            <p:cNvPr id="1507" name="Freeform: Shape 1506">
              <a:extLst>
                <a:ext uri="{FF2B5EF4-FFF2-40B4-BE49-F238E27FC236}">
                  <a16:creationId xmlns:a16="http://schemas.microsoft.com/office/drawing/2014/main" id="{B8C6420D-7283-B2EE-CCEB-2708AF09CD7B}"/>
                </a:ext>
              </a:extLst>
            </p:cNvPr>
            <p:cNvSpPr/>
            <p:nvPr/>
          </p:nvSpPr>
          <p:spPr>
            <a:xfrm>
              <a:off x="11084101" y="4793901"/>
              <a:ext cx="30789" cy="30700"/>
            </a:xfrm>
            <a:custGeom>
              <a:avLst/>
              <a:gdLst>
                <a:gd name="csX0" fmla="*/ 13342 w 30789"/>
                <a:gd name="csY0" fmla="*/ 30682 h 30700"/>
                <a:gd name="csX1" fmla="*/ 11368 w 30789"/>
                <a:gd name="csY1" fmla="*/ 30498 h 30700"/>
                <a:gd name="csX2" fmla="*/ 7807 w 30789"/>
                <a:gd name="csY2" fmla="*/ 28155 h 30700"/>
                <a:gd name="csX3" fmla="*/ 4577 w 30789"/>
                <a:gd name="csY3" fmla="*/ 23043 h 30700"/>
                <a:gd name="csX4" fmla="*/ 2751 w 30789"/>
                <a:gd name="csY4" fmla="*/ 18707 h 30700"/>
                <a:gd name="csX5" fmla="*/ 2843 w 30789"/>
                <a:gd name="csY5" fmla="*/ 16899 h 30700"/>
                <a:gd name="csX6" fmla="*/ 2234 w 30789"/>
                <a:gd name="csY6" fmla="*/ 15810 h 30700"/>
                <a:gd name="csX7" fmla="*/ 1330 w 30789"/>
                <a:gd name="csY7" fmla="*/ 14242 h 30700"/>
                <a:gd name="csX8" fmla="*/ 1072 w 30789"/>
                <a:gd name="csY8" fmla="*/ 13486 h 30700"/>
                <a:gd name="csX9" fmla="*/ 961 w 30789"/>
                <a:gd name="csY9" fmla="*/ 12729 h 30700"/>
                <a:gd name="csX10" fmla="*/ 740 w 30789"/>
                <a:gd name="csY10" fmla="*/ 11825 h 30700"/>
                <a:gd name="csX11" fmla="*/ 57 w 30789"/>
                <a:gd name="csY11" fmla="*/ 9555 h 30700"/>
                <a:gd name="csX12" fmla="*/ 1348 w 30789"/>
                <a:gd name="csY12" fmla="*/ 6437 h 30700"/>
                <a:gd name="csX13" fmla="*/ 6718 w 30789"/>
                <a:gd name="csY13" fmla="*/ 2285 h 30700"/>
                <a:gd name="csX14" fmla="*/ 9024 w 30789"/>
                <a:gd name="csY14" fmla="*/ 588 h 30700"/>
                <a:gd name="csX15" fmla="*/ 12936 w 30789"/>
                <a:gd name="csY15" fmla="*/ 865 h 30700"/>
                <a:gd name="csX16" fmla="*/ 15316 w 30789"/>
                <a:gd name="csY16" fmla="*/ 3245 h 30700"/>
                <a:gd name="csX17" fmla="*/ 17697 w 30789"/>
                <a:gd name="csY17" fmla="*/ 4001 h 30700"/>
                <a:gd name="csX18" fmla="*/ 18121 w 30789"/>
                <a:gd name="csY18" fmla="*/ 3559 h 30700"/>
                <a:gd name="csX19" fmla="*/ 24542 w 30789"/>
                <a:gd name="csY19" fmla="*/ 9500 h 30700"/>
                <a:gd name="csX20" fmla="*/ 25741 w 30789"/>
                <a:gd name="csY20" fmla="*/ 10921 h 30700"/>
                <a:gd name="csX21" fmla="*/ 25852 w 30789"/>
                <a:gd name="csY21" fmla="*/ 10976 h 30700"/>
                <a:gd name="csX22" fmla="*/ 28694 w 30789"/>
                <a:gd name="csY22" fmla="*/ 13689 h 30700"/>
                <a:gd name="csX23" fmla="*/ 29506 w 30789"/>
                <a:gd name="csY23" fmla="*/ 15644 h 30700"/>
                <a:gd name="csX24" fmla="*/ 30631 w 30789"/>
                <a:gd name="csY24" fmla="*/ 18283 h 30700"/>
                <a:gd name="csX25" fmla="*/ 30779 w 30789"/>
                <a:gd name="csY25" fmla="*/ 19445 h 30700"/>
                <a:gd name="csX26" fmla="*/ 25649 w 30789"/>
                <a:gd name="csY26" fmla="*/ 27712 h 30700"/>
                <a:gd name="csX27" fmla="*/ 13397 w 30789"/>
                <a:gd name="csY27" fmla="*/ 30701 h 30700"/>
                <a:gd name="csX28" fmla="*/ 12770 w 30789"/>
                <a:gd name="csY28" fmla="*/ 24686 h 30700"/>
                <a:gd name="csX29" fmla="*/ 22826 w 30789"/>
                <a:gd name="csY29" fmla="*/ 22398 h 30700"/>
                <a:gd name="csX30" fmla="*/ 24671 w 30789"/>
                <a:gd name="csY30" fmla="*/ 19593 h 30700"/>
                <a:gd name="csX31" fmla="*/ 24099 w 30789"/>
                <a:gd name="csY31" fmla="*/ 18394 h 30700"/>
                <a:gd name="csX32" fmla="*/ 23638 w 30789"/>
                <a:gd name="csY32" fmla="*/ 17121 h 30700"/>
                <a:gd name="csX33" fmla="*/ 23066 w 30789"/>
                <a:gd name="csY33" fmla="*/ 16253 h 30700"/>
                <a:gd name="csX34" fmla="*/ 21018 w 30789"/>
                <a:gd name="csY34" fmla="*/ 14814 h 30700"/>
                <a:gd name="csX35" fmla="*/ 20298 w 30789"/>
                <a:gd name="csY35" fmla="*/ 13781 h 30700"/>
                <a:gd name="csX36" fmla="*/ 15353 w 30789"/>
                <a:gd name="csY36" fmla="*/ 9186 h 30700"/>
                <a:gd name="csX37" fmla="*/ 16829 w 30789"/>
                <a:gd name="csY37" fmla="*/ 8836 h 30700"/>
                <a:gd name="csX38" fmla="*/ 15279 w 30789"/>
                <a:gd name="csY38" fmla="*/ 9113 h 30700"/>
                <a:gd name="csX39" fmla="*/ 14265 w 30789"/>
                <a:gd name="csY39" fmla="*/ 8171 h 30700"/>
                <a:gd name="csX40" fmla="*/ 13748 w 30789"/>
                <a:gd name="csY40" fmla="*/ 8504 h 30700"/>
                <a:gd name="csX41" fmla="*/ 15076 w 30789"/>
                <a:gd name="csY41" fmla="*/ 9149 h 30700"/>
                <a:gd name="csX42" fmla="*/ 14117 w 30789"/>
                <a:gd name="csY42" fmla="*/ 9334 h 30700"/>
                <a:gd name="csX43" fmla="*/ 13268 w 30789"/>
                <a:gd name="csY43" fmla="*/ 8983 h 30700"/>
                <a:gd name="csX44" fmla="*/ 11478 w 30789"/>
                <a:gd name="csY44" fmla="*/ 7858 h 30700"/>
                <a:gd name="csX45" fmla="*/ 10482 w 30789"/>
                <a:gd name="csY45" fmla="*/ 6880 h 30700"/>
                <a:gd name="csX46" fmla="*/ 10187 w 30789"/>
                <a:gd name="csY46" fmla="*/ 7120 h 30700"/>
                <a:gd name="csX47" fmla="*/ 6367 w 30789"/>
                <a:gd name="csY47" fmla="*/ 9980 h 30700"/>
                <a:gd name="csX48" fmla="*/ 6515 w 30789"/>
                <a:gd name="csY48" fmla="*/ 10386 h 30700"/>
                <a:gd name="csX49" fmla="*/ 6847 w 30789"/>
                <a:gd name="csY49" fmla="*/ 11917 h 30700"/>
                <a:gd name="csX50" fmla="*/ 7308 w 30789"/>
                <a:gd name="csY50" fmla="*/ 12674 h 30700"/>
                <a:gd name="csX51" fmla="*/ 8748 w 30789"/>
                <a:gd name="csY51" fmla="*/ 15607 h 30700"/>
                <a:gd name="csX52" fmla="*/ 8748 w 30789"/>
                <a:gd name="csY52" fmla="*/ 17932 h 30700"/>
                <a:gd name="csX53" fmla="*/ 9633 w 30789"/>
                <a:gd name="csY53" fmla="*/ 19907 h 30700"/>
                <a:gd name="csX54" fmla="*/ 12770 w 30789"/>
                <a:gd name="csY54" fmla="*/ 24667 h 30700"/>
                <a:gd name="csX55" fmla="*/ 14228 w 30789"/>
                <a:gd name="csY55" fmla="*/ 8135 h 30700"/>
                <a:gd name="csX56" fmla="*/ 13711 w 30789"/>
                <a:gd name="csY56" fmla="*/ 8430 h 30700"/>
                <a:gd name="csX57" fmla="*/ 13785 w 30789"/>
                <a:gd name="csY57" fmla="*/ 8504 h 30700"/>
                <a:gd name="csX58" fmla="*/ 14301 w 30789"/>
                <a:gd name="csY58" fmla="*/ 8171 h 30700"/>
                <a:gd name="csX59" fmla="*/ 14246 w 30789"/>
                <a:gd name="csY59" fmla="*/ 8116 h 307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Lst>
              <a:rect l="l" t="t" r="r" b="b"/>
              <a:pathLst>
                <a:path w="30789" h="30700">
                  <a:moveTo>
                    <a:pt x="13342" y="30682"/>
                  </a:moveTo>
                  <a:cubicBezTo>
                    <a:pt x="12622" y="30682"/>
                    <a:pt x="11958" y="30627"/>
                    <a:pt x="11368" y="30498"/>
                  </a:cubicBezTo>
                  <a:cubicBezTo>
                    <a:pt x="9928" y="30793"/>
                    <a:pt x="8194" y="29538"/>
                    <a:pt x="7807" y="28155"/>
                  </a:cubicBezTo>
                  <a:cubicBezTo>
                    <a:pt x="7751" y="27952"/>
                    <a:pt x="7327" y="26771"/>
                    <a:pt x="4577" y="23043"/>
                  </a:cubicBezTo>
                  <a:cubicBezTo>
                    <a:pt x="4024" y="22010"/>
                    <a:pt x="3046" y="20017"/>
                    <a:pt x="2751" y="18707"/>
                  </a:cubicBezTo>
                  <a:cubicBezTo>
                    <a:pt x="2659" y="18283"/>
                    <a:pt x="2714" y="17526"/>
                    <a:pt x="2843" y="16899"/>
                  </a:cubicBezTo>
                  <a:cubicBezTo>
                    <a:pt x="2677" y="16530"/>
                    <a:pt x="2456" y="16179"/>
                    <a:pt x="2234" y="15810"/>
                  </a:cubicBezTo>
                  <a:cubicBezTo>
                    <a:pt x="1920" y="15294"/>
                    <a:pt x="1588" y="14759"/>
                    <a:pt x="1330" y="14242"/>
                  </a:cubicBezTo>
                  <a:cubicBezTo>
                    <a:pt x="1219" y="14002"/>
                    <a:pt x="1127" y="13744"/>
                    <a:pt x="1072" y="13486"/>
                  </a:cubicBezTo>
                  <a:cubicBezTo>
                    <a:pt x="1072" y="13430"/>
                    <a:pt x="961" y="12784"/>
                    <a:pt x="961" y="12729"/>
                  </a:cubicBezTo>
                  <a:cubicBezTo>
                    <a:pt x="906" y="12600"/>
                    <a:pt x="776" y="11973"/>
                    <a:pt x="740" y="11825"/>
                  </a:cubicBezTo>
                  <a:cubicBezTo>
                    <a:pt x="463" y="11345"/>
                    <a:pt x="57" y="10552"/>
                    <a:pt x="57" y="9555"/>
                  </a:cubicBezTo>
                  <a:cubicBezTo>
                    <a:pt x="-165" y="8743"/>
                    <a:pt x="260" y="7489"/>
                    <a:pt x="1348" y="6437"/>
                  </a:cubicBezTo>
                  <a:cubicBezTo>
                    <a:pt x="3267" y="4776"/>
                    <a:pt x="5002" y="3522"/>
                    <a:pt x="6718" y="2285"/>
                  </a:cubicBezTo>
                  <a:lnTo>
                    <a:pt x="9024" y="588"/>
                  </a:lnTo>
                  <a:cubicBezTo>
                    <a:pt x="10205" y="-279"/>
                    <a:pt x="11866" y="-187"/>
                    <a:pt x="12936" y="865"/>
                  </a:cubicBezTo>
                  <a:lnTo>
                    <a:pt x="15316" y="3245"/>
                  </a:lnTo>
                  <a:cubicBezTo>
                    <a:pt x="16202" y="3226"/>
                    <a:pt x="16922" y="3393"/>
                    <a:pt x="17697" y="4001"/>
                  </a:cubicBezTo>
                  <a:lnTo>
                    <a:pt x="18121" y="3559"/>
                  </a:lnTo>
                  <a:cubicBezTo>
                    <a:pt x="20261" y="5570"/>
                    <a:pt x="23361" y="8411"/>
                    <a:pt x="24542" y="9500"/>
                  </a:cubicBezTo>
                  <a:cubicBezTo>
                    <a:pt x="24911" y="9869"/>
                    <a:pt x="25391" y="10349"/>
                    <a:pt x="25741" y="10921"/>
                  </a:cubicBezTo>
                  <a:cubicBezTo>
                    <a:pt x="25778" y="10939"/>
                    <a:pt x="25815" y="10958"/>
                    <a:pt x="25852" y="10976"/>
                  </a:cubicBezTo>
                  <a:cubicBezTo>
                    <a:pt x="26941" y="11493"/>
                    <a:pt x="27587" y="12102"/>
                    <a:pt x="28694" y="13689"/>
                  </a:cubicBezTo>
                  <a:cubicBezTo>
                    <a:pt x="29247" y="14593"/>
                    <a:pt x="29413" y="15220"/>
                    <a:pt x="29506" y="15644"/>
                  </a:cubicBezTo>
                  <a:cubicBezTo>
                    <a:pt x="29930" y="16585"/>
                    <a:pt x="30354" y="17434"/>
                    <a:pt x="30631" y="18283"/>
                  </a:cubicBezTo>
                  <a:cubicBezTo>
                    <a:pt x="30760" y="18652"/>
                    <a:pt x="30816" y="19039"/>
                    <a:pt x="30779" y="19445"/>
                  </a:cubicBezTo>
                  <a:cubicBezTo>
                    <a:pt x="30539" y="23007"/>
                    <a:pt x="28638" y="26088"/>
                    <a:pt x="25649" y="27712"/>
                  </a:cubicBezTo>
                  <a:cubicBezTo>
                    <a:pt x="23251" y="28911"/>
                    <a:pt x="17494" y="30701"/>
                    <a:pt x="13397" y="30701"/>
                  </a:cubicBezTo>
                  <a:close/>
                  <a:moveTo>
                    <a:pt x="12770" y="24686"/>
                  </a:moveTo>
                  <a:cubicBezTo>
                    <a:pt x="15021" y="24981"/>
                    <a:pt x="20464" y="23597"/>
                    <a:pt x="22826" y="22398"/>
                  </a:cubicBezTo>
                  <a:cubicBezTo>
                    <a:pt x="24081" y="21715"/>
                    <a:pt x="24524" y="20423"/>
                    <a:pt x="24671" y="19593"/>
                  </a:cubicBezTo>
                  <a:cubicBezTo>
                    <a:pt x="24505" y="19206"/>
                    <a:pt x="24302" y="18800"/>
                    <a:pt x="24099" y="18394"/>
                  </a:cubicBezTo>
                  <a:cubicBezTo>
                    <a:pt x="24007" y="18209"/>
                    <a:pt x="23712" y="17323"/>
                    <a:pt x="23638" y="17121"/>
                  </a:cubicBezTo>
                  <a:cubicBezTo>
                    <a:pt x="23417" y="16659"/>
                    <a:pt x="23232" y="16401"/>
                    <a:pt x="23066" y="16253"/>
                  </a:cubicBezTo>
                  <a:cubicBezTo>
                    <a:pt x="22679" y="16106"/>
                    <a:pt x="22014" y="15755"/>
                    <a:pt x="21018" y="14814"/>
                  </a:cubicBezTo>
                  <a:cubicBezTo>
                    <a:pt x="20723" y="14519"/>
                    <a:pt x="20464" y="14168"/>
                    <a:pt x="20298" y="13781"/>
                  </a:cubicBezTo>
                  <a:cubicBezTo>
                    <a:pt x="19099" y="12655"/>
                    <a:pt x="17106" y="10829"/>
                    <a:pt x="15353" y="9186"/>
                  </a:cubicBezTo>
                  <a:cubicBezTo>
                    <a:pt x="15870" y="9242"/>
                    <a:pt x="16387" y="9131"/>
                    <a:pt x="16829" y="8836"/>
                  </a:cubicBezTo>
                  <a:lnTo>
                    <a:pt x="15279" y="9113"/>
                  </a:lnTo>
                  <a:cubicBezTo>
                    <a:pt x="14929" y="8799"/>
                    <a:pt x="14597" y="8485"/>
                    <a:pt x="14265" y="8171"/>
                  </a:cubicBezTo>
                  <a:lnTo>
                    <a:pt x="13748" y="8504"/>
                  </a:lnTo>
                  <a:cubicBezTo>
                    <a:pt x="14025" y="8799"/>
                    <a:pt x="14523" y="9057"/>
                    <a:pt x="15076" y="9149"/>
                  </a:cubicBezTo>
                  <a:lnTo>
                    <a:pt x="14117" y="9334"/>
                  </a:lnTo>
                  <a:cubicBezTo>
                    <a:pt x="13822" y="9260"/>
                    <a:pt x="13527" y="9131"/>
                    <a:pt x="13268" y="8983"/>
                  </a:cubicBezTo>
                  <a:cubicBezTo>
                    <a:pt x="12309" y="8430"/>
                    <a:pt x="11884" y="8171"/>
                    <a:pt x="11478" y="7858"/>
                  </a:cubicBezTo>
                  <a:lnTo>
                    <a:pt x="10482" y="6880"/>
                  </a:lnTo>
                  <a:lnTo>
                    <a:pt x="10187" y="7120"/>
                  </a:lnTo>
                  <a:cubicBezTo>
                    <a:pt x="8914" y="8042"/>
                    <a:pt x="7622" y="8965"/>
                    <a:pt x="6367" y="9980"/>
                  </a:cubicBezTo>
                  <a:cubicBezTo>
                    <a:pt x="6441" y="10164"/>
                    <a:pt x="6496" y="10312"/>
                    <a:pt x="6515" y="10386"/>
                  </a:cubicBezTo>
                  <a:cubicBezTo>
                    <a:pt x="6681" y="10736"/>
                    <a:pt x="6773" y="11419"/>
                    <a:pt x="6847" y="11917"/>
                  </a:cubicBezTo>
                  <a:cubicBezTo>
                    <a:pt x="6847" y="11917"/>
                    <a:pt x="7068" y="12305"/>
                    <a:pt x="7308" y="12674"/>
                  </a:cubicBezTo>
                  <a:cubicBezTo>
                    <a:pt x="7825" y="13522"/>
                    <a:pt x="8415" y="14500"/>
                    <a:pt x="8748" y="15607"/>
                  </a:cubicBezTo>
                  <a:cubicBezTo>
                    <a:pt x="9098" y="16493"/>
                    <a:pt x="8951" y="17342"/>
                    <a:pt x="8748" y="17932"/>
                  </a:cubicBezTo>
                  <a:cubicBezTo>
                    <a:pt x="8951" y="18467"/>
                    <a:pt x="9338" y="19298"/>
                    <a:pt x="9633" y="19907"/>
                  </a:cubicBezTo>
                  <a:cubicBezTo>
                    <a:pt x="11257" y="22084"/>
                    <a:pt x="12216" y="23579"/>
                    <a:pt x="12770" y="24667"/>
                  </a:cubicBezTo>
                  <a:close/>
                  <a:moveTo>
                    <a:pt x="14228" y="8135"/>
                  </a:moveTo>
                  <a:lnTo>
                    <a:pt x="13711" y="8430"/>
                  </a:lnTo>
                  <a:cubicBezTo>
                    <a:pt x="13711" y="8430"/>
                    <a:pt x="13766" y="8485"/>
                    <a:pt x="13785" y="8504"/>
                  </a:cubicBezTo>
                  <a:lnTo>
                    <a:pt x="14301" y="8171"/>
                  </a:lnTo>
                  <a:cubicBezTo>
                    <a:pt x="14301" y="8171"/>
                    <a:pt x="14265" y="8116"/>
                    <a:pt x="14246" y="8116"/>
                  </a:cubicBezTo>
                  <a:close/>
                </a:path>
              </a:pathLst>
            </a:custGeom>
            <a:solidFill>
              <a:srgbClr val="FFFFFF"/>
            </a:solidFill>
            <a:ln w="1835" cap="flat">
              <a:noFill/>
              <a:prstDash val="solid"/>
              <a:miter/>
            </a:ln>
          </p:spPr>
          <p:txBody>
            <a:bodyPr/>
            <a:lstStyle/>
            <a:p>
              <a:endParaRPr lang="en-GB"/>
            </a:p>
          </p:txBody>
        </p:sp>
        <p:sp>
          <p:nvSpPr>
            <p:cNvPr id="1508" name="Freeform: Shape 1507">
              <a:extLst>
                <a:ext uri="{FF2B5EF4-FFF2-40B4-BE49-F238E27FC236}">
                  <a16:creationId xmlns:a16="http://schemas.microsoft.com/office/drawing/2014/main" id="{ADA2B560-80FB-CD0A-3F9A-B8AF6CEEBA41}"/>
                </a:ext>
              </a:extLst>
            </p:cNvPr>
            <p:cNvSpPr/>
            <p:nvPr/>
          </p:nvSpPr>
          <p:spPr>
            <a:xfrm>
              <a:off x="11032040" y="4783723"/>
              <a:ext cx="26450" cy="24032"/>
            </a:xfrm>
            <a:custGeom>
              <a:avLst/>
              <a:gdLst>
                <a:gd name="csX0" fmla="*/ 13867 w 26450"/>
                <a:gd name="csY0" fmla="*/ 21394 h 24032"/>
                <a:gd name="csX1" fmla="*/ 15417 w 26450"/>
                <a:gd name="csY1" fmla="*/ 21394 h 24032"/>
                <a:gd name="csX2" fmla="*/ 17096 w 26450"/>
                <a:gd name="csY2" fmla="*/ 22113 h 24032"/>
                <a:gd name="csX3" fmla="*/ 20085 w 26450"/>
                <a:gd name="csY3" fmla="*/ 24032 h 24032"/>
                <a:gd name="csX4" fmla="*/ 26063 w 26450"/>
                <a:gd name="csY4" fmla="*/ 17113 h 24032"/>
                <a:gd name="csX5" fmla="*/ 26414 w 26450"/>
                <a:gd name="csY5" fmla="*/ 15913 h 24032"/>
                <a:gd name="csX6" fmla="*/ 25344 w 26450"/>
                <a:gd name="csY6" fmla="*/ 14474 h 24032"/>
                <a:gd name="csX7" fmla="*/ 24624 w 26450"/>
                <a:gd name="csY7" fmla="*/ 12795 h 24032"/>
                <a:gd name="csX8" fmla="*/ 22004 w 26450"/>
                <a:gd name="csY8" fmla="*/ 9695 h 24032"/>
                <a:gd name="csX9" fmla="*/ 21893 w 26450"/>
                <a:gd name="csY9" fmla="*/ 8145 h 24032"/>
                <a:gd name="csX10" fmla="*/ 19974 w 26450"/>
                <a:gd name="csY10" fmla="*/ 5285 h 24032"/>
                <a:gd name="csX11" fmla="*/ 13756 w 26450"/>
                <a:gd name="csY11" fmla="*/ 156 h 24032"/>
                <a:gd name="csX12" fmla="*/ 2408 w 26450"/>
                <a:gd name="csY12" fmla="*/ 5285 h 24032"/>
                <a:gd name="csX13" fmla="*/ 28 w 26450"/>
                <a:gd name="csY13" fmla="*/ 11725 h 24032"/>
                <a:gd name="csX14" fmla="*/ 1467 w 26450"/>
                <a:gd name="csY14" fmla="*/ 13644 h 24032"/>
                <a:gd name="csX15" fmla="*/ 2427 w 26450"/>
                <a:gd name="csY15" fmla="*/ 15083 h 24032"/>
                <a:gd name="csX16" fmla="*/ 6006 w 26450"/>
                <a:gd name="csY16" fmla="*/ 17113 h 24032"/>
                <a:gd name="csX17" fmla="*/ 6837 w 26450"/>
                <a:gd name="csY17" fmla="*/ 17943 h 24032"/>
                <a:gd name="csX18" fmla="*/ 14476 w 26450"/>
                <a:gd name="csY18" fmla="*/ 22353 h 240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6450" h="24032">
                  <a:moveTo>
                    <a:pt x="13867" y="21394"/>
                  </a:moveTo>
                  <a:cubicBezTo>
                    <a:pt x="14937" y="22353"/>
                    <a:pt x="14937" y="21394"/>
                    <a:pt x="15417" y="21394"/>
                  </a:cubicBezTo>
                  <a:cubicBezTo>
                    <a:pt x="16007" y="21633"/>
                    <a:pt x="16616" y="21744"/>
                    <a:pt x="17096" y="22113"/>
                  </a:cubicBezTo>
                  <a:cubicBezTo>
                    <a:pt x="18166" y="22593"/>
                    <a:pt x="20085" y="24032"/>
                    <a:pt x="20085" y="24032"/>
                  </a:cubicBezTo>
                  <a:cubicBezTo>
                    <a:pt x="22115" y="21652"/>
                    <a:pt x="24144" y="19493"/>
                    <a:pt x="26063" y="17113"/>
                  </a:cubicBezTo>
                  <a:cubicBezTo>
                    <a:pt x="26303" y="16762"/>
                    <a:pt x="26543" y="16393"/>
                    <a:pt x="26414" y="15913"/>
                  </a:cubicBezTo>
                  <a:cubicBezTo>
                    <a:pt x="26303" y="15434"/>
                    <a:pt x="25694" y="14954"/>
                    <a:pt x="25344" y="14474"/>
                  </a:cubicBezTo>
                  <a:cubicBezTo>
                    <a:pt x="25104" y="13884"/>
                    <a:pt x="24864" y="13404"/>
                    <a:pt x="24624" y="12795"/>
                  </a:cubicBezTo>
                  <a:cubicBezTo>
                    <a:pt x="23794" y="11725"/>
                    <a:pt x="22705" y="10765"/>
                    <a:pt x="22004" y="9695"/>
                  </a:cubicBezTo>
                  <a:cubicBezTo>
                    <a:pt x="21653" y="9215"/>
                    <a:pt x="22244" y="8736"/>
                    <a:pt x="21893" y="8145"/>
                  </a:cubicBezTo>
                  <a:cubicBezTo>
                    <a:pt x="21543" y="7186"/>
                    <a:pt x="19974" y="5285"/>
                    <a:pt x="19974" y="5285"/>
                  </a:cubicBezTo>
                  <a:cubicBezTo>
                    <a:pt x="12335" y="-1394"/>
                    <a:pt x="16634" y="156"/>
                    <a:pt x="13756" y="156"/>
                  </a:cubicBezTo>
                  <a:cubicBezTo>
                    <a:pt x="10878" y="156"/>
                    <a:pt x="4678" y="3385"/>
                    <a:pt x="2408" y="5285"/>
                  </a:cubicBezTo>
                  <a:cubicBezTo>
                    <a:pt x="139" y="7204"/>
                    <a:pt x="-101" y="9935"/>
                    <a:pt x="28" y="11725"/>
                  </a:cubicBezTo>
                  <a:cubicBezTo>
                    <a:pt x="508" y="12315"/>
                    <a:pt x="988" y="13035"/>
                    <a:pt x="1467" y="13644"/>
                  </a:cubicBezTo>
                  <a:cubicBezTo>
                    <a:pt x="1818" y="14124"/>
                    <a:pt x="1947" y="14603"/>
                    <a:pt x="2427" y="15083"/>
                  </a:cubicBezTo>
                  <a:cubicBezTo>
                    <a:pt x="4567" y="17113"/>
                    <a:pt x="3977" y="15913"/>
                    <a:pt x="6006" y="17113"/>
                  </a:cubicBezTo>
                  <a:cubicBezTo>
                    <a:pt x="6357" y="17353"/>
                    <a:pt x="5416" y="17002"/>
                    <a:pt x="6837" y="17943"/>
                  </a:cubicBezTo>
                  <a:cubicBezTo>
                    <a:pt x="8276" y="18773"/>
                    <a:pt x="11966" y="20932"/>
                    <a:pt x="14476" y="22353"/>
                  </a:cubicBezTo>
                </a:path>
              </a:pathLst>
            </a:custGeom>
            <a:solidFill>
              <a:srgbClr val="FFFFFF"/>
            </a:solidFill>
            <a:ln w="1835" cap="flat">
              <a:noFill/>
              <a:prstDash val="solid"/>
              <a:miter/>
            </a:ln>
          </p:spPr>
          <p:txBody>
            <a:bodyPr/>
            <a:lstStyle/>
            <a:p>
              <a:endParaRPr lang="en-GB"/>
            </a:p>
          </p:txBody>
        </p:sp>
        <p:sp>
          <p:nvSpPr>
            <p:cNvPr id="1509" name="Freeform: Shape 1508">
              <a:extLst>
                <a:ext uri="{FF2B5EF4-FFF2-40B4-BE49-F238E27FC236}">
                  <a16:creationId xmlns:a16="http://schemas.microsoft.com/office/drawing/2014/main" id="{16AAD3F8-A660-5073-922F-C76824C5FFE1}"/>
                </a:ext>
              </a:extLst>
            </p:cNvPr>
            <p:cNvSpPr/>
            <p:nvPr/>
          </p:nvSpPr>
          <p:spPr>
            <a:xfrm>
              <a:off x="11029068" y="4780718"/>
              <a:ext cx="32415" cy="30027"/>
            </a:xfrm>
            <a:custGeom>
              <a:avLst/>
              <a:gdLst>
                <a:gd name="csX0" fmla="*/ 23057 w 32415"/>
                <a:gd name="csY0" fmla="*/ 30009 h 30027"/>
                <a:gd name="csX1" fmla="*/ 21268 w 32415"/>
                <a:gd name="csY1" fmla="*/ 29418 h 30027"/>
                <a:gd name="csX2" fmla="*/ 18869 w 32415"/>
                <a:gd name="csY2" fmla="*/ 27850 h 30027"/>
                <a:gd name="csX3" fmla="*/ 18869 w 32415"/>
                <a:gd name="csY3" fmla="*/ 27573 h 30027"/>
                <a:gd name="csX4" fmla="*/ 16230 w 32415"/>
                <a:gd name="csY4" fmla="*/ 27518 h 30027"/>
                <a:gd name="csX5" fmla="*/ 15990 w 32415"/>
                <a:gd name="csY5" fmla="*/ 27942 h 30027"/>
                <a:gd name="csX6" fmla="*/ 8333 w 32415"/>
                <a:gd name="csY6" fmla="*/ 23514 h 30027"/>
                <a:gd name="csX7" fmla="*/ 6894 w 32415"/>
                <a:gd name="csY7" fmla="*/ 22370 h 30027"/>
                <a:gd name="csX8" fmla="*/ 6783 w 32415"/>
                <a:gd name="csY8" fmla="*/ 22351 h 30027"/>
                <a:gd name="csX9" fmla="*/ 3369 w 32415"/>
                <a:gd name="csY9" fmla="*/ 20229 h 30027"/>
                <a:gd name="csX10" fmla="*/ 2189 w 32415"/>
                <a:gd name="csY10" fmla="*/ 18642 h 30027"/>
                <a:gd name="csX11" fmla="*/ 676 w 32415"/>
                <a:gd name="csY11" fmla="*/ 16576 h 30027"/>
                <a:gd name="csX12" fmla="*/ 30 w 32415"/>
                <a:gd name="csY12" fmla="*/ 14915 h 30027"/>
                <a:gd name="csX13" fmla="*/ 3462 w 32415"/>
                <a:gd name="csY13" fmla="*/ 5985 h 30027"/>
                <a:gd name="csX14" fmla="*/ 16728 w 32415"/>
                <a:gd name="csY14" fmla="*/ 154 h 30027"/>
                <a:gd name="csX15" fmla="*/ 20677 w 32415"/>
                <a:gd name="csY15" fmla="*/ 1778 h 30027"/>
                <a:gd name="csX16" fmla="*/ 24902 w 32415"/>
                <a:gd name="csY16" fmla="*/ 6021 h 30027"/>
                <a:gd name="csX17" fmla="*/ 27652 w 32415"/>
                <a:gd name="csY17" fmla="*/ 10118 h 30027"/>
                <a:gd name="csX18" fmla="*/ 27984 w 32415"/>
                <a:gd name="csY18" fmla="*/ 11705 h 30027"/>
                <a:gd name="csX19" fmla="*/ 28667 w 32415"/>
                <a:gd name="csY19" fmla="*/ 12480 h 30027"/>
                <a:gd name="csX20" fmla="*/ 29958 w 32415"/>
                <a:gd name="csY20" fmla="*/ 13956 h 30027"/>
                <a:gd name="csX21" fmla="*/ 30383 w 32415"/>
                <a:gd name="csY21" fmla="*/ 14712 h 30027"/>
                <a:gd name="csX22" fmla="*/ 30881 w 32415"/>
                <a:gd name="csY22" fmla="*/ 15875 h 30027"/>
                <a:gd name="csX23" fmla="*/ 32283 w 32415"/>
                <a:gd name="csY23" fmla="*/ 18200 h 30027"/>
                <a:gd name="csX24" fmla="*/ 31564 w 32415"/>
                <a:gd name="csY24" fmla="*/ 21705 h 30027"/>
                <a:gd name="csX25" fmla="*/ 27689 w 32415"/>
                <a:gd name="csY25" fmla="*/ 26281 h 30027"/>
                <a:gd name="csX26" fmla="*/ 25327 w 32415"/>
                <a:gd name="csY26" fmla="*/ 28975 h 30027"/>
                <a:gd name="csX27" fmla="*/ 23057 w 32415"/>
                <a:gd name="csY27" fmla="*/ 30027 h 30027"/>
                <a:gd name="csX28" fmla="*/ 18906 w 32415"/>
                <a:gd name="csY28" fmla="*/ 24584 h 30027"/>
                <a:gd name="csX29" fmla="*/ 17965 w 32415"/>
                <a:gd name="csY29" fmla="*/ 27425 h 30027"/>
                <a:gd name="csX30" fmla="*/ 18869 w 32415"/>
                <a:gd name="csY30" fmla="*/ 27333 h 30027"/>
                <a:gd name="csX31" fmla="*/ 18924 w 32415"/>
                <a:gd name="csY31" fmla="*/ 24584 h 30027"/>
                <a:gd name="csX32" fmla="*/ 18389 w 32415"/>
                <a:gd name="csY32" fmla="*/ 21429 h 30027"/>
                <a:gd name="csX33" fmla="*/ 19459 w 32415"/>
                <a:gd name="csY33" fmla="*/ 21632 h 30027"/>
                <a:gd name="csX34" fmla="*/ 21858 w 32415"/>
                <a:gd name="csY34" fmla="*/ 22757 h 30027"/>
                <a:gd name="csX35" fmla="*/ 22541 w 32415"/>
                <a:gd name="csY35" fmla="*/ 23089 h 30027"/>
                <a:gd name="csX36" fmla="*/ 23205 w 32415"/>
                <a:gd name="csY36" fmla="*/ 22333 h 30027"/>
                <a:gd name="csX37" fmla="*/ 25973 w 32415"/>
                <a:gd name="csY37" fmla="*/ 19141 h 30027"/>
                <a:gd name="csX38" fmla="*/ 25511 w 32415"/>
                <a:gd name="csY38" fmla="*/ 18569 h 30027"/>
                <a:gd name="csX39" fmla="*/ 25013 w 32415"/>
                <a:gd name="csY39" fmla="*/ 17369 h 30027"/>
                <a:gd name="csX40" fmla="*/ 24257 w 32415"/>
                <a:gd name="csY40" fmla="*/ 16520 h 30027"/>
                <a:gd name="csX41" fmla="*/ 22485 w 32415"/>
                <a:gd name="csY41" fmla="*/ 14343 h 30027"/>
                <a:gd name="csX42" fmla="*/ 21932 w 32415"/>
                <a:gd name="csY42" fmla="*/ 12018 h 30027"/>
                <a:gd name="csX43" fmla="*/ 20622 w 32415"/>
                <a:gd name="csY43" fmla="*/ 10155 h 30027"/>
                <a:gd name="csX44" fmla="*/ 16489 w 32415"/>
                <a:gd name="csY44" fmla="*/ 6151 h 30027"/>
                <a:gd name="csX45" fmla="*/ 7318 w 32415"/>
                <a:gd name="csY45" fmla="*/ 10579 h 30027"/>
                <a:gd name="csX46" fmla="*/ 5971 w 32415"/>
                <a:gd name="csY46" fmla="*/ 13734 h 30027"/>
                <a:gd name="csX47" fmla="*/ 6783 w 32415"/>
                <a:gd name="csY47" fmla="*/ 14804 h 30027"/>
                <a:gd name="csX48" fmla="*/ 7429 w 32415"/>
                <a:gd name="csY48" fmla="*/ 15801 h 30027"/>
                <a:gd name="csX49" fmla="*/ 8314 w 32415"/>
                <a:gd name="csY49" fmla="*/ 16668 h 30027"/>
                <a:gd name="csX50" fmla="*/ 10492 w 32415"/>
                <a:gd name="csY50" fmla="*/ 17554 h 30027"/>
                <a:gd name="csX51" fmla="*/ 11451 w 32415"/>
                <a:gd name="csY51" fmla="*/ 18421 h 30027"/>
                <a:gd name="csX52" fmla="*/ 17393 w 32415"/>
                <a:gd name="csY52" fmla="*/ 21871 h 30027"/>
                <a:gd name="csX53" fmla="*/ 15990 w 32415"/>
                <a:gd name="csY53" fmla="*/ 22480 h 30027"/>
                <a:gd name="csX54" fmla="*/ 17393 w 32415"/>
                <a:gd name="csY54" fmla="*/ 21890 h 30027"/>
                <a:gd name="csX55" fmla="*/ 18537 w 32415"/>
                <a:gd name="csY55" fmla="*/ 22536 h 30027"/>
                <a:gd name="csX56" fmla="*/ 18850 w 32415"/>
                <a:gd name="csY56" fmla="*/ 22185 h 30027"/>
                <a:gd name="csX57" fmla="*/ 17411 w 32415"/>
                <a:gd name="csY57" fmla="*/ 21871 h 30027"/>
                <a:gd name="csX58" fmla="*/ 18444 w 32415"/>
                <a:gd name="csY58" fmla="*/ 21447 h 30027"/>
                <a:gd name="csX59" fmla="*/ 18500 w 32415"/>
                <a:gd name="csY59" fmla="*/ 22517 h 30027"/>
                <a:gd name="csX60" fmla="*/ 18537 w 32415"/>
                <a:gd name="csY60" fmla="*/ 22517 h 30027"/>
                <a:gd name="csX61" fmla="*/ 18832 w 32415"/>
                <a:gd name="csY61" fmla="*/ 22185 h 30027"/>
                <a:gd name="csX62" fmla="*/ 18813 w 32415"/>
                <a:gd name="csY62" fmla="*/ 22167 h 30027"/>
                <a:gd name="csX63" fmla="*/ 18500 w 32415"/>
                <a:gd name="csY63" fmla="*/ 22517 h 300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32415" h="30027">
                  <a:moveTo>
                    <a:pt x="23057" y="30009"/>
                  </a:moveTo>
                  <a:cubicBezTo>
                    <a:pt x="22430" y="30009"/>
                    <a:pt x="21803" y="29806"/>
                    <a:pt x="21268" y="29418"/>
                  </a:cubicBezTo>
                  <a:cubicBezTo>
                    <a:pt x="20474" y="28828"/>
                    <a:pt x="19312" y="28034"/>
                    <a:pt x="18869" y="27850"/>
                  </a:cubicBezTo>
                  <a:lnTo>
                    <a:pt x="18869" y="27573"/>
                  </a:lnTo>
                  <a:cubicBezTo>
                    <a:pt x="18094" y="27868"/>
                    <a:pt x="17171" y="27924"/>
                    <a:pt x="16230" y="27518"/>
                  </a:cubicBezTo>
                  <a:lnTo>
                    <a:pt x="15990" y="27942"/>
                  </a:lnTo>
                  <a:lnTo>
                    <a:pt x="8333" y="23514"/>
                  </a:lnTo>
                  <a:cubicBezTo>
                    <a:pt x="7872" y="23218"/>
                    <a:pt x="7337" y="22849"/>
                    <a:pt x="6894" y="22370"/>
                  </a:cubicBezTo>
                  <a:cubicBezTo>
                    <a:pt x="6857" y="22370"/>
                    <a:pt x="6820" y="22370"/>
                    <a:pt x="6783" y="22351"/>
                  </a:cubicBezTo>
                  <a:cubicBezTo>
                    <a:pt x="5584" y="22074"/>
                    <a:pt x="4809" y="21595"/>
                    <a:pt x="3369" y="20229"/>
                  </a:cubicBezTo>
                  <a:cubicBezTo>
                    <a:pt x="2724" y="19583"/>
                    <a:pt x="2410" y="19011"/>
                    <a:pt x="2189" y="18642"/>
                  </a:cubicBezTo>
                  <a:lnTo>
                    <a:pt x="676" y="16576"/>
                  </a:lnTo>
                  <a:cubicBezTo>
                    <a:pt x="307" y="16096"/>
                    <a:pt x="67" y="15506"/>
                    <a:pt x="30" y="14915"/>
                  </a:cubicBezTo>
                  <a:cubicBezTo>
                    <a:pt x="-210" y="11243"/>
                    <a:pt x="1008" y="8070"/>
                    <a:pt x="3462" y="5985"/>
                  </a:cubicBezTo>
                  <a:cubicBezTo>
                    <a:pt x="5824" y="4010"/>
                    <a:pt x="12632" y="154"/>
                    <a:pt x="16728" y="154"/>
                  </a:cubicBezTo>
                  <a:cubicBezTo>
                    <a:pt x="18075" y="-344"/>
                    <a:pt x="20013" y="412"/>
                    <a:pt x="20677" y="1778"/>
                  </a:cubicBezTo>
                  <a:cubicBezTo>
                    <a:pt x="20714" y="1833"/>
                    <a:pt x="21286" y="2866"/>
                    <a:pt x="24902" y="6021"/>
                  </a:cubicBezTo>
                  <a:cubicBezTo>
                    <a:pt x="25825" y="7092"/>
                    <a:pt x="27172" y="8826"/>
                    <a:pt x="27652" y="10118"/>
                  </a:cubicBezTo>
                  <a:cubicBezTo>
                    <a:pt x="27965" y="10579"/>
                    <a:pt x="28021" y="11188"/>
                    <a:pt x="27984" y="11705"/>
                  </a:cubicBezTo>
                  <a:cubicBezTo>
                    <a:pt x="28224" y="11981"/>
                    <a:pt x="28445" y="12221"/>
                    <a:pt x="28667" y="12480"/>
                  </a:cubicBezTo>
                  <a:cubicBezTo>
                    <a:pt x="29109" y="12959"/>
                    <a:pt x="29552" y="13439"/>
                    <a:pt x="29958" y="13956"/>
                  </a:cubicBezTo>
                  <a:cubicBezTo>
                    <a:pt x="30124" y="14196"/>
                    <a:pt x="30272" y="14435"/>
                    <a:pt x="30383" y="14712"/>
                  </a:cubicBezTo>
                  <a:lnTo>
                    <a:pt x="30881" y="15875"/>
                  </a:lnTo>
                  <a:cubicBezTo>
                    <a:pt x="31471" y="16539"/>
                    <a:pt x="32043" y="17222"/>
                    <a:pt x="32283" y="18200"/>
                  </a:cubicBezTo>
                  <a:cubicBezTo>
                    <a:pt x="32744" y="19860"/>
                    <a:pt x="31877" y="21189"/>
                    <a:pt x="31564" y="21705"/>
                  </a:cubicBezTo>
                  <a:cubicBezTo>
                    <a:pt x="30180" y="23458"/>
                    <a:pt x="28943" y="24861"/>
                    <a:pt x="27689" y="26281"/>
                  </a:cubicBezTo>
                  <a:lnTo>
                    <a:pt x="25327" y="28975"/>
                  </a:lnTo>
                  <a:cubicBezTo>
                    <a:pt x="24736" y="29658"/>
                    <a:pt x="23906" y="30027"/>
                    <a:pt x="23057" y="30027"/>
                  </a:cubicBezTo>
                  <a:close/>
                  <a:moveTo>
                    <a:pt x="18906" y="24584"/>
                  </a:moveTo>
                  <a:lnTo>
                    <a:pt x="17965" y="27425"/>
                  </a:lnTo>
                  <a:cubicBezTo>
                    <a:pt x="18315" y="27425"/>
                    <a:pt x="18610" y="27388"/>
                    <a:pt x="18869" y="27333"/>
                  </a:cubicBezTo>
                  <a:lnTo>
                    <a:pt x="18924" y="24584"/>
                  </a:lnTo>
                  <a:close/>
                  <a:moveTo>
                    <a:pt x="18389" y="21429"/>
                  </a:moveTo>
                  <a:cubicBezTo>
                    <a:pt x="18758" y="21429"/>
                    <a:pt x="19127" y="21502"/>
                    <a:pt x="19459" y="21632"/>
                  </a:cubicBezTo>
                  <a:cubicBezTo>
                    <a:pt x="20382" y="21945"/>
                    <a:pt x="21120" y="22185"/>
                    <a:pt x="21858" y="22757"/>
                  </a:cubicBezTo>
                  <a:cubicBezTo>
                    <a:pt x="22024" y="22812"/>
                    <a:pt x="22264" y="22923"/>
                    <a:pt x="22541" y="23089"/>
                  </a:cubicBezTo>
                  <a:cubicBezTo>
                    <a:pt x="22762" y="22831"/>
                    <a:pt x="22984" y="22591"/>
                    <a:pt x="23205" y="22333"/>
                  </a:cubicBezTo>
                  <a:cubicBezTo>
                    <a:pt x="24146" y="21281"/>
                    <a:pt x="25069" y="20229"/>
                    <a:pt x="25973" y="19141"/>
                  </a:cubicBezTo>
                  <a:cubicBezTo>
                    <a:pt x="25770" y="18919"/>
                    <a:pt x="25567" y="18698"/>
                    <a:pt x="25511" y="18569"/>
                  </a:cubicBezTo>
                  <a:lnTo>
                    <a:pt x="25013" y="17369"/>
                  </a:lnTo>
                  <a:cubicBezTo>
                    <a:pt x="24773" y="17092"/>
                    <a:pt x="24515" y="16816"/>
                    <a:pt x="24257" y="16520"/>
                  </a:cubicBezTo>
                  <a:cubicBezTo>
                    <a:pt x="23611" y="15801"/>
                    <a:pt x="22965" y="15100"/>
                    <a:pt x="22485" y="14343"/>
                  </a:cubicBezTo>
                  <a:cubicBezTo>
                    <a:pt x="22135" y="13845"/>
                    <a:pt x="21932" y="12830"/>
                    <a:pt x="21932" y="12018"/>
                  </a:cubicBezTo>
                  <a:cubicBezTo>
                    <a:pt x="21563" y="11372"/>
                    <a:pt x="21065" y="10708"/>
                    <a:pt x="20622" y="10155"/>
                  </a:cubicBezTo>
                  <a:cubicBezTo>
                    <a:pt x="18537" y="8365"/>
                    <a:pt x="17282" y="7092"/>
                    <a:pt x="16489" y="6151"/>
                  </a:cubicBezTo>
                  <a:cubicBezTo>
                    <a:pt x="14385" y="6354"/>
                    <a:pt x="9311" y="8900"/>
                    <a:pt x="7318" y="10579"/>
                  </a:cubicBezTo>
                  <a:cubicBezTo>
                    <a:pt x="6469" y="11299"/>
                    <a:pt x="6026" y="12332"/>
                    <a:pt x="5971" y="13734"/>
                  </a:cubicBezTo>
                  <a:lnTo>
                    <a:pt x="6783" y="14804"/>
                  </a:lnTo>
                  <a:cubicBezTo>
                    <a:pt x="6894" y="14934"/>
                    <a:pt x="7337" y="15653"/>
                    <a:pt x="7429" y="15801"/>
                  </a:cubicBezTo>
                  <a:cubicBezTo>
                    <a:pt x="7872" y="16317"/>
                    <a:pt x="8112" y="16539"/>
                    <a:pt x="8314" y="16668"/>
                  </a:cubicBezTo>
                  <a:cubicBezTo>
                    <a:pt x="8684" y="16705"/>
                    <a:pt x="9385" y="16908"/>
                    <a:pt x="10492" y="17554"/>
                  </a:cubicBezTo>
                  <a:cubicBezTo>
                    <a:pt x="10861" y="17775"/>
                    <a:pt x="11193" y="18070"/>
                    <a:pt x="11451" y="18421"/>
                  </a:cubicBezTo>
                  <a:lnTo>
                    <a:pt x="17393" y="21871"/>
                  </a:lnTo>
                  <a:cubicBezTo>
                    <a:pt x="16894" y="21927"/>
                    <a:pt x="16396" y="22111"/>
                    <a:pt x="15990" y="22480"/>
                  </a:cubicBezTo>
                  <a:lnTo>
                    <a:pt x="17393" y="21890"/>
                  </a:lnTo>
                  <a:lnTo>
                    <a:pt x="18537" y="22536"/>
                  </a:lnTo>
                  <a:lnTo>
                    <a:pt x="18850" y="22185"/>
                  </a:lnTo>
                  <a:cubicBezTo>
                    <a:pt x="18537" y="21945"/>
                    <a:pt x="17965" y="21908"/>
                    <a:pt x="17411" y="21871"/>
                  </a:cubicBezTo>
                  <a:lnTo>
                    <a:pt x="18444" y="21447"/>
                  </a:lnTo>
                  <a:close/>
                  <a:moveTo>
                    <a:pt x="18500" y="22517"/>
                  </a:moveTo>
                  <a:lnTo>
                    <a:pt x="18537" y="22517"/>
                  </a:lnTo>
                  <a:cubicBezTo>
                    <a:pt x="18537" y="22517"/>
                    <a:pt x="18832" y="22185"/>
                    <a:pt x="18832" y="22185"/>
                  </a:cubicBezTo>
                  <a:cubicBezTo>
                    <a:pt x="18832" y="22185"/>
                    <a:pt x="18832" y="22185"/>
                    <a:pt x="18813" y="22167"/>
                  </a:cubicBezTo>
                  <a:lnTo>
                    <a:pt x="18500" y="22517"/>
                  </a:lnTo>
                  <a:close/>
                </a:path>
              </a:pathLst>
            </a:custGeom>
            <a:solidFill>
              <a:srgbClr val="FFFFFF"/>
            </a:solidFill>
            <a:ln w="1835" cap="flat">
              <a:noFill/>
              <a:prstDash val="solid"/>
              <a:miter/>
            </a:ln>
          </p:spPr>
          <p:txBody>
            <a:bodyPr/>
            <a:lstStyle/>
            <a:p>
              <a:endParaRPr lang="en-GB"/>
            </a:p>
          </p:txBody>
        </p:sp>
        <p:sp>
          <p:nvSpPr>
            <p:cNvPr id="1510" name="Freeform: Shape 1509">
              <a:extLst>
                <a:ext uri="{FF2B5EF4-FFF2-40B4-BE49-F238E27FC236}">
                  <a16:creationId xmlns:a16="http://schemas.microsoft.com/office/drawing/2014/main" id="{6D229ED7-60B7-ADC9-57C2-1A4426F2B448}"/>
                </a:ext>
              </a:extLst>
            </p:cNvPr>
            <p:cNvSpPr/>
            <p:nvPr/>
          </p:nvSpPr>
          <p:spPr>
            <a:xfrm>
              <a:off x="10985623" y="4818836"/>
              <a:ext cx="25318" cy="21781"/>
            </a:xfrm>
            <a:custGeom>
              <a:avLst/>
              <a:gdLst>
                <a:gd name="csX0" fmla="*/ 20170 w 25318"/>
                <a:gd name="csY0" fmla="*/ 13516 h 21781"/>
                <a:gd name="csX1" fmla="*/ 20890 w 25318"/>
                <a:gd name="csY1" fmla="*/ 12205 h 21781"/>
                <a:gd name="csX2" fmla="*/ 22329 w 25318"/>
                <a:gd name="csY2" fmla="*/ 10895 h 21781"/>
                <a:gd name="csX3" fmla="*/ 25318 w 25318"/>
                <a:gd name="csY3" fmla="*/ 9106 h 21781"/>
                <a:gd name="csX4" fmla="*/ 21738 w 25318"/>
                <a:gd name="csY4" fmla="*/ 747 h 21781"/>
                <a:gd name="csX5" fmla="*/ 20908 w 25318"/>
                <a:gd name="csY5" fmla="*/ 27 h 21781"/>
                <a:gd name="csX6" fmla="*/ 19118 w 25318"/>
                <a:gd name="csY6" fmla="*/ 267 h 21781"/>
                <a:gd name="csX7" fmla="*/ 17329 w 25318"/>
                <a:gd name="csY7" fmla="*/ 157 h 21781"/>
                <a:gd name="csX8" fmla="*/ 13380 w 25318"/>
                <a:gd name="csY8" fmla="*/ 1227 h 21781"/>
                <a:gd name="csX9" fmla="*/ 11941 w 25318"/>
                <a:gd name="csY9" fmla="*/ 636 h 21781"/>
                <a:gd name="csX10" fmla="*/ 8472 w 25318"/>
                <a:gd name="csY10" fmla="*/ 1116 h 21781"/>
                <a:gd name="csX11" fmla="*/ 1073 w 25318"/>
                <a:gd name="csY11" fmla="*/ 4585 h 21781"/>
                <a:gd name="csX12" fmla="*/ 482 w 25318"/>
                <a:gd name="csY12" fmla="*/ 16892 h 21781"/>
                <a:gd name="csX13" fmla="*/ 5372 w 25318"/>
                <a:gd name="csY13" fmla="*/ 21782 h 21781"/>
                <a:gd name="csX14" fmla="*/ 7641 w 25318"/>
                <a:gd name="csY14" fmla="*/ 21302 h 21781"/>
                <a:gd name="csX15" fmla="*/ 9431 w 25318"/>
                <a:gd name="csY15" fmla="*/ 21062 h 21781"/>
                <a:gd name="csX16" fmla="*/ 12900 w 25318"/>
                <a:gd name="csY16" fmla="*/ 18793 h 21781"/>
                <a:gd name="csX17" fmla="*/ 13970 w 25318"/>
                <a:gd name="csY17" fmla="*/ 18313 h 21781"/>
                <a:gd name="csX18" fmla="*/ 21369 w 25318"/>
                <a:gd name="csY18" fmla="*/ 13534 h 217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5318" h="21781">
                  <a:moveTo>
                    <a:pt x="20170" y="13516"/>
                  </a:moveTo>
                  <a:cubicBezTo>
                    <a:pt x="21609" y="13036"/>
                    <a:pt x="20650" y="12556"/>
                    <a:pt x="20890" y="12205"/>
                  </a:cubicBezTo>
                  <a:cubicBezTo>
                    <a:pt x="21369" y="11726"/>
                    <a:pt x="21720" y="11246"/>
                    <a:pt x="22329" y="10895"/>
                  </a:cubicBezTo>
                  <a:cubicBezTo>
                    <a:pt x="23288" y="10305"/>
                    <a:pt x="25318" y="9106"/>
                    <a:pt x="25318" y="9106"/>
                  </a:cubicBezTo>
                  <a:cubicBezTo>
                    <a:pt x="24119" y="6356"/>
                    <a:pt x="23178" y="3496"/>
                    <a:pt x="21738" y="747"/>
                  </a:cubicBezTo>
                  <a:cubicBezTo>
                    <a:pt x="21628" y="507"/>
                    <a:pt x="21388" y="157"/>
                    <a:pt x="20908" y="27"/>
                  </a:cubicBezTo>
                  <a:cubicBezTo>
                    <a:pt x="20428" y="-102"/>
                    <a:pt x="19709" y="267"/>
                    <a:pt x="19118" y="267"/>
                  </a:cubicBezTo>
                  <a:cubicBezTo>
                    <a:pt x="18528" y="267"/>
                    <a:pt x="17919" y="267"/>
                    <a:pt x="17329" y="157"/>
                  </a:cubicBezTo>
                  <a:cubicBezTo>
                    <a:pt x="16019" y="507"/>
                    <a:pt x="14708" y="1116"/>
                    <a:pt x="13380" y="1227"/>
                  </a:cubicBezTo>
                  <a:cubicBezTo>
                    <a:pt x="12660" y="1337"/>
                    <a:pt x="12550" y="636"/>
                    <a:pt x="11941" y="636"/>
                  </a:cubicBezTo>
                  <a:cubicBezTo>
                    <a:pt x="10871" y="636"/>
                    <a:pt x="8472" y="1116"/>
                    <a:pt x="8472" y="1116"/>
                  </a:cubicBezTo>
                  <a:cubicBezTo>
                    <a:pt x="-957" y="5065"/>
                    <a:pt x="2383" y="1946"/>
                    <a:pt x="1073" y="4585"/>
                  </a:cubicBezTo>
                  <a:cubicBezTo>
                    <a:pt x="-237" y="7094"/>
                    <a:pt x="-237" y="14014"/>
                    <a:pt x="482" y="16892"/>
                  </a:cubicBezTo>
                  <a:cubicBezTo>
                    <a:pt x="1202" y="19752"/>
                    <a:pt x="3582" y="21191"/>
                    <a:pt x="5372" y="21782"/>
                  </a:cubicBezTo>
                  <a:cubicBezTo>
                    <a:pt x="6092" y="21671"/>
                    <a:pt x="6922" y="21431"/>
                    <a:pt x="7641" y="21302"/>
                  </a:cubicBezTo>
                  <a:cubicBezTo>
                    <a:pt x="8232" y="21191"/>
                    <a:pt x="8841" y="21302"/>
                    <a:pt x="9431" y="21062"/>
                  </a:cubicBezTo>
                  <a:cubicBezTo>
                    <a:pt x="12181" y="20103"/>
                    <a:pt x="10871" y="20103"/>
                    <a:pt x="12900" y="18793"/>
                  </a:cubicBezTo>
                  <a:cubicBezTo>
                    <a:pt x="13140" y="18553"/>
                    <a:pt x="12550" y="19272"/>
                    <a:pt x="13970" y="18313"/>
                  </a:cubicBezTo>
                  <a:cubicBezTo>
                    <a:pt x="15410" y="17483"/>
                    <a:pt x="18860" y="15084"/>
                    <a:pt x="21369" y="13534"/>
                  </a:cubicBezTo>
                </a:path>
              </a:pathLst>
            </a:custGeom>
            <a:solidFill>
              <a:srgbClr val="FFFFFF"/>
            </a:solidFill>
            <a:ln w="1835" cap="flat">
              <a:noFill/>
              <a:prstDash val="solid"/>
              <a:miter/>
            </a:ln>
          </p:spPr>
          <p:txBody>
            <a:bodyPr/>
            <a:lstStyle/>
            <a:p>
              <a:endParaRPr lang="en-GB"/>
            </a:p>
          </p:txBody>
        </p:sp>
        <p:sp>
          <p:nvSpPr>
            <p:cNvPr id="1511" name="Freeform: Shape 1510">
              <a:extLst>
                <a:ext uri="{FF2B5EF4-FFF2-40B4-BE49-F238E27FC236}">
                  <a16:creationId xmlns:a16="http://schemas.microsoft.com/office/drawing/2014/main" id="{EEBB5430-73D7-B0A9-6C2B-356F1B1857C0}"/>
                </a:ext>
              </a:extLst>
            </p:cNvPr>
            <p:cNvSpPr/>
            <p:nvPr/>
          </p:nvSpPr>
          <p:spPr>
            <a:xfrm>
              <a:off x="10982614" y="4815814"/>
              <a:ext cx="31282" cy="27755"/>
            </a:xfrm>
            <a:custGeom>
              <a:avLst/>
              <a:gdLst>
                <a:gd name="csX0" fmla="*/ 8362 w 31282"/>
                <a:gd name="csY0" fmla="*/ 27756 h 27755"/>
                <a:gd name="csX1" fmla="*/ 7421 w 31282"/>
                <a:gd name="csY1" fmla="*/ 27608 h 27755"/>
                <a:gd name="csX2" fmla="*/ 557 w 31282"/>
                <a:gd name="csY2" fmla="*/ 20597 h 27755"/>
                <a:gd name="csX3" fmla="*/ 1406 w 31282"/>
                <a:gd name="csY3" fmla="*/ 6186 h 27755"/>
                <a:gd name="csX4" fmla="*/ 4395 w 31282"/>
                <a:gd name="csY4" fmla="*/ 3344 h 27755"/>
                <a:gd name="csX5" fmla="*/ 10300 w 31282"/>
                <a:gd name="csY5" fmla="*/ 1333 h 27755"/>
                <a:gd name="csX6" fmla="*/ 14913 w 31282"/>
                <a:gd name="csY6" fmla="*/ 613 h 27755"/>
                <a:gd name="csX7" fmla="*/ 16647 w 31282"/>
                <a:gd name="csY7" fmla="*/ 1130 h 27755"/>
                <a:gd name="csX8" fmla="*/ 18013 w 31282"/>
                <a:gd name="csY8" fmla="*/ 706 h 27755"/>
                <a:gd name="csX9" fmla="*/ 19489 w 31282"/>
                <a:gd name="csY9" fmla="*/ 244 h 27755"/>
                <a:gd name="csX10" fmla="*/ 20909 w 31282"/>
                <a:gd name="csY10" fmla="*/ 207 h 27755"/>
                <a:gd name="csX11" fmla="*/ 22072 w 31282"/>
                <a:gd name="csY11" fmla="*/ 263 h 27755"/>
                <a:gd name="csX12" fmla="*/ 24581 w 31282"/>
                <a:gd name="csY12" fmla="*/ 97 h 27755"/>
                <a:gd name="csX13" fmla="*/ 27404 w 31282"/>
                <a:gd name="csY13" fmla="*/ 2440 h 27755"/>
                <a:gd name="csX14" fmla="*/ 29877 w 31282"/>
                <a:gd name="csY14" fmla="*/ 8068 h 27755"/>
                <a:gd name="csX15" fmla="*/ 31039 w 31282"/>
                <a:gd name="csY15" fmla="*/ 10891 h 27755"/>
                <a:gd name="csX16" fmla="*/ 29822 w 31282"/>
                <a:gd name="csY16" fmla="*/ 14655 h 27755"/>
                <a:gd name="csX17" fmla="*/ 26888 w 31282"/>
                <a:gd name="csY17" fmla="*/ 16408 h 27755"/>
                <a:gd name="csX18" fmla="*/ 26869 w 31282"/>
                <a:gd name="csY18" fmla="*/ 16426 h 27755"/>
                <a:gd name="csX19" fmla="*/ 26648 w 31282"/>
                <a:gd name="csY19" fmla="*/ 17294 h 27755"/>
                <a:gd name="csX20" fmla="*/ 25633 w 31282"/>
                <a:gd name="csY20" fmla="*/ 18548 h 27755"/>
                <a:gd name="csX21" fmla="*/ 25928 w 31282"/>
                <a:gd name="csY21" fmla="*/ 19047 h 27755"/>
                <a:gd name="csX22" fmla="*/ 21924 w 31282"/>
                <a:gd name="csY22" fmla="*/ 21630 h 27755"/>
                <a:gd name="csX23" fmla="*/ 18455 w 31282"/>
                <a:gd name="csY23" fmla="*/ 23862 h 27755"/>
                <a:gd name="csX24" fmla="*/ 17016 w 31282"/>
                <a:gd name="csY24" fmla="*/ 24619 h 27755"/>
                <a:gd name="csX25" fmla="*/ 16832 w 31282"/>
                <a:gd name="csY25" fmla="*/ 24803 h 27755"/>
                <a:gd name="csX26" fmla="*/ 13400 w 31282"/>
                <a:gd name="csY26" fmla="*/ 26852 h 27755"/>
                <a:gd name="csX27" fmla="*/ 11444 w 31282"/>
                <a:gd name="csY27" fmla="*/ 27184 h 27755"/>
                <a:gd name="csX28" fmla="*/ 10152 w 31282"/>
                <a:gd name="csY28" fmla="*/ 27424 h 27755"/>
                <a:gd name="csX29" fmla="*/ 8824 w 31282"/>
                <a:gd name="csY29" fmla="*/ 27700 h 27755"/>
                <a:gd name="csX30" fmla="*/ 8344 w 31282"/>
                <a:gd name="csY30" fmla="*/ 27737 h 27755"/>
                <a:gd name="csX31" fmla="*/ 6683 w 31282"/>
                <a:gd name="csY31" fmla="*/ 8990 h 27755"/>
                <a:gd name="csX32" fmla="*/ 6351 w 31282"/>
                <a:gd name="csY32" fmla="*/ 19157 h 27755"/>
                <a:gd name="csX33" fmla="*/ 8621 w 31282"/>
                <a:gd name="csY33" fmla="*/ 21685 h 27755"/>
                <a:gd name="csX34" fmla="*/ 8824 w 31282"/>
                <a:gd name="csY34" fmla="*/ 21630 h 27755"/>
                <a:gd name="csX35" fmla="*/ 10152 w 31282"/>
                <a:gd name="csY35" fmla="*/ 21353 h 27755"/>
                <a:gd name="csX36" fmla="*/ 11222 w 31282"/>
                <a:gd name="csY36" fmla="*/ 21261 h 27755"/>
                <a:gd name="csX37" fmla="*/ 12477 w 31282"/>
                <a:gd name="csY37" fmla="*/ 20836 h 27755"/>
                <a:gd name="csX38" fmla="*/ 14267 w 31282"/>
                <a:gd name="csY38" fmla="*/ 19305 h 27755"/>
                <a:gd name="csX39" fmla="*/ 15263 w 31282"/>
                <a:gd name="csY39" fmla="*/ 18881 h 27755"/>
                <a:gd name="csX40" fmla="*/ 18640 w 31282"/>
                <a:gd name="csY40" fmla="*/ 16685 h 27755"/>
                <a:gd name="csX41" fmla="*/ 21131 w 31282"/>
                <a:gd name="csY41" fmla="*/ 15061 h 27755"/>
                <a:gd name="csX42" fmla="*/ 21131 w 31282"/>
                <a:gd name="csY42" fmla="*/ 16722 h 27755"/>
                <a:gd name="csX43" fmla="*/ 21278 w 31282"/>
                <a:gd name="csY43" fmla="*/ 14969 h 27755"/>
                <a:gd name="csX44" fmla="*/ 22404 w 31282"/>
                <a:gd name="csY44" fmla="*/ 14249 h 27755"/>
                <a:gd name="csX45" fmla="*/ 23179 w 31282"/>
                <a:gd name="csY45" fmla="*/ 16556 h 27755"/>
                <a:gd name="csX46" fmla="*/ 22404 w 31282"/>
                <a:gd name="csY46" fmla="*/ 14249 h 27755"/>
                <a:gd name="csX47" fmla="*/ 22441 w 31282"/>
                <a:gd name="csY47" fmla="*/ 14231 h 27755"/>
                <a:gd name="csX48" fmla="*/ 22275 w 31282"/>
                <a:gd name="csY48" fmla="*/ 13714 h 27755"/>
                <a:gd name="csX49" fmla="*/ 22219 w 31282"/>
                <a:gd name="csY49" fmla="*/ 13714 h 27755"/>
                <a:gd name="csX50" fmla="*/ 22219 w 31282"/>
                <a:gd name="csY50" fmla="*/ 13714 h 27755"/>
                <a:gd name="csX51" fmla="*/ 21297 w 31282"/>
                <a:gd name="csY51" fmla="*/ 14674 h 27755"/>
                <a:gd name="csX52" fmla="*/ 21389 w 31282"/>
                <a:gd name="csY52" fmla="*/ 13585 h 27755"/>
                <a:gd name="csX53" fmla="*/ 22035 w 31282"/>
                <a:gd name="csY53" fmla="*/ 12847 h 27755"/>
                <a:gd name="csX54" fmla="*/ 23751 w 31282"/>
                <a:gd name="csY54" fmla="*/ 11371 h 27755"/>
                <a:gd name="csX55" fmla="*/ 24544 w 31282"/>
                <a:gd name="csY55" fmla="*/ 10891 h 27755"/>
                <a:gd name="csX56" fmla="*/ 24323 w 31282"/>
                <a:gd name="csY56" fmla="*/ 10319 h 27755"/>
                <a:gd name="csX57" fmla="*/ 22607 w 31282"/>
                <a:gd name="csY57" fmla="*/ 6241 h 27755"/>
                <a:gd name="csX58" fmla="*/ 20522 w 31282"/>
                <a:gd name="csY58" fmla="*/ 6223 h 27755"/>
                <a:gd name="csX59" fmla="*/ 19913 w 31282"/>
                <a:gd name="csY59" fmla="*/ 6407 h 27755"/>
                <a:gd name="csX60" fmla="*/ 16629 w 31282"/>
                <a:gd name="csY60" fmla="*/ 7219 h 27755"/>
                <a:gd name="csX61" fmla="*/ 14193 w 31282"/>
                <a:gd name="csY61" fmla="*/ 6666 h 27755"/>
                <a:gd name="csX62" fmla="*/ 12016 w 31282"/>
                <a:gd name="csY62" fmla="*/ 7035 h 27755"/>
                <a:gd name="csX63" fmla="*/ 6646 w 31282"/>
                <a:gd name="csY63" fmla="*/ 8990 h 27755"/>
                <a:gd name="csX64" fmla="*/ 26685 w 31282"/>
                <a:gd name="csY64" fmla="*/ 14507 h 27755"/>
                <a:gd name="csX65" fmla="*/ 26685 w 31282"/>
                <a:gd name="csY65" fmla="*/ 14507 h 27755"/>
                <a:gd name="csX66" fmla="*/ 26685 w 31282"/>
                <a:gd name="csY66" fmla="*/ 14507 h 27755"/>
                <a:gd name="csX67" fmla="*/ 22090 w 31282"/>
                <a:gd name="csY67" fmla="*/ 5153 h 27755"/>
                <a:gd name="csX68" fmla="*/ 22127 w 31282"/>
                <a:gd name="csY68" fmla="*/ 5208 h 27755"/>
                <a:gd name="csX69" fmla="*/ 22090 w 31282"/>
                <a:gd name="csY69" fmla="*/ 5153 h 27755"/>
                <a:gd name="csX70" fmla="*/ 16057 w 31282"/>
                <a:gd name="csY70" fmla="*/ 1278 h 27755"/>
                <a:gd name="csX71" fmla="*/ 15891 w 31282"/>
                <a:gd name="csY71" fmla="*/ 1278 h 27755"/>
                <a:gd name="csX72" fmla="*/ 16057 w 31282"/>
                <a:gd name="csY72" fmla="*/ 1278 h 277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Lst>
              <a:rect l="l" t="t" r="r" b="b"/>
              <a:pathLst>
                <a:path w="31282" h="27755">
                  <a:moveTo>
                    <a:pt x="8362" y="27756"/>
                  </a:moveTo>
                  <a:cubicBezTo>
                    <a:pt x="8049" y="27756"/>
                    <a:pt x="7735" y="27700"/>
                    <a:pt x="7421" y="27608"/>
                  </a:cubicBezTo>
                  <a:cubicBezTo>
                    <a:pt x="3879" y="26427"/>
                    <a:pt x="1369" y="23881"/>
                    <a:pt x="557" y="20597"/>
                  </a:cubicBezTo>
                  <a:cubicBezTo>
                    <a:pt x="-181" y="17626"/>
                    <a:pt x="-439" y="9692"/>
                    <a:pt x="1406" y="6186"/>
                  </a:cubicBezTo>
                  <a:cubicBezTo>
                    <a:pt x="1591" y="4783"/>
                    <a:pt x="2993" y="3473"/>
                    <a:pt x="4395" y="3344"/>
                  </a:cubicBezTo>
                  <a:cubicBezTo>
                    <a:pt x="4727" y="3326"/>
                    <a:pt x="6093" y="3104"/>
                    <a:pt x="10300" y="1333"/>
                  </a:cubicBezTo>
                  <a:cubicBezTo>
                    <a:pt x="10872" y="1167"/>
                    <a:pt x="13676" y="613"/>
                    <a:pt x="14913" y="613"/>
                  </a:cubicBezTo>
                  <a:cubicBezTo>
                    <a:pt x="15374" y="613"/>
                    <a:pt x="16057" y="835"/>
                    <a:pt x="16647" y="1130"/>
                  </a:cubicBezTo>
                  <a:cubicBezTo>
                    <a:pt x="17108" y="1019"/>
                    <a:pt x="17551" y="853"/>
                    <a:pt x="18013" y="706"/>
                  </a:cubicBezTo>
                  <a:cubicBezTo>
                    <a:pt x="18511" y="540"/>
                    <a:pt x="19009" y="374"/>
                    <a:pt x="19489" y="244"/>
                  </a:cubicBezTo>
                  <a:cubicBezTo>
                    <a:pt x="19950" y="134"/>
                    <a:pt x="20430" y="97"/>
                    <a:pt x="20909" y="207"/>
                  </a:cubicBezTo>
                  <a:cubicBezTo>
                    <a:pt x="21186" y="263"/>
                    <a:pt x="21592" y="263"/>
                    <a:pt x="22072" y="263"/>
                  </a:cubicBezTo>
                  <a:cubicBezTo>
                    <a:pt x="22755" y="78"/>
                    <a:pt x="23585" y="-125"/>
                    <a:pt x="24581" y="97"/>
                  </a:cubicBezTo>
                  <a:cubicBezTo>
                    <a:pt x="25799" y="392"/>
                    <a:pt x="26851" y="1259"/>
                    <a:pt x="27404" y="2440"/>
                  </a:cubicBezTo>
                  <a:cubicBezTo>
                    <a:pt x="28345" y="4211"/>
                    <a:pt x="29102" y="6149"/>
                    <a:pt x="29877" y="8068"/>
                  </a:cubicBezTo>
                  <a:cubicBezTo>
                    <a:pt x="30246" y="9009"/>
                    <a:pt x="30615" y="9950"/>
                    <a:pt x="31039" y="10891"/>
                  </a:cubicBezTo>
                  <a:cubicBezTo>
                    <a:pt x="31630" y="12275"/>
                    <a:pt x="31113" y="13880"/>
                    <a:pt x="29822" y="14655"/>
                  </a:cubicBezTo>
                  <a:cubicBezTo>
                    <a:pt x="29822" y="14655"/>
                    <a:pt x="27847" y="15836"/>
                    <a:pt x="26888" y="16408"/>
                  </a:cubicBezTo>
                  <a:cubicBezTo>
                    <a:pt x="26888" y="16408"/>
                    <a:pt x="26888" y="16408"/>
                    <a:pt x="26869" y="16426"/>
                  </a:cubicBezTo>
                  <a:cubicBezTo>
                    <a:pt x="26832" y="16759"/>
                    <a:pt x="26759" y="17035"/>
                    <a:pt x="26648" y="17294"/>
                  </a:cubicBezTo>
                  <a:cubicBezTo>
                    <a:pt x="26390" y="17847"/>
                    <a:pt x="26021" y="18253"/>
                    <a:pt x="25633" y="18548"/>
                  </a:cubicBezTo>
                  <a:lnTo>
                    <a:pt x="25928" y="19047"/>
                  </a:lnTo>
                  <a:cubicBezTo>
                    <a:pt x="24710" y="19785"/>
                    <a:pt x="23253" y="20763"/>
                    <a:pt x="21924" y="21630"/>
                  </a:cubicBezTo>
                  <a:cubicBezTo>
                    <a:pt x="20485" y="22571"/>
                    <a:pt x="19212" y="23420"/>
                    <a:pt x="18455" y="23862"/>
                  </a:cubicBezTo>
                  <a:cubicBezTo>
                    <a:pt x="18142" y="24065"/>
                    <a:pt x="17643" y="24416"/>
                    <a:pt x="17016" y="24619"/>
                  </a:cubicBezTo>
                  <a:lnTo>
                    <a:pt x="16832" y="24803"/>
                  </a:lnTo>
                  <a:cubicBezTo>
                    <a:pt x="16020" y="25745"/>
                    <a:pt x="15263" y="26206"/>
                    <a:pt x="13400" y="26852"/>
                  </a:cubicBezTo>
                  <a:cubicBezTo>
                    <a:pt x="12717" y="27147"/>
                    <a:pt x="11960" y="27165"/>
                    <a:pt x="11444" y="27184"/>
                  </a:cubicBezTo>
                  <a:lnTo>
                    <a:pt x="10152" y="27424"/>
                  </a:lnTo>
                  <a:cubicBezTo>
                    <a:pt x="9691" y="27534"/>
                    <a:pt x="9248" y="27627"/>
                    <a:pt x="8824" y="27700"/>
                  </a:cubicBezTo>
                  <a:cubicBezTo>
                    <a:pt x="8676" y="27719"/>
                    <a:pt x="8510" y="27737"/>
                    <a:pt x="8344" y="27737"/>
                  </a:cubicBezTo>
                  <a:close/>
                  <a:moveTo>
                    <a:pt x="6683" y="8990"/>
                  </a:moveTo>
                  <a:cubicBezTo>
                    <a:pt x="5908" y="10688"/>
                    <a:pt x="5724" y="16537"/>
                    <a:pt x="6351" y="19157"/>
                  </a:cubicBezTo>
                  <a:cubicBezTo>
                    <a:pt x="6683" y="20504"/>
                    <a:pt x="7735" y="21261"/>
                    <a:pt x="8621" y="21685"/>
                  </a:cubicBezTo>
                  <a:lnTo>
                    <a:pt x="8824" y="21630"/>
                  </a:lnTo>
                  <a:cubicBezTo>
                    <a:pt x="9285" y="21519"/>
                    <a:pt x="9728" y="21427"/>
                    <a:pt x="10152" y="21353"/>
                  </a:cubicBezTo>
                  <a:cubicBezTo>
                    <a:pt x="10263" y="21353"/>
                    <a:pt x="11093" y="21261"/>
                    <a:pt x="11222" y="21261"/>
                  </a:cubicBezTo>
                  <a:cubicBezTo>
                    <a:pt x="11979" y="21058"/>
                    <a:pt x="12293" y="20947"/>
                    <a:pt x="12477" y="20836"/>
                  </a:cubicBezTo>
                  <a:cubicBezTo>
                    <a:pt x="12698" y="20523"/>
                    <a:pt x="13197" y="19988"/>
                    <a:pt x="14267" y="19305"/>
                  </a:cubicBezTo>
                  <a:cubicBezTo>
                    <a:pt x="14562" y="19102"/>
                    <a:pt x="14913" y="18973"/>
                    <a:pt x="15263" y="18881"/>
                  </a:cubicBezTo>
                  <a:cubicBezTo>
                    <a:pt x="16352" y="18198"/>
                    <a:pt x="17459" y="17478"/>
                    <a:pt x="18640" y="16685"/>
                  </a:cubicBezTo>
                  <a:cubicBezTo>
                    <a:pt x="19452" y="16168"/>
                    <a:pt x="20301" y="15596"/>
                    <a:pt x="21131" y="15061"/>
                  </a:cubicBezTo>
                  <a:cubicBezTo>
                    <a:pt x="20965" y="15578"/>
                    <a:pt x="20928" y="16150"/>
                    <a:pt x="21131" y="16722"/>
                  </a:cubicBezTo>
                  <a:lnTo>
                    <a:pt x="21278" y="14969"/>
                  </a:lnTo>
                  <a:cubicBezTo>
                    <a:pt x="21666" y="14729"/>
                    <a:pt x="22035" y="14471"/>
                    <a:pt x="22404" y="14249"/>
                  </a:cubicBezTo>
                  <a:lnTo>
                    <a:pt x="23179" y="16556"/>
                  </a:lnTo>
                  <a:lnTo>
                    <a:pt x="22404" y="14249"/>
                  </a:lnTo>
                  <a:cubicBezTo>
                    <a:pt x="22404" y="14249"/>
                    <a:pt x="22422" y="14249"/>
                    <a:pt x="22441" y="14231"/>
                  </a:cubicBezTo>
                  <a:lnTo>
                    <a:pt x="22275" y="13714"/>
                  </a:lnTo>
                  <a:cubicBezTo>
                    <a:pt x="22275" y="13714"/>
                    <a:pt x="22238" y="13714"/>
                    <a:pt x="22219" y="13714"/>
                  </a:cubicBezTo>
                  <a:lnTo>
                    <a:pt x="22219" y="13714"/>
                  </a:lnTo>
                  <a:cubicBezTo>
                    <a:pt x="21887" y="13880"/>
                    <a:pt x="21537" y="14212"/>
                    <a:pt x="21297" y="14674"/>
                  </a:cubicBezTo>
                  <a:lnTo>
                    <a:pt x="21389" y="13585"/>
                  </a:lnTo>
                  <a:lnTo>
                    <a:pt x="22035" y="12847"/>
                  </a:lnTo>
                  <a:cubicBezTo>
                    <a:pt x="22422" y="12422"/>
                    <a:pt x="22958" y="11869"/>
                    <a:pt x="23751" y="11371"/>
                  </a:cubicBezTo>
                  <a:cubicBezTo>
                    <a:pt x="23972" y="11242"/>
                    <a:pt x="24249" y="11075"/>
                    <a:pt x="24544" y="10891"/>
                  </a:cubicBezTo>
                  <a:cubicBezTo>
                    <a:pt x="24471" y="10688"/>
                    <a:pt x="24397" y="10503"/>
                    <a:pt x="24323" y="10319"/>
                  </a:cubicBezTo>
                  <a:cubicBezTo>
                    <a:pt x="23788" y="8972"/>
                    <a:pt x="23234" y="7588"/>
                    <a:pt x="22607" y="6241"/>
                  </a:cubicBezTo>
                  <a:cubicBezTo>
                    <a:pt x="22053" y="6352"/>
                    <a:pt x="21334" y="6297"/>
                    <a:pt x="20522" y="6223"/>
                  </a:cubicBezTo>
                  <a:lnTo>
                    <a:pt x="19913" y="6407"/>
                  </a:lnTo>
                  <a:cubicBezTo>
                    <a:pt x="18954" y="6739"/>
                    <a:pt x="17846" y="7108"/>
                    <a:pt x="16629" y="7219"/>
                  </a:cubicBezTo>
                  <a:cubicBezTo>
                    <a:pt x="15558" y="7385"/>
                    <a:pt x="14747" y="7016"/>
                    <a:pt x="14193" y="6666"/>
                  </a:cubicBezTo>
                  <a:cubicBezTo>
                    <a:pt x="13252" y="6776"/>
                    <a:pt x="12053" y="7035"/>
                    <a:pt x="12016" y="7035"/>
                  </a:cubicBezTo>
                  <a:cubicBezTo>
                    <a:pt x="9488" y="8123"/>
                    <a:pt x="7827" y="8695"/>
                    <a:pt x="6646" y="8990"/>
                  </a:cubicBezTo>
                  <a:close/>
                  <a:moveTo>
                    <a:pt x="26685" y="14507"/>
                  </a:moveTo>
                  <a:lnTo>
                    <a:pt x="26685" y="14507"/>
                  </a:lnTo>
                  <a:cubicBezTo>
                    <a:pt x="26685" y="14507"/>
                    <a:pt x="26685" y="14507"/>
                    <a:pt x="26685" y="14507"/>
                  </a:cubicBezTo>
                  <a:close/>
                  <a:moveTo>
                    <a:pt x="22090" y="5153"/>
                  </a:moveTo>
                  <a:cubicBezTo>
                    <a:pt x="22090" y="5153"/>
                    <a:pt x="22109" y="5189"/>
                    <a:pt x="22127" y="5208"/>
                  </a:cubicBezTo>
                  <a:cubicBezTo>
                    <a:pt x="22127" y="5189"/>
                    <a:pt x="22109" y="5153"/>
                    <a:pt x="22090" y="5153"/>
                  </a:cubicBezTo>
                  <a:close/>
                  <a:moveTo>
                    <a:pt x="16057" y="1278"/>
                  </a:moveTo>
                  <a:cubicBezTo>
                    <a:pt x="16057" y="1278"/>
                    <a:pt x="15946" y="1278"/>
                    <a:pt x="15891" y="1278"/>
                  </a:cubicBezTo>
                  <a:cubicBezTo>
                    <a:pt x="15946" y="1278"/>
                    <a:pt x="16001" y="1278"/>
                    <a:pt x="16057" y="1278"/>
                  </a:cubicBezTo>
                  <a:close/>
                </a:path>
              </a:pathLst>
            </a:custGeom>
            <a:solidFill>
              <a:srgbClr val="FFFFFF"/>
            </a:solidFill>
            <a:ln w="1835" cap="flat">
              <a:noFill/>
              <a:prstDash val="solid"/>
              <a:miter/>
            </a:ln>
          </p:spPr>
          <p:txBody>
            <a:bodyPr/>
            <a:lstStyle/>
            <a:p>
              <a:endParaRPr lang="en-GB"/>
            </a:p>
          </p:txBody>
        </p:sp>
        <p:sp>
          <p:nvSpPr>
            <p:cNvPr id="1512" name="Freeform: Shape 1511">
              <a:extLst>
                <a:ext uri="{FF2B5EF4-FFF2-40B4-BE49-F238E27FC236}">
                  <a16:creationId xmlns:a16="http://schemas.microsoft.com/office/drawing/2014/main" id="{6744F6AA-EED1-19B1-9DE5-F1E06ABF8CE5}"/>
                </a:ext>
              </a:extLst>
            </p:cNvPr>
            <p:cNvSpPr/>
            <p:nvPr/>
          </p:nvSpPr>
          <p:spPr>
            <a:xfrm>
              <a:off x="10946656" y="4818845"/>
              <a:ext cx="21016" cy="25278"/>
            </a:xfrm>
            <a:custGeom>
              <a:avLst/>
              <a:gdLst>
                <a:gd name="csX0" fmla="*/ 13636 w 21016"/>
                <a:gd name="csY0" fmla="*/ 5259 h 25278"/>
                <a:gd name="csX1" fmla="*/ 12326 w 21016"/>
                <a:gd name="csY1" fmla="*/ 4539 h 25278"/>
                <a:gd name="csX2" fmla="*/ 11126 w 21016"/>
                <a:gd name="csY2" fmla="*/ 3100 h 25278"/>
                <a:gd name="csX3" fmla="*/ 9447 w 21016"/>
                <a:gd name="csY3" fmla="*/ 0 h 25278"/>
                <a:gd name="csX4" fmla="*/ 959 w 21016"/>
                <a:gd name="csY4" fmla="*/ 3100 h 25278"/>
                <a:gd name="csX5" fmla="*/ 129 w 21016"/>
                <a:gd name="csY5" fmla="*/ 3930 h 25278"/>
                <a:gd name="csX6" fmla="*/ 240 w 21016"/>
                <a:gd name="csY6" fmla="*/ 5720 h 25278"/>
                <a:gd name="csX7" fmla="*/ 0 w 21016"/>
                <a:gd name="csY7" fmla="*/ 7510 h 25278"/>
                <a:gd name="csX8" fmla="*/ 830 w 21016"/>
                <a:gd name="csY8" fmla="*/ 11458 h 25278"/>
                <a:gd name="csX9" fmla="*/ 111 w 21016"/>
                <a:gd name="csY9" fmla="*/ 12898 h 25278"/>
                <a:gd name="csX10" fmla="*/ 461 w 21016"/>
                <a:gd name="csY10" fmla="*/ 16367 h 25278"/>
                <a:gd name="csX11" fmla="*/ 3450 w 21016"/>
                <a:gd name="csY11" fmla="*/ 23895 h 25278"/>
                <a:gd name="csX12" fmla="*/ 15758 w 21016"/>
                <a:gd name="csY12" fmla="*/ 24965 h 25278"/>
                <a:gd name="csX13" fmla="*/ 21016 w 21016"/>
                <a:gd name="csY13" fmla="*/ 20426 h 25278"/>
                <a:gd name="csX14" fmla="*/ 20666 w 21016"/>
                <a:gd name="csY14" fmla="*/ 18156 h 25278"/>
                <a:gd name="csX15" fmla="*/ 20555 w 21016"/>
                <a:gd name="csY15" fmla="*/ 16367 h 25278"/>
                <a:gd name="csX16" fmla="*/ 18415 w 21016"/>
                <a:gd name="csY16" fmla="*/ 12898 h 25278"/>
                <a:gd name="csX17" fmla="*/ 18064 w 21016"/>
                <a:gd name="csY17" fmla="*/ 11698 h 25278"/>
                <a:gd name="csX18" fmla="*/ 13654 w 21016"/>
                <a:gd name="csY18" fmla="*/ 4059 h 252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1016" h="25278">
                  <a:moveTo>
                    <a:pt x="13636" y="5259"/>
                  </a:moveTo>
                  <a:cubicBezTo>
                    <a:pt x="13156" y="3819"/>
                    <a:pt x="12805" y="4779"/>
                    <a:pt x="12326" y="4539"/>
                  </a:cubicBezTo>
                  <a:cubicBezTo>
                    <a:pt x="11975" y="4059"/>
                    <a:pt x="11495" y="3580"/>
                    <a:pt x="11126" y="3100"/>
                  </a:cubicBezTo>
                  <a:cubicBezTo>
                    <a:pt x="10536" y="2030"/>
                    <a:pt x="9447" y="0"/>
                    <a:pt x="9447" y="0"/>
                  </a:cubicBezTo>
                  <a:cubicBezTo>
                    <a:pt x="6698" y="959"/>
                    <a:pt x="3709" y="1919"/>
                    <a:pt x="959" y="3100"/>
                  </a:cubicBezTo>
                  <a:cubicBezTo>
                    <a:pt x="609" y="3211"/>
                    <a:pt x="240" y="3450"/>
                    <a:pt x="129" y="3930"/>
                  </a:cubicBezTo>
                  <a:cubicBezTo>
                    <a:pt x="18" y="4410"/>
                    <a:pt x="240" y="5130"/>
                    <a:pt x="240" y="5720"/>
                  </a:cubicBezTo>
                  <a:cubicBezTo>
                    <a:pt x="240" y="6310"/>
                    <a:pt x="129" y="6919"/>
                    <a:pt x="0" y="7510"/>
                  </a:cubicBezTo>
                  <a:cubicBezTo>
                    <a:pt x="351" y="8820"/>
                    <a:pt x="830" y="10130"/>
                    <a:pt x="830" y="11458"/>
                  </a:cubicBezTo>
                  <a:cubicBezTo>
                    <a:pt x="830" y="12178"/>
                    <a:pt x="240" y="12289"/>
                    <a:pt x="111" y="12898"/>
                  </a:cubicBezTo>
                  <a:cubicBezTo>
                    <a:pt x="111" y="13968"/>
                    <a:pt x="461" y="16367"/>
                    <a:pt x="461" y="16367"/>
                  </a:cubicBezTo>
                  <a:cubicBezTo>
                    <a:pt x="3801" y="25925"/>
                    <a:pt x="812" y="22456"/>
                    <a:pt x="3450" y="23895"/>
                  </a:cubicBezTo>
                  <a:cubicBezTo>
                    <a:pt x="5960" y="25334"/>
                    <a:pt x="12879" y="25574"/>
                    <a:pt x="15758" y="24965"/>
                  </a:cubicBezTo>
                  <a:cubicBezTo>
                    <a:pt x="18747" y="24375"/>
                    <a:pt x="20168" y="22216"/>
                    <a:pt x="21016" y="20426"/>
                  </a:cubicBezTo>
                  <a:cubicBezTo>
                    <a:pt x="20906" y="19706"/>
                    <a:pt x="20777" y="18876"/>
                    <a:pt x="20666" y="18156"/>
                  </a:cubicBezTo>
                  <a:cubicBezTo>
                    <a:pt x="20666" y="17566"/>
                    <a:pt x="20666" y="16957"/>
                    <a:pt x="20555" y="16367"/>
                  </a:cubicBezTo>
                  <a:cubicBezTo>
                    <a:pt x="19725" y="13617"/>
                    <a:pt x="19596" y="14927"/>
                    <a:pt x="18415" y="12898"/>
                  </a:cubicBezTo>
                  <a:cubicBezTo>
                    <a:pt x="18304" y="12547"/>
                    <a:pt x="18894" y="13248"/>
                    <a:pt x="18064" y="11698"/>
                  </a:cubicBezTo>
                  <a:cubicBezTo>
                    <a:pt x="17345" y="10259"/>
                    <a:pt x="15204" y="6679"/>
                    <a:pt x="13654" y="4059"/>
                  </a:cubicBezTo>
                </a:path>
              </a:pathLst>
            </a:custGeom>
            <a:solidFill>
              <a:srgbClr val="FFFFFF"/>
            </a:solidFill>
            <a:ln w="1835" cap="flat">
              <a:noFill/>
              <a:prstDash val="solid"/>
              <a:miter/>
            </a:ln>
          </p:spPr>
          <p:txBody>
            <a:bodyPr/>
            <a:lstStyle/>
            <a:p>
              <a:endParaRPr lang="en-GB"/>
            </a:p>
          </p:txBody>
        </p:sp>
        <p:sp>
          <p:nvSpPr>
            <p:cNvPr id="1513" name="Freeform: Shape 1512">
              <a:extLst>
                <a:ext uri="{FF2B5EF4-FFF2-40B4-BE49-F238E27FC236}">
                  <a16:creationId xmlns:a16="http://schemas.microsoft.com/office/drawing/2014/main" id="{193743DD-102D-6FAE-EF1F-30314953BF8D}"/>
                </a:ext>
              </a:extLst>
            </p:cNvPr>
            <p:cNvSpPr/>
            <p:nvPr/>
          </p:nvSpPr>
          <p:spPr>
            <a:xfrm>
              <a:off x="10943688" y="4815864"/>
              <a:ext cx="26953" cy="31248"/>
            </a:xfrm>
            <a:custGeom>
              <a:avLst/>
              <a:gdLst>
                <a:gd name="csX0" fmla="*/ 14740 w 26953"/>
                <a:gd name="csY0" fmla="*/ 31249 h 31248"/>
                <a:gd name="csX1" fmla="*/ 4979 w 26953"/>
                <a:gd name="csY1" fmla="*/ 29459 h 31248"/>
                <a:gd name="csX2" fmla="*/ 2248 w 26953"/>
                <a:gd name="csY2" fmla="*/ 26212 h 31248"/>
                <a:gd name="csX3" fmla="*/ 643 w 26953"/>
                <a:gd name="csY3" fmla="*/ 20344 h 31248"/>
                <a:gd name="csX4" fmla="*/ 126 w 26953"/>
                <a:gd name="csY4" fmla="*/ 15897 h 31248"/>
                <a:gd name="csX5" fmla="*/ 809 w 26953"/>
                <a:gd name="csY5" fmla="*/ 13923 h 31248"/>
                <a:gd name="csX6" fmla="*/ 348 w 26953"/>
                <a:gd name="csY6" fmla="*/ 12133 h 31248"/>
                <a:gd name="csX7" fmla="*/ 108 w 26953"/>
                <a:gd name="csY7" fmla="*/ 11303 h 31248"/>
                <a:gd name="csX8" fmla="*/ 52 w 26953"/>
                <a:gd name="csY8" fmla="*/ 9937 h 31248"/>
                <a:gd name="csX9" fmla="*/ 218 w 26953"/>
                <a:gd name="csY9" fmla="*/ 8719 h 31248"/>
                <a:gd name="csX10" fmla="*/ 181 w 26953"/>
                <a:gd name="csY10" fmla="*/ 6210 h 31248"/>
                <a:gd name="csX11" fmla="*/ 2931 w 26953"/>
                <a:gd name="csY11" fmla="*/ 3276 h 31248"/>
                <a:gd name="csX12" fmla="*/ 9758 w 26953"/>
                <a:gd name="csY12" fmla="*/ 730 h 31248"/>
                <a:gd name="csX13" fmla="*/ 11418 w 26953"/>
                <a:gd name="csY13" fmla="*/ 158 h 31248"/>
                <a:gd name="csX14" fmla="*/ 15035 w 26953"/>
                <a:gd name="csY14" fmla="*/ 1579 h 31248"/>
                <a:gd name="csX15" fmla="*/ 16603 w 26953"/>
                <a:gd name="csY15" fmla="*/ 4494 h 31248"/>
                <a:gd name="csX16" fmla="*/ 17397 w 26953"/>
                <a:gd name="csY16" fmla="*/ 4771 h 31248"/>
                <a:gd name="csX17" fmla="*/ 18652 w 26953"/>
                <a:gd name="csY17" fmla="*/ 5823 h 31248"/>
                <a:gd name="csX18" fmla="*/ 19150 w 26953"/>
                <a:gd name="csY18" fmla="*/ 5527 h 31248"/>
                <a:gd name="csX19" fmla="*/ 20183 w 26953"/>
                <a:gd name="csY19" fmla="*/ 7280 h 31248"/>
                <a:gd name="csX20" fmla="*/ 23652 w 26953"/>
                <a:gd name="csY20" fmla="*/ 13351 h 31248"/>
                <a:gd name="csX21" fmla="*/ 24372 w 26953"/>
                <a:gd name="csY21" fmla="*/ 15085 h 31248"/>
                <a:gd name="csX22" fmla="*/ 26346 w 26953"/>
                <a:gd name="csY22" fmla="*/ 18462 h 31248"/>
                <a:gd name="csX23" fmla="*/ 26586 w 26953"/>
                <a:gd name="csY23" fmla="*/ 21137 h 31248"/>
                <a:gd name="csX24" fmla="*/ 26918 w 26953"/>
                <a:gd name="csY24" fmla="*/ 22927 h 31248"/>
                <a:gd name="csX25" fmla="*/ 26678 w 26953"/>
                <a:gd name="csY25" fmla="*/ 24662 h 31248"/>
                <a:gd name="csX26" fmla="*/ 19316 w 26953"/>
                <a:gd name="csY26" fmla="*/ 30861 h 31248"/>
                <a:gd name="csX27" fmla="*/ 14703 w 26953"/>
                <a:gd name="csY27" fmla="*/ 31230 h 31248"/>
                <a:gd name="csX28" fmla="*/ 8023 w 26953"/>
                <a:gd name="csY28" fmla="*/ 24330 h 31248"/>
                <a:gd name="csX29" fmla="*/ 18153 w 26953"/>
                <a:gd name="csY29" fmla="*/ 25031 h 31248"/>
                <a:gd name="csX30" fmla="*/ 20921 w 26953"/>
                <a:gd name="csY30" fmla="*/ 22909 h 31248"/>
                <a:gd name="csX31" fmla="*/ 20718 w 26953"/>
                <a:gd name="csY31" fmla="*/ 21672 h 31248"/>
                <a:gd name="csX32" fmla="*/ 20607 w 26953"/>
                <a:gd name="csY32" fmla="*/ 19920 h 31248"/>
                <a:gd name="csX33" fmla="*/ 20331 w 26953"/>
                <a:gd name="csY33" fmla="*/ 19274 h 31248"/>
                <a:gd name="csX34" fmla="*/ 18799 w 26953"/>
                <a:gd name="csY34" fmla="*/ 17392 h 31248"/>
                <a:gd name="csX35" fmla="*/ 18412 w 26953"/>
                <a:gd name="csY35" fmla="*/ 16137 h 31248"/>
                <a:gd name="csX36" fmla="*/ 15072 w 26953"/>
                <a:gd name="csY36" fmla="*/ 10325 h 31248"/>
                <a:gd name="csX37" fmla="*/ 15017 w 26953"/>
                <a:gd name="csY37" fmla="*/ 10232 h 31248"/>
                <a:gd name="csX38" fmla="*/ 16806 w 26953"/>
                <a:gd name="csY38" fmla="*/ 10288 h 31248"/>
                <a:gd name="csX39" fmla="*/ 15017 w 26953"/>
                <a:gd name="csY39" fmla="*/ 10214 h 31248"/>
                <a:gd name="csX40" fmla="*/ 14297 w 26953"/>
                <a:gd name="csY40" fmla="*/ 9015 h 31248"/>
                <a:gd name="csX41" fmla="*/ 16603 w 26953"/>
                <a:gd name="csY41" fmla="*/ 8240 h 31248"/>
                <a:gd name="csX42" fmla="*/ 14297 w 26953"/>
                <a:gd name="csY42" fmla="*/ 9015 h 31248"/>
                <a:gd name="csX43" fmla="*/ 14297 w 26953"/>
                <a:gd name="csY43" fmla="*/ 8959 h 31248"/>
                <a:gd name="csX44" fmla="*/ 13743 w 26953"/>
                <a:gd name="csY44" fmla="*/ 9125 h 31248"/>
                <a:gd name="csX45" fmla="*/ 13780 w 26953"/>
                <a:gd name="csY45" fmla="*/ 9199 h 31248"/>
                <a:gd name="csX46" fmla="*/ 13780 w 26953"/>
                <a:gd name="csY46" fmla="*/ 9199 h 31248"/>
                <a:gd name="csX47" fmla="*/ 13780 w 26953"/>
                <a:gd name="csY47" fmla="*/ 9199 h 31248"/>
                <a:gd name="csX48" fmla="*/ 14961 w 26953"/>
                <a:gd name="csY48" fmla="*/ 10232 h 31248"/>
                <a:gd name="csX49" fmla="*/ 13928 w 26953"/>
                <a:gd name="csY49" fmla="*/ 10196 h 31248"/>
                <a:gd name="csX50" fmla="*/ 12913 w 26953"/>
                <a:gd name="csY50" fmla="*/ 9328 h 31248"/>
                <a:gd name="csX51" fmla="*/ 11714 w 26953"/>
                <a:gd name="csY51" fmla="*/ 7889 h 31248"/>
                <a:gd name="csX52" fmla="*/ 11013 w 26953"/>
                <a:gd name="csY52" fmla="*/ 6634 h 31248"/>
                <a:gd name="csX53" fmla="*/ 6197 w 26953"/>
                <a:gd name="csY53" fmla="*/ 8387 h 31248"/>
                <a:gd name="csX54" fmla="*/ 6197 w 26953"/>
                <a:gd name="csY54" fmla="*/ 8719 h 31248"/>
                <a:gd name="csX55" fmla="*/ 6049 w 26953"/>
                <a:gd name="csY55" fmla="*/ 10343 h 31248"/>
                <a:gd name="csX56" fmla="*/ 6049 w 26953"/>
                <a:gd name="csY56" fmla="*/ 10435 h 31248"/>
                <a:gd name="csX57" fmla="*/ 6806 w 26953"/>
                <a:gd name="csY57" fmla="*/ 14439 h 31248"/>
                <a:gd name="csX58" fmla="*/ 6068 w 26953"/>
                <a:gd name="csY58" fmla="*/ 16764 h 31248"/>
                <a:gd name="csX59" fmla="*/ 6400 w 26953"/>
                <a:gd name="csY59" fmla="*/ 18905 h 31248"/>
                <a:gd name="csX60" fmla="*/ 8005 w 26953"/>
                <a:gd name="csY60" fmla="*/ 24330 h 31248"/>
                <a:gd name="csX61" fmla="*/ 5200 w 26953"/>
                <a:gd name="csY61" fmla="*/ 8812 h 31248"/>
                <a:gd name="csX62" fmla="*/ 5145 w 26953"/>
                <a:gd name="csY62" fmla="*/ 8830 h 31248"/>
                <a:gd name="csX63" fmla="*/ 5200 w 26953"/>
                <a:gd name="csY63" fmla="*/ 8812 h 312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26953" h="31248">
                  <a:moveTo>
                    <a:pt x="14740" y="31249"/>
                  </a:moveTo>
                  <a:cubicBezTo>
                    <a:pt x="11326" y="31249"/>
                    <a:pt x="7248" y="30769"/>
                    <a:pt x="4979" y="29459"/>
                  </a:cubicBezTo>
                  <a:cubicBezTo>
                    <a:pt x="3540" y="29182"/>
                    <a:pt x="2230" y="27651"/>
                    <a:pt x="2248" y="26212"/>
                  </a:cubicBezTo>
                  <a:cubicBezTo>
                    <a:pt x="2248" y="26009"/>
                    <a:pt x="2193" y="24717"/>
                    <a:pt x="643" y="20344"/>
                  </a:cubicBezTo>
                  <a:cubicBezTo>
                    <a:pt x="514" y="19790"/>
                    <a:pt x="126" y="17096"/>
                    <a:pt x="126" y="15897"/>
                  </a:cubicBezTo>
                  <a:cubicBezTo>
                    <a:pt x="126" y="15380"/>
                    <a:pt x="440" y="14550"/>
                    <a:pt x="809" y="13923"/>
                  </a:cubicBezTo>
                  <a:cubicBezTo>
                    <a:pt x="735" y="13406"/>
                    <a:pt x="532" y="12779"/>
                    <a:pt x="348" y="12133"/>
                  </a:cubicBezTo>
                  <a:lnTo>
                    <a:pt x="108" y="11303"/>
                  </a:lnTo>
                  <a:cubicBezTo>
                    <a:pt x="-3" y="10860"/>
                    <a:pt x="-40" y="10399"/>
                    <a:pt x="52" y="9937"/>
                  </a:cubicBezTo>
                  <a:cubicBezTo>
                    <a:pt x="126" y="9531"/>
                    <a:pt x="218" y="9125"/>
                    <a:pt x="218" y="8719"/>
                  </a:cubicBezTo>
                  <a:cubicBezTo>
                    <a:pt x="89" y="7815"/>
                    <a:pt x="-22" y="7059"/>
                    <a:pt x="181" y="6210"/>
                  </a:cubicBezTo>
                  <a:cubicBezTo>
                    <a:pt x="514" y="4845"/>
                    <a:pt x="1528" y="3774"/>
                    <a:pt x="2931" y="3276"/>
                  </a:cubicBezTo>
                  <a:cubicBezTo>
                    <a:pt x="5016" y="2372"/>
                    <a:pt x="7433" y="1542"/>
                    <a:pt x="9758" y="730"/>
                  </a:cubicBezTo>
                  <a:lnTo>
                    <a:pt x="11418" y="158"/>
                  </a:lnTo>
                  <a:cubicBezTo>
                    <a:pt x="12821" y="-303"/>
                    <a:pt x="14352" y="269"/>
                    <a:pt x="15035" y="1579"/>
                  </a:cubicBezTo>
                  <a:lnTo>
                    <a:pt x="16603" y="4494"/>
                  </a:lnTo>
                  <a:cubicBezTo>
                    <a:pt x="16880" y="4549"/>
                    <a:pt x="17120" y="4642"/>
                    <a:pt x="17397" y="4771"/>
                  </a:cubicBezTo>
                  <a:cubicBezTo>
                    <a:pt x="17950" y="5048"/>
                    <a:pt x="18356" y="5417"/>
                    <a:pt x="18652" y="5823"/>
                  </a:cubicBezTo>
                  <a:lnTo>
                    <a:pt x="19150" y="5527"/>
                  </a:lnTo>
                  <a:lnTo>
                    <a:pt x="20183" y="7280"/>
                  </a:lnTo>
                  <a:cubicBezTo>
                    <a:pt x="21585" y="9642"/>
                    <a:pt x="23080" y="12188"/>
                    <a:pt x="23652" y="13351"/>
                  </a:cubicBezTo>
                  <a:cubicBezTo>
                    <a:pt x="23910" y="13812"/>
                    <a:pt x="24242" y="14421"/>
                    <a:pt x="24372" y="15085"/>
                  </a:cubicBezTo>
                  <a:cubicBezTo>
                    <a:pt x="25368" y="15879"/>
                    <a:pt x="25811" y="16709"/>
                    <a:pt x="26346" y="18462"/>
                  </a:cubicBezTo>
                  <a:cubicBezTo>
                    <a:pt x="26567" y="19551"/>
                    <a:pt x="26586" y="20326"/>
                    <a:pt x="26586" y="21137"/>
                  </a:cubicBezTo>
                  <a:lnTo>
                    <a:pt x="26918" y="22927"/>
                  </a:lnTo>
                  <a:cubicBezTo>
                    <a:pt x="27010" y="23518"/>
                    <a:pt x="26918" y="24127"/>
                    <a:pt x="26678" y="24662"/>
                  </a:cubicBezTo>
                  <a:cubicBezTo>
                    <a:pt x="25054" y="28131"/>
                    <a:pt x="22582" y="30216"/>
                    <a:pt x="19316" y="30861"/>
                  </a:cubicBezTo>
                  <a:cubicBezTo>
                    <a:pt x="18246" y="31101"/>
                    <a:pt x="16566" y="31230"/>
                    <a:pt x="14703" y="31230"/>
                  </a:cubicBezTo>
                  <a:close/>
                  <a:moveTo>
                    <a:pt x="8023" y="24330"/>
                  </a:moveTo>
                  <a:cubicBezTo>
                    <a:pt x="9795" y="25160"/>
                    <a:pt x="15552" y="25547"/>
                    <a:pt x="18153" y="25031"/>
                  </a:cubicBezTo>
                  <a:cubicBezTo>
                    <a:pt x="19353" y="24791"/>
                    <a:pt x="20201" y="24163"/>
                    <a:pt x="20921" y="22909"/>
                  </a:cubicBezTo>
                  <a:lnTo>
                    <a:pt x="20718" y="21672"/>
                  </a:lnTo>
                  <a:cubicBezTo>
                    <a:pt x="20663" y="20731"/>
                    <a:pt x="20700" y="20326"/>
                    <a:pt x="20607" y="19920"/>
                  </a:cubicBezTo>
                  <a:cubicBezTo>
                    <a:pt x="20534" y="19754"/>
                    <a:pt x="20441" y="19458"/>
                    <a:pt x="20331" y="19274"/>
                  </a:cubicBezTo>
                  <a:cubicBezTo>
                    <a:pt x="20017" y="19071"/>
                    <a:pt x="19482" y="18554"/>
                    <a:pt x="18799" y="17392"/>
                  </a:cubicBezTo>
                  <a:cubicBezTo>
                    <a:pt x="18578" y="17023"/>
                    <a:pt x="18449" y="16580"/>
                    <a:pt x="18412" y="16137"/>
                  </a:cubicBezTo>
                  <a:cubicBezTo>
                    <a:pt x="17544" y="14495"/>
                    <a:pt x="16271" y="12336"/>
                    <a:pt x="15072" y="10325"/>
                  </a:cubicBezTo>
                  <a:lnTo>
                    <a:pt x="15017" y="10232"/>
                  </a:lnTo>
                  <a:cubicBezTo>
                    <a:pt x="15570" y="10435"/>
                    <a:pt x="16197" y="10509"/>
                    <a:pt x="16806" y="10288"/>
                  </a:cubicBezTo>
                  <a:lnTo>
                    <a:pt x="15017" y="10214"/>
                  </a:lnTo>
                  <a:lnTo>
                    <a:pt x="14297" y="9015"/>
                  </a:lnTo>
                  <a:lnTo>
                    <a:pt x="16603" y="8240"/>
                  </a:lnTo>
                  <a:lnTo>
                    <a:pt x="14297" y="9015"/>
                  </a:lnTo>
                  <a:lnTo>
                    <a:pt x="14297" y="8959"/>
                  </a:lnTo>
                  <a:cubicBezTo>
                    <a:pt x="14297" y="8959"/>
                    <a:pt x="13743" y="9125"/>
                    <a:pt x="13743" y="9125"/>
                  </a:cubicBezTo>
                  <a:lnTo>
                    <a:pt x="13780" y="9199"/>
                  </a:lnTo>
                  <a:lnTo>
                    <a:pt x="13780" y="9199"/>
                  </a:lnTo>
                  <a:lnTo>
                    <a:pt x="13780" y="9199"/>
                  </a:lnTo>
                  <a:cubicBezTo>
                    <a:pt x="13983" y="9624"/>
                    <a:pt x="14426" y="10011"/>
                    <a:pt x="14961" y="10232"/>
                  </a:cubicBezTo>
                  <a:lnTo>
                    <a:pt x="13928" y="10196"/>
                  </a:lnTo>
                  <a:cubicBezTo>
                    <a:pt x="13540" y="9993"/>
                    <a:pt x="13190" y="9697"/>
                    <a:pt x="12913" y="9328"/>
                  </a:cubicBezTo>
                  <a:cubicBezTo>
                    <a:pt x="12193" y="8480"/>
                    <a:pt x="11935" y="8203"/>
                    <a:pt x="11714" y="7889"/>
                  </a:cubicBezTo>
                  <a:lnTo>
                    <a:pt x="11013" y="6634"/>
                  </a:lnTo>
                  <a:cubicBezTo>
                    <a:pt x="9407" y="7188"/>
                    <a:pt x="7765" y="7760"/>
                    <a:pt x="6197" y="8387"/>
                  </a:cubicBezTo>
                  <a:cubicBezTo>
                    <a:pt x="6197" y="8498"/>
                    <a:pt x="6197" y="8609"/>
                    <a:pt x="6197" y="8719"/>
                  </a:cubicBezTo>
                  <a:cubicBezTo>
                    <a:pt x="6197" y="9273"/>
                    <a:pt x="6123" y="9808"/>
                    <a:pt x="6049" y="10343"/>
                  </a:cubicBezTo>
                  <a:lnTo>
                    <a:pt x="6049" y="10435"/>
                  </a:lnTo>
                  <a:cubicBezTo>
                    <a:pt x="6418" y="11616"/>
                    <a:pt x="6806" y="12963"/>
                    <a:pt x="6806" y="14439"/>
                  </a:cubicBezTo>
                  <a:cubicBezTo>
                    <a:pt x="6806" y="15510"/>
                    <a:pt x="6418" y="16266"/>
                    <a:pt x="6068" y="16764"/>
                  </a:cubicBezTo>
                  <a:cubicBezTo>
                    <a:pt x="6178" y="17447"/>
                    <a:pt x="6400" y="18905"/>
                    <a:pt x="6400" y="18905"/>
                  </a:cubicBezTo>
                  <a:cubicBezTo>
                    <a:pt x="7322" y="21433"/>
                    <a:pt x="7784" y="23130"/>
                    <a:pt x="8005" y="24330"/>
                  </a:cubicBezTo>
                  <a:close/>
                  <a:moveTo>
                    <a:pt x="5200" y="8812"/>
                  </a:moveTo>
                  <a:cubicBezTo>
                    <a:pt x="5200" y="8812"/>
                    <a:pt x="5163" y="8812"/>
                    <a:pt x="5145" y="8830"/>
                  </a:cubicBezTo>
                  <a:cubicBezTo>
                    <a:pt x="5163" y="8830"/>
                    <a:pt x="5182" y="8830"/>
                    <a:pt x="5200" y="8812"/>
                  </a:cubicBezTo>
                  <a:close/>
                </a:path>
              </a:pathLst>
            </a:custGeom>
            <a:solidFill>
              <a:srgbClr val="FFFFFF"/>
            </a:solidFill>
            <a:ln w="1835" cap="flat">
              <a:noFill/>
              <a:prstDash val="solid"/>
              <a:miter/>
            </a:ln>
          </p:spPr>
          <p:txBody>
            <a:bodyPr/>
            <a:lstStyle/>
            <a:p>
              <a:endParaRPr lang="en-GB"/>
            </a:p>
          </p:txBody>
        </p:sp>
        <p:sp>
          <p:nvSpPr>
            <p:cNvPr id="1514" name="Freeform: Shape 1513">
              <a:extLst>
                <a:ext uri="{FF2B5EF4-FFF2-40B4-BE49-F238E27FC236}">
                  <a16:creationId xmlns:a16="http://schemas.microsoft.com/office/drawing/2014/main" id="{76B66353-239E-AA10-8267-9BB166414991}"/>
                </a:ext>
              </a:extLst>
            </p:cNvPr>
            <p:cNvSpPr/>
            <p:nvPr/>
          </p:nvSpPr>
          <p:spPr>
            <a:xfrm>
              <a:off x="11022218" y="4753306"/>
              <a:ext cx="21298" cy="16917"/>
            </a:xfrm>
            <a:custGeom>
              <a:avLst/>
              <a:gdLst>
                <a:gd name="csX0" fmla="*/ 21198 w 21298"/>
                <a:gd name="csY0" fmla="*/ 9778 h 16917"/>
                <a:gd name="csX1" fmla="*/ 19759 w 21298"/>
                <a:gd name="csY1" fmla="*/ 12527 h 16917"/>
                <a:gd name="csX2" fmla="*/ 5182 w 21298"/>
                <a:gd name="csY2" fmla="*/ 16827 h 16917"/>
                <a:gd name="csX3" fmla="*/ 2562 w 21298"/>
                <a:gd name="csY3" fmla="*/ 15387 h 16917"/>
                <a:gd name="csX4" fmla="*/ 53 w 21298"/>
                <a:gd name="csY4" fmla="*/ 7140 h 16917"/>
                <a:gd name="csX5" fmla="*/ 1603 w 21298"/>
                <a:gd name="csY5" fmla="*/ 4390 h 16917"/>
                <a:gd name="csX6" fmla="*/ 16179 w 21298"/>
                <a:gd name="csY6" fmla="*/ 91 h 16917"/>
                <a:gd name="csX7" fmla="*/ 18799 w 21298"/>
                <a:gd name="csY7" fmla="*/ 1530 h 16917"/>
                <a:gd name="csX8" fmla="*/ 21180 w 21298"/>
                <a:gd name="csY8" fmla="*/ 9778 h 169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298" h="16917">
                  <a:moveTo>
                    <a:pt x="21198" y="9778"/>
                  </a:moveTo>
                  <a:cubicBezTo>
                    <a:pt x="21549" y="10977"/>
                    <a:pt x="20958" y="12158"/>
                    <a:pt x="19759" y="12527"/>
                  </a:cubicBezTo>
                  <a:lnTo>
                    <a:pt x="5182" y="16827"/>
                  </a:lnTo>
                  <a:cubicBezTo>
                    <a:pt x="4112" y="17177"/>
                    <a:pt x="2913" y="16476"/>
                    <a:pt x="2562" y="15387"/>
                  </a:cubicBezTo>
                  <a:lnTo>
                    <a:pt x="53" y="7140"/>
                  </a:lnTo>
                  <a:cubicBezTo>
                    <a:pt x="-187" y="5940"/>
                    <a:pt x="403" y="4759"/>
                    <a:pt x="1603" y="4390"/>
                  </a:cubicBezTo>
                  <a:lnTo>
                    <a:pt x="16179" y="91"/>
                  </a:lnTo>
                  <a:cubicBezTo>
                    <a:pt x="17250" y="-260"/>
                    <a:pt x="18449" y="442"/>
                    <a:pt x="18799" y="1530"/>
                  </a:cubicBezTo>
                  <a:lnTo>
                    <a:pt x="21180" y="9778"/>
                  </a:lnTo>
                  <a:close/>
                </a:path>
              </a:pathLst>
            </a:custGeom>
            <a:solidFill>
              <a:srgbClr val="FFFFFF"/>
            </a:solidFill>
            <a:ln w="1835" cap="flat">
              <a:noFill/>
              <a:prstDash val="solid"/>
              <a:miter/>
            </a:ln>
          </p:spPr>
          <p:txBody>
            <a:bodyPr/>
            <a:lstStyle/>
            <a:p>
              <a:endParaRPr lang="en-GB"/>
            </a:p>
          </p:txBody>
        </p:sp>
        <p:sp>
          <p:nvSpPr>
            <p:cNvPr id="1515" name="Freeform: Shape 1514">
              <a:extLst>
                <a:ext uri="{FF2B5EF4-FFF2-40B4-BE49-F238E27FC236}">
                  <a16:creationId xmlns:a16="http://schemas.microsoft.com/office/drawing/2014/main" id="{98B56068-0717-80F9-57EE-E0132539FE2A}"/>
                </a:ext>
              </a:extLst>
            </p:cNvPr>
            <p:cNvSpPr/>
            <p:nvPr/>
          </p:nvSpPr>
          <p:spPr>
            <a:xfrm>
              <a:off x="11019290" y="4750337"/>
              <a:ext cx="27227" cy="22913"/>
            </a:xfrm>
            <a:custGeom>
              <a:avLst/>
              <a:gdLst>
                <a:gd name="csX0" fmla="*/ 7557 w 27227"/>
                <a:gd name="csY0" fmla="*/ 22877 h 22913"/>
                <a:gd name="csX1" fmla="*/ 5306 w 27227"/>
                <a:gd name="csY1" fmla="*/ 22341 h 22913"/>
                <a:gd name="csX2" fmla="*/ 2667 w 27227"/>
                <a:gd name="csY2" fmla="*/ 19297 h 22913"/>
                <a:gd name="csX3" fmla="*/ 139 w 27227"/>
                <a:gd name="csY3" fmla="*/ 10994 h 22913"/>
                <a:gd name="csX4" fmla="*/ 3682 w 27227"/>
                <a:gd name="csY4" fmla="*/ 4517 h 22913"/>
                <a:gd name="csX5" fmla="*/ 18277 w 27227"/>
                <a:gd name="csY5" fmla="*/ 218 h 22913"/>
                <a:gd name="csX6" fmla="*/ 21967 w 27227"/>
                <a:gd name="csY6" fmla="*/ 550 h 22913"/>
                <a:gd name="csX7" fmla="*/ 24587 w 27227"/>
                <a:gd name="csY7" fmla="*/ 3613 h 22913"/>
                <a:gd name="csX8" fmla="*/ 27005 w 27227"/>
                <a:gd name="csY8" fmla="*/ 11935 h 22913"/>
                <a:gd name="csX9" fmla="*/ 26617 w 27227"/>
                <a:gd name="csY9" fmla="*/ 15902 h 22913"/>
                <a:gd name="csX10" fmla="*/ 23554 w 27227"/>
                <a:gd name="csY10" fmla="*/ 18393 h 22913"/>
                <a:gd name="csX11" fmla="*/ 8959 w 27227"/>
                <a:gd name="csY11" fmla="*/ 22692 h 22913"/>
                <a:gd name="csX12" fmla="*/ 7557 w 27227"/>
                <a:gd name="csY12" fmla="*/ 22913 h 22913"/>
                <a:gd name="csX13" fmla="*/ 7243 w 27227"/>
                <a:gd name="csY13" fmla="*/ 16935 h 22913"/>
                <a:gd name="csX14" fmla="*/ 7169 w 27227"/>
                <a:gd name="csY14" fmla="*/ 16935 h 22913"/>
                <a:gd name="csX15" fmla="*/ 7243 w 27227"/>
                <a:gd name="csY15" fmla="*/ 16935 h 22913"/>
                <a:gd name="csX16" fmla="*/ 6062 w 27227"/>
                <a:gd name="csY16" fmla="*/ 10034 h 22913"/>
                <a:gd name="csX17" fmla="*/ 8110 w 27227"/>
                <a:gd name="csY17" fmla="*/ 16695 h 22913"/>
                <a:gd name="csX18" fmla="*/ 21045 w 27227"/>
                <a:gd name="csY18" fmla="*/ 12876 h 22913"/>
                <a:gd name="csX19" fmla="*/ 19107 w 27227"/>
                <a:gd name="csY19" fmla="*/ 6196 h 22913"/>
                <a:gd name="csX20" fmla="*/ 6062 w 27227"/>
                <a:gd name="csY20" fmla="*/ 10034 h 22913"/>
                <a:gd name="csX21" fmla="*/ 21838 w 27227"/>
                <a:gd name="csY21" fmla="*/ 12636 h 22913"/>
                <a:gd name="csX22" fmla="*/ 21838 w 27227"/>
                <a:gd name="csY22" fmla="*/ 12636 h 22913"/>
                <a:gd name="csX23" fmla="*/ 20048 w 27227"/>
                <a:gd name="csY23" fmla="*/ 5901 h 22913"/>
                <a:gd name="csX24" fmla="*/ 19975 w 27227"/>
                <a:gd name="csY24" fmla="*/ 5901 h 22913"/>
                <a:gd name="csX25" fmla="*/ 20048 w 27227"/>
                <a:gd name="csY25" fmla="*/ 5901 h 22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7227" h="22913">
                  <a:moveTo>
                    <a:pt x="7557" y="22877"/>
                  </a:moveTo>
                  <a:cubicBezTo>
                    <a:pt x="6819" y="22877"/>
                    <a:pt x="6025" y="22711"/>
                    <a:pt x="5306" y="22341"/>
                  </a:cubicBezTo>
                  <a:cubicBezTo>
                    <a:pt x="4051" y="21733"/>
                    <a:pt x="3110" y="20607"/>
                    <a:pt x="2667" y="19297"/>
                  </a:cubicBezTo>
                  <a:lnTo>
                    <a:pt x="139" y="10994"/>
                  </a:lnTo>
                  <a:cubicBezTo>
                    <a:pt x="-488" y="7968"/>
                    <a:pt x="1062" y="5311"/>
                    <a:pt x="3682" y="4517"/>
                  </a:cubicBezTo>
                  <a:lnTo>
                    <a:pt x="18277" y="218"/>
                  </a:lnTo>
                  <a:cubicBezTo>
                    <a:pt x="19403" y="-151"/>
                    <a:pt x="20750" y="-59"/>
                    <a:pt x="21967" y="550"/>
                  </a:cubicBezTo>
                  <a:cubicBezTo>
                    <a:pt x="23204" y="1177"/>
                    <a:pt x="24163" y="2303"/>
                    <a:pt x="24587" y="3613"/>
                  </a:cubicBezTo>
                  <a:lnTo>
                    <a:pt x="27005" y="11935"/>
                  </a:lnTo>
                  <a:cubicBezTo>
                    <a:pt x="27392" y="13282"/>
                    <a:pt x="27281" y="14684"/>
                    <a:pt x="26617" y="15902"/>
                  </a:cubicBezTo>
                  <a:cubicBezTo>
                    <a:pt x="25971" y="17101"/>
                    <a:pt x="24883" y="17987"/>
                    <a:pt x="23554" y="18393"/>
                  </a:cubicBezTo>
                  <a:lnTo>
                    <a:pt x="8959" y="22692"/>
                  </a:lnTo>
                  <a:cubicBezTo>
                    <a:pt x="8516" y="22840"/>
                    <a:pt x="8055" y="22913"/>
                    <a:pt x="7557" y="22913"/>
                  </a:cubicBezTo>
                  <a:close/>
                  <a:moveTo>
                    <a:pt x="7243" y="16935"/>
                  </a:moveTo>
                  <a:cubicBezTo>
                    <a:pt x="7243" y="16935"/>
                    <a:pt x="7188" y="16935"/>
                    <a:pt x="7169" y="16935"/>
                  </a:cubicBezTo>
                  <a:lnTo>
                    <a:pt x="7243" y="16935"/>
                  </a:lnTo>
                  <a:close/>
                  <a:moveTo>
                    <a:pt x="6062" y="10034"/>
                  </a:moveTo>
                  <a:lnTo>
                    <a:pt x="8110" y="16695"/>
                  </a:lnTo>
                  <a:lnTo>
                    <a:pt x="21045" y="12876"/>
                  </a:lnTo>
                  <a:lnTo>
                    <a:pt x="19107" y="6196"/>
                  </a:lnTo>
                  <a:lnTo>
                    <a:pt x="6062" y="10034"/>
                  </a:lnTo>
                  <a:close/>
                  <a:moveTo>
                    <a:pt x="21838" y="12636"/>
                  </a:moveTo>
                  <a:lnTo>
                    <a:pt x="21838" y="12636"/>
                  </a:lnTo>
                  <a:close/>
                  <a:moveTo>
                    <a:pt x="20048" y="5901"/>
                  </a:moveTo>
                  <a:lnTo>
                    <a:pt x="19975" y="5901"/>
                  </a:lnTo>
                  <a:cubicBezTo>
                    <a:pt x="19975" y="5901"/>
                    <a:pt x="20030" y="5901"/>
                    <a:pt x="20048" y="5901"/>
                  </a:cubicBezTo>
                  <a:close/>
                </a:path>
              </a:pathLst>
            </a:custGeom>
            <a:solidFill>
              <a:srgbClr val="FFFFFF"/>
            </a:solidFill>
            <a:ln w="1835" cap="flat">
              <a:noFill/>
              <a:prstDash val="solid"/>
              <a:miter/>
            </a:ln>
          </p:spPr>
          <p:txBody>
            <a:bodyPr/>
            <a:lstStyle/>
            <a:p>
              <a:endParaRPr lang="en-GB"/>
            </a:p>
          </p:txBody>
        </p:sp>
        <p:sp>
          <p:nvSpPr>
            <p:cNvPr id="1516" name="Freeform: Shape 1515">
              <a:extLst>
                <a:ext uri="{FF2B5EF4-FFF2-40B4-BE49-F238E27FC236}">
                  <a16:creationId xmlns:a16="http://schemas.microsoft.com/office/drawing/2014/main" id="{BE6CBFFC-D2EA-81CB-2E42-536847DD9784}"/>
                </a:ext>
              </a:extLst>
            </p:cNvPr>
            <p:cNvSpPr/>
            <p:nvPr/>
          </p:nvSpPr>
          <p:spPr>
            <a:xfrm>
              <a:off x="11064251" y="4823514"/>
              <a:ext cx="21298" cy="16917"/>
            </a:xfrm>
            <a:custGeom>
              <a:avLst/>
              <a:gdLst>
                <a:gd name="csX0" fmla="*/ 21198 w 21298"/>
                <a:gd name="csY0" fmla="*/ 9907 h 16917"/>
                <a:gd name="csX1" fmla="*/ 19759 w 21298"/>
                <a:gd name="csY1" fmla="*/ 12527 h 16917"/>
                <a:gd name="csX2" fmla="*/ 5182 w 21298"/>
                <a:gd name="csY2" fmla="*/ 16827 h 16917"/>
                <a:gd name="csX3" fmla="*/ 2562 w 21298"/>
                <a:gd name="csY3" fmla="*/ 15387 h 16917"/>
                <a:gd name="csX4" fmla="*/ 53 w 21298"/>
                <a:gd name="csY4" fmla="*/ 7140 h 16917"/>
                <a:gd name="csX5" fmla="*/ 1603 w 21298"/>
                <a:gd name="csY5" fmla="*/ 4390 h 16917"/>
                <a:gd name="csX6" fmla="*/ 16179 w 21298"/>
                <a:gd name="csY6" fmla="*/ 91 h 16917"/>
                <a:gd name="csX7" fmla="*/ 18799 w 21298"/>
                <a:gd name="csY7" fmla="*/ 1530 h 16917"/>
                <a:gd name="csX8" fmla="*/ 21180 w 21298"/>
                <a:gd name="csY8" fmla="*/ 9889 h 169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298" h="16917">
                  <a:moveTo>
                    <a:pt x="21198" y="9907"/>
                  </a:moveTo>
                  <a:cubicBezTo>
                    <a:pt x="21549" y="10977"/>
                    <a:pt x="20958" y="12177"/>
                    <a:pt x="19759" y="12527"/>
                  </a:cubicBezTo>
                  <a:lnTo>
                    <a:pt x="5182" y="16827"/>
                  </a:lnTo>
                  <a:cubicBezTo>
                    <a:pt x="4112" y="17177"/>
                    <a:pt x="2913" y="16476"/>
                    <a:pt x="2562" y="15387"/>
                  </a:cubicBezTo>
                  <a:lnTo>
                    <a:pt x="53" y="7140"/>
                  </a:lnTo>
                  <a:cubicBezTo>
                    <a:pt x="-187" y="5940"/>
                    <a:pt x="403" y="4759"/>
                    <a:pt x="1603" y="4390"/>
                  </a:cubicBezTo>
                  <a:lnTo>
                    <a:pt x="16179" y="91"/>
                  </a:lnTo>
                  <a:cubicBezTo>
                    <a:pt x="17250" y="-260"/>
                    <a:pt x="18449" y="442"/>
                    <a:pt x="18799" y="1530"/>
                  </a:cubicBezTo>
                  <a:lnTo>
                    <a:pt x="21180" y="9889"/>
                  </a:lnTo>
                  <a:close/>
                </a:path>
              </a:pathLst>
            </a:custGeom>
            <a:solidFill>
              <a:srgbClr val="FFFFFF"/>
            </a:solidFill>
            <a:ln w="1835" cap="flat">
              <a:noFill/>
              <a:prstDash val="solid"/>
              <a:miter/>
            </a:ln>
          </p:spPr>
          <p:txBody>
            <a:bodyPr/>
            <a:lstStyle/>
            <a:p>
              <a:endParaRPr lang="en-GB"/>
            </a:p>
          </p:txBody>
        </p:sp>
        <p:sp>
          <p:nvSpPr>
            <p:cNvPr id="1517" name="Freeform: Shape 1516">
              <a:extLst>
                <a:ext uri="{FF2B5EF4-FFF2-40B4-BE49-F238E27FC236}">
                  <a16:creationId xmlns:a16="http://schemas.microsoft.com/office/drawing/2014/main" id="{8D9BB8B5-714A-C61F-03BE-B1EA0655C396}"/>
                </a:ext>
              </a:extLst>
            </p:cNvPr>
            <p:cNvSpPr/>
            <p:nvPr/>
          </p:nvSpPr>
          <p:spPr>
            <a:xfrm>
              <a:off x="11061311" y="4820566"/>
              <a:ext cx="27204" cy="22893"/>
            </a:xfrm>
            <a:custGeom>
              <a:avLst/>
              <a:gdLst>
                <a:gd name="csX0" fmla="*/ 7568 w 27204"/>
                <a:gd name="csY0" fmla="*/ 22875 h 22893"/>
                <a:gd name="csX1" fmla="*/ 5077 w 27204"/>
                <a:gd name="csY1" fmla="*/ 22211 h 22893"/>
                <a:gd name="csX2" fmla="*/ 2660 w 27204"/>
                <a:gd name="csY2" fmla="*/ 19295 h 22893"/>
                <a:gd name="csX3" fmla="*/ 132 w 27204"/>
                <a:gd name="csY3" fmla="*/ 10992 h 22893"/>
                <a:gd name="csX4" fmla="*/ 3675 w 27204"/>
                <a:gd name="csY4" fmla="*/ 4516 h 22893"/>
                <a:gd name="csX5" fmla="*/ 18270 w 27204"/>
                <a:gd name="csY5" fmla="*/ 216 h 22893"/>
                <a:gd name="csX6" fmla="*/ 21923 w 27204"/>
                <a:gd name="csY6" fmla="*/ 530 h 22893"/>
                <a:gd name="csX7" fmla="*/ 24562 w 27204"/>
                <a:gd name="csY7" fmla="*/ 3575 h 22893"/>
                <a:gd name="csX8" fmla="*/ 26979 w 27204"/>
                <a:gd name="csY8" fmla="*/ 12025 h 22893"/>
                <a:gd name="csX9" fmla="*/ 26629 w 27204"/>
                <a:gd name="csY9" fmla="*/ 15845 h 22893"/>
                <a:gd name="csX10" fmla="*/ 23547 w 27204"/>
                <a:gd name="csY10" fmla="*/ 18373 h 22893"/>
                <a:gd name="csX11" fmla="*/ 8952 w 27204"/>
                <a:gd name="csY11" fmla="*/ 22672 h 22893"/>
                <a:gd name="csX12" fmla="*/ 7550 w 27204"/>
                <a:gd name="csY12" fmla="*/ 22893 h 22893"/>
                <a:gd name="csX13" fmla="*/ 7273 w 27204"/>
                <a:gd name="csY13" fmla="*/ 16915 h 22893"/>
                <a:gd name="csX14" fmla="*/ 7199 w 27204"/>
                <a:gd name="csY14" fmla="*/ 16934 h 22893"/>
                <a:gd name="csX15" fmla="*/ 7273 w 27204"/>
                <a:gd name="csY15" fmla="*/ 16934 h 22893"/>
                <a:gd name="csX16" fmla="*/ 6073 w 27204"/>
                <a:gd name="csY16" fmla="*/ 10014 h 22893"/>
                <a:gd name="csX17" fmla="*/ 8122 w 27204"/>
                <a:gd name="csY17" fmla="*/ 16675 h 22893"/>
                <a:gd name="csX18" fmla="*/ 21038 w 27204"/>
                <a:gd name="csY18" fmla="*/ 12856 h 22893"/>
                <a:gd name="csX19" fmla="*/ 19119 w 27204"/>
                <a:gd name="csY19" fmla="*/ 6176 h 22893"/>
                <a:gd name="csX20" fmla="*/ 6073 w 27204"/>
                <a:gd name="csY20" fmla="*/ 10014 h 22893"/>
                <a:gd name="csX21" fmla="*/ 21868 w 27204"/>
                <a:gd name="csY21" fmla="*/ 12616 h 22893"/>
                <a:gd name="csX22" fmla="*/ 21868 w 27204"/>
                <a:gd name="csY22" fmla="*/ 12616 h 22893"/>
                <a:gd name="csX23" fmla="*/ 21868 w 27204"/>
                <a:gd name="csY23" fmla="*/ 12616 h 22893"/>
                <a:gd name="csX24" fmla="*/ 20078 w 27204"/>
                <a:gd name="csY24" fmla="*/ 5900 h 22893"/>
                <a:gd name="csX25" fmla="*/ 20004 w 27204"/>
                <a:gd name="csY25" fmla="*/ 5900 h 22893"/>
                <a:gd name="csX26" fmla="*/ 20078 w 27204"/>
                <a:gd name="csY26" fmla="*/ 5900 h 2289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27204" h="22893">
                  <a:moveTo>
                    <a:pt x="7568" y="22875"/>
                  </a:moveTo>
                  <a:cubicBezTo>
                    <a:pt x="6719" y="22875"/>
                    <a:pt x="5852" y="22654"/>
                    <a:pt x="5077" y="22211"/>
                  </a:cubicBezTo>
                  <a:cubicBezTo>
                    <a:pt x="3915" y="21565"/>
                    <a:pt x="3066" y="20532"/>
                    <a:pt x="2660" y="19295"/>
                  </a:cubicBezTo>
                  <a:lnTo>
                    <a:pt x="132" y="10992"/>
                  </a:lnTo>
                  <a:cubicBezTo>
                    <a:pt x="-477" y="7966"/>
                    <a:pt x="1073" y="5309"/>
                    <a:pt x="3675" y="4516"/>
                  </a:cubicBezTo>
                  <a:lnTo>
                    <a:pt x="18270" y="216"/>
                  </a:lnTo>
                  <a:cubicBezTo>
                    <a:pt x="19377" y="-134"/>
                    <a:pt x="20724" y="-79"/>
                    <a:pt x="21923" y="530"/>
                  </a:cubicBezTo>
                  <a:cubicBezTo>
                    <a:pt x="23178" y="1139"/>
                    <a:pt x="24119" y="2265"/>
                    <a:pt x="24562" y="3575"/>
                  </a:cubicBezTo>
                  <a:lnTo>
                    <a:pt x="26979" y="12025"/>
                  </a:lnTo>
                  <a:cubicBezTo>
                    <a:pt x="27367" y="13299"/>
                    <a:pt x="27256" y="14646"/>
                    <a:pt x="26629" y="15845"/>
                  </a:cubicBezTo>
                  <a:cubicBezTo>
                    <a:pt x="25983" y="17063"/>
                    <a:pt x="24894" y="17967"/>
                    <a:pt x="23547" y="18373"/>
                  </a:cubicBezTo>
                  <a:lnTo>
                    <a:pt x="8952" y="22672"/>
                  </a:lnTo>
                  <a:cubicBezTo>
                    <a:pt x="8509" y="22820"/>
                    <a:pt x="8048" y="22893"/>
                    <a:pt x="7550" y="22893"/>
                  </a:cubicBezTo>
                  <a:close/>
                  <a:moveTo>
                    <a:pt x="7273" y="16915"/>
                  </a:moveTo>
                  <a:cubicBezTo>
                    <a:pt x="7273" y="16915"/>
                    <a:pt x="7218" y="16915"/>
                    <a:pt x="7199" y="16934"/>
                  </a:cubicBezTo>
                  <a:lnTo>
                    <a:pt x="7273" y="16934"/>
                  </a:lnTo>
                  <a:close/>
                  <a:moveTo>
                    <a:pt x="6073" y="10014"/>
                  </a:moveTo>
                  <a:lnTo>
                    <a:pt x="8122" y="16675"/>
                  </a:lnTo>
                  <a:lnTo>
                    <a:pt x="21038" y="12856"/>
                  </a:lnTo>
                  <a:lnTo>
                    <a:pt x="19119" y="6176"/>
                  </a:lnTo>
                  <a:lnTo>
                    <a:pt x="6073" y="10014"/>
                  </a:lnTo>
                  <a:close/>
                  <a:moveTo>
                    <a:pt x="21868" y="12616"/>
                  </a:moveTo>
                  <a:cubicBezTo>
                    <a:pt x="21868" y="12616"/>
                    <a:pt x="21868" y="12616"/>
                    <a:pt x="21868" y="12616"/>
                  </a:cubicBezTo>
                  <a:lnTo>
                    <a:pt x="21868" y="12616"/>
                  </a:lnTo>
                  <a:close/>
                  <a:moveTo>
                    <a:pt x="20078" y="5900"/>
                  </a:moveTo>
                  <a:lnTo>
                    <a:pt x="20004" y="5900"/>
                  </a:lnTo>
                  <a:cubicBezTo>
                    <a:pt x="20004" y="5900"/>
                    <a:pt x="20060" y="5900"/>
                    <a:pt x="20078" y="5900"/>
                  </a:cubicBezTo>
                  <a:close/>
                </a:path>
              </a:pathLst>
            </a:custGeom>
            <a:solidFill>
              <a:srgbClr val="FFFFFF"/>
            </a:solidFill>
            <a:ln w="1835" cap="flat">
              <a:noFill/>
              <a:prstDash val="solid"/>
              <a:miter/>
            </a:ln>
          </p:spPr>
          <p:txBody>
            <a:bodyPr/>
            <a:lstStyle/>
            <a:p>
              <a:endParaRPr lang="en-GB"/>
            </a:p>
          </p:txBody>
        </p:sp>
        <p:sp>
          <p:nvSpPr>
            <p:cNvPr id="1518" name="Freeform: Shape 1517">
              <a:extLst>
                <a:ext uri="{FF2B5EF4-FFF2-40B4-BE49-F238E27FC236}">
                  <a16:creationId xmlns:a16="http://schemas.microsoft.com/office/drawing/2014/main" id="{BA4E1843-5568-A516-02E1-796DA39406BF}"/>
                </a:ext>
              </a:extLst>
            </p:cNvPr>
            <p:cNvSpPr/>
            <p:nvPr/>
          </p:nvSpPr>
          <p:spPr>
            <a:xfrm>
              <a:off x="11143148" y="4870326"/>
              <a:ext cx="21327" cy="16860"/>
            </a:xfrm>
            <a:custGeom>
              <a:avLst/>
              <a:gdLst>
                <a:gd name="csX0" fmla="*/ 21237 w 21327"/>
                <a:gd name="csY0" fmla="*/ 9778 h 16860"/>
                <a:gd name="csX1" fmla="*/ 19797 w 21327"/>
                <a:gd name="csY1" fmla="*/ 12398 h 16860"/>
                <a:gd name="csX2" fmla="*/ 5221 w 21327"/>
                <a:gd name="csY2" fmla="*/ 16808 h 16860"/>
                <a:gd name="csX3" fmla="*/ 2471 w 21327"/>
                <a:gd name="csY3" fmla="*/ 15258 h 16860"/>
                <a:gd name="csX4" fmla="*/ 91 w 21327"/>
                <a:gd name="csY4" fmla="*/ 7010 h 16860"/>
                <a:gd name="csX5" fmla="*/ 1530 w 21327"/>
                <a:gd name="csY5" fmla="*/ 4390 h 16860"/>
                <a:gd name="csX6" fmla="*/ 16107 w 21327"/>
                <a:gd name="csY6" fmla="*/ 91 h 16860"/>
                <a:gd name="csX7" fmla="*/ 18856 w 21327"/>
                <a:gd name="csY7" fmla="*/ 1530 h 16860"/>
                <a:gd name="csX8" fmla="*/ 21237 w 21327"/>
                <a:gd name="csY8" fmla="*/ 9778 h 168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327" h="16860">
                  <a:moveTo>
                    <a:pt x="21237" y="9778"/>
                  </a:moveTo>
                  <a:cubicBezTo>
                    <a:pt x="21587" y="10977"/>
                    <a:pt x="20886" y="12158"/>
                    <a:pt x="19797" y="12398"/>
                  </a:cubicBezTo>
                  <a:lnTo>
                    <a:pt x="5221" y="16808"/>
                  </a:lnTo>
                  <a:cubicBezTo>
                    <a:pt x="4021" y="17048"/>
                    <a:pt x="2840" y="16458"/>
                    <a:pt x="2471" y="15258"/>
                  </a:cubicBezTo>
                  <a:lnTo>
                    <a:pt x="91" y="7010"/>
                  </a:lnTo>
                  <a:cubicBezTo>
                    <a:pt x="-260" y="5940"/>
                    <a:pt x="442" y="4741"/>
                    <a:pt x="1530" y="4390"/>
                  </a:cubicBezTo>
                  <a:lnTo>
                    <a:pt x="16107" y="91"/>
                  </a:lnTo>
                  <a:cubicBezTo>
                    <a:pt x="17306" y="-260"/>
                    <a:pt x="18487" y="442"/>
                    <a:pt x="18856" y="1530"/>
                  </a:cubicBezTo>
                  <a:lnTo>
                    <a:pt x="21237" y="9778"/>
                  </a:lnTo>
                  <a:close/>
                </a:path>
              </a:pathLst>
            </a:custGeom>
            <a:solidFill>
              <a:srgbClr val="FFFFFF"/>
            </a:solidFill>
            <a:ln w="1835" cap="flat">
              <a:noFill/>
              <a:prstDash val="solid"/>
              <a:miter/>
            </a:ln>
          </p:spPr>
          <p:txBody>
            <a:bodyPr/>
            <a:lstStyle/>
            <a:p>
              <a:endParaRPr lang="en-GB"/>
            </a:p>
          </p:txBody>
        </p:sp>
        <p:sp>
          <p:nvSpPr>
            <p:cNvPr id="1519" name="Freeform: Shape 1518">
              <a:extLst>
                <a:ext uri="{FF2B5EF4-FFF2-40B4-BE49-F238E27FC236}">
                  <a16:creationId xmlns:a16="http://schemas.microsoft.com/office/drawing/2014/main" id="{56D50C5B-EF17-BB79-F1D1-69D2BC64756B}"/>
                </a:ext>
              </a:extLst>
            </p:cNvPr>
            <p:cNvSpPr/>
            <p:nvPr/>
          </p:nvSpPr>
          <p:spPr>
            <a:xfrm>
              <a:off x="11140146" y="4867376"/>
              <a:ext cx="27284" cy="22784"/>
            </a:xfrm>
            <a:custGeom>
              <a:avLst/>
              <a:gdLst>
                <a:gd name="csX0" fmla="*/ 7743 w 27284"/>
                <a:gd name="csY0" fmla="*/ 22766 h 22784"/>
                <a:gd name="csX1" fmla="*/ 2614 w 27284"/>
                <a:gd name="csY1" fmla="*/ 19057 h 22784"/>
                <a:gd name="csX2" fmla="*/ 215 w 27284"/>
                <a:gd name="csY2" fmla="*/ 10809 h 22784"/>
                <a:gd name="csX3" fmla="*/ 658 w 27284"/>
                <a:gd name="csY3" fmla="*/ 6934 h 22784"/>
                <a:gd name="csX4" fmla="*/ 3555 w 27284"/>
                <a:gd name="csY4" fmla="*/ 4517 h 22784"/>
                <a:gd name="csX5" fmla="*/ 18242 w 27284"/>
                <a:gd name="csY5" fmla="*/ 199 h 22784"/>
                <a:gd name="csX6" fmla="*/ 24663 w 27284"/>
                <a:gd name="csY6" fmla="*/ 3539 h 22784"/>
                <a:gd name="csX7" fmla="*/ 27081 w 27284"/>
                <a:gd name="csY7" fmla="*/ 11898 h 22784"/>
                <a:gd name="csX8" fmla="*/ 26601 w 27284"/>
                <a:gd name="csY8" fmla="*/ 15939 h 22784"/>
                <a:gd name="csX9" fmla="*/ 23427 w 27284"/>
                <a:gd name="csY9" fmla="*/ 18282 h 22784"/>
                <a:gd name="csX10" fmla="*/ 9072 w 27284"/>
                <a:gd name="csY10" fmla="*/ 22637 h 22784"/>
                <a:gd name="csX11" fmla="*/ 7725 w 27284"/>
                <a:gd name="csY11" fmla="*/ 22784 h 22784"/>
                <a:gd name="csX12" fmla="*/ 6193 w 27284"/>
                <a:gd name="csY12" fmla="*/ 9979 h 22784"/>
                <a:gd name="csX13" fmla="*/ 8149 w 27284"/>
                <a:gd name="csY13" fmla="*/ 16695 h 22784"/>
                <a:gd name="csX14" fmla="*/ 21121 w 27284"/>
                <a:gd name="csY14" fmla="*/ 12746 h 22784"/>
                <a:gd name="csX15" fmla="*/ 19202 w 27284"/>
                <a:gd name="csY15" fmla="*/ 6141 h 22784"/>
                <a:gd name="csX16" fmla="*/ 6193 w 27284"/>
                <a:gd name="csY16" fmla="*/ 9979 h 22784"/>
                <a:gd name="csX17" fmla="*/ 21933 w 27284"/>
                <a:gd name="csY17" fmla="*/ 12507 h 22784"/>
                <a:gd name="csX18" fmla="*/ 21877 w 27284"/>
                <a:gd name="csY18" fmla="*/ 12507 h 22784"/>
                <a:gd name="csX19" fmla="*/ 21933 w 27284"/>
                <a:gd name="csY19" fmla="*/ 12507 h 22784"/>
                <a:gd name="csX20" fmla="*/ 5935 w 27284"/>
                <a:gd name="csY20" fmla="*/ 9038 h 22784"/>
                <a:gd name="csX21" fmla="*/ 5935 w 27284"/>
                <a:gd name="csY21" fmla="*/ 9130 h 22784"/>
                <a:gd name="csX22" fmla="*/ 5935 w 27284"/>
                <a:gd name="csY22" fmla="*/ 9038 h 22784"/>
                <a:gd name="csX23" fmla="*/ 19958 w 27284"/>
                <a:gd name="csY23" fmla="*/ 5919 h 22784"/>
                <a:gd name="csX24" fmla="*/ 19958 w 27284"/>
                <a:gd name="csY24" fmla="*/ 5919 h 22784"/>
                <a:gd name="csX25" fmla="*/ 19958 w 27284"/>
                <a:gd name="csY25" fmla="*/ 5919 h 2278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7284" h="22784">
                  <a:moveTo>
                    <a:pt x="7743" y="22766"/>
                  </a:moveTo>
                  <a:cubicBezTo>
                    <a:pt x="5289" y="22766"/>
                    <a:pt x="3260" y="21290"/>
                    <a:pt x="2614" y="19057"/>
                  </a:cubicBezTo>
                  <a:lnTo>
                    <a:pt x="215" y="10809"/>
                  </a:lnTo>
                  <a:cubicBezTo>
                    <a:pt x="-172" y="9628"/>
                    <a:pt x="-43" y="8170"/>
                    <a:pt x="658" y="6934"/>
                  </a:cubicBezTo>
                  <a:cubicBezTo>
                    <a:pt x="1304" y="5790"/>
                    <a:pt x="2337" y="4923"/>
                    <a:pt x="3555" y="4517"/>
                  </a:cubicBezTo>
                  <a:lnTo>
                    <a:pt x="18242" y="199"/>
                  </a:lnTo>
                  <a:cubicBezTo>
                    <a:pt x="20862" y="-557"/>
                    <a:pt x="23778" y="901"/>
                    <a:pt x="24663" y="3539"/>
                  </a:cubicBezTo>
                  <a:lnTo>
                    <a:pt x="27081" y="11898"/>
                  </a:lnTo>
                  <a:cubicBezTo>
                    <a:pt x="27468" y="13245"/>
                    <a:pt x="27302" y="14739"/>
                    <a:pt x="26601" y="15939"/>
                  </a:cubicBezTo>
                  <a:cubicBezTo>
                    <a:pt x="25900" y="17119"/>
                    <a:pt x="24756" y="17987"/>
                    <a:pt x="23427" y="18282"/>
                  </a:cubicBezTo>
                  <a:lnTo>
                    <a:pt x="9072" y="22637"/>
                  </a:lnTo>
                  <a:cubicBezTo>
                    <a:pt x="8611" y="22729"/>
                    <a:pt x="8168" y="22784"/>
                    <a:pt x="7725" y="22784"/>
                  </a:cubicBezTo>
                  <a:close/>
                  <a:moveTo>
                    <a:pt x="6193" y="9979"/>
                  </a:moveTo>
                  <a:lnTo>
                    <a:pt x="8149" y="16695"/>
                  </a:lnTo>
                  <a:lnTo>
                    <a:pt x="21121" y="12746"/>
                  </a:lnTo>
                  <a:lnTo>
                    <a:pt x="19202" y="6141"/>
                  </a:lnTo>
                  <a:lnTo>
                    <a:pt x="6193" y="9979"/>
                  </a:lnTo>
                  <a:close/>
                  <a:moveTo>
                    <a:pt x="21933" y="12507"/>
                  </a:moveTo>
                  <a:cubicBezTo>
                    <a:pt x="21933" y="12507"/>
                    <a:pt x="21914" y="12507"/>
                    <a:pt x="21877" y="12507"/>
                  </a:cubicBezTo>
                  <a:lnTo>
                    <a:pt x="21933" y="12507"/>
                  </a:lnTo>
                  <a:close/>
                  <a:moveTo>
                    <a:pt x="5935" y="9038"/>
                  </a:moveTo>
                  <a:lnTo>
                    <a:pt x="5935" y="9130"/>
                  </a:lnTo>
                  <a:cubicBezTo>
                    <a:pt x="5935" y="9130"/>
                    <a:pt x="5935" y="9075"/>
                    <a:pt x="5935" y="9038"/>
                  </a:cubicBezTo>
                  <a:close/>
                  <a:moveTo>
                    <a:pt x="19958" y="5919"/>
                  </a:moveTo>
                  <a:lnTo>
                    <a:pt x="19958" y="5919"/>
                  </a:lnTo>
                  <a:lnTo>
                    <a:pt x="19958" y="5919"/>
                  </a:lnTo>
                  <a:close/>
                </a:path>
              </a:pathLst>
            </a:custGeom>
            <a:solidFill>
              <a:srgbClr val="FFFFFF"/>
            </a:solidFill>
            <a:ln w="1835" cap="flat">
              <a:noFill/>
              <a:prstDash val="solid"/>
              <a:miter/>
            </a:ln>
          </p:spPr>
          <p:txBody>
            <a:bodyPr/>
            <a:lstStyle/>
            <a:p>
              <a:endParaRPr lang="en-GB"/>
            </a:p>
          </p:txBody>
        </p:sp>
        <p:sp>
          <p:nvSpPr>
            <p:cNvPr id="1520" name="Freeform: Shape 1519">
              <a:extLst>
                <a:ext uri="{FF2B5EF4-FFF2-40B4-BE49-F238E27FC236}">
                  <a16:creationId xmlns:a16="http://schemas.microsoft.com/office/drawing/2014/main" id="{BFE6B3C1-7C70-C82D-60FE-8562B20CCB59}"/>
                </a:ext>
              </a:extLst>
            </p:cNvPr>
            <p:cNvSpPr/>
            <p:nvPr/>
          </p:nvSpPr>
          <p:spPr>
            <a:xfrm>
              <a:off x="10932496" y="4860547"/>
              <a:ext cx="21279" cy="16917"/>
            </a:xfrm>
            <a:custGeom>
              <a:avLst/>
              <a:gdLst>
                <a:gd name="csX0" fmla="*/ 21227 w 21279"/>
                <a:gd name="csY0" fmla="*/ 9778 h 16917"/>
                <a:gd name="csX1" fmla="*/ 19677 w 21279"/>
                <a:gd name="csY1" fmla="*/ 12527 h 16917"/>
                <a:gd name="csX2" fmla="*/ 5101 w 21279"/>
                <a:gd name="csY2" fmla="*/ 16827 h 16917"/>
                <a:gd name="csX3" fmla="*/ 2480 w 21279"/>
                <a:gd name="csY3" fmla="*/ 15387 h 16917"/>
                <a:gd name="csX4" fmla="*/ 100 w 21279"/>
                <a:gd name="csY4" fmla="*/ 7140 h 16917"/>
                <a:gd name="csX5" fmla="*/ 1539 w 21279"/>
                <a:gd name="csY5" fmla="*/ 4390 h 16917"/>
                <a:gd name="csX6" fmla="*/ 16116 w 21279"/>
                <a:gd name="csY6" fmla="*/ 91 h 16917"/>
                <a:gd name="csX7" fmla="*/ 18736 w 21279"/>
                <a:gd name="csY7" fmla="*/ 1530 h 16917"/>
                <a:gd name="csX8" fmla="*/ 21246 w 21279"/>
                <a:gd name="csY8" fmla="*/ 9778 h 169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279" h="16917">
                  <a:moveTo>
                    <a:pt x="21227" y="9778"/>
                  </a:moveTo>
                  <a:cubicBezTo>
                    <a:pt x="21467" y="10977"/>
                    <a:pt x="20877" y="12158"/>
                    <a:pt x="19677" y="12527"/>
                  </a:cubicBezTo>
                  <a:lnTo>
                    <a:pt x="5101" y="16827"/>
                  </a:lnTo>
                  <a:cubicBezTo>
                    <a:pt x="4030" y="17177"/>
                    <a:pt x="2831" y="16476"/>
                    <a:pt x="2480" y="15387"/>
                  </a:cubicBezTo>
                  <a:lnTo>
                    <a:pt x="100" y="7140"/>
                  </a:lnTo>
                  <a:cubicBezTo>
                    <a:pt x="-250" y="5940"/>
                    <a:pt x="340" y="4759"/>
                    <a:pt x="1539" y="4390"/>
                  </a:cubicBezTo>
                  <a:lnTo>
                    <a:pt x="16116" y="91"/>
                  </a:lnTo>
                  <a:cubicBezTo>
                    <a:pt x="17186" y="-260"/>
                    <a:pt x="18386" y="442"/>
                    <a:pt x="18736" y="1530"/>
                  </a:cubicBezTo>
                  <a:lnTo>
                    <a:pt x="21246" y="9778"/>
                  </a:lnTo>
                  <a:close/>
                </a:path>
              </a:pathLst>
            </a:custGeom>
            <a:solidFill>
              <a:srgbClr val="FFFFFF"/>
            </a:solidFill>
            <a:ln w="1835" cap="flat">
              <a:noFill/>
              <a:prstDash val="solid"/>
              <a:miter/>
            </a:ln>
          </p:spPr>
          <p:txBody>
            <a:bodyPr/>
            <a:lstStyle/>
            <a:p>
              <a:endParaRPr lang="en-GB"/>
            </a:p>
          </p:txBody>
        </p:sp>
        <p:sp>
          <p:nvSpPr>
            <p:cNvPr id="1521" name="Freeform: Shape 1520">
              <a:extLst>
                <a:ext uri="{FF2B5EF4-FFF2-40B4-BE49-F238E27FC236}">
                  <a16:creationId xmlns:a16="http://schemas.microsoft.com/office/drawing/2014/main" id="{655C44C7-3D09-CD00-9585-86EF80DDADB5}"/>
                </a:ext>
              </a:extLst>
            </p:cNvPr>
            <p:cNvSpPr/>
            <p:nvPr/>
          </p:nvSpPr>
          <p:spPr>
            <a:xfrm>
              <a:off x="10929491" y="4857572"/>
              <a:ext cx="27233" cy="22901"/>
            </a:xfrm>
            <a:custGeom>
              <a:avLst/>
              <a:gdLst>
                <a:gd name="csX0" fmla="*/ 7514 w 27233"/>
                <a:gd name="csY0" fmla="*/ 22883 h 22901"/>
                <a:gd name="csX1" fmla="*/ 2643 w 27233"/>
                <a:gd name="csY1" fmla="*/ 19322 h 22901"/>
                <a:gd name="csX2" fmla="*/ 226 w 27233"/>
                <a:gd name="csY2" fmla="*/ 10945 h 22901"/>
                <a:gd name="csX3" fmla="*/ 558 w 27233"/>
                <a:gd name="csY3" fmla="*/ 7070 h 22901"/>
                <a:gd name="csX4" fmla="*/ 3640 w 27233"/>
                <a:gd name="csY4" fmla="*/ 4524 h 22901"/>
                <a:gd name="csX5" fmla="*/ 18235 w 27233"/>
                <a:gd name="csY5" fmla="*/ 206 h 22901"/>
                <a:gd name="csX6" fmla="*/ 22110 w 27233"/>
                <a:gd name="csY6" fmla="*/ 667 h 22901"/>
                <a:gd name="csX7" fmla="*/ 24527 w 27233"/>
                <a:gd name="csY7" fmla="*/ 3564 h 22901"/>
                <a:gd name="csX8" fmla="*/ 27055 w 27233"/>
                <a:gd name="csY8" fmla="*/ 11904 h 22901"/>
                <a:gd name="csX9" fmla="*/ 27128 w 27233"/>
                <a:gd name="csY9" fmla="*/ 12200 h 22901"/>
                <a:gd name="csX10" fmla="*/ 23512 w 27233"/>
                <a:gd name="csY10" fmla="*/ 18362 h 22901"/>
                <a:gd name="csX11" fmla="*/ 8935 w 27233"/>
                <a:gd name="csY11" fmla="*/ 22680 h 22901"/>
                <a:gd name="csX12" fmla="*/ 7496 w 27233"/>
                <a:gd name="csY12" fmla="*/ 22902 h 22901"/>
                <a:gd name="csX13" fmla="*/ 7238 w 27233"/>
                <a:gd name="csY13" fmla="*/ 16942 h 22901"/>
                <a:gd name="csX14" fmla="*/ 7182 w 27233"/>
                <a:gd name="csY14" fmla="*/ 16942 h 22901"/>
                <a:gd name="csX15" fmla="*/ 7238 w 27233"/>
                <a:gd name="csY15" fmla="*/ 16942 h 22901"/>
                <a:gd name="csX16" fmla="*/ 6186 w 27233"/>
                <a:gd name="csY16" fmla="*/ 10004 h 22901"/>
                <a:gd name="csX17" fmla="*/ 8105 w 27233"/>
                <a:gd name="csY17" fmla="*/ 16683 h 22901"/>
                <a:gd name="csX18" fmla="*/ 21150 w 27233"/>
                <a:gd name="csY18" fmla="*/ 12827 h 22901"/>
                <a:gd name="csX19" fmla="*/ 19120 w 27233"/>
                <a:gd name="csY19" fmla="*/ 6166 h 22901"/>
                <a:gd name="csX20" fmla="*/ 6186 w 27233"/>
                <a:gd name="csY20" fmla="*/ 9985 h 22901"/>
                <a:gd name="csX21" fmla="*/ 5964 w 27233"/>
                <a:gd name="csY21" fmla="*/ 9247 h 22901"/>
                <a:gd name="csX22" fmla="*/ 5964 w 27233"/>
                <a:gd name="csY22" fmla="*/ 9247 h 22901"/>
                <a:gd name="csX23" fmla="*/ 20062 w 27233"/>
                <a:gd name="csY23" fmla="*/ 5908 h 22901"/>
                <a:gd name="csX24" fmla="*/ 19988 w 27233"/>
                <a:gd name="csY24" fmla="*/ 5908 h 22901"/>
                <a:gd name="csX25" fmla="*/ 20062 w 27233"/>
                <a:gd name="csY25" fmla="*/ 5908 h 2290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7233" h="22901">
                  <a:moveTo>
                    <a:pt x="7514" y="22883"/>
                  </a:moveTo>
                  <a:cubicBezTo>
                    <a:pt x="5411" y="22883"/>
                    <a:pt x="3381" y="21481"/>
                    <a:pt x="2643" y="19322"/>
                  </a:cubicBezTo>
                  <a:lnTo>
                    <a:pt x="226" y="10945"/>
                  </a:lnTo>
                  <a:cubicBezTo>
                    <a:pt x="-161" y="9653"/>
                    <a:pt x="-51" y="8269"/>
                    <a:pt x="558" y="7070"/>
                  </a:cubicBezTo>
                  <a:cubicBezTo>
                    <a:pt x="1204" y="5834"/>
                    <a:pt x="2293" y="4930"/>
                    <a:pt x="3640" y="4524"/>
                  </a:cubicBezTo>
                  <a:lnTo>
                    <a:pt x="18235" y="206"/>
                  </a:lnTo>
                  <a:cubicBezTo>
                    <a:pt x="19416" y="-163"/>
                    <a:pt x="20910" y="-52"/>
                    <a:pt x="22110" y="667"/>
                  </a:cubicBezTo>
                  <a:cubicBezTo>
                    <a:pt x="23254" y="1313"/>
                    <a:pt x="24102" y="2328"/>
                    <a:pt x="24527" y="3564"/>
                  </a:cubicBezTo>
                  <a:lnTo>
                    <a:pt x="27055" y="11904"/>
                  </a:lnTo>
                  <a:cubicBezTo>
                    <a:pt x="27073" y="11997"/>
                    <a:pt x="27110" y="12089"/>
                    <a:pt x="27128" y="12200"/>
                  </a:cubicBezTo>
                  <a:cubicBezTo>
                    <a:pt x="27664" y="14930"/>
                    <a:pt x="26114" y="17569"/>
                    <a:pt x="23512" y="18362"/>
                  </a:cubicBezTo>
                  <a:lnTo>
                    <a:pt x="8935" y="22680"/>
                  </a:lnTo>
                  <a:cubicBezTo>
                    <a:pt x="8455" y="22828"/>
                    <a:pt x="7976" y="22902"/>
                    <a:pt x="7496" y="22902"/>
                  </a:cubicBezTo>
                  <a:close/>
                  <a:moveTo>
                    <a:pt x="7238" y="16942"/>
                  </a:moveTo>
                  <a:cubicBezTo>
                    <a:pt x="7238" y="16942"/>
                    <a:pt x="7219" y="16942"/>
                    <a:pt x="7182" y="16942"/>
                  </a:cubicBezTo>
                  <a:lnTo>
                    <a:pt x="7238" y="16942"/>
                  </a:lnTo>
                  <a:close/>
                  <a:moveTo>
                    <a:pt x="6186" y="10004"/>
                  </a:moveTo>
                  <a:lnTo>
                    <a:pt x="8105" y="16683"/>
                  </a:lnTo>
                  <a:lnTo>
                    <a:pt x="21150" y="12827"/>
                  </a:lnTo>
                  <a:lnTo>
                    <a:pt x="19120" y="6166"/>
                  </a:lnTo>
                  <a:lnTo>
                    <a:pt x="6186" y="9985"/>
                  </a:lnTo>
                  <a:close/>
                  <a:moveTo>
                    <a:pt x="5964" y="9247"/>
                  </a:moveTo>
                  <a:lnTo>
                    <a:pt x="5964" y="9247"/>
                  </a:lnTo>
                  <a:close/>
                  <a:moveTo>
                    <a:pt x="20062" y="5908"/>
                  </a:moveTo>
                  <a:lnTo>
                    <a:pt x="19988" y="5908"/>
                  </a:lnTo>
                  <a:cubicBezTo>
                    <a:pt x="19988" y="5908"/>
                    <a:pt x="20043" y="5908"/>
                    <a:pt x="20062" y="5908"/>
                  </a:cubicBezTo>
                  <a:close/>
                </a:path>
              </a:pathLst>
            </a:custGeom>
            <a:solidFill>
              <a:srgbClr val="FFFFFF"/>
            </a:solidFill>
            <a:ln w="1835" cap="flat">
              <a:noFill/>
              <a:prstDash val="solid"/>
              <a:miter/>
            </a:ln>
          </p:spPr>
          <p:txBody>
            <a:bodyPr/>
            <a:lstStyle/>
            <a:p>
              <a:endParaRPr lang="en-GB"/>
            </a:p>
          </p:txBody>
        </p:sp>
        <p:sp>
          <p:nvSpPr>
            <p:cNvPr id="1522" name="Freeform: Shape 1521">
              <a:extLst>
                <a:ext uri="{FF2B5EF4-FFF2-40B4-BE49-F238E27FC236}">
                  <a16:creationId xmlns:a16="http://schemas.microsoft.com/office/drawing/2014/main" id="{A638BAD9-EAB7-92BC-EAC8-EB1831FA8CDC}"/>
                </a:ext>
              </a:extLst>
            </p:cNvPr>
            <p:cNvSpPr/>
            <p:nvPr/>
          </p:nvSpPr>
          <p:spPr>
            <a:xfrm>
              <a:off x="11071731" y="4745427"/>
              <a:ext cx="21279" cy="16917"/>
            </a:xfrm>
            <a:custGeom>
              <a:avLst/>
              <a:gdLst>
                <a:gd name="csX0" fmla="*/ 21227 w 21279"/>
                <a:gd name="csY0" fmla="*/ 9778 h 16917"/>
                <a:gd name="csX1" fmla="*/ 19677 w 21279"/>
                <a:gd name="csY1" fmla="*/ 12527 h 16917"/>
                <a:gd name="csX2" fmla="*/ 5101 w 21279"/>
                <a:gd name="csY2" fmla="*/ 16827 h 16917"/>
                <a:gd name="csX3" fmla="*/ 2480 w 21279"/>
                <a:gd name="csY3" fmla="*/ 15387 h 16917"/>
                <a:gd name="csX4" fmla="*/ 100 w 21279"/>
                <a:gd name="csY4" fmla="*/ 7140 h 16917"/>
                <a:gd name="csX5" fmla="*/ 1539 w 21279"/>
                <a:gd name="csY5" fmla="*/ 4390 h 16917"/>
                <a:gd name="csX6" fmla="*/ 16116 w 21279"/>
                <a:gd name="csY6" fmla="*/ 91 h 16917"/>
                <a:gd name="csX7" fmla="*/ 18736 w 21279"/>
                <a:gd name="csY7" fmla="*/ 1530 h 16917"/>
                <a:gd name="csX8" fmla="*/ 21246 w 21279"/>
                <a:gd name="csY8" fmla="*/ 9778 h 169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279" h="16917">
                  <a:moveTo>
                    <a:pt x="21227" y="9778"/>
                  </a:moveTo>
                  <a:cubicBezTo>
                    <a:pt x="21467" y="10977"/>
                    <a:pt x="20877" y="12158"/>
                    <a:pt x="19677" y="12527"/>
                  </a:cubicBezTo>
                  <a:lnTo>
                    <a:pt x="5101" y="16827"/>
                  </a:lnTo>
                  <a:cubicBezTo>
                    <a:pt x="4030" y="17177"/>
                    <a:pt x="2831" y="16476"/>
                    <a:pt x="2480" y="15387"/>
                  </a:cubicBezTo>
                  <a:lnTo>
                    <a:pt x="100" y="7140"/>
                  </a:lnTo>
                  <a:cubicBezTo>
                    <a:pt x="-250" y="5940"/>
                    <a:pt x="340" y="4759"/>
                    <a:pt x="1539" y="4390"/>
                  </a:cubicBezTo>
                  <a:lnTo>
                    <a:pt x="16116" y="91"/>
                  </a:lnTo>
                  <a:cubicBezTo>
                    <a:pt x="17186" y="-260"/>
                    <a:pt x="18386" y="442"/>
                    <a:pt x="18736" y="1530"/>
                  </a:cubicBezTo>
                  <a:lnTo>
                    <a:pt x="21246" y="9778"/>
                  </a:lnTo>
                  <a:close/>
                </a:path>
              </a:pathLst>
            </a:custGeom>
            <a:solidFill>
              <a:srgbClr val="FFFFFF"/>
            </a:solidFill>
            <a:ln w="1835" cap="flat">
              <a:noFill/>
              <a:prstDash val="solid"/>
              <a:miter/>
            </a:ln>
          </p:spPr>
          <p:txBody>
            <a:bodyPr/>
            <a:lstStyle/>
            <a:p>
              <a:endParaRPr lang="en-GB"/>
            </a:p>
          </p:txBody>
        </p:sp>
        <p:sp>
          <p:nvSpPr>
            <p:cNvPr id="1523" name="Freeform: Shape 1522">
              <a:extLst>
                <a:ext uri="{FF2B5EF4-FFF2-40B4-BE49-F238E27FC236}">
                  <a16:creationId xmlns:a16="http://schemas.microsoft.com/office/drawing/2014/main" id="{96002EA5-DF7C-907E-D98C-CE10172D4B86}"/>
                </a:ext>
              </a:extLst>
            </p:cNvPr>
            <p:cNvSpPr/>
            <p:nvPr/>
          </p:nvSpPr>
          <p:spPr>
            <a:xfrm>
              <a:off x="11068751" y="4742456"/>
              <a:ext cx="27246" cy="22879"/>
            </a:xfrm>
            <a:custGeom>
              <a:avLst/>
              <a:gdLst>
                <a:gd name="csX0" fmla="*/ 7527 w 27246"/>
                <a:gd name="csY0" fmla="*/ 22880 h 22879"/>
                <a:gd name="csX1" fmla="*/ 5055 w 27246"/>
                <a:gd name="csY1" fmla="*/ 22234 h 22879"/>
                <a:gd name="csX2" fmla="*/ 2638 w 27246"/>
                <a:gd name="csY2" fmla="*/ 19337 h 22879"/>
                <a:gd name="csX3" fmla="*/ 220 w 27246"/>
                <a:gd name="csY3" fmla="*/ 10960 h 22879"/>
                <a:gd name="csX4" fmla="*/ 3652 w 27246"/>
                <a:gd name="csY4" fmla="*/ 4520 h 22879"/>
                <a:gd name="csX5" fmla="*/ 18248 w 27246"/>
                <a:gd name="csY5" fmla="*/ 221 h 22879"/>
                <a:gd name="csX6" fmla="*/ 24540 w 27246"/>
                <a:gd name="csY6" fmla="*/ 3561 h 22879"/>
                <a:gd name="csX7" fmla="*/ 27068 w 27246"/>
                <a:gd name="csY7" fmla="*/ 11882 h 22879"/>
                <a:gd name="csX8" fmla="*/ 27141 w 27246"/>
                <a:gd name="csY8" fmla="*/ 12178 h 22879"/>
                <a:gd name="csX9" fmla="*/ 23525 w 27246"/>
                <a:gd name="csY9" fmla="*/ 18359 h 22879"/>
                <a:gd name="csX10" fmla="*/ 8930 w 27246"/>
                <a:gd name="csY10" fmla="*/ 22658 h 22879"/>
                <a:gd name="csX11" fmla="*/ 7527 w 27246"/>
                <a:gd name="csY11" fmla="*/ 22880 h 22879"/>
                <a:gd name="csX12" fmla="*/ 7214 w 27246"/>
                <a:gd name="csY12" fmla="*/ 16938 h 22879"/>
                <a:gd name="csX13" fmla="*/ 7140 w 27246"/>
                <a:gd name="csY13" fmla="*/ 16938 h 22879"/>
                <a:gd name="csX14" fmla="*/ 7214 w 27246"/>
                <a:gd name="csY14" fmla="*/ 16938 h 22879"/>
                <a:gd name="csX15" fmla="*/ 6143 w 27246"/>
                <a:gd name="csY15" fmla="*/ 9982 h 22879"/>
                <a:gd name="csX16" fmla="*/ 8099 w 27246"/>
                <a:gd name="csY16" fmla="*/ 16661 h 22879"/>
                <a:gd name="csX17" fmla="*/ 21145 w 27246"/>
                <a:gd name="csY17" fmla="*/ 12823 h 22879"/>
                <a:gd name="csX18" fmla="*/ 19115 w 27246"/>
                <a:gd name="csY18" fmla="*/ 6162 h 22879"/>
                <a:gd name="csX19" fmla="*/ 6162 w 27246"/>
                <a:gd name="csY19" fmla="*/ 9982 h 22879"/>
                <a:gd name="csX20" fmla="*/ 20037 w 27246"/>
                <a:gd name="csY20" fmla="*/ 5904 h 22879"/>
                <a:gd name="csX21" fmla="*/ 19964 w 27246"/>
                <a:gd name="csY21" fmla="*/ 5904 h 22879"/>
                <a:gd name="csX22" fmla="*/ 20037 w 27246"/>
                <a:gd name="csY22" fmla="*/ 5904 h 228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27246" h="22879">
                  <a:moveTo>
                    <a:pt x="7527" y="22880"/>
                  </a:moveTo>
                  <a:cubicBezTo>
                    <a:pt x="6697" y="22880"/>
                    <a:pt x="5830" y="22658"/>
                    <a:pt x="5055" y="22234"/>
                  </a:cubicBezTo>
                  <a:cubicBezTo>
                    <a:pt x="3911" y="21588"/>
                    <a:pt x="3044" y="20555"/>
                    <a:pt x="2638" y="19337"/>
                  </a:cubicBezTo>
                  <a:lnTo>
                    <a:pt x="220" y="10960"/>
                  </a:lnTo>
                  <a:cubicBezTo>
                    <a:pt x="-591" y="8192"/>
                    <a:pt x="903" y="5369"/>
                    <a:pt x="3652" y="4520"/>
                  </a:cubicBezTo>
                  <a:lnTo>
                    <a:pt x="18248" y="221"/>
                  </a:lnTo>
                  <a:cubicBezTo>
                    <a:pt x="20665" y="-591"/>
                    <a:pt x="23654" y="904"/>
                    <a:pt x="24540" y="3561"/>
                  </a:cubicBezTo>
                  <a:lnTo>
                    <a:pt x="27068" y="11882"/>
                  </a:lnTo>
                  <a:cubicBezTo>
                    <a:pt x="27086" y="11993"/>
                    <a:pt x="27123" y="12085"/>
                    <a:pt x="27141" y="12178"/>
                  </a:cubicBezTo>
                  <a:cubicBezTo>
                    <a:pt x="27676" y="14927"/>
                    <a:pt x="26127" y="17566"/>
                    <a:pt x="23525" y="18359"/>
                  </a:cubicBezTo>
                  <a:lnTo>
                    <a:pt x="8930" y="22658"/>
                  </a:lnTo>
                  <a:cubicBezTo>
                    <a:pt x="8505" y="22806"/>
                    <a:pt x="8025" y="22880"/>
                    <a:pt x="7527" y="22880"/>
                  </a:cubicBezTo>
                  <a:close/>
                  <a:moveTo>
                    <a:pt x="7214" y="16938"/>
                  </a:moveTo>
                  <a:cubicBezTo>
                    <a:pt x="7214" y="16938"/>
                    <a:pt x="7158" y="16938"/>
                    <a:pt x="7140" y="16938"/>
                  </a:cubicBezTo>
                  <a:lnTo>
                    <a:pt x="7214" y="16938"/>
                  </a:lnTo>
                  <a:close/>
                  <a:moveTo>
                    <a:pt x="6143" y="9982"/>
                  </a:moveTo>
                  <a:lnTo>
                    <a:pt x="8099" y="16661"/>
                  </a:lnTo>
                  <a:lnTo>
                    <a:pt x="21145" y="12823"/>
                  </a:lnTo>
                  <a:lnTo>
                    <a:pt x="19115" y="6162"/>
                  </a:lnTo>
                  <a:lnTo>
                    <a:pt x="6162" y="9982"/>
                  </a:lnTo>
                  <a:close/>
                  <a:moveTo>
                    <a:pt x="20037" y="5904"/>
                  </a:moveTo>
                  <a:lnTo>
                    <a:pt x="19964" y="5904"/>
                  </a:lnTo>
                  <a:cubicBezTo>
                    <a:pt x="19964" y="5904"/>
                    <a:pt x="20019" y="5904"/>
                    <a:pt x="20037" y="5904"/>
                  </a:cubicBezTo>
                  <a:close/>
                </a:path>
              </a:pathLst>
            </a:custGeom>
            <a:solidFill>
              <a:srgbClr val="FFFFFF"/>
            </a:solidFill>
            <a:ln w="1835" cap="flat">
              <a:noFill/>
              <a:prstDash val="solid"/>
              <a:miter/>
            </a:ln>
          </p:spPr>
          <p:txBody>
            <a:bodyPr/>
            <a:lstStyle/>
            <a:p>
              <a:endParaRPr lang="en-GB"/>
            </a:p>
          </p:txBody>
        </p:sp>
        <p:sp>
          <p:nvSpPr>
            <p:cNvPr id="1524" name="Freeform: Shape 1523">
              <a:extLst>
                <a:ext uri="{FF2B5EF4-FFF2-40B4-BE49-F238E27FC236}">
                  <a16:creationId xmlns:a16="http://schemas.microsoft.com/office/drawing/2014/main" id="{CB8D1EA6-7EF2-6675-08AD-046A05D18BC1}"/>
                </a:ext>
              </a:extLst>
            </p:cNvPr>
            <p:cNvSpPr/>
            <p:nvPr/>
          </p:nvSpPr>
          <p:spPr>
            <a:xfrm>
              <a:off x="11068790" y="4929196"/>
              <a:ext cx="21298" cy="16806"/>
            </a:xfrm>
            <a:custGeom>
              <a:avLst/>
              <a:gdLst>
                <a:gd name="csX0" fmla="*/ 21198 w 21298"/>
                <a:gd name="csY0" fmla="*/ 9787 h 16806"/>
                <a:gd name="csX1" fmla="*/ 19759 w 21298"/>
                <a:gd name="csY1" fmla="*/ 12407 h 16806"/>
                <a:gd name="csX2" fmla="*/ 5182 w 21298"/>
                <a:gd name="csY2" fmla="*/ 16707 h 16806"/>
                <a:gd name="csX3" fmla="*/ 2562 w 21298"/>
                <a:gd name="csY3" fmla="*/ 15267 h 16806"/>
                <a:gd name="csX4" fmla="*/ 53 w 21298"/>
                <a:gd name="csY4" fmla="*/ 7020 h 16806"/>
                <a:gd name="csX5" fmla="*/ 1603 w 21298"/>
                <a:gd name="csY5" fmla="*/ 4399 h 16806"/>
                <a:gd name="csX6" fmla="*/ 16179 w 21298"/>
                <a:gd name="csY6" fmla="*/ 100 h 16806"/>
                <a:gd name="csX7" fmla="*/ 18800 w 21298"/>
                <a:gd name="csY7" fmla="*/ 1539 h 16806"/>
                <a:gd name="csX8" fmla="*/ 21180 w 21298"/>
                <a:gd name="csY8" fmla="*/ 9787 h 168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298" h="16806">
                  <a:moveTo>
                    <a:pt x="21198" y="9787"/>
                  </a:moveTo>
                  <a:cubicBezTo>
                    <a:pt x="21549" y="10858"/>
                    <a:pt x="20958" y="12057"/>
                    <a:pt x="19759" y="12407"/>
                  </a:cubicBezTo>
                  <a:lnTo>
                    <a:pt x="5182" y="16707"/>
                  </a:lnTo>
                  <a:cubicBezTo>
                    <a:pt x="4112" y="17057"/>
                    <a:pt x="2913" y="16467"/>
                    <a:pt x="2562" y="15267"/>
                  </a:cubicBezTo>
                  <a:lnTo>
                    <a:pt x="53" y="7020"/>
                  </a:lnTo>
                  <a:cubicBezTo>
                    <a:pt x="-187" y="5949"/>
                    <a:pt x="403" y="4750"/>
                    <a:pt x="1603" y="4399"/>
                  </a:cubicBezTo>
                  <a:lnTo>
                    <a:pt x="16179" y="100"/>
                  </a:lnTo>
                  <a:cubicBezTo>
                    <a:pt x="17250" y="-250"/>
                    <a:pt x="18449" y="340"/>
                    <a:pt x="18800" y="1539"/>
                  </a:cubicBezTo>
                  <a:lnTo>
                    <a:pt x="21180" y="9787"/>
                  </a:lnTo>
                  <a:close/>
                </a:path>
              </a:pathLst>
            </a:custGeom>
            <a:solidFill>
              <a:srgbClr val="FFFFFF"/>
            </a:solidFill>
            <a:ln w="1835" cap="flat">
              <a:noFill/>
              <a:prstDash val="solid"/>
              <a:miter/>
            </a:ln>
          </p:spPr>
          <p:txBody>
            <a:bodyPr/>
            <a:lstStyle/>
            <a:p>
              <a:endParaRPr lang="en-GB"/>
            </a:p>
          </p:txBody>
        </p:sp>
        <p:sp>
          <p:nvSpPr>
            <p:cNvPr id="1525" name="Freeform: Shape 1524">
              <a:extLst>
                <a:ext uri="{FF2B5EF4-FFF2-40B4-BE49-F238E27FC236}">
                  <a16:creationId xmlns:a16="http://schemas.microsoft.com/office/drawing/2014/main" id="{8D7CF049-18EC-B9B3-569F-237B9B68B69A}"/>
                </a:ext>
              </a:extLst>
            </p:cNvPr>
            <p:cNvSpPr/>
            <p:nvPr/>
          </p:nvSpPr>
          <p:spPr>
            <a:xfrm>
              <a:off x="11065845" y="4926213"/>
              <a:ext cx="27234" cy="22789"/>
            </a:xfrm>
            <a:custGeom>
              <a:avLst/>
              <a:gdLst>
                <a:gd name="csX0" fmla="*/ 7519 w 27234"/>
                <a:gd name="csY0" fmla="*/ 22790 h 22789"/>
                <a:gd name="csX1" fmla="*/ 5194 w 27234"/>
                <a:gd name="csY1" fmla="*/ 22218 h 22789"/>
                <a:gd name="csX2" fmla="*/ 2647 w 27234"/>
                <a:gd name="csY2" fmla="*/ 19136 h 22789"/>
                <a:gd name="csX3" fmla="*/ 138 w 27234"/>
                <a:gd name="csY3" fmla="*/ 10888 h 22789"/>
                <a:gd name="csX4" fmla="*/ 3681 w 27234"/>
                <a:gd name="csY4" fmla="*/ 4541 h 22789"/>
                <a:gd name="csX5" fmla="*/ 18276 w 27234"/>
                <a:gd name="csY5" fmla="*/ 223 h 22789"/>
                <a:gd name="csX6" fmla="*/ 22040 w 27234"/>
                <a:gd name="csY6" fmla="*/ 555 h 22789"/>
                <a:gd name="csX7" fmla="*/ 24605 w 27234"/>
                <a:gd name="csY7" fmla="*/ 3655 h 22789"/>
                <a:gd name="csX8" fmla="*/ 27004 w 27234"/>
                <a:gd name="csY8" fmla="*/ 11885 h 22789"/>
                <a:gd name="csX9" fmla="*/ 26671 w 27234"/>
                <a:gd name="csY9" fmla="*/ 15667 h 22789"/>
                <a:gd name="csX10" fmla="*/ 23572 w 27234"/>
                <a:gd name="csY10" fmla="*/ 18232 h 22789"/>
                <a:gd name="csX11" fmla="*/ 8995 w 27234"/>
                <a:gd name="csY11" fmla="*/ 22550 h 22789"/>
                <a:gd name="csX12" fmla="*/ 7519 w 27234"/>
                <a:gd name="csY12" fmla="*/ 22771 h 22789"/>
                <a:gd name="csX13" fmla="*/ 8367 w 27234"/>
                <a:gd name="csY13" fmla="*/ 17402 h 22789"/>
                <a:gd name="csX14" fmla="*/ 8367 w 27234"/>
                <a:gd name="csY14" fmla="*/ 17402 h 22789"/>
                <a:gd name="csX15" fmla="*/ 6116 w 27234"/>
                <a:gd name="csY15" fmla="*/ 10058 h 22789"/>
                <a:gd name="csX16" fmla="*/ 8128 w 27234"/>
                <a:gd name="csY16" fmla="*/ 16608 h 22789"/>
                <a:gd name="csX17" fmla="*/ 21044 w 27234"/>
                <a:gd name="csY17" fmla="*/ 12789 h 22789"/>
                <a:gd name="csX18" fmla="*/ 19125 w 27234"/>
                <a:gd name="csY18" fmla="*/ 6220 h 22789"/>
                <a:gd name="csX19" fmla="*/ 6116 w 27234"/>
                <a:gd name="csY19" fmla="*/ 10058 h 22789"/>
                <a:gd name="csX20" fmla="*/ 21302 w 27234"/>
                <a:gd name="csY20" fmla="*/ 13730 h 22789"/>
                <a:gd name="csX21" fmla="*/ 21302 w 27234"/>
                <a:gd name="csY21" fmla="*/ 13730 h 22789"/>
                <a:gd name="csX22" fmla="*/ 21302 w 27234"/>
                <a:gd name="csY22" fmla="*/ 13730 h 22789"/>
                <a:gd name="csX23" fmla="*/ 20084 w 27234"/>
                <a:gd name="csY23" fmla="*/ 5925 h 22789"/>
                <a:gd name="csX24" fmla="*/ 20010 w 27234"/>
                <a:gd name="csY24" fmla="*/ 5925 h 22789"/>
                <a:gd name="csX25" fmla="*/ 20084 w 27234"/>
                <a:gd name="csY25" fmla="*/ 5925 h 2278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7234" h="22789">
                  <a:moveTo>
                    <a:pt x="7519" y="22790"/>
                  </a:moveTo>
                  <a:cubicBezTo>
                    <a:pt x="6725" y="22790"/>
                    <a:pt x="5913" y="22605"/>
                    <a:pt x="5194" y="22218"/>
                  </a:cubicBezTo>
                  <a:cubicBezTo>
                    <a:pt x="3958" y="21572"/>
                    <a:pt x="3053" y="20483"/>
                    <a:pt x="2647" y="19136"/>
                  </a:cubicBezTo>
                  <a:lnTo>
                    <a:pt x="138" y="10888"/>
                  </a:lnTo>
                  <a:cubicBezTo>
                    <a:pt x="-489" y="8028"/>
                    <a:pt x="1079" y="5334"/>
                    <a:pt x="3681" y="4541"/>
                  </a:cubicBezTo>
                  <a:lnTo>
                    <a:pt x="18276" y="223"/>
                  </a:lnTo>
                  <a:cubicBezTo>
                    <a:pt x="19438" y="-146"/>
                    <a:pt x="20822" y="-72"/>
                    <a:pt x="22040" y="555"/>
                  </a:cubicBezTo>
                  <a:cubicBezTo>
                    <a:pt x="23276" y="1183"/>
                    <a:pt x="24180" y="2290"/>
                    <a:pt x="24605" y="3655"/>
                  </a:cubicBezTo>
                  <a:lnTo>
                    <a:pt x="27004" y="11885"/>
                  </a:lnTo>
                  <a:cubicBezTo>
                    <a:pt x="27391" y="13139"/>
                    <a:pt x="27299" y="14486"/>
                    <a:pt x="26671" y="15667"/>
                  </a:cubicBezTo>
                  <a:cubicBezTo>
                    <a:pt x="26044" y="16903"/>
                    <a:pt x="24937" y="17808"/>
                    <a:pt x="23572" y="18232"/>
                  </a:cubicBezTo>
                  <a:lnTo>
                    <a:pt x="8995" y="22550"/>
                  </a:lnTo>
                  <a:cubicBezTo>
                    <a:pt x="8515" y="22697"/>
                    <a:pt x="8035" y="22771"/>
                    <a:pt x="7519" y="22771"/>
                  </a:cubicBezTo>
                  <a:close/>
                  <a:moveTo>
                    <a:pt x="8367" y="17402"/>
                  </a:moveTo>
                  <a:lnTo>
                    <a:pt x="8367" y="17402"/>
                  </a:lnTo>
                  <a:close/>
                  <a:moveTo>
                    <a:pt x="6116" y="10058"/>
                  </a:moveTo>
                  <a:lnTo>
                    <a:pt x="8128" y="16608"/>
                  </a:lnTo>
                  <a:lnTo>
                    <a:pt x="21044" y="12789"/>
                  </a:lnTo>
                  <a:lnTo>
                    <a:pt x="19125" y="6220"/>
                  </a:lnTo>
                  <a:lnTo>
                    <a:pt x="6116" y="10058"/>
                  </a:lnTo>
                  <a:close/>
                  <a:moveTo>
                    <a:pt x="21302" y="13730"/>
                  </a:moveTo>
                  <a:lnTo>
                    <a:pt x="21302" y="13730"/>
                  </a:lnTo>
                  <a:cubicBezTo>
                    <a:pt x="21302" y="13730"/>
                    <a:pt x="21302" y="13730"/>
                    <a:pt x="21302" y="13730"/>
                  </a:cubicBezTo>
                  <a:close/>
                  <a:moveTo>
                    <a:pt x="20084" y="5925"/>
                  </a:moveTo>
                  <a:lnTo>
                    <a:pt x="20010" y="5925"/>
                  </a:lnTo>
                  <a:cubicBezTo>
                    <a:pt x="20010" y="5925"/>
                    <a:pt x="20066" y="5925"/>
                    <a:pt x="20084" y="5925"/>
                  </a:cubicBezTo>
                  <a:close/>
                </a:path>
              </a:pathLst>
            </a:custGeom>
            <a:solidFill>
              <a:srgbClr val="FFFFFF"/>
            </a:solidFill>
            <a:ln w="1835" cap="flat">
              <a:noFill/>
              <a:prstDash val="solid"/>
              <a:miter/>
            </a:ln>
          </p:spPr>
          <p:txBody>
            <a:bodyPr/>
            <a:lstStyle/>
            <a:p>
              <a:endParaRPr lang="en-GB"/>
            </a:p>
          </p:txBody>
        </p:sp>
        <p:sp>
          <p:nvSpPr>
            <p:cNvPr id="1526" name="Freeform: Shape 1525">
              <a:extLst>
                <a:ext uri="{FF2B5EF4-FFF2-40B4-BE49-F238E27FC236}">
                  <a16:creationId xmlns:a16="http://schemas.microsoft.com/office/drawing/2014/main" id="{04D9AAD4-94BA-15FB-3EAE-17F95271A419}"/>
                </a:ext>
              </a:extLst>
            </p:cNvPr>
            <p:cNvSpPr/>
            <p:nvPr/>
          </p:nvSpPr>
          <p:spPr>
            <a:xfrm>
              <a:off x="10914440" y="4910789"/>
              <a:ext cx="19077" cy="19762"/>
            </a:xfrm>
            <a:custGeom>
              <a:avLst/>
              <a:gdLst>
                <a:gd name="csX0" fmla="*/ 8359 w 19077"/>
                <a:gd name="csY0" fmla="*/ 369 h 19762"/>
                <a:gd name="csX1" fmla="*/ 8359 w 19077"/>
                <a:gd name="csY1" fmla="*/ 369 h 19762"/>
                <a:gd name="csX2" fmla="*/ 1310 w 19077"/>
                <a:gd name="csY2" fmla="*/ 480 h 19762"/>
                <a:gd name="csX3" fmla="*/ 0 w 19077"/>
                <a:gd name="csY3" fmla="*/ 4539 h 19762"/>
                <a:gd name="csX4" fmla="*/ 1199 w 19077"/>
                <a:gd name="csY4" fmla="*/ 12307 h 19762"/>
                <a:gd name="csX5" fmla="*/ 2509 w 19077"/>
                <a:gd name="csY5" fmla="*/ 13857 h 19762"/>
                <a:gd name="csX6" fmla="*/ 3709 w 19077"/>
                <a:gd name="csY6" fmla="*/ 16016 h 19762"/>
                <a:gd name="csX7" fmla="*/ 10517 w 19077"/>
                <a:gd name="csY7" fmla="*/ 19725 h 19762"/>
                <a:gd name="csX8" fmla="*/ 16736 w 19077"/>
                <a:gd name="csY8" fmla="*/ 16496 h 19762"/>
                <a:gd name="csX9" fmla="*/ 18286 w 19077"/>
                <a:gd name="csY9" fmla="*/ 14466 h 19762"/>
                <a:gd name="csX10" fmla="*/ 19005 w 19077"/>
                <a:gd name="csY10" fmla="*/ 12437 h 19762"/>
                <a:gd name="csX11" fmla="*/ 18894 w 19077"/>
                <a:gd name="csY11" fmla="*/ 8248 h 19762"/>
                <a:gd name="csX12" fmla="*/ 14835 w 19077"/>
                <a:gd name="csY12" fmla="*/ 5868 h 19762"/>
                <a:gd name="csX13" fmla="*/ 12916 w 19077"/>
                <a:gd name="csY13" fmla="*/ 6347 h 19762"/>
                <a:gd name="csX14" fmla="*/ 9927 w 19077"/>
                <a:gd name="csY14" fmla="*/ 3598 h 19762"/>
                <a:gd name="csX15" fmla="*/ 8377 w 19077"/>
                <a:gd name="csY15" fmla="*/ 369 h 197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077" h="19762">
                  <a:moveTo>
                    <a:pt x="8359" y="369"/>
                  </a:moveTo>
                  <a:lnTo>
                    <a:pt x="8359" y="369"/>
                  </a:lnTo>
                  <a:cubicBezTo>
                    <a:pt x="5978" y="480"/>
                    <a:pt x="3580" y="-590"/>
                    <a:pt x="1310" y="480"/>
                  </a:cubicBezTo>
                  <a:cubicBezTo>
                    <a:pt x="351" y="960"/>
                    <a:pt x="0" y="4539"/>
                    <a:pt x="0" y="4539"/>
                  </a:cubicBezTo>
                  <a:cubicBezTo>
                    <a:pt x="111" y="7159"/>
                    <a:pt x="111" y="10148"/>
                    <a:pt x="1199" y="12307"/>
                  </a:cubicBezTo>
                  <a:cubicBezTo>
                    <a:pt x="1550" y="12898"/>
                    <a:pt x="2159" y="13267"/>
                    <a:pt x="2509" y="13857"/>
                  </a:cubicBezTo>
                  <a:cubicBezTo>
                    <a:pt x="2989" y="14448"/>
                    <a:pt x="3340" y="15296"/>
                    <a:pt x="3709" y="16016"/>
                  </a:cubicBezTo>
                  <a:cubicBezTo>
                    <a:pt x="7657" y="19965"/>
                    <a:pt x="5978" y="19836"/>
                    <a:pt x="10517" y="19725"/>
                  </a:cubicBezTo>
                  <a:cubicBezTo>
                    <a:pt x="10997" y="19725"/>
                    <a:pt x="15407" y="17345"/>
                    <a:pt x="16736" y="16496"/>
                  </a:cubicBezTo>
                  <a:cubicBezTo>
                    <a:pt x="18046" y="15536"/>
                    <a:pt x="17806" y="15186"/>
                    <a:pt x="18286" y="14466"/>
                  </a:cubicBezTo>
                  <a:cubicBezTo>
                    <a:pt x="18525" y="13876"/>
                    <a:pt x="18876" y="13156"/>
                    <a:pt x="19005" y="12437"/>
                  </a:cubicBezTo>
                  <a:cubicBezTo>
                    <a:pt x="19116" y="11126"/>
                    <a:pt x="19116" y="9577"/>
                    <a:pt x="18894" y="8248"/>
                  </a:cubicBezTo>
                  <a:cubicBezTo>
                    <a:pt x="18415" y="6458"/>
                    <a:pt x="15555" y="6108"/>
                    <a:pt x="14835" y="5868"/>
                  </a:cubicBezTo>
                  <a:cubicBezTo>
                    <a:pt x="14245" y="5978"/>
                    <a:pt x="13765" y="6698"/>
                    <a:pt x="12916" y="6347"/>
                  </a:cubicBezTo>
                  <a:cubicBezTo>
                    <a:pt x="12197" y="5997"/>
                    <a:pt x="9576" y="4668"/>
                    <a:pt x="9927" y="3598"/>
                  </a:cubicBezTo>
                  <a:lnTo>
                    <a:pt x="8377" y="369"/>
                  </a:lnTo>
                  <a:close/>
                </a:path>
              </a:pathLst>
            </a:custGeom>
            <a:solidFill>
              <a:srgbClr val="FFFFFF"/>
            </a:solidFill>
            <a:ln w="1835" cap="flat">
              <a:noFill/>
              <a:prstDash val="solid"/>
              <a:miter/>
            </a:ln>
          </p:spPr>
          <p:txBody>
            <a:bodyPr/>
            <a:lstStyle/>
            <a:p>
              <a:endParaRPr lang="en-GB"/>
            </a:p>
          </p:txBody>
        </p:sp>
        <p:sp>
          <p:nvSpPr>
            <p:cNvPr id="1527" name="Freeform: Shape 1526">
              <a:extLst>
                <a:ext uri="{FF2B5EF4-FFF2-40B4-BE49-F238E27FC236}">
                  <a16:creationId xmlns:a16="http://schemas.microsoft.com/office/drawing/2014/main" id="{CC7DE428-F36F-395D-D9CA-FCCC0C2E3162}"/>
                </a:ext>
              </a:extLst>
            </p:cNvPr>
            <p:cNvSpPr/>
            <p:nvPr/>
          </p:nvSpPr>
          <p:spPr>
            <a:xfrm>
              <a:off x="10911450" y="4907794"/>
              <a:ext cx="25045" cy="25727"/>
            </a:xfrm>
            <a:custGeom>
              <a:avLst/>
              <a:gdLst>
                <a:gd name="csX0" fmla="*/ 12123 w 25045"/>
                <a:gd name="csY0" fmla="*/ 25728 h 25727"/>
                <a:gd name="csX1" fmla="*/ 6532 w 25045"/>
                <a:gd name="csY1" fmla="*/ 23237 h 25727"/>
                <a:gd name="csX2" fmla="*/ 4576 w 25045"/>
                <a:gd name="csY2" fmla="*/ 21115 h 25727"/>
                <a:gd name="csX3" fmla="*/ 4004 w 25045"/>
                <a:gd name="csY3" fmla="*/ 20322 h 25727"/>
                <a:gd name="csX4" fmla="*/ 3155 w 25045"/>
                <a:gd name="csY4" fmla="*/ 18716 h 25727"/>
                <a:gd name="csX5" fmla="*/ 1624 w 25045"/>
                <a:gd name="csY5" fmla="*/ 16853 h 25727"/>
                <a:gd name="csX6" fmla="*/ 37 w 25045"/>
                <a:gd name="csY6" fmla="*/ 8494 h 25727"/>
                <a:gd name="csX7" fmla="*/ 0 w 25045"/>
                <a:gd name="csY7" fmla="*/ 7664 h 25727"/>
                <a:gd name="csX8" fmla="*/ 2971 w 25045"/>
                <a:gd name="csY8" fmla="*/ 800 h 25727"/>
                <a:gd name="csX9" fmla="*/ 9170 w 25045"/>
                <a:gd name="csY9" fmla="*/ 209 h 25727"/>
                <a:gd name="csX10" fmla="*/ 11219 w 25045"/>
                <a:gd name="csY10" fmla="*/ 357 h 25727"/>
                <a:gd name="csX11" fmla="*/ 14060 w 25045"/>
                <a:gd name="csY11" fmla="*/ 2055 h 25727"/>
                <a:gd name="csX12" fmla="*/ 15610 w 25045"/>
                <a:gd name="csY12" fmla="*/ 5265 h 25727"/>
                <a:gd name="csX13" fmla="*/ 15813 w 25045"/>
                <a:gd name="csY13" fmla="*/ 5819 h 25727"/>
                <a:gd name="csX14" fmla="*/ 16385 w 25045"/>
                <a:gd name="csY14" fmla="*/ 6169 h 25727"/>
                <a:gd name="csX15" fmla="*/ 17252 w 25045"/>
                <a:gd name="csY15" fmla="*/ 5892 h 25727"/>
                <a:gd name="csX16" fmla="*/ 18765 w 25045"/>
                <a:gd name="csY16" fmla="*/ 5985 h 25727"/>
                <a:gd name="csX17" fmla="*/ 24762 w 25045"/>
                <a:gd name="csY17" fmla="*/ 10432 h 25727"/>
                <a:gd name="csX18" fmla="*/ 24965 w 25045"/>
                <a:gd name="csY18" fmla="*/ 15653 h 25727"/>
                <a:gd name="csX19" fmla="*/ 24209 w 25045"/>
                <a:gd name="csY19" fmla="*/ 18144 h 25727"/>
                <a:gd name="csX20" fmla="*/ 23747 w 25045"/>
                <a:gd name="csY20" fmla="*/ 19085 h 25727"/>
                <a:gd name="csX21" fmla="*/ 21478 w 25045"/>
                <a:gd name="csY21" fmla="*/ 21853 h 25727"/>
                <a:gd name="csX22" fmla="*/ 13507 w 25045"/>
                <a:gd name="csY22" fmla="*/ 25654 h 25727"/>
                <a:gd name="csX23" fmla="*/ 12141 w 25045"/>
                <a:gd name="csY23" fmla="*/ 25673 h 25727"/>
                <a:gd name="csX24" fmla="*/ 6274 w 25045"/>
                <a:gd name="csY24" fmla="*/ 6003 h 25727"/>
                <a:gd name="csX25" fmla="*/ 5960 w 25045"/>
                <a:gd name="csY25" fmla="*/ 7848 h 25727"/>
                <a:gd name="csX26" fmla="*/ 6015 w 25045"/>
                <a:gd name="csY26" fmla="*/ 8273 h 25727"/>
                <a:gd name="csX27" fmla="*/ 6864 w 25045"/>
                <a:gd name="csY27" fmla="*/ 13993 h 25727"/>
                <a:gd name="csX28" fmla="*/ 8063 w 25045"/>
                <a:gd name="csY28" fmla="*/ 15321 h 25727"/>
                <a:gd name="csX29" fmla="*/ 9207 w 25045"/>
                <a:gd name="csY29" fmla="*/ 17332 h 25727"/>
                <a:gd name="csX30" fmla="*/ 11053 w 25045"/>
                <a:gd name="csY30" fmla="*/ 19344 h 25727"/>
                <a:gd name="csX31" fmla="*/ 11643 w 25045"/>
                <a:gd name="csY31" fmla="*/ 19990 h 25727"/>
                <a:gd name="csX32" fmla="*/ 12935 w 25045"/>
                <a:gd name="csY32" fmla="*/ 19750 h 25727"/>
                <a:gd name="csX33" fmla="*/ 18119 w 25045"/>
                <a:gd name="csY33" fmla="*/ 16982 h 25727"/>
                <a:gd name="csX34" fmla="*/ 18802 w 25045"/>
                <a:gd name="csY34" fmla="*/ 15801 h 25727"/>
                <a:gd name="csX35" fmla="*/ 19042 w 25045"/>
                <a:gd name="csY35" fmla="*/ 14952 h 25727"/>
                <a:gd name="csX36" fmla="*/ 18931 w 25045"/>
                <a:gd name="csY36" fmla="*/ 11779 h 25727"/>
                <a:gd name="csX37" fmla="*/ 18101 w 25045"/>
                <a:gd name="csY37" fmla="*/ 12000 h 25727"/>
                <a:gd name="csX38" fmla="*/ 14761 w 25045"/>
                <a:gd name="csY38" fmla="*/ 12092 h 25727"/>
                <a:gd name="csX39" fmla="*/ 9890 w 25045"/>
                <a:gd name="csY39" fmla="*/ 7184 h 25727"/>
                <a:gd name="csX40" fmla="*/ 9447 w 25045"/>
                <a:gd name="csY40" fmla="*/ 6280 h 25727"/>
                <a:gd name="csX41" fmla="*/ 8414 w 25045"/>
                <a:gd name="csY41" fmla="*/ 6151 h 25727"/>
                <a:gd name="csX42" fmla="*/ 6292 w 25045"/>
                <a:gd name="csY42" fmla="*/ 6003 h 25727"/>
                <a:gd name="csX43" fmla="*/ 15739 w 25045"/>
                <a:gd name="csY43" fmla="*/ 7535 h 25727"/>
                <a:gd name="csX44" fmla="*/ 15739 w 25045"/>
                <a:gd name="csY44" fmla="*/ 7535 h 257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25045" h="25727">
                  <a:moveTo>
                    <a:pt x="12123" y="25728"/>
                  </a:moveTo>
                  <a:cubicBezTo>
                    <a:pt x="9263" y="25728"/>
                    <a:pt x="8322" y="25304"/>
                    <a:pt x="6532" y="23237"/>
                  </a:cubicBezTo>
                  <a:cubicBezTo>
                    <a:pt x="6089" y="22720"/>
                    <a:pt x="5499" y="22038"/>
                    <a:pt x="4576" y="21115"/>
                  </a:cubicBezTo>
                  <a:cubicBezTo>
                    <a:pt x="4336" y="20875"/>
                    <a:pt x="4152" y="20617"/>
                    <a:pt x="4004" y="20322"/>
                  </a:cubicBezTo>
                  <a:cubicBezTo>
                    <a:pt x="3617" y="19473"/>
                    <a:pt x="3358" y="18938"/>
                    <a:pt x="3155" y="18716"/>
                  </a:cubicBezTo>
                  <a:cubicBezTo>
                    <a:pt x="2417" y="17868"/>
                    <a:pt x="1993" y="17462"/>
                    <a:pt x="1624" y="16853"/>
                  </a:cubicBezTo>
                  <a:cubicBezTo>
                    <a:pt x="258" y="14122"/>
                    <a:pt x="148" y="11133"/>
                    <a:pt x="37" y="8494"/>
                  </a:cubicBezTo>
                  <a:lnTo>
                    <a:pt x="0" y="7664"/>
                  </a:lnTo>
                  <a:cubicBezTo>
                    <a:pt x="535" y="2018"/>
                    <a:pt x="2306" y="1132"/>
                    <a:pt x="2971" y="800"/>
                  </a:cubicBezTo>
                  <a:cubicBezTo>
                    <a:pt x="5259" y="-307"/>
                    <a:pt x="7436" y="-12"/>
                    <a:pt x="9170" y="209"/>
                  </a:cubicBezTo>
                  <a:cubicBezTo>
                    <a:pt x="9835" y="283"/>
                    <a:pt x="10407" y="449"/>
                    <a:pt x="11219" y="357"/>
                  </a:cubicBezTo>
                  <a:cubicBezTo>
                    <a:pt x="12455" y="357"/>
                    <a:pt x="13525" y="966"/>
                    <a:pt x="14060" y="2055"/>
                  </a:cubicBezTo>
                  <a:lnTo>
                    <a:pt x="15610" y="5265"/>
                  </a:lnTo>
                  <a:cubicBezTo>
                    <a:pt x="15684" y="5431"/>
                    <a:pt x="15758" y="5634"/>
                    <a:pt x="15813" y="5819"/>
                  </a:cubicBezTo>
                  <a:cubicBezTo>
                    <a:pt x="15961" y="5911"/>
                    <a:pt x="16127" y="6022"/>
                    <a:pt x="16385" y="6169"/>
                  </a:cubicBezTo>
                  <a:cubicBezTo>
                    <a:pt x="16625" y="6059"/>
                    <a:pt x="16920" y="5966"/>
                    <a:pt x="17252" y="5892"/>
                  </a:cubicBezTo>
                  <a:cubicBezTo>
                    <a:pt x="17750" y="5800"/>
                    <a:pt x="18267" y="5819"/>
                    <a:pt x="18765" y="5985"/>
                  </a:cubicBezTo>
                  <a:cubicBezTo>
                    <a:pt x="20500" y="6391"/>
                    <a:pt x="23913" y="7221"/>
                    <a:pt x="24762" y="10432"/>
                  </a:cubicBezTo>
                  <a:cubicBezTo>
                    <a:pt x="25150" y="12609"/>
                    <a:pt x="25057" y="14602"/>
                    <a:pt x="24965" y="15653"/>
                  </a:cubicBezTo>
                  <a:cubicBezTo>
                    <a:pt x="24799" y="16760"/>
                    <a:pt x="24448" y="17554"/>
                    <a:pt x="24209" y="18144"/>
                  </a:cubicBezTo>
                  <a:cubicBezTo>
                    <a:pt x="24135" y="18310"/>
                    <a:pt x="23876" y="18919"/>
                    <a:pt x="23747" y="19085"/>
                  </a:cubicBezTo>
                  <a:cubicBezTo>
                    <a:pt x="23304" y="20119"/>
                    <a:pt x="22788" y="20912"/>
                    <a:pt x="21478" y="21853"/>
                  </a:cubicBezTo>
                  <a:cubicBezTo>
                    <a:pt x="21275" y="22001"/>
                    <a:pt x="15370" y="25654"/>
                    <a:pt x="13507" y="25654"/>
                  </a:cubicBezTo>
                  <a:cubicBezTo>
                    <a:pt x="13008" y="25654"/>
                    <a:pt x="12547" y="25673"/>
                    <a:pt x="12141" y="25673"/>
                  </a:cubicBezTo>
                  <a:close/>
                  <a:moveTo>
                    <a:pt x="6274" y="6003"/>
                  </a:moveTo>
                  <a:cubicBezTo>
                    <a:pt x="6144" y="6520"/>
                    <a:pt x="6015" y="7239"/>
                    <a:pt x="5960" y="7848"/>
                  </a:cubicBezTo>
                  <a:lnTo>
                    <a:pt x="6015" y="8273"/>
                  </a:lnTo>
                  <a:cubicBezTo>
                    <a:pt x="6089" y="10321"/>
                    <a:pt x="6181" y="12627"/>
                    <a:pt x="6864" y="13993"/>
                  </a:cubicBezTo>
                  <a:cubicBezTo>
                    <a:pt x="7270" y="14288"/>
                    <a:pt x="7694" y="14712"/>
                    <a:pt x="8063" y="15321"/>
                  </a:cubicBezTo>
                  <a:cubicBezTo>
                    <a:pt x="8451" y="15764"/>
                    <a:pt x="8875" y="16631"/>
                    <a:pt x="9207" y="17332"/>
                  </a:cubicBezTo>
                  <a:cubicBezTo>
                    <a:pt x="9872" y="17960"/>
                    <a:pt x="10554" y="18753"/>
                    <a:pt x="11053" y="19344"/>
                  </a:cubicBezTo>
                  <a:cubicBezTo>
                    <a:pt x="11292" y="19620"/>
                    <a:pt x="11458" y="19842"/>
                    <a:pt x="11643" y="19990"/>
                  </a:cubicBezTo>
                  <a:cubicBezTo>
                    <a:pt x="11551" y="19823"/>
                    <a:pt x="12067" y="19787"/>
                    <a:pt x="12935" y="19750"/>
                  </a:cubicBezTo>
                  <a:cubicBezTo>
                    <a:pt x="13451" y="19602"/>
                    <a:pt x="16939" y="17738"/>
                    <a:pt x="18119" y="16982"/>
                  </a:cubicBezTo>
                  <a:cubicBezTo>
                    <a:pt x="18193" y="16816"/>
                    <a:pt x="18710" y="15949"/>
                    <a:pt x="18802" y="15801"/>
                  </a:cubicBezTo>
                  <a:cubicBezTo>
                    <a:pt x="18839" y="15561"/>
                    <a:pt x="19005" y="15155"/>
                    <a:pt x="19042" y="14952"/>
                  </a:cubicBezTo>
                  <a:cubicBezTo>
                    <a:pt x="19116" y="13919"/>
                    <a:pt x="19097" y="12683"/>
                    <a:pt x="18931" y="11779"/>
                  </a:cubicBezTo>
                  <a:cubicBezTo>
                    <a:pt x="18931" y="12074"/>
                    <a:pt x="18507" y="12037"/>
                    <a:pt x="18101" y="12000"/>
                  </a:cubicBezTo>
                  <a:cubicBezTo>
                    <a:pt x="17529" y="12314"/>
                    <a:pt x="16256" y="12738"/>
                    <a:pt x="14761" y="12092"/>
                  </a:cubicBezTo>
                  <a:cubicBezTo>
                    <a:pt x="13267" y="11354"/>
                    <a:pt x="10148" y="9767"/>
                    <a:pt x="9890" y="7184"/>
                  </a:cubicBezTo>
                  <a:lnTo>
                    <a:pt x="9447" y="6280"/>
                  </a:lnTo>
                  <a:cubicBezTo>
                    <a:pt x="9097" y="6243"/>
                    <a:pt x="8765" y="6206"/>
                    <a:pt x="8414" y="6151"/>
                  </a:cubicBezTo>
                  <a:cubicBezTo>
                    <a:pt x="7510" y="6040"/>
                    <a:pt x="6809" y="5948"/>
                    <a:pt x="6292" y="6003"/>
                  </a:cubicBezTo>
                  <a:close/>
                  <a:moveTo>
                    <a:pt x="15739" y="7535"/>
                  </a:moveTo>
                  <a:lnTo>
                    <a:pt x="15739" y="7535"/>
                  </a:lnTo>
                  <a:close/>
                </a:path>
              </a:pathLst>
            </a:custGeom>
            <a:solidFill>
              <a:srgbClr val="FFFFFF"/>
            </a:solidFill>
            <a:ln w="1835" cap="flat">
              <a:noFill/>
              <a:prstDash val="solid"/>
              <a:miter/>
            </a:ln>
          </p:spPr>
          <p:txBody>
            <a:bodyPr/>
            <a:lstStyle/>
            <a:p>
              <a:endParaRPr lang="en-GB"/>
            </a:p>
          </p:txBody>
        </p:sp>
        <p:sp>
          <p:nvSpPr>
            <p:cNvPr id="1528" name="Freeform: Shape 1527">
              <a:extLst>
                <a:ext uri="{FF2B5EF4-FFF2-40B4-BE49-F238E27FC236}">
                  <a16:creationId xmlns:a16="http://schemas.microsoft.com/office/drawing/2014/main" id="{B04AD7F4-C001-4D9E-B2D8-740C0B76AA16}"/>
                </a:ext>
              </a:extLst>
            </p:cNvPr>
            <p:cNvSpPr/>
            <p:nvPr/>
          </p:nvSpPr>
          <p:spPr>
            <a:xfrm>
              <a:off x="10941194" y="4885906"/>
              <a:ext cx="18160" cy="21073"/>
            </a:xfrm>
            <a:custGeom>
              <a:avLst/>
              <a:gdLst>
                <a:gd name="csX0" fmla="*/ 10260 w 18160"/>
                <a:gd name="csY0" fmla="*/ 1967 h 21073"/>
                <a:gd name="csX1" fmla="*/ 10260 w 18160"/>
                <a:gd name="csY1" fmla="*/ 1967 h 21073"/>
                <a:gd name="csX2" fmla="*/ 3580 w 18160"/>
                <a:gd name="csY2" fmla="*/ 48 h 21073"/>
                <a:gd name="csX3" fmla="*/ 1200 w 18160"/>
                <a:gd name="csY3" fmla="*/ 3627 h 21073"/>
                <a:gd name="csX4" fmla="*/ 130 w 18160"/>
                <a:gd name="csY4" fmla="*/ 11395 h 21073"/>
                <a:gd name="csX5" fmla="*/ 960 w 18160"/>
                <a:gd name="csY5" fmla="*/ 13185 h 21073"/>
                <a:gd name="csX6" fmla="*/ 1440 w 18160"/>
                <a:gd name="csY6" fmla="*/ 15565 h 21073"/>
                <a:gd name="csX7" fmla="*/ 6939 w 18160"/>
                <a:gd name="csY7" fmla="*/ 21064 h 21073"/>
                <a:gd name="csX8" fmla="*/ 13858 w 18160"/>
                <a:gd name="csY8" fmla="*/ 19754 h 21073"/>
                <a:gd name="csX9" fmla="*/ 15888 w 18160"/>
                <a:gd name="csY9" fmla="*/ 18315 h 21073"/>
                <a:gd name="csX10" fmla="*/ 17087 w 18160"/>
                <a:gd name="csY10" fmla="*/ 16525 h 21073"/>
                <a:gd name="csX11" fmla="*/ 18157 w 18160"/>
                <a:gd name="csY11" fmla="*/ 12466 h 21073"/>
                <a:gd name="csX12" fmla="*/ 15057 w 18160"/>
                <a:gd name="csY12" fmla="*/ 8997 h 21073"/>
                <a:gd name="csX13" fmla="*/ 13028 w 18160"/>
                <a:gd name="csY13" fmla="*/ 8997 h 21073"/>
                <a:gd name="csX14" fmla="*/ 10887 w 18160"/>
                <a:gd name="csY14" fmla="*/ 5528 h 21073"/>
                <a:gd name="csX15" fmla="*/ 10297 w 18160"/>
                <a:gd name="csY15" fmla="*/ 1948 h 210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8160" h="21073">
                  <a:moveTo>
                    <a:pt x="10260" y="1967"/>
                  </a:moveTo>
                  <a:lnTo>
                    <a:pt x="10260" y="1967"/>
                  </a:lnTo>
                  <a:cubicBezTo>
                    <a:pt x="7990" y="1376"/>
                    <a:pt x="6071" y="-303"/>
                    <a:pt x="3580" y="48"/>
                  </a:cubicBezTo>
                  <a:cubicBezTo>
                    <a:pt x="2510" y="288"/>
                    <a:pt x="1200" y="3627"/>
                    <a:pt x="1200" y="3627"/>
                  </a:cubicBezTo>
                  <a:cubicBezTo>
                    <a:pt x="610" y="6137"/>
                    <a:pt x="-350" y="8997"/>
                    <a:pt x="130" y="11395"/>
                  </a:cubicBezTo>
                  <a:cubicBezTo>
                    <a:pt x="241" y="12115"/>
                    <a:pt x="720" y="12466"/>
                    <a:pt x="960" y="13185"/>
                  </a:cubicBezTo>
                  <a:cubicBezTo>
                    <a:pt x="1200" y="13905"/>
                    <a:pt x="1311" y="14864"/>
                    <a:pt x="1440" y="15565"/>
                  </a:cubicBezTo>
                  <a:cubicBezTo>
                    <a:pt x="4060" y="20584"/>
                    <a:pt x="2510" y="19975"/>
                    <a:pt x="6939" y="21064"/>
                  </a:cubicBezTo>
                  <a:cubicBezTo>
                    <a:pt x="7418" y="21175"/>
                    <a:pt x="12308" y="20234"/>
                    <a:pt x="13858" y="19754"/>
                  </a:cubicBezTo>
                  <a:cubicBezTo>
                    <a:pt x="15297" y="19274"/>
                    <a:pt x="15168" y="18795"/>
                    <a:pt x="15888" y="18315"/>
                  </a:cubicBezTo>
                  <a:cubicBezTo>
                    <a:pt x="16238" y="17724"/>
                    <a:pt x="16847" y="17245"/>
                    <a:pt x="17087" y="16525"/>
                  </a:cubicBezTo>
                  <a:cubicBezTo>
                    <a:pt x="17567" y="15215"/>
                    <a:pt x="18046" y="13776"/>
                    <a:pt x="18157" y="12466"/>
                  </a:cubicBezTo>
                  <a:cubicBezTo>
                    <a:pt x="18268" y="10676"/>
                    <a:pt x="15537" y="9476"/>
                    <a:pt x="15057" y="8997"/>
                  </a:cubicBezTo>
                  <a:cubicBezTo>
                    <a:pt x="14338" y="8997"/>
                    <a:pt x="13747" y="9587"/>
                    <a:pt x="13028" y="8997"/>
                  </a:cubicBezTo>
                  <a:cubicBezTo>
                    <a:pt x="12308" y="8406"/>
                    <a:pt x="10278" y="6377"/>
                    <a:pt x="10887" y="5528"/>
                  </a:cubicBezTo>
                  <a:lnTo>
                    <a:pt x="10297" y="1948"/>
                  </a:lnTo>
                  <a:close/>
                </a:path>
              </a:pathLst>
            </a:custGeom>
            <a:solidFill>
              <a:srgbClr val="FFFFFF"/>
            </a:solidFill>
            <a:ln w="1835" cap="flat">
              <a:noFill/>
              <a:prstDash val="solid"/>
              <a:miter/>
            </a:ln>
          </p:spPr>
          <p:txBody>
            <a:bodyPr/>
            <a:lstStyle/>
            <a:p>
              <a:endParaRPr lang="en-GB"/>
            </a:p>
          </p:txBody>
        </p:sp>
        <p:sp>
          <p:nvSpPr>
            <p:cNvPr id="1529" name="Freeform: Shape 1528">
              <a:extLst>
                <a:ext uri="{FF2B5EF4-FFF2-40B4-BE49-F238E27FC236}">
                  <a16:creationId xmlns:a16="http://schemas.microsoft.com/office/drawing/2014/main" id="{E63716B5-BD05-192A-A044-73B122F5B636}"/>
                </a:ext>
              </a:extLst>
            </p:cNvPr>
            <p:cNvSpPr/>
            <p:nvPr/>
          </p:nvSpPr>
          <p:spPr>
            <a:xfrm>
              <a:off x="10938163" y="4882931"/>
              <a:ext cx="24154" cy="27009"/>
            </a:xfrm>
            <a:custGeom>
              <a:avLst/>
              <a:gdLst>
                <a:gd name="csX0" fmla="*/ 10006 w 24154"/>
                <a:gd name="csY0" fmla="*/ 27010 h 27009"/>
                <a:gd name="csX1" fmla="*/ 9176 w 24154"/>
                <a:gd name="csY1" fmla="*/ 26936 h 27009"/>
                <a:gd name="csX2" fmla="*/ 3050 w 24154"/>
                <a:gd name="csY2" fmla="*/ 22545 h 27009"/>
                <a:gd name="csX3" fmla="*/ 1795 w 24154"/>
                <a:gd name="csY3" fmla="*/ 19943 h 27009"/>
                <a:gd name="csX4" fmla="*/ 1500 w 24154"/>
                <a:gd name="csY4" fmla="*/ 19076 h 27009"/>
                <a:gd name="csX5" fmla="*/ 1113 w 24154"/>
                <a:gd name="csY5" fmla="*/ 17083 h 27009"/>
                <a:gd name="csX6" fmla="*/ 172 w 24154"/>
                <a:gd name="csY6" fmla="*/ 14850 h 27009"/>
                <a:gd name="csX7" fmla="*/ 984 w 24154"/>
                <a:gd name="csY7" fmla="*/ 7174 h 27009"/>
                <a:gd name="csX8" fmla="*/ 1297 w 24154"/>
                <a:gd name="csY8" fmla="*/ 5920 h 27009"/>
                <a:gd name="csX9" fmla="*/ 5929 w 24154"/>
                <a:gd name="csY9" fmla="*/ 107 h 27009"/>
                <a:gd name="csX10" fmla="*/ 12221 w 24154"/>
                <a:gd name="csY10" fmla="*/ 1325 h 27009"/>
                <a:gd name="csX11" fmla="*/ 14029 w 24154"/>
                <a:gd name="csY11" fmla="*/ 2045 h 27009"/>
                <a:gd name="csX12" fmla="*/ 16206 w 24154"/>
                <a:gd name="csY12" fmla="*/ 4443 h 27009"/>
                <a:gd name="csX13" fmla="*/ 16815 w 24154"/>
                <a:gd name="csY13" fmla="*/ 8023 h 27009"/>
                <a:gd name="csX14" fmla="*/ 16870 w 24154"/>
                <a:gd name="csY14" fmla="*/ 8577 h 27009"/>
                <a:gd name="csX15" fmla="*/ 17295 w 24154"/>
                <a:gd name="csY15" fmla="*/ 9075 h 27009"/>
                <a:gd name="csX16" fmla="*/ 20173 w 24154"/>
                <a:gd name="csY16" fmla="*/ 9887 h 27009"/>
                <a:gd name="csX17" fmla="*/ 24140 w 24154"/>
                <a:gd name="csY17" fmla="*/ 15662 h 27009"/>
                <a:gd name="csX18" fmla="*/ 22886 w 24154"/>
                <a:gd name="csY18" fmla="*/ 20533 h 27009"/>
                <a:gd name="csX19" fmla="*/ 21686 w 24154"/>
                <a:gd name="csY19" fmla="*/ 22545 h 27009"/>
                <a:gd name="csX20" fmla="*/ 20542 w 24154"/>
                <a:gd name="csY20" fmla="*/ 23799 h 27009"/>
                <a:gd name="csX21" fmla="*/ 17811 w 24154"/>
                <a:gd name="csY21" fmla="*/ 25571 h 27009"/>
                <a:gd name="csX22" fmla="*/ 10006 w 24154"/>
                <a:gd name="csY22" fmla="*/ 27010 h 27009"/>
                <a:gd name="csX23" fmla="*/ 9065 w 24154"/>
                <a:gd name="csY23" fmla="*/ 20810 h 27009"/>
                <a:gd name="csX24" fmla="*/ 10043 w 24154"/>
                <a:gd name="csY24" fmla="*/ 20995 h 27009"/>
                <a:gd name="csX25" fmla="*/ 16003 w 24154"/>
                <a:gd name="csY25" fmla="*/ 19869 h 27009"/>
                <a:gd name="csX26" fmla="*/ 16704 w 24154"/>
                <a:gd name="csY26" fmla="*/ 19223 h 27009"/>
                <a:gd name="csX27" fmla="*/ 17073 w 24154"/>
                <a:gd name="csY27" fmla="*/ 18762 h 27009"/>
                <a:gd name="csX28" fmla="*/ 18199 w 24154"/>
                <a:gd name="csY28" fmla="*/ 15164 h 27009"/>
                <a:gd name="csX29" fmla="*/ 17442 w 24154"/>
                <a:gd name="csY29" fmla="*/ 15145 h 27009"/>
                <a:gd name="csX30" fmla="*/ 14140 w 24154"/>
                <a:gd name="csY30" fmla="*/ 14260 h 27009"/>
                <a:gd name="csX31" fmla="*/ 10837 w 24154"/>
                <a:gd name="csY31" fmla="*/ 8318 h 27009"/>
                <a:gd name="csX32" fmla="*/ 10652 w 24154"/>
                <a:gd name="csY32" fmla="*/ 7156 h 27009"/>
                <a:gd name="csX33" fmla="*/ 9785 w 24154"/>
                <a:gd name="csY33" fmla="*/ 6768 h 27009"/>
                <a:gd name="csX34" fmla="*/ 7829 w 24154"/>
                <a:gd name="csY34" fmla="*/ 6030 h 27009"/>
                <a:gd name="csX35" fmla="*/ 7017 w 24154"/>
                <a:gd name="csY35" fmla="*/ 7709 h 27009"/>
                <a:gd name="csX36" fmla="*/ 6814 w 24154"/>
                <a:gd name="csY36" fmla="*/ 8650 h 27009"/>
                <a:gd name="csX37" fmla="*/ 6095 w 24154"/>
                <a:gd name="csY37" fmla="*/ 13798 h 27009"/>
                <a:gd name="csX38" fmla="*/ 6833 w 24154"/>
                <a:gd name="csY38" fmla="*/ 15201 h 27009"/>
                <a:gd name="csX39" fmla="*/ 7331 w 24154"/>
                <a:gd name="csY39" fmla="*/ 17507 h 27009"/>
                <a:gd name="csX40" fmla="*/ 8549 w 24154"/>
                <a:gd name="csY40" fmla="*/ 20146 h 27009"/>
                <a:gd name="csX41" fmla="*/ 8936 w 24154"/>
                <a:gd name="csY41" fmla="*/ 20958 h 27009"/>
                <a:gd name="csX42" fmla="*/ 9102 w 24154"/>
                <a:gd name="csY42" fmla="*/ 20810 h 27009"/>
                <a:gd name="csX43" fmla="*/ 16317 w 24154"/>
                <a:gd name="csY43" fmla="*/ 10256 h 27009"/>
                <a:gd name="csX44" fmla="*/ 16317 w 24154"/>
                <a:gd name="csY44" fmla="*/ 10256 h 27009"/>
                <a:gd name="csX45" fmla="*/ 16317 w 24154"/>
                <a:gd name="csY45" fmla="*/ 10256 h 27009"/>
                <a:gd name="csX46" fmla="*/ 8161 w 24154"/>
                <a:gd name="csY46" fmla="*/ 5514 h 27009"/>
                <a:gd name="csX47" fmla="*/ 8161 w 24154"/>
                <a:gd name="csY47" fmla="*/ 5514 h 270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24154" h="27009">
                  <a:moveTo>
                    <a:pt x="10006" y="27010"/>
                  </a:moveTo>
                  <a:cubicBezTo>
                    <a:pt x="9674" y="27010"/>
                    <a:pt x="9398" y="26991"/>
                    <a:pt x="9176" y="26936"/>
                  </a:cubicBezTo>
                  <a:cubicBezTo>
                    <a:pt x="5264" y="25995"/>
                    <a:pt x="4342" y="25515"/>
                    <a:pt x="3050" y="22545"/>
                  </a:cubicBezTo>
                  <a:cubicBezTo>
                    <a:pt x="2773" y="21936"/>
                    <a:pt x="2404" y="21105"/>
                    <a:pt x="1795" y="19943"/>
                  </a:cubicBezTo>
                  <a:cubicBezTo>
                    <a:pt x="1648" y="19666"/>
                    <a:pt x="1556" y="19389"/>
                    <a:pt x="1500" y="19076"/>
                  </a:cubicBezTo>
                  <a:cubicBezTo>
                    <a:pt x="1334" y="18005"/>
                    <a:pt x="1260" y="17489"/>
                    <a:pt x="1113" y="17083"/>
                  </a:cubicBezTo>
                  <a:cubicBezTo>
                    <a:pt x="762" y="16529"/>
                    <a:pt x="338" y="15847"/>
                    <a:pt x="172" y="14850"/>
                  </a:cubicBezTo>
                  <a:cubicBezTo>
                    <a:pt x="-326" y="12304"/>
                    <a:pt x="356" y="9573"/>
                    <a:pt x="984" y="7174"/>
                  </a:cubicBezTo>
                  <a:lnTo>
                    <a:pt x="1297" y="5920"/>
                  </a:lnTo>
                  <a:cubicBezTo>
                    <a:pt x="3309" y="698"/>
                    <a:pt x="5283" y="255"/>
                    <a:pt x="5929" y="107"/>
                  </a:cubicBezTo>
                  <a:cubicBezTo>
                    <a:pt x="8696" y="-317"/>
                    <a:pt x="10634" y="606"/>
                    <a:pt x="12221" y="1325"/>
                  </a:cubicBezTo>
                  <a:cubicBezTo>
                    <a:pt x="12811" y="1602"/>
                    <a:pt x="13402" y="1879"/>
                    <a:pt x="14029" y="2045"/>
                  </a:cubicBezTo>
                  <a:cubicBezTo>
                    <a:pt x="15154" y="2340"/>
                    <a:pt x="16022" y="3281"/>
                    <a:pt x="16206" y="4443"/>
                  </a:cubicBezTo>
                  <a:lnTo>
                    <a:pt x="16815" y="8023"/>
                  </a:lnTo>
                  <a:cubicBezTo>
                    <a:pt x="16852" y="8208"/>
                    <a:pt x="16870" y="8392"/>
                    <a:pt x="16870" y="8577"/>
                  </a:cubicBezTo>
                  <a:cubicBezTo>
                    <a:pt x="16981" y="8724"/>
                    <a:pt x="17147" y="8890"/>
                    <a:pt x="17295" y="9075"/>
                  </a:cubicBezTo>
                  <a:cubicBezTo>
                    <a:pt x="18236" y="8909"/>
                    <a:pt x="19417" y="9130"/>
                    <a:pt x="20173" y="9887"/>
                  </a:cubicBezTo>
                  <a:cubicBezTo>
                    <a:pt x="21520" y="10699"/>
                    <a:pt x="24380" y="12525"/>
                    <a:pt x="24140" y="15662"/>
                  </a:cubicBezTo>
                  <a:cubicBezTo>
                    <a:pt x="23993" y="17360"/>
                    <a:pt x="23458" y="19002"/>
                    <a:pt x="22886" y="20533"/>
                  </a:cubicBezTo>
                  <a:cubicBezTo>
                    <a:pt x="22609" y="21401"/>
                    <a:pt x="22055" y="22083"/>
                    <a:pt x="21686" y="22545"/>
                  </a:cubicBezTo>
                  <a:cubicBezTo>
                    <a:pt x="21465" y="22932"/>
                    <a:pt x="20930" y="23541"/>
                    <a:pt x="20542" y="23799"/>
                  </a:cubicBezTo>
                  <a:cubicBezTo>
                    <a:pt x="20063" y="24390"/>
                    <a:pt x="19380" y="25054"/>
                    <a:pt x="17811" y="25571"/>
                  </a:cubicBezTo>
                  <a:cubicBezTo>
                    <a:pt x="17701" y="25607"/>
                    <a:pt x="12479" y="27010"/>
                    <a:pt x="10006" y="27010"/>
                  </a:cubicBezTo>
                  <a:close/>
                  <a:moveTo>
                    <a:pt x="9065" y="20810"/>
                  </a:moveTo>
                  <a:cubicBezTo>
                    <a:pt x="9268" y="20810"/>
                    <a:pt x="9619" y="20884"/>
                    <a:pt x="10043" y="20995"/>
                  </a:cubicBezTo>
                  <a:cubicBezTo>
                    <a:pt x="11021" y="20921"/>
                    <a:pt x="14749" y="20275"/>
                    <a:pt x="16003" y="19869"/>
                  </a:cubicBezTo>
                  <a:cubicBezTo>
                    <a:pt x="16206" y="19703"/>
                    <a:pt x="16428" y="19463"/>
                    <a:pt x="16704" y="19223"/>
                  </a:cubicBezTo>
                  <a:cubicBezTo>
                    <a:pt x="16815" y="19076"/>
                    <a:pt x="16944" y="18928"/>
                    <a:pt x="17073" y="18762"/>
                  </a:cubicBezTo>
                  <a:cubicBezTo>
                    <a:pt x="17701" y="17378"/>
                    <a:pt x="18125" y="16142"/>
                    <a:pt x="18199" y="15164"/>
                  </a:cubicBezTo>
                  <a:cubicBezTo>
                    <a:pt x="18181" y="15478"/>
                    <a:pt x="17775" y="15330"/>
                    <a:pt x="17442" y="15145"/>
                  </a:cubicBezTo>
                  <a:cubicBezTo>
                    <a:pt x="16612" y="15275"/>
                    <a:pt x="15339" y="15293"/>
                    <a:pt x="14140" y="14260"/>
                  </a:cubicBezTo>
                  <a:cubicBezTo>
                    <a:pt x="11722" y="12249"/>
                    <a:pt x="10578" y="10127"/>
                    <a:pt x="10837" y="8318"/>
                  </a:cubicBezTo>
                  <a:lnTo>
                    <a:pt x="10652" y="7156"/>
                  </a:lnTo>
                  <a:cubicBezTo>
                    <a:pt x="10357" y="7027"/>
                    <a:pt x="10062" y="6898"/>
                    <a:pt x="9785" y="6768"/>
                  </a:cubicBezTo>
                  <a:cubicBezTo>
                    <a:pt x="8973" y="6399"/>
                    <a:pt x="8364" y="6123"/>
                    <a:pt x="7829" y="6030"/>
                  </a:cubicBezTo>
                  <a:cubicBezTo>
                    <a:pt x="7552" y="6510"/>
                    <a:pt x="7220" y="7193"/>
                    <a:pt x="7017" y="7709"/>
                  </a:cubicBezTo>
                  <a:lnTo>
                    <a:pt x="6814" y="8650"/>
                  </a:lnTo>
                  <a:cubicBezTo>
                    <a:pt x="6353" y="10440"/>
                    <a:pt x="5836" y="12470"/>
                    <a:pt x="6095" y="13798"/>
                  </a:cubicBezTo>
                  <a:cubicBezTo>
                    <a:pt x="6335" y="14094"/>
                    <a:pt x="6611" y="14573"/>
                    <a:pt x="6833" y="15201"/>
                  </a:cubicBezTo>
                  <a:cubicBezTo>
                    <a:pt x="7073" y="15920"/>
                    <a:pt x="7220" y="16769"/>
                    <a:pt x="7331" y="17507"/>
                  </a:cubicBezTo>
                  <a:cubicBezTo>
                    <a:pt x="7829" y="18485"/>
                    <a:pt x="8235" y="19445"/>
                    <a:pt x="8549" y="20146"/>
                  </a:cubicBezTo>
                  <a:cubicBezTo>
                    <a:pt x="8715" y="20496"/>
                    <a:pt x="8826" y="20755"/>
                    <a:pt x="8936" y="20958"/>
                  </a:cubicBezTo>
                  <a:cubicBezTo>
                    <a:pt x="8881" y="20847"/>
                    <a:pt x="8936" y="20810"/>
                    <a:pt x="9102" y="20810"/>
                  </a:cubicBezTo>
                  <a:close/>
                  <a:moveTo>
                    <a:pt x="16317" y="10256"/>
                  </a:moveTo>
                  <a:lnTo>
                    <a:pt x="16317" y="10256"/>
                  </a:lnTo>
                  <a:cubicBezTo>
                    <a:pt x="16317" y="10256"/>
                    <a:pt x="16317" y="10256"/>
                    <a:pt x="16317" y="10256"/>
                  </a:cubicBezTo>
                  <a:close/>
                  <a:moveTo>
                    <a:pt x="8161" y="5514"/>
                  </a:moveTo>
                  <a:lnTo>
                    <a:pt x="8161" y="5514"/>
                  </a:lnTo>
                  <a:close/>
                </a:path>
              </a:pathLst>
            </a:custGeom>
            <a:solidFill>
              <a:srgbClr val="FFFFFF"/>
            </a:solidFill>
            <a:ln w="1835" cap="flat">
              <a:noFill/>
              <a:prstDash val="solid"/>
              <a:miter/>
            </a:ln>
          </p:spPr>
          <p:txBody>
            <a:bodyPr/>
            <a:lstStyle/>
            <a:p>
              <a:endParaRPr lang="en-GB"/>
            </a:p>
          </p:txBody>
        </p:sp>
        <p:sp>
          <p:nvSpPr>
            <p:cNvPr id="1530" name="Freeform: Shape 1529">
              <a:extLst>
                <a:ext uri="{FF2B5EF4-FFF2-40B4-BE49-F238E27FC236}">
                  <a16:creationId xmlns:a16="http://schemas.microsoft.com/office/drawing/2014/main" id="{655AE0B8-1A10-065F-C809-D5519061F0F5}"/>
                </a:ext>
              </a:extLst>
            </p:cNvPr>
            <p:cNvSpPr/>
            <p:nvPr/>
          </p:nvSpPr>
          <p:spPr>
            <a:xfrm>
              <a:off x="10891744" y="4822904"/>
              <a:ext cx="19471" cy="19601"/>
            </a:xfrm>
            <a:custGeom>
              <a:avLst/>
              <a:gdLst>
                <a:gd name="csX0" fmla="*/ 0 w 19471"/>
                <a:gd name="csY0" fmla="*/ 11957 h 19601"/>
                <a:gd name="csX1" fmla="*/ 0 w 19471"/>
                <a:gd name="csY1" fmla="*/ 11957 h 19601"/>
                <a:gd name="csX2" fmla="*/ 959 w 19471"/>
                <a:gd name="csY2" fmla="*/ 18765 h 19601"/>
                <a:gd name="csX3" fmla="*/ 5148 w 19471"/>
                <a:gd name="csY3" fmla="*/ 19596 h 19601"/>
                <a:gd name="csX4" fmla="*/ 12787 w 19471"/>
                <a:gd name="csY4" fmla="*/ 17437 h 19601"/>
                <a:gd name="csX5" fmla="*/ 14226 w 19471"/>
                <a:gd name="csY5" fmla="*/ 15998 h 19601"/>
                <a:gd name="csX6" fmla="*/ 16256 w 19471"/>
                <a:gd name="csY6" fmla="*/ 14558 h 19601"/>
                <a:gd name="csX7" fmla="*/ 19116 w 19471"/>
                <a:gd name="csY7" fmla="*/ 7510 h 19601"/>
                <a:gd name="csX8" fmla="*/ 15057 w 19471"/>
                <a:gd name="csY8" fmla="*/ 1661 h 19601"/>
                <a:gd name="csX9" fmla="*/ 12916 w 19471"/>
                <a:gd name="csY9" fmla="*/ 351 h 19601"/>
                <a:gd name="csX10" fmla="*/ 10886 w 19471"/>
                <a:gd name="csY10" fmla="*/ 0 h 19601"/>
                <a:gd name="csX11" fmla="*/ 6698 w 19471"/>
                <a:gd name="csY11" fmla="*/ 590 h 19601"/>
                <a:gd name="csX12" fmla="*/ 4668 w 19471"/>
                <a:gd name="csY12" fmla="*/ 4779 h 19601"/>
                <a:gd name="csX13" fmla="*/ 5499 w 19471"/>
                <a:gd name="csY13" fmla="*/ 6698 h 19601"/>
                <a:gd name="csX14" fmla="*/ 3118 w 19471"/>
                <a:gd name="csY14" fmla="*/ 9927 h 19601"/>
                <a:gd name="csX15" fmla="*/ 18 w 19471"/>
                <a:gd name="csY15" fmla="*/ 11957 h 1960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471" h="19601">
                  <a:moveTo>
                    <a:pt x="0" y="11957"/>
                  </a:moveTo>
                  <a:lnTo>
                    <a:pt x="0" y="11957"/>
                  </a:lnTo>
                  <a:cubicBezTo>
                    <a:pt x="351" y="14226"/>
                    <a:pt x="-480" y="16736"/>
                    <a:pt x="959" y="18765"/>
                  </a:cubicBezTo>
                  <a:cubicBezTo>
                    <a:pt x="1550" y="19725"/>
                    <a:pt x="5148" y="19596"/>
                    <a:pt x="5148" y="19596"/>
                  </a:cubicBezTo>
                  <a:cubicBezTo>
                    <a:pt x="7768" y="19116"/>
                    <a:pt x="10886" y="18876"/>
                    <a:pt x="12787" y="17437"/>
                  </a:cubicBezTo>
                  <a:cubicBezTo>
                    <a:pt x="13377" y="17086"/>
                    <a:pt x="13617" y="16477"/>
                    <a:pt x="14226" y="15998"/>
                  </a:cubicBezTo>
                  <a:cubicBezTo>
                    <a:pt x="14817" y="15518"/>
                    <a:pt x="15536" y="15038"/>
                    <a:pt x="16256" y="14558"/>
                  </a:cubicBezTo>
                  <a:cubicBezTo>
                    <a:pt x="19725" y="10259"/>
                    <a:pt x="19835" y="11938"/>
                    <a:pt x="19116" y="7510"/>
                  </a:cubicBezTo>
                  <a:cubicBezTo>
                    <a:pt x="19005" y="6919"/>
                    <a:pt x="16127" y="2860"/>
                    <a:pt x="15057" y="1661"/>
                  </a:cubicBezTo>
                  <a:cubicBezTo>
                    <a:pt x="14097" y="590"/>
                    <a:pt x="13617" y="830"/>
                    <a:pt x="12916" y="351"/>
                  </a:cubicBezTo>
                  <a:cubicBezTo>
                    <a:pt x="12326" y="240"/>
                    <a:pt x="11606" y="0"/>
                    <a:pt x="10886" y="0"/>
                  </a:cubicBezTo>
                  <a:cubicBezTo>
                    <a:pt x="9447" y="111"/>
                    <a:pt x="7897" y="111"/>
                    <a:pt x="6698" y="590"/>
                  </a:cubicBezTo>
                  <a:cubicBezTo>
                    <a:pt x="4908" y="1310"/>
                    <a:pt x="4908" y="4170"/>
                    <a:pt x="4668" y="4779"/>
                  </a:cubicBezTo>
                  <a:cubicBezTo>
                    <a:pt x="5019" y="5499"/>
                    <a:pt x="5738" y="5849"/>
                    <a:pt x="5499" y="6698"/>
                  </a:cubicBezTo>
                  <a:cubicBezTo>
                    <a:pt x="5259" y="7528"/>
                    <a:pt x="4189" y="10167"/>
                    <a:pt x="3118" y="9927"/>
                  </a:cubicBezTo>
                  <a:lnTo>
                    <a:pt x="18" y="11957"/>
                  </a:lnTo>
                  <a:close/>
                </a:path>
              </a:pathLst>
            </a:custGeom>
            <a:solidFill>
              <a:srgbClr val="FFFFFF"/>
            </a:solidFill>
            <a:ln w="1835" cap="flat">
              <a:noFill/>
              <a:prstDash val="solid"/>
              <a:miter/>
            </a:ln>
          </p:spPr>
          <p:txBody>
            <a:bodyPr/>
            <a:lstStyle/>
            <a:p>
              <a:endParaRPr lang="en-GB"/>
            </a:p>
          </p:txBody>
        </p:sp>
        <p:sp>
          <p:nvSpPr>
            <p:cNvPr id="1531" name="Freeform: Shape 1530">
              <a:extLst>
                <a:ext uri="{FF2B5EF4-FFF2-40B4-BE49-F238E27FC236}">
                  <a16:creationId xmlns:a16="http://schemas.microsoft.com/office/drawing/2014/main" id="{9C99E7EB-773C-8AEA-90E1-57E248361167}"/>
                </a:ext>
              </a:extLst>
            </p:cNvPr>
            <p:cNvSpPr/>
            <p:nvPr/>
          </p:nvSpPr>
          <p:spPr>
            <a:xfrm>
              <a:off x="10888755" y="4819915"/>
              <a:ext cx="25405" cy="25537"/>
            </a:xfrm>
            <a:custGeom>
              <a:avLst/>
              <a:gdLst>
                <a:gd name="csX0" fmla="*/ 7731 w 25405"/>
                <a:gd name="csY0" fmla="*/ 25537 h 25537"/>
                <a:gd name="csX1" fmla="*/ 1421 w 25405"/>
                <a:gd name="csY1" fmla="*/ 23341 h 25537"/>
                <a:gd name="csX2" fmla="*/ 92 w 25405"/>
                <a:gd name="csY2" fmla="*/ 17271 h 25537"/>
                <a:gd name="csX3" fmla="*/ 37 w 25405"/>
                <a:gd name="csY3" fmla="*/ 15389 h 25537"/>
                <a:gd name="csX4" fmla="*/ 1347 w 25405"/>
                <a:gd name="csY4" fmla="*/ 12418 h 25537"/>
                <a:gd name="csX5" fmla="*/ 4465 w 25405"/>
                <a:gd name="csY5" fmla="*/ 10388 h 25537"/>
                <a:gd name="csX6" fmla="*/ 5074 w 25405"/>
                <a:gd name="csY6" fmla="*/ 10075 h 25537"/>
                <a:gd name="csX7" fmla="*/ 5296 w 25405"/>
                <a:gd name="csY7" fmla="*/ 9650 h 25537"/>
                <a:gd name="csX8" fmla="*/ 4982 w 25405"/>
                <a:gd name="csY8" fmla="*/ 9115 h 25537"/>
                <a:gd name="csX9" fmla="*/ 4871 w 25405"/>
                <a:gd name="csY9" fmla="*/ 6679 h 25537"/>
                <a:gd name="csX10" fmla="*/ 8580 w 25405"/>
                <a:gd name="csY10" fmla="*/ 812 h 25537"/>
                <a:gd name="csX11" fmla="*/ 12713 w 25405"/>
                <a:gd name="csY11" fmla="*/ 74 h 25537"/>
                <a:gd name="csX12" fmla="*/ 13580 w 25405"/>
                <a:gd name="csY12" fmla="*/ 0 h 25537"/>
                <a:gd name="csX13" fmla="*/ 16053 w 25405"/>
                <a:gd name="csY13" fmla="*/ 314 h 25537"/>
                <a:gd name="csX14" fmla="*/ 17529 w 25405"/>
                <a:gd name="csY14" fmla="*/ 830 h 25537"/>
                <a:gd name="csX15" fmla="*/ 20278 w 25405"/>
                <a:gd name="csY15" fmla="*/ 2657 h 25537"/>
                <a:gd name="csX16" fmla="*/ 25039 w 25405"/>
                <a:gd name="csY16" fmla="*/ 9909 h 25537"/>
                <a:gd name="csX17" fmla="*/ 23471 w 25405"/>
                <a:gd name="csY17" fmla="*/ 17252 h 25537"/>
                <a:gd name="csX18" fmla="*/ 21570 w 25405"/>
                <a:gd name="csY18" fmla="*/ 19430 h 25537"/>
                <a:gd name="csX19" fmla="*/ 20924 w 25405"/>
                <a:gd name="csY19" fmla="*/ 20020 h 25537"/>
                <a:gd name="csX20" fmla="*/ 19079 w 25405"/>
                <a:gd name="csY20" fmla="*/ 21312 h 25537"/>
                <a:gd name="csX21" fmla="*/ 17326 w 25405"/>
                <a:gd name="csY21" fmla="*/ 22972 h 25537"/>
                <a:gd name="csX22" fmla="*/ 10130 w 25405"/>
                <a:gd name="csY22" fmla="*/ 25242 h 25537"/>
                <a:gd name="csX23" fmla="*/ 8709 w 25405"/>
                <a:gd name="csY23" fmla="*/ 25482 h 25537"/>
                <a:gd name="csX24" fmla="*/ 7768 w 25405"/>
                <a:gd name="csY24" fmla="*/ 25482 h 25537"/>
                <a:gd name="csX25" fmla="*/ 6347 w 25405"/>
                <a:gd name="csY25" fmla="*/ 19965 h 25537"/>
                <a:gd name="csX26" fmla="*/ 6384 w 25405"/>
                <a:gd name="csY26" fmla="*/ 20020 h 25537"/>
                <a:gd name="csX27" fmla="*/ 6347 w 25405"/>
                <a:gd name="csY27" fmla="*/ 19965 h 25537"/>
                <a:gd name="csX28" fmla="*/ 6163 w 25405"/>
                <a:gd name="csY28" fmla="*/ 19503 h 25537"/>
                <a:gd name="csX29" fmla="*/ 8045 w 25405"/>
                <a:gd name="csY29" fmla="*/ 19596 h 25537"/>
                <a:gd name="csX30" fmla="*/ 9134 w 25405"/>
                <a:gd name="csY30" fmla="*/ 19393 h 25537"/>
                <a:gd name="csX31" fmla="*/ 13968 w 25405"/>
                <a:gd name="csY31" fmla="*/ 18046 h 25537"/>
                <a:gd name="csX32" fmla="*/ 15333 w 25405"/>
                <a:gd name="csY32" fmla="*/ 16662 h 25537"/>
                <a:gd name="csX33" fmla="*/ 17363 w 25405"/>
                <a:gd name="csY33" fmla="*/ 15223 h 25537"/>
                <a:gd name="csX34" fmla="*/ 19097 w 25405"/>
                <a:gd name="csY34" fmla="*/ 13174 h 25537"/>
                <a:gd name="csX35" fmla="*/ 19651 w 25405"/>
                <a:gd name="csY35" fmla="*/ 12566 h 25537"/>
                <a:gd name="csX36" fmla="*/ 19227 w 25405"/>
                <a:gd name="csY36" fmla="*/ 11440 h 25537"/>
                <a:gd name="csX37" fmla="*/ 15813 w 25405"/>
                <a:gd name="csY37" fmla="*/ 6661 h 25537"/>
                <a:gd name="csX38" fmla="*/ 14761 w 25405"/>
                <a:gd name="csY38" fmla="*/ 6163 h 25537"/>
                <a:gd name="csX39" fmla="*/ 13839 w 25405"/>
                <a:gd name="csY39" fmla="*/ 5978 h 25537"/>
                <a:gd name="csX40" fmla="*/ 13119 w 25405"/>
                <a:gd name="csY40" fmla="*/ 6034 h 25537"/>
                <a:gd name="csX41" fmla="*/ 10776 w 25405"/>
                <a:gd name="csY41" fmla="*/ 6366 h 25537"/>
                <a:gd name="csX42" fmla="*/ 10794 w 25405"/>
                <a:gd name="csY42" fmla="*/ 7085 h 25537"/>
                <a:gd name="csX43" fmla="*/ 11329 w 25405"/>
                <a:gd name="csY43" fmla="*/ 10517 h 25537"/>
                <a:gd name="csX44" fmla="*/ 7067 w 25405"/>
                <a:gd name="csY44" fmla="*/ 15813 h 25537"/>
                <a:gd name="csX45" fmla="*/ 6052 w 25405"/>
                <a:gd name="csY45" fmla="*/ 16477 h 25537"/>
                <a:gd name="csX46" fmla="*/ 6034 w 25405"/>
                <a:gd name="csY46" fmla="*/ 17418 h 25537"/>
                <a:gd name="csX47" fmla="*/ 6144 w 25405"/>
                <a:gd name="csY47" fmla="*/ 19503 h 25537"/>
                <a:gd name="csX48" fmla="*/ 6753 w 25405"/>
                <a:gd name="csY48" fmla="*/ 9982 h 25537"/>
                <a:gd name="csX49" fmla="*/ 6753 w 25405"/>
                <a:gd name="csY49" fmla="*/ 9982 h 25537"/>
                <a:gd name="csX50" fmla="*/ 6753 w 25405"/>
                <a:gd name="csY50" fmla="*/ 9982 h 25537"/>
                <a:gd name="csX51" fmla="*/ 5609 w 25405"/>
                <a:gd name="csY51" fmla="*/ 8875 h 25537"/>
                <a:gd name="csX52" fmla="*/ 5609 w 25405"/>
                <a:gd name="csY52" fmla="*/ 8875 h 25537"/>
                <a:gd name="csX53" fmla="*/ 5609 w 25405"/>
                <a:gd name="csY53" fmla="*/ 8875 h 255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5405" h="25537">
                  <a:moveTo>
                    <a:pt x="7731" y="25537"/>
                  </a:moveTo>
                  <a:cubicBezTo>
                    <a:pt x="2805" y="25537"/>
                    <a:pt x="1771" y="23913"/>
                    <a:pt x="1421" y="23341"/>
                  </a:cubicBezTo>
                  <a:cubicBezTo>
                    <a:pt x="0" y="21330"/>
                    <a:pt x="37" y="18987"/>
                    <a:pt x="92" y="17271"/>
                  </a:cubicBezTo>
                  <a:cubicBezTo>
                    <a:pt x="92" y="16643"/>
                    <a:pt x="148" y="16016"/>
                    <a:pt x="37" y="15389"/>
                  </a:cubicBezTo>
                  <a:cubicBezTo>
                    <a:pt x="-148" y="14226"/>
                    <a:pt x="369" y="13064"/>
                    <a:pt x="1347" y="12418"/>
                  </a:cubicBezTo>
                  <a:lnTo>
                    <a:pt x="4465" y="10388"/>
                  </a:lnTo>
                  <a:cubicBezTo>
                    <a:pt x="4668" y="10259"/>
                    <a:pt x="4853" y="10148"/>
                    <a:pt x="5074" y="10075"/>
                  </a:cubicBezTo>
                  <a:cubicBezTo>
                    <a:pt x="5148" y="9945"/>
                    <a:pt x="5222" y="9798"/>
                    <a:pt x="5296" y="9650"/>
                  </a:cubicBezTo>
                  <a:cubicBezTo>
                    <a:pt x="5185" y="9466"/>
                    <a:pt x="5074" y="9300"/>
                    <a:pt x="4982" y="9115"/>
                  </a:cubicBezTo>
                  <a:cubicBezTo>
                    <a:pt x="4595" y="8359"/>
                    <a:pt x="4558" y="7473"/>
                    <a:pt x="4871" y="6679"/>
                  </a:cubicBezTo>
                  <a:cubicBezTo>
                    <a:pt x="5074" y="5222"/>
                    <a:pt x="5609" y="1993"/>
                    <a:pt x="8580" y="812"/>
                  </a:cubicBezTo>
                  <a:cubicBezTo>
                    <a:pt x="9927" y="258"/>
                    <a:pt x="11422" y="166"/>
                    <a:pt x="12713" y="74"/>
                  </a:cubicBezTo>
                  <a:lnTo>
                    <a:pt x="13580" y="0"/>
                  </a:lnTo>
                  <a:cubicBezTo>
                    <a:pt x="14761" y="74"/>
                    <a:pt x="15481" y="166"/>
                    <a:pt x="16053" y="314"/>
                  </a:cubicBezTo>
                  <a:cubicBezTo>
                    <a:pt x="16385" y="387"/>
                    <a:pt x="17234" y="646"/>
                    <a:pt x="17529" y="830"/>
                  </a:cubicBezTo>
                  <a:cubicBezTo>
                    <a:pt x="18341" y="1107"/>
                    <a:pt x="19227" y="1495"/>
                    <a:pt x="20278" y="2657"/>
                  </a:cubicBezTo>
                  <a:cubicBezTo>
                    <a:pt x="20315" y="2694"/>
                    <a:pt x="24670" y="8008"/>
                    <a:pt x="25039" y="9909"/>
                  </a:cubicBezTo>
                  <a:cubicBezTo>
                    <a:pt x="25648" y="13710"/>
                    <a:pt x="25722" y="14854"/>
                    <a:pt x="23471" y="17252"/>
                  </a:cubicBezTo>
                  <a:cubicBezTo>
                    <a:pt x="23009" y="17732"/>
                    <a:pt x="22400" y="18396"/>
                    <a:pt x="21570" y="19430"/>
                  </a:cubicBezTo>
                  <a:cubicBezTo>
                    <a:pt x="21385" y="19669"/>
                    <a:pt x="21164" y="19854"/>
                    <a:pt x="20924" y="20020"/>
                  </a:cubicBezTo>
                  <a:cubicBezTo>
                    <a:pt x="20131" y="20555"/>
                    <a:pt x="19559" y="20943"/>
                    <a:pt x="19079" y="21312"/>
                  </a:cubicBezTo>
                  <a:cubicBezTo>
                    <a:pt x="18581" y="21921"/>
                    <a:pt x="18101" y="22511"/>
                    <a:pt x="17326" y="22972"/>
                  </a:cubicBezTo>
                  <a:cubicBezTo>
                    <a:pt x="15444" y="24393"/>
                    <a:pt x="12621" y="24854"/>
                    <a:pt x="10130" y="25242"/>
                  </a:cubicBezTo>
                  <a:lnTo>
                    <a:pt x="8709" y="25482"/>
                  </a:lnTo>
                  <a:cubicBezTo>
                    <a:pt x="8377" y="25482"/>
                    <a:pt x="8082" y="25482"/>
                    <a:pt x="7768" y="25482"/>
                  </a:cubicBezTo>
                  <a:close/>
                  <a:moveTo>
                    <a:pt x="6347" y="19965"/>
                  </a:moveTo>
                  <a:cubicBezTo>
                    <a:pt x="6347" y="19965"/>
                    <a:pt x="6366" y="20020"/>
                    <a:pt x="6384" y="20020"/>
                  </a:cubicBezTo>
                  <a:cubicBezTo>
                    <a:pt x="6384" y="20002"/>
                    <a:pt x="6366" y="19983"/>
                    <a:pt x="6347" y="19965"/>
                  </a:cubicBezTo>
                  <a:close/>
                  <a:moveTo>
                    <a:pt x="6163" y="19503"/>
                  </a:moveTo>
                  <a:cubicBezTo>
                    <a:pt x="6698" y="19577"/>
                    <a:pt x="7491" y="19596"/>
                    <a:pt x="8045" y="19596"/>
                  </a:cubicBezTo>
                  <a:lnTo>
                    <a:pt x="9134" y="19393"/>
                  </a:lnTo>
                  <a:cubicBezTo>
                    <a:pt x="10960" y="19097"/>
                    <a:pt x="13008" y="18784"/>
                    <a:pt x="13968" y="18046"/>
                  </a:cubicBezTo>
                  <a:cubicBezTo>
                    <a:pt x="14466" y="17511"/>
                    <a:pt x="14817" y="17086"/>
                    <a:pt x="15333" y="16662"/>
                  </a:cubicBezTo>
                  <a:cubicBezTo>
                    <a:pt x="15942" y="16182"/>
                    <a:pt x="16643" y="15702"/>
                    <a:pt x="17363" y="15223"/>
                  </a:cubicBezTo>
                  <a:cubicBezTo>
                    <a:pt x="17861" y="14503"/>
                    <a:pt x="18581" y="13746"/>
                    <a:pt x="19097" y="13174"/>
                  </a:cubicBezTo>
                  <a:cubicBezTo>
                    <a:pt x="19337" y="12916"/>
                    <a:pt x="19522" y="12750"/>
                    <a:pt x="19651" y="12566"/>
                  </a:cubicBezTo>
                  <a:cubicBezTo>
                    <a:pt x="19411" y="12732"/>
                    <a:pt x="19356" y="12252"/>
                    <a:pt x="19227" y="11440"/>
                  </a:cubicBezTo>
                  <a:cubicBezTo>
                    <a:pt x="18987" y="10886"/>
                    <a:pt x="16680" y="7621"/>
                    <a:pt x="15813" y="6661"/>
                  </a:cubicBezTo>
                  <a:cubicBezTo>
                    <a:pt x="15463" y="6477"/>
                    <a:pt x="15130" y="6329"/>
                    <a:pt x="14761" y="6163"/>
                  </a:cubicBezTo>
                  <a:cubicBezTo>
                    <a:pt x="14208" y="6015"/>
                    <a:pt x="13968" y="5978"/>
                    <a:pt x="13839" y="5978"/>
                  </a:cubicBezTo>
                  <a:lnTo>
                    <a:pt x="13119" y="6034"/>
                  </a:lnTo>
                  <a:cubicBezTo>
                    <a:pt x="12252" y="6107"/>
                    <a:pt x="11274" y="6163"/>
                    <a:pt x="10776" y="6366"/>
                  </a:cubicBezTo>
                  <a:cubicBezTo>
                    <a:pt x="10868" y="6366"/>
                    <a:pt x="10850" y="6735"/>
                    <a:pt x="10794" y="7085"/>
                  </a:cubicBezTo>
                  <a:cubicBezTo>
                    <a:pt x="11292" y="7860"/>
                    <a:pt x="11754" y="9004"/>
                    <a:pt x="11329" y="10517"/>
                  </a:cubicBezTo>
                  <a:cubicBezTo>
                    <a:pt x="10684" y="12824"/>
                    <a:pt x="9226" y="15315"/>
                    <a:pt x="7067" y="15813"/>
                  </a:cubicBezTo>
                  <a:lnTo>
                    <a:pt x="6052" y="16477"/>
                  </a:lnTo>
                  <a:cubicBezTo>
                    <a:pt x="6052" y="16791"/>
                    <a:pt x="6052" y="17086"/>
                    <a:pt x="6034" y="17418"/>
                  </a:cubicBezTo>
                  <a:cubicBezTo>
                    <a:pt x="6034" y="18341"/>
                    <a:pt x="6015" y="19024"/>
                    <a:pt x="6144" y="19503"/>
                  </a:cubicBezTo>
                  <a:close/>
                  <a:moveTo>
                    <a:pt x="6753" y="9982"/>
                  </a:moveTo>
                  <a:lnTo>
                    <a:pt x="6753" y="9982"/>
                  </a:lnTo>
                  <a:lnTo>
                    <a:pt x="6753" y="9982"/>
                  </a:lnTo>
                  <a:close/>
                  <a:moveTo>
                    <a:pt x="5609" y="8875"/>
                  </a:moveTo>
                  <a:cubicBezTo>
                    <a:pt x="5609" y="8875"/>
                    <a:pt x="5609" y="8875"/>
                    <a:pt x="5609" y="8875"/>
                  </a:cubicBezTo>
                  <a:cubicBezTo>
                    <a:pt x="5609" y="8875"/>
                    <a:pt x="5609" y="8875"/>
                    <a:pt x="5609" y="8875"/>
                  </a:cubicBezTo>
                  <a:close/>
                </a:path>
              </a:pathLst>
            </a:custGeom>
            <a:solidFill>
              <a:srgbClr val="FFFFFF"/>
            </a:solidFill>
            <a:ln w="1835" cap="flat">
              <a:noFill/>
              <a:prstDash val="solid"/>
              <a:miter/>
            </a:ln>
          </p:spPr>
          <p:txBody>
            <a:bodyPr/>
            <a:lstStyle/>
            <a:p>
              <a:endParaRPr lang="en-GB"/>
            </a:p>
          </p:txBody>
        </p:sp>
        <p:sp>
          <p:nvSpPr>
            <p:cNvPr id="1532" name="Freeform: Shape 1531">
              <a:extLst>
                <a:ext uri="{FF2B5EF4-FFF2-40B4-BE49-F238E27FC236}">
                  <a16:creationId xmlns:a16="http://schemas.microsoft.com/office/drawing/2014/main" id="{1E8F819C-2035-1530-EE31-9B30B15C9449}"/>
                </a:ext>
              </a:extLst>
            </p:cNvPr>
            <p:cNvSpPr/>
            <p:nvPr/>
          </p:nvSpPr>
          <p:spPr>
            <a:xfrm>
              <a:off x="10864030" y="4893617"/>
              <a:ext cx="21265" cy="18261"/>
            </a:xfrm>
            <a:custGeom>
              <a:avLst/>
              <a:gdLst>
                <a:gd name="csX0" fmla="*/ 14577 w 21265"/>
                <a:gd name="csY0" fmla="*/ 18261 h 18261"/>
                <a:gd name="csX1" fmla="*/ 14577 w 21265"/>
                <a:gd name="csY1" fmla="*/ 18261 h 18261"/>
                <a:gd name="csX2" fmla="*/ 21016 w 21265"/>
                <a:gd name="csY2" fmla="*/ 15512 h 18261"/>
                <a:gd name="csX3" fmla="*/ 20666 w 21265"/>
                <a:gd name="csY3" fmla="*/ 11213 h 18261"/>
                <a:gd name="csX4" fmla="*/ 16717 w 21265"/>
                <a:gd name="csY4" fmla="*/ 4533 h 18261"/>
                <a:gd name="csX5" fmla="*/ 14927 w 21265"/>
                <a:gd name="csY5" fmla="*/ 3574 h 18261"/>
                <a:gd name="csX6" fmla="*/ 13008 w 21265"/>
                <a:gd name="csY6" fmla="*/ 2024 h 18261"/>
                <a:gd name="csX7" fmla="*/ 5369 w 21265"/>
                <a:gd name="csY7" fmla="*/ 1194 h 18261"/>
                <a:gd name="csX8" fmla="*/ 830 w 21265"/>
                <a:gd name="csY8" fmla="*/ 6563 h 18261"/>
                <a:gd name="csX9" fmla="*/ 0 w 21265"/>
                <a:gd name="csY9" fmla="*/ 8943 h 18261"/>
                <a:gd name="csX10" fmla="*/ 240 w 21265"/>
                <a:gd name="csY10" fmla="*/ 10973 h 18261"/>
                <a:gd name="csX11" fmla="*/ 1919 w 21265"/>
                <a:gd name="csY11" fmla="*/ 14922 h 18261"/>
                <a:gd name="csX12" fmla="*/ 6458 w 21265"/>
                <a:gd name="csY12" fmla="*/ 15641 h 18261"/>
                <a:gd name="csX13" fmla="*/ 8137 w 21265"/>
                <a:gd name="csY13" fmla="*/ 14442 h 18261"/>
                <a:gd name="csX14" fmla="*/ 11957 w 21265"/>
                <a:gd name="csY14" fmla="*/ 15881 h 18261"/>
                <a:gd name="csX15" fmla="*/ 14577 w 21265"/>
                <a:gd name="csY15" fmla="*/ 18261 h 182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265" h="18261">
                  <a:moveTo>
                    <a:pt x="14577" y="18261"/>
                  </a:moveTo>
                  <a:lnTo>
                    <a:pt x="14577" y="18261"/>
                  </a:lnTo>
                  <a:cubicBezTo>
                    <a:pt x="16717" y="17302"/>
                    <a:pt x="19356" y="17431"/>
                    <a:pt x="21016" y="15512"/>
                  </a:cubicBezTo>
                  <a:cubicBezTo>
                    <a:pt x="21736" y="14682"/>
                    <a:pt x="20666" y="11213"/>
                    <a:pt x="20666" y="11213"/>
                  </a:cubicBezTo>
                  <a:cubicBezTo>
                    <a:pt x="19596" y="8943"/>
                    <a:pt x="18525" y="6083"/>
                    <a:pt x="16717" y="4533"/>
                  </a:cubicBezTo>
                  <a:cubicBezTo>
                    <a:pt x="16127" y="4054"/>
                    <a:pt x="15518" y="3943"/>
                    <a:pt x="14927" y="3574"/>
                  </a:cubicBezTo>
                  <a:cubicBezTo>
                    <a:pt x="14337" y="3223"/>
                    <a:pt x="13617" y="2504"/>
                    <a:pt x="13008" y="2024"/>
                  </a:cubicBezTo>
                  <a:cubicBezTo>
                    <a:pt x="7879" y="-246"/>
                    <a:pt x="9429" y="-725"/>
                    <a:pt x="5369" y="1194"/>
                  </a:cubicBezTo>
                  <a:cubicBezTo>
                    <a:pt x="4779" y="1434"/>
                    <a:pt x="1661" y="5253"/>
                    <a:pt x="830" y="6563"/>
                  </a:cubicBezTo>
                  <a:cubicBezTo>
                    <a:pt x="-129" y="7762"/>
                    <a:pt x="240" y="8113"/>
                    <a:pt x="0" y="8943"/>
                  </a:cubicBezTo>
                  <a:cubicBezTo>
                    <a:pt x="111" y="9663"/>
                    <a:pt x="0" y="10383"/>
                    <a:pt x="240" y="10973"/>
                  </a:cubicBezTo>
                  <a:cubicBezTo>
                    <a:pt x="590" y="12412"/>
                    <a:pt x="1070" y="13833"/>
                    <a:pt x="1919" y="14922"/>
                  </a:cubicBezTo>
                  <a:cubicBezTo>
                    <a:pt x="2989" y="16361"/>
                    <a:pt x="5868" y="15641"/>
                    <a:pt x="6458" y="15641"/>
                  </a:cubicBezTo>
                  <a:cubicBezTo>
                    <a:pt x="7049" y="15291"/>
                    <a:pt x="7178" y="14442"/>
                    <a:pt x="8137" y="14442"/>
                  </a:cubicBezTo>
                  <a:cubicBezTo>
                    <a:pt x="8967" y="14442"/>
                    <a:pt x="11846" y="14792"/>
                    <a:pt x="11957" y="15881"/>
                  </a:cubicBezTo>
                  <a:lnTo>
                    <a:pt x="14577" y="18261"/>
                  </a:lnTo>
                  <a:close/>
                </a:path>
              </a:pathLst>
            </a:custGeom>
            <a:solidFill>
              <a:srgbClr val="FFFFFF"/>
            </a:solidFill>
            <a:ln w="1835" cap="flat">
              <a:noFill/>
              <a:prstDash val="solid"/>
              <a:miter/>
            </a:ln>
          </p:spPr>
          <p:txBody>
            <a:bodyPr/>
            <a:lstStyle/>
            <a:p>
              <a:endParaRPr lang="en-GB"/>
            </a:p>
          </p:txBody>
        </p:sp>
        <p:sp>
          <p:nvSpPr>
            <p:cNvPr id="1533" name="Freeform: Shape 1532">
              <a:extLst>
                <a:ext uri="{FF2B5EF4-FFF2-40B4-BE49-F238E27FC236}">
                  <a16:creationId xmlns:a16="http://schemas.microsoft.com/office/drawing/2014/main" id="{BA2D6472-8B1C-043B-56D2-A0C4C9B1DFFD}"/>
                </a:ext>
              </a:extLst>
            </p:cNvPr>
            <p:cNvSpPr/>
            <p:nvPr/>
          </p:nvSpPr>
          <p:spPr>
            <a:xfrm>
              <a:off x="10861083" y="4890620"/>
              <a:ext cx="27164" cy="24246"/>
            </a:xfrm>
            <a:custGeom>
              <a:avLst/>
              <a:gdLst>
                <a:gd name="csX0" fmla="*/ 17524 w 27164"/>
                <a:gd name="csY0" fmla="*/ 24247 h 24246"/>
                <a:gd name="csX1" fmla="*/ 15512 w 27164"/>
                <a:gd name="csY1" fmla="*/ 23472 h 24246"/>
                <a:gd name="csX2" fmla="*/ 12892 w 27164"/>
                <a:gd name="csY2" fmla="*/ 21073 h 24246"/>
                <a:gd name="csX3" fmla="*/ 12486 w 27164"/>
                <a:gd name="csY3" fmla="*/ 20630 h 24246"/>
                <a:gd name="csX4" fmla="*/ 11822 w 27164"/>
                <a:gd name="csY4" fmla="*/ 20483 h 24246"/>
                <a:gd name="csX5" fmla="*/ 10955 w 27164"/>
                <a:gd name="csY5" fmla="*/ 21184 h 24246"/>
                <a:gd name="csX6" fmla="*/ 9405 w 27164"/>
                <a:gd name="csY6" fmla="*/ 21608 h 24246"/>
                <a:gd name="csX7" fmla="*/ 2485 w 27164"/>
                <a:gd name="csY7" fmla="*/ 19689 h 24246"/>
                <a:gd name="csX8" fmla="*/ 308 w 27164"/>
                <a:gd name="csY8" fmla="*/ 14689 h 24246"/>
                <a:gd name="csX9" fmla="*/ 50 w 27164"/>
                <a:gd name="csY9" fmla="*/ 12862 h 24246"/>
                <a:gd name="csX10" fmla="*/ 105 w 27164"/>
                <a:gd name="csY10" fmla="*/ 11109 h 24246"/>
                <a:gd name="csX11" fmla="*/ 1452 w 27164"/>
                <a:gd name="csY11" fmla="*/ 7677 h 24246"/>
                <a:gd name="csX12" fmla="*/ 7264 w 27164"/>
                <a:gd name="csY12" fmla="*/ 1367 h 24246"/>
                <a:gd name="csX13" fmla="*/ 14627 w 27164"/>
                <a:gd name="csY13" fmla="*/ 1016 h 24246"/>
                <a:gd name="csX14" fmla="*/ 17173 w 27164"/>
                <a:gd name="csY14" fmla="*/ 2253 h 24246"/>
                <a:gd name="csX15" fmla="*/ 17837 w 27164"/>
                <a:gd name="csY15" fmla="*/ 2640 h 24246"/>
                <a:gd name="csX16" fmla="*/ 18594 w 27164"/>
                <a:gd name="csY16" fmla="*/ 3286 h 24246"/>
                <a:gd name="csX17" fmla="*/ 19443 w 27164"/>
                <a:gd name="csY17" fmla="*/ 3969 h 24246"/>
                <a:gd name="csX18" fmla="*/ 21546 w 27164"/>
                <a:gd name="csY18" fmla="*/ 5150 h 24246"/>
                <a:gd name="csX19" fmla="*/ 25808 w 27164"/>
                <a:gd name="csY19" fmla="*/ 11755 h 24246"/>
                <a:gd name="csX20" fmla="*/ 26325 w 27164"/>
                <a:gd name="csY20" fmla="*/ 12899 h 24246"/>
                <a:gd name="csX21" fmla="*/ 26251 w 27164"/>
                <a:gd name="csY21" fmla="*/ 20391 h 24246"/>
                <a:gd name="csX22" fmla="*/ 20605 w 27164"/>
                <a:gd name="csY22" fmla="*/ 23361 h 24246"/>
                <a:gd name="csX23" fmla="*/ 18741 w 27164"/>
                <a:gd name="csY23" fmla="*/ 23933 h 24246"/>
                <a:gd name="csX24" fmla="*/ 17524 w 27164"/>
                <a:gd name="csY24" fmla="*/ 24192 h 24246"/>
                <a:gd name="csX25" fmla="*/ 11933 w 27164"/>
                <a:gd name="csY25" fmla="*/ 19191 h 24246"/>
                <a:gd name="csX26" fmla="*/ 11933 w 27164"/>
                <a:gd name="csY26" fmla="*/ 19191 h 24246"/>
                <a:gd name="csX27" fmla="*/ 17431 w 27164"/>
                <a:gd name="csY27" fmla="*/ 17125 h 24246"/>
                <a:gd name="csX28" fmla="*/ 18243 w 27164"/>
                <a:gd name="csY28" fmla="*/ 17863 h 24246"/>
                <a:gd name="csX29" fmla="*/ 19147 w 27164"/>
                <a:gd name="csY29" fmla="*/ 17623 h 24246"/>
                <a:gd name="csX30" fmla="*/ 21195 w 27164"/>
                <a:gd name="csY30" fmla="*/ 16959 h 24246"/>
                <a:gd name="csX31" fmla="*/ 20771 w 27164"/>
                <a:gd name="csY31" fmla="*/ 15095 h 24246"/>
                <a:gd name="csX32" fmla="*/ 20365 w 27164"/>
                <a:gd name="csY32" fmla="*/ 14246 h 24246"/>
                <a:gd name="csX33" fmla="*/ 17745 w 27164"/>
                <a:gd name="csY33" fmla="*/ 9781 h 24246"/>
                <a:gd name="csX34" fmla="*/ 16398 w 27164"/>
                <a:gd name="csY34" fmla="*/ 9135 h 24246"/>
                <a:gd name="csX35" fmla="*/ 14682 w 27164"/>
                <a:gd name="csY35" fmla="*/ 7788 h 24246"/>
                <a:gd name="csX36" fmla="*/ 11896 w 27164"/>
                <a:gd name="csY36" fmla="*/ 6312 h 24246"/>
                <a:gd name="csX37" fmla="*/ 11065 w 27164"/>
                <a:gd name="csY37" fmla="*/ 5906 h 24246"/>
                <a:gd name="csX38" fmla="*/ 10217 w 27164"/>
                <a:gd name="csY38" fmla="*/ 6570 h 24246"/>
                <a:gd name="csX39" fmla="*/ 9423 w 27164"/>
                <a:gd name="csY39" fmla="*/ 6939 h 24246"/>
                <a:gd name="csX40" fmla="*/ 6323 w 27164"/>
                <a:gd name="csY40" fmla="*/ 11146 h 24246"/>
                <a:gd name="csX41" fmla="*/ 5991 w 27164"/>
                <a:gd name="csY41" fmla="*/ 12124 h 24246"/>
                <a:gd name="csX42" fmla="*/ 6010 w 27164"/>
                <a:gd name="csY42" fmla="*/ 12659 h 24246"/>
                <a:gd name="csX43" fmla="*/ 7228 w 27164"/>
                <a:gd name="csY43" fmla="*/ 16036 h 24246"/>
                <a:gd name="csX44" fmla="*/ 8039 w 27164"/>
                <a:gd name="csY44" fmla="*/ 15759 h 24246"/>
                <a:gd name="csX45" fmla="*/ 11065 w 27164"/>
                <a:gd name="csY45" fmla="*/ 14412 h 24246"/>
                <a:gd name="csX46" fmla="*/ 17413 w 27164"/>
                <a:gd name="csY46" fmla="*/ 17088 h 242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27164" h="24246">
                  <a:moveTo>
                    <a:pt x="17524" y="24247"/>
                  </a:moveTo>
                  <a:cubicBezTo>
                    <a:pt x="16785" y="24247"/>
                    <a:pt x="16084" y="23970"/>
                    <a:pt x="15512" y="23472"/>
                  </a:cubicBezTo>
                  <a:lnTo>
                    <a:pt x="12892" y="21073"/>
                  </a:lnTo>
                  <a:cubicBezTo>
                    <a:pt x="12745" y="20944"/>
                    <a:pt x="12597" y="20797"/>
                    <a:pt x="12486" y="20630"/>
                  </a:cubicBezTo>
                  <a:cubicBezTo>
                    <a:pt x="12283" y="20575"/>
                    <a:pt x="12062" y="20538"/>
                    <a:pt x="11822" y="20483"/>
                  </a:cubicBezTo>
                  <a:cubicBezTo>
                    <a:pt x="11582" y="20723"/>
                    <a:pt x="11305" y="20963"/>
                    <a:pt x="10955" y="21184"/>
                  </a:cubicBezTo>
                  <a:cubicBezTo>
                    <a:pt x="10493" y="21461"/>
                    <a:pt x="9958" y="21608"/>
                    <a:pt x="9405" y="21608"/>
                  </a:cubicBezTo>
                  <a:cubicBezTo>
                    <a:pt x="7800" y="21811"/>
                    <a:pt x="4404" y="22254"/>
                    <a:pt x="2485" y="19689"/>
                  </a:cubicBezTo>
                  <a:cubicBezTo>
                    <a:pt x="1286" y="18158"/>
                    <a:pt x="696" y="16221"/>
                    <a:pt x="308" y="14689"/>
                  </a:cubicBezTo>
                  <a:cubicBezTo>
                    <a:pt x="105" y="14209"/>
                    <a:pt x="68" y="13434"/>
                    <a:pt x="50" y="12862"/>
                  </a:cubicBezTo>
                  <a:cubicBezTo>
                    <a:pt x="-24" y="12438"/>
                    <a:pt x="-24" y="11515"/>
                    <a:pt x="105" y="11109"/>
                  </a:cubicBezTo>
                  <a:cubicBezTo>
                    <a:pt x="179" y="10150"/>
                    <a:pt x="345" y="9098"/>
                    <a:pt x="1452" y="7677"/>
                  </a:cubicBezTo>
                  <a:cubicBezTo>
                    <a:pt x="1452" y="7659"/>
                    <a:pt x="5272" y="2142"/>
                    <a:pt x="7264" y="1367"/>
                  </a:cubicBezTo>
                  <a:cubicBezTo>
                    <a:pt x="10770" y="-294"/>
                    <a:pt x="11785" y="-478"/>
                    <a:pt x="14627" y="1016"/>
                  </a:cubicBezTo>
                  <a:cubicBezTo>
                    <a:pt x="15217" y="1312"/>
                    <a:pt x="16011" y="1736"/>
                    <a:pt x="17173" y="2253"/>
                  </a:cubicBezTo>
                  <a:cubicBezTo>
                    <a:pt x="17413" y="2363"/>
                    <a:pt x="17634" y="2493"/>
                    <a:pt x="17837" y="2640"/>
                  </a:cubicBezTo>
                  <a:lnTo>
                    <a:pt x="18594" y="3286"/>
                  </a:lnTo>
                  <a:cubicBezTo>
                    <a:pt x="18889" y="3544"/>
                    <a:pt x="19184" y="3821"/>
                    <a:pt x="19443" y="3969"/>
                  </a:cubicBezTo>
                  <a:cubicBezTo>
                    <a:pt x="20254" y="4338"/>
                    <a:pt x="20882" y="4614"/>
                    <a:pt x="21546" y="5150"/>
                  </a:cubicBezTo>
                  <a:cubicBezTo>
                    <a:pt x="23631" y="6939"/>
                    <a:pt x="24775" y="9504"/>
                    <a:pt x="25808" y="11755"/>
                  </a:cubicBezTo>
                  <a:lnTo>
                    <a:pt x="26325" y="12899"/>
                  </a:lnTo>
                  <a:cubicBezTo>
                    <a:pt x="28023" y="18306"/>
                    <a:pt x="26694" y="19892"/>
                    <a:pt x="26251" y="20391"/>
                  </a:cubicBezTo>
                  <a:cubicBezTo>
                    <a:pt x="24517" y="22365"/>
                    <a:pt x="22339" y="22918"/>
                    <a:pt x="20605" y="23361"/>
                  </a:cubicBezTo>
                  <a:cubicBezTo>
                    <a:pt x="19959" y="23527"/>
                    <a:pt x="19332" y="23657"/>
                    <a:pt x="18741" y="23933"/>
                  </a:cubicBezTo>
                  <a:cubicBezTo>
                    <a:pt x="18354" y="24099"/>
                    <a:pt x="17929" y="24192"/>
                    <a:pt x="17524" y="24192"/>
                  </a:cubicBezTo>
                  <a:close/>
                  <a:moveTo>
                    <a:pt x="11933" y="19191"/>
                  </a:moveTo>
                  <a:lnTo>
                    <a:pt x="11933" y="19191"/>
                  </a:lnTo>
                  <a:close/>
                  <a:moveTo>
                    <a:pt x="17431" y="17125"/>
                  </a:moveTo>
                  <a:lnTo>
                    <a:pt x="18243" y="17863"/>
                  </a:lnTo>
                  <a:cubicBezTo>
                    <a:pt x="18538" y="17789"/>
                    <a:pt x="18834" y="17697"/>
                    <a:pt x="19147" y="17623"/>
                  </a:cubicBezTo>
                  <a:cubicBezTo>
                    <a:pt x="20051" y="17383"/>
                    <a:pt x="20716" y="17217"/>
                    <a:pt x="21195" y="16959"/>
                  </a:cubicBezTo>
                  <a:cubicBezTo>
                    <a:pt x="21122" y="16405"/>
                    <a:pt x="20937" y="15630"/>
                    <a:pt x="20771" y="15095"/>
                  </a:cubicBezTo>
                  <a:lnTo>
                    <a:pt x="20365" y="14246"/>
                  </a:lnTo>
                  <a:cubicBezTo>
                    <a:pt x="19609" y="12549"/>
                    <a:pt x="18741" y="10648"/>
                    <a:pt x="17745" y="9781"/>
                  </a:cubicBezTo>
                  <a:cubicBezTo>
                    <a:pt x="17062" y="9486"/>
                    <a:pt x="16730" y="9320"/>
                    <a:pt x="16398" y="9135"/>
                  </a:cubicBezTo>
                  <a:cubicBezTo>
                    <a:pt x="15844" y="8803"/>
                    <a:pt x="15236" y="8286"/>
                    <a:pt x="14682" y="7788"/>
                  </a:cubicBezTo>
                  <a:cubicBezTo>
                    <a:pt x="13464" y="7142"/>
                    <a:pt x="12579" y="6663"/>
                    <a:pt x="11896" y="6312"/>
                  </a:cubicBezTo>
                  <a:cubicBezTo>
                    <a:pt x="11527" y="6127"/>
                    <a:pt x="11287" y="5980"/>
                    <a:pt x="11065" y="5906"/>
                  </a:cubicBezTo>
                  <a:cubicBezTo>
                    <a:pt x="11342" y="6017"/>
                    <a:pt x="10918" y="6238"/>
                    <a:pt x="10217" y="6570"/>
                  </a:cubicBezTo>
                  <a:cubicBezTo>
                    <a:pt x="10161" y="6607"/>
                    <a:pt x="9497" y="6921"/>
                    <a:pt x="9423" y="6939"/>
                  </a:cubicBezTo>
                  <a:cubicBezTo>
                    <a:pt x="9386" y="7142"/>
                    <a:pt x="7006" y="10058"/>
                    <a:pt x="6323" y="11146"/>
                  </a:cubicBezTo>
                  <a:cubicBezTo>
                    <a:pt x="6157" y="11552"/>
                    <a:pt x="6065" y="11866"/>
                    <a:pt x="5991" y="12124"/>
                  </a:cubicBezTo>
                  <a:cubicBezTo>
                    <a:pt x="5991" y="12309"/>
                    <a:pt x="6010" y="12493"/>
                    <a:pt x="6010" y="12659"/>
                  </a:cubicBezTo>
                  <a:cubicBezTo>
                    <a:pt x="6305" y="14080"/>
                    <a:pt x="6674" y="15335"/>
                    <a:pt x="7228" y="16036"/>
                  </a:cubicBezTo>
                  <a:cubicBezTo>
                    <a:pt x="7209" y="15925"/>
                    <a:pt x="7652" y="15833"/>
                    <a:pt x="8039" y="15759"/>
                  </a:cubicBezTo>
                  <a:cubicBezTo>
                    <a:pt x="8427" y="15261"/>
                    <a:pt x="9423" y="14412"/>
                    <a:pt x="11065" y="14412"/>
                  </a:cubicBezTo>
                  <a:cubicBezTo>
                    <a:pt x="11619" y="14412"/>
                    <a:pt x="15974" y="14486"/>
                    <a:pt x="17413" y="17088"/>
                  </a:cubicBezTo>
                  <a:close/>
                </a:path>
              </a:pathLst>
            </a:custGeom>
            <a:solidFill>
              <a:srgbClr val="FFFFFF"/>
            </a:solidFill>
            <a:ln w="1835" cap="flat">
              <a:noFill/>
              <a:prstDash val="solid"/>
              <a:miter/>
            </a:ln>
          </p:spPr>
          <p:txBody>
            <a:bodyPr/>
            <a:lstStyle/>
            <a:p>
              <a:endParaRPr lang="en-GB"/>
            </a:p>
          </p:txBody>
        </p:sp>
        <p:sp>
          <p:nvSpPr>
            <p:cNvPr id="1534" name="Freeform: Shape 1533">
              <a:extLst>
                <a:ext uri="{FF2B5EF4-FFF2-40B4-BE49-F238E27FC236}">
                  <a16:creationId xmlns:a16="http://schemas.microsoft.com/office/drawing/2014/main" id="{AB195C3E-CB42-C58E-60C7-4293789AC2CE}"/>
                </a:ext>
              </a:extLst>
            </p:cNvPr>
            <p:cNvSpPr/>
            <p:nvPr/>
          </p:nvSpPr>
          <p:spPr>
            <a:xfrm>
              <a:off x="11033216" y="4817295"/>
              <a:ext cx="21787" cy="17203"/>
            </a:xfrm>
            <a:custGeom>
              <a:avLst/>
              <a:gdLst>
                <a:gd name="csX0" fmla="*/ 6122 w 21787"/>
                <a:gd name="csY0" fmla="*/ 0 h 17203"/>
                <a:gd name="csX1" fmla="*/ 6122 w 21787"/>
                <a:gd name="csY1" fmla="*/ 0 h 17203"/>
                <a:gd name="csX2" fmla="*/ 144 w 21787"/>
                <a:gd name="csY2" fmla="*/ 3469 h 17203"/>
                <a:gd name="csX3" fmla="*/ 974 w 21787"/>
                <a:gd name="csY3" fmla="*/ 7657 h 17203"/>
                <a:gd name="csX4" fmla="*/ 5864 w 21787"/>
                <a:gd name="csY4" fmla="*/ 13876 h 17203"/>
                <a:gd name="csX5" fmla="*/ 7653 w 21787"/>
                <a:gd name="csY5" fmla="*/ 14466 h 17203"/>
                <a:gd name="csX6" fmla="*/ 9794 w 21787"/>
                <a:gd name="csY6" fmla="*/ 15776 h 17203"/>
                <a:gd name="csX7" fmla="*/ 17562 w 21787"/>
                <a:gd name="csY7" fmla="*/ 15665 h 17203"/>
                <a:gd name="csX8" fmla="*/ 21381 w 21787"/>
                <a:gd name="csY8" fmla="*/ 9687 h 17203"/>
                <a:gd name="csX9" fmla="*/ 21732 w 21787"/>
                <a:gd name="csY9" fmla="*/ 7307 h 17203"/>
                <a:gd name="csX10" fmla="*/ 21252 w 21787"/>
                <a:gd name="csY10" fmla="*/ 5148 h 17203"/>
                <a:gd name="csX11" fmla="*/ 19112 w 21787"/>
                <a:gd name="csY11" fmla="*/ 1568 h 17203"/>
                <a:gd name="csX12" fmla="*/ 14462 w 21787"/>
                <a:gd name="csY12" fmla="*/ 1458 h 17203"/>
                <a:gd name="csX13" fmla="*/ 13023 w 21787"/>
                <a:gd name="csY13" fmla="*/ 2897 h 17203"/>
                <a:gd name="csX14" fmla="*/ 9074 w 21787"/>
                <a:gd name="csY14" fmla="*/ 2067 h 17203"/>
                <a:gd name="csX15" fmla="*/ 6085 w 21787"/>
                <a:gd name="csY15" fmla="*/ 37 h 172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787" h="17203">
                  <a:moveTo>
                    <a:pt x="6122" y="0"/>
                  </a:moveTo>
                  <a:lnTo>
                    <a:pt x="6122" y="0"/>
                  </a:lnTo>
                  <a:cubicBezTo>
                    <a:pt x="4092" y="1199"/>
                    <a:pt x="1472" y="1439"/>
                    <a:pt x="144" y="3469"/>
                  </a:cubicBezTo>
                  <a:cubicBezTo>
                    <a:pt x="-447" y="4428"/>
                    <a:pt x="974" y="7657"/>
                    <a:pt x="974" y="7657"/>
                  </a:cubicBezTo>
                  <a:cubicBezTo>
                    <a:pt x="2413" y="9798"/>
                    <a:pt x="3834" y="12547"/>
                    <a:pt x="5864" y="13876"/>
                  </a:cubicBezTo>
                  <a:cubicBezTo>
                    <a:pt x="6454" y="14226"/>
                    <a:pt x="7063" y="14226"/>
                    <a:pt x="7653" y="14466"/>
                  </a:cubicBezTo>
                  <a:cubicBezTo>
                    <a:pt x="8373" y="14817"/>
                    <a:pt x="9093" y="15426"/>
                    <a:pt x="9794" y="15776"/>
                  </a:cubicBezTo>
                  <a:cubicBezTo>
                    <a:pt x="15163" y="17326"/>
                    <a:pt x="13742" y="18046"/>
                    <a:pt x="17562" y="15665"/>
                  </a:cubicBezTo>
                  <a:cubicBezTo>
                    <a:pt x="18042" y="15315"/>
                    <a:pt x="20662" y="11126"/>
                    <a:pt x="21381" y="9687"/>
                  </a:cubicBezTo>
                  <a:cubicBezTo>
                    <a:pt x="22101" y="8377"/>
                    <a:pt x="21621" y="8137"/>
                    <a:pt x="21732" y="7307"/>
                  </a:cubicBezTo>
                  <a:cubicBezTo>
                    <a:pt x="21621" y="6587"/>
                    <a:pt x="21621" y="5868"/>
                    <a:pt x="21252" y="5148"/>
                  </a:cubicBezTo>
                  <a:cubicBezTo>
                    <a:pt x="20662" y="3949"/>
                    <a:pt x="20053" y="2528"/>
                    <a:pt x="19112" y="1568"/>
                  </a:cubicBezTo>
                  <a:cubicBezTo>
                    <a:pt x="17913" y="258"/>
                    <a:pt x="15163" y="1329"/>
                    <a:pt x="14462" y="1458"/>
                  </a:cubicBezTo>
                  <a:cubicBezTo>
                    <a:pt x="13982" y="1937"/>
                    <a:pt x="13982" y="2768"/>
                    <a:pt x="13023" y="2897"/>
                  </a:cubicBezTo>
                  <a:cubicBezTo>
                    <a:pt x="12193" y="3008"/>
                    <a:pt x="9314" y="3008"/>
                    <a:pt x="9074" y="2067"/>
                  </a:cubicBezTo>
                  <a:lnTo>
                    <a:pt x="6085" y="37"/>
                  </a:lnTo>
                  <a:close/>
                </a:path>
              </a:pathLst>
            </a:custGeom>
            <a:solidFill>
              <a:srgbClr val="FFFFFF"/>
            </a:solidFill>
            <a:ln w="1835" cap="flat">
              <a:noFill/>
              <a:prstDash val="solid"/>
              <a:miter/>
            </a:ln>
          </p:spPr>
          <p:txBody>
            <a:bodyPr/>
            <a:lstStyle/>
            <a:p>
              <a:endParaRPr lang="en-GB"/>
            </a:p>
          </p:txBody>
        </p:sp>
        <p:sp>
          <p:nvSpPr>
            <p:cNvPr id="1535" name="Freeform: Shape 1534">
              <a:extLst>
                <a:ext uri="{FF2B5EF4-FFF2-40B4-BE49-F238E27FC236}">
                  <a16:creationId xmlns:a16="http://schemas.microsoft.com/office/drawing/2014/main" id="{407F1D90-CD8C-4AA7-DFAB-88C4C7842D2C}"/>
                </a:ext>
              </a:extLst>
            </p:cNvPr>
            <p:cNvSpPr/>
            <p:nvPr/>
          </p:nvSpPr>
          <p:spPr>
            <a:xfrm>
              <a:off x="11030264" y="4814302"/>
              <a:ext cx="27737" cy="23141"/>
            </a:xfrm>
            <a:custGeom>
              <a:avLst/>
              <a:gdLst>
                <a:gd name="csX0" fmla="*/ 17415 w 27737"/>
                <a:gd name="csY0" fmla="*/ 23142 h 23141"/>
                <a:gd name="csX1" fmla="*/ 14666 w 27737"/>
                <a:gd name="csY1" fmla="*/ 22533 h 23141"/>
                <a:gd name="csX2" fmla="*/ 11953 w 27737"/>
                <a:gd name="csY2" fmla="*/ 21629 h 23141"/>
                <a:gd name="csX3" fmla="*/ 10034 w 27737"/>
                <a:gd name="csY3" fmla="*/ 20596 h 23141"/>
                <a:gd name="csX4" fmla="*/ 9296 w 27737"/>
                <a:gd name="csY4" fmla="*/ 20116 h 23141"/>
                <a:gd name="csX5" fmla="*/ 7285 w 27737"/>
                <a:gd name="csY5" fmla="*/ 19396 h 23141"/>
                <a:gd name="csX6" fmla="*/ 2266 w 27737"/>
                <a:gd name="csY6" fmla="*/ 13547 h 23141"/>
                <a:gd name="csX7" fmla="*/ 1454 w 27737"/>
                <a:gd name="csY7" fmla="*/ 12274 h 23141"/>
                <a:gd name="csX8" fmla="*/ 569 w 27737"/>
                <a:gd name="csY8" fmla="*/ 4875 h 23141"/>
                <a:gd name="csX9" fmla="*/ 5790 w 27737"/>
                <a:gd name="csY9" fmla="*/ 1184 h 23141"/>
                <a:gd name="csX10" fmla="*/ 7562 w 27737"/>
                <a:gd name="csY10" fmla="*/ 410 h 23141"/>
                <a:gd name="csX11" fmla="*/ 10754 w 27737"/>
                <a:gd name="csY11" fmla="*/ 520 h 23141"/>
                <a:gd name="csX12" fmla="*/ 13743 w 27737"/>
                <a:gd name="csY12" fmla="*/ 2550 h 23141"/>
                <a:gd name="csX13" fmla="*/ 14130 w 27737"/>
                <a:gd name="csY13" fmla="*/ 2882 h 23141"/>
                <a:gd name="csX14" fmla="*/ 14813 w 27737"/>
                <a:gd name="csY14" fmla="*/ 2937 h 23141"/>
                <a:gd name="csX15" fmla="*/ 15311 w 27737"/>
                <a:gd name="csY15" fmla="*/ 2328 h 23141"/>
                <a:gd name="csX16" fmla="*/ 16935 w 27737"/>
                <a:gd name="csY16" fmla="*/ 1480 h 23141"/>
                <a:gd name="csX17" fmla="*/ 24279 w 27737"/>
                <a:gd name="csY17" fmla="*/ 2550 h 23141"/>
                <a:gd name="csX18" fmla="*/ 26585 w 27737"/>
                <a:gd name="csY18" fmla="*/ 6148 h 23141"/>
                <a:gd name="csX19" fmla="*/ 26917 w 27737"/>
                <a:gd name="csY19" fmla="*/ 6831 h 23141"/>
                <a:gd name="csX20" fmla="*/ 27600 w 27737"/>
                <a:gd name="csY20" fmla="*/ 9322 h 23141"/>
                <a:gd name="csX21" fmla="*/ 27674 w 27737"/>
                <a:gd name="csY21" fmla="*/ 10742 h 23141"/>
                <a:gd name="csX22" fmla="*/ 26991 w 27737"/>
                <a:gd name="csY22" fmla="*/ 14082 h 23141"/>
                <a:gd name="csX23" fmla="*/ 26991 w 27737"/>
                <a:gd name="csY23" fmla="*/ 14082 h 23141"/>
                <a:gd name="csX24" fmla="*/ 22305 w 27737"/>
                <a:gd name="csY24" fmla="*/ 21038 h 23141"/>
                <a:gd name="csX25" fmla="*/ 17415 w 27737"/>
                <a:gd name="csY25" fmla="*/ 23142 h 23141"/>
                <a:gd name="csX26" fmla="*/ 6049 w 27737"/>
                <a:gd name="csY26" fmla="*/ 7661 h 23141"/>
                <a:gd name="csX27" fmla="*/ 6676 w 27737"/>
                <a:gd name="csY27" fmla="*/ 9414 h 23141"/>
                <a:gd name="csX28" fmla="*/ 7322 w 27737"/>
                <a:gd name="csY28" fmla="*/ 10373 h 23141"/>
                <a:gd name="csX29" fmla="*/ 10459 w 27737"/>
                <a:gd name="csY29" fmla="*/ 14340 h 23141"/>
                <a:gd name="csX30" fmla="*/ 11713 w 27737"/>
                <a:gd name="csY30" fmla="*/ 14673 h 23141"/>
                <a:gd name="csX31" fmla="*/ 13374 w 27737"/>
                <a:gd name="csY31" fmla="*/ 15614 h 23141"/>
                <a:gd name="csX32" fmla="*/ 14112 w 27737"/>
                <a:gd name="csY32" fmla="*/ 16093 h 23141"/>
                <a:gd name="csX33" fmla="*/ 16714 w 27737"/>
                <a:gd name="csY33" fmla="*/ 16924 h 23141"/>
                <a:gd name="csX34" fmla="*/ 17581 w 27737"/>
                <a:gd name="csY34" fmla="*/ 17219 h 23141"/>
                <a:gd name="csX35" fmla="*/ 18559 w 27737"/>
                <a:gd name="csY35" fmla="*/ 16370 h 23141"/>
                <a:gd name="csX36" fmla="*/ 21696 w 27737"/>
                <a:gd name="csY36" fmla="*/ 11333 h 23141"/>
                <a:gd name="csX37" fmla="*/ 21769 w 27737"/>
                <a:gd name="csY37" fmla="*/ 9838 h 23141"/>
                <a:gd name="csX38" fmla="*/ 22563 w 27737"/>
                <a:gd name="csY38" fmla="*/ 9949 h 23141"/>
                <a:gd name="csX39" fmla="*/ 24242 w 27737"/>
                <a:gd name="csY39" fmla="*/ 8122 h 23141"/>
                <a:gd name="csX40" fmla="*/ 21585 w 27737"/>
                <a:gd name="csY40" fmla="*/ 9469 h 23141"/>
                <a:gd name="csX41" fmla="*/ 21234 w 27737"/>
                <a:gd name="csY41" fmla="*/ 8768 h 23141"/>
                <a:gd name="csX42" fmla="*/ 19980 w 27737"/>
                <a:gd name="csY42" fmla="*/ 6646 h 23141"/>
                <a:gd name="csX43" fmla="*/ 19297 w 27737"/>
                <a:gd name="csY43" fmla="*/ 7015 h 23141"/>
                <a:gd name="csX44" fmla="*/ 16363 w 27737"/>
                <a:gd name="csY44" fmla="*/ 8805 h 23141"/>
                <a:gd name="csX45" fmla="*/ 9850 w 27737"/>
                <a:gd name="csY45" fmla="*/ 7107 h 23141"/>
                <a:gd name="csX46" fmla="*/ 8816 w 27737"/>
                <a:gd name="csY46" fmla="*/ 6406 h 23141"/>
                <a:gd name="csX47" fmla="*/ 7968 w 27737"/>
                <a:gd name="csY47" fmla="*/ 6738 h 23141"/>
                <a:gd name="csX48" fmla="*/ 6049 w 27737"/>
                <a:gd name="csY48" fmla="*/ 7643 h 23141"/>
                <a:gd name="csX49" fmla="*/ 14961 w 27737"/>
                <a:gd name="csY49" fmla="*/ 4266 h 23141"/>
                <a:gd name="csX50" fmla="*/ 14961 w 27737"/>
                <a:gd name="csY50" fmla="*/ 4266 h 23141"/>
                <a:gd name="csX51" fmla="*/ 14961 w 27737"/>
                <a:gd name="csY51" fmla="*/ 4266 h 23141"/>
                <a:gd name="csX52" fmla="*/ 15607 w 27737"/>
                <a:gd name="csY52" fmla="*/ 2900 h 23141"/>
                <a:gd name="csX53" fmla="*/ 15588 w 27737"/>
                <a:gd name="csY53" fmla="*/ 2900 h 23141"/>
                <a:gd name="csX54" fmla="*/ 15607 w 27737"/>
                <a:gd name="csY54" fmla="*/ 2900 h 231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27737" h="23141">
                  <a:moveTo>
                    <a:pt x="17415" y="23142"/>
                  </a:moveTo>
                  <a:cubicBezTo>
                    <a:pt x="16640" y="23142"/>
                    <a:pt x="15791" y="22939"/>
                    <a:pt x="14666" y="22533"/>
                  </a:cubicBezTo>
                  <a:cubicBezTo>
                    <a:pt x="14038" y="22293"/>
                    <a:pt x="13189" y="21979"/>
                    <a:pt x="11953" y="21629"/>
                  </a:cubicBezTo>
                  <a:cubicBezTo>
                    <a:pt x="10975" y="21204"/>
                    <a:pt x="10514" y="20891"/>
                    <a:pt x="10034" y="20596"/>
                  </a:cubicBezTo>
                  <a:cubicBezTo>
                    <a:pt x="9794" y="20430"/>
                    <a:pt x="9536" y="20245"/>
                    <a:pt x="9296" y="20116"/>
                  </a:cubicBezTo>
                  <a:cubicBezTo>
                    <a:pt x="8761" y="20042"/>
                    <a:pt x="8041" y="19876"/>
                    <a:pt x="7285" y="19396"/>
                  </a:cubicBezTo>
                  <a:cubicBezTo>
                    <a:pt x="5034" y="17920"/>
                    <a:pt x="3558" y="15614"/>
                    <a:pt x="2266" y="13547"/>
                  </a:cubicBezTo>
                  <a:lnTo>
                    <a:pt x="1454" y="12274"/>
                  </a:lnTo>
                  <a:cubicBezTo>
                    <a:pt x="-871" y="7163"/>
                    <a:pt x="200" y="5447"/>
                    <a:pt x="569" y="4875"/>
                  </a:cubicBezTo>
                  <a:cubicBezTo>
                    <a:pt x="1989" y="2679"/>
                    <a:pt x="4111" y="1849"/>
                    <a:pt x="5790" y="1184"/>
                  </a:cubicBezTo>
                  <a:cubicBezTo>
                    <a:pt x="6399" y="945"/>
                    <a:pt x="7008" y="723"/>
                    <a:pt x="7562" y="410"/>
                  </a:cubicBezTo>
                  <a:cubicBezTo>
                    <a:pt x="8540" y="-162"/>
                    <a:pt x="9794" y="-144"/>
                    <a:pt x="10754" y="520"/>
                  </a:cubicBezTo>
                  <a:lnTo>
                    <a:pt x="13743" y="2550"/>
                  </a:lnTo>
                  <a:cubicBezTo>
                    <a:pt x="13891" y="2661"/>
                    <a:pt x="14020" y="2753"/>
                    <a:pt x="14130" y="2882"/>
                  </a:cubicBezTo>
                  <a:cubicBezTo>
                    <a:pt x="14333" y="2900"/>
                    <a:pt x="14573" y="2937"/>
                    <a:pt x="14813" y="2937"/>
                  </a:cubicBezTo>
                  <a:cubicBezTo>
                    <a:pt x="14961" y="2734"/>
                    <a:pt x="15108" y="2531"/>
                    <a:pt x="15311" y="2328"/>
                  </a:cubicBezTo>
                  <a:cubicBezTo>
                    <a:pt x="15754" y="1886"/>
                    <a:pt x="16326" y="1590"/>
                    <a:pt x="16935" y="1480"/>
                  </a:cubicBezTo>
                  <a:cubicBezTo>
                    <a:pt x="18633" y="1037"/>
                    <a:pt x="22065" y="114"/>
                    <a:pt x="24279" y="2550"/>
                  </a:cubicBezTo>
                  <a:cubicBezTo>
                    <a:pt x="25312" y="3583"/>
                    <a:pt x="26013" y="5004"/>
                    <a:pt x="26585" y="6148"/>
                  </a:cubicBezTo>
                  <a:cubicBezTo>
                    <a:pt x="26585" y="6148"/>
                    <a:pt x="26917" y="6831"/>
                    <a:pt x="26917" y="6831"/>
                  </a:cubicBezTo>
                  <a:cubicBezTo>
                    <a:pt x="27379" y="7790"/>
                    <a:pt x="27508" y="8676"/>
                    <a:pt x="27600" y="9322"/>
                  </a:cubicBezTo>
                  <a:cubicBezTo>
                    <a:pt x="27637" y="9598"/>
                    <a:pt x="27711" y="10466"/>
                    <a:pt x="27674" y="10742"/>
                  </a:cubicBezTo>
                  <a:cubicBezTo>
                    <a:pt x="27803" y="11554"/>
                    <a:pt x="27803" y="12588"/>
                    <a:pt x="26991" y="14082"/>
                  </a:cubicBezTo>
                  <a:lnTo>
                    <a:pt x="26991" y="14082"/>
                  </a:lnTo>
                  <a:cubicBezTo>
                    <a:pt x="26991" y="14082"/>
                    <a:pt x="23744" y="19987"/>
                    <a:pt x="22305" y="21038"/>
                  </a:cubicBezTo>
                  <a:cubicBezTo>
                    <a:pt x="19998" y="22478"/>
                    <a:pt x="18762" y="23142"/>
                    <a:pt x="17415" y="23142"/>
                  </a:cubicBezTo>
                  <a:close/>
                  <a:moveTo>
                    <a:pt x="6049" y="7661"/>
                  </a:moveTo>
                  <a:cubicBezTo>
                    <a:pt x="6196" y="8178"/>
                    <a:pt x="6455" y="8916"/>
                    <a:pt x="6676" y="9414"/>
                  </a:cubicBezTo>
                  <a:lnTo>
                    <a:pt x="7322" y="10373"/>
                  </a:lnTo>
                  <a:cubicBezTo>
                    <a:pt x="8281" y="11905"/>
                    <a:pt x="9388" y="13639"/>
                    <a:pt x="10459" y="14340"/>
                  </a:cubicBezTo>
                  <a:cubicBezTo>
                    <a:pt x="10606" y="14377"/>
                    <a:pt x="11584" y="14617"/>
                    <a:pt x="11713" y="14673"/>
                  </a:cubicBezTo>
                  <a:cubicBezTo>
                    <a:pt x="12433" y="15005"/>
                    <a:pt x="12894" y="15318"/>
                    <a:pt x="13374" y="15614"/>
                  </a:cubicBezTo>
                  <a:cubicBezTo>
                    <a:pt x="13614" y="15780"/>
                    <a:pt x="13872" y="15964"/>
                    <a:pt x="14112" y="16093"/>
                  </a:cubicBezTo>
                  <a:cubicBezTo>
                    <a:pt x="15016" y="16296"/>
                    <a:pt x="15994" y="16647"/>
                    <a:pt x="16714" y="16924"/>
                  </a:cubicBezTo>
                  <a:cubicBezTo>
                    <a:pt x="17083" y="17053"/>
                    <a:pt x="17341" y="17164"/>
                    <a:pt x="17581" y="17219"/>
                  </a:cubicBezTo>
                  <a:cubicBezTo>
                    <a:pt x="17396" y="17127"/>
                    <a:pt x="17821" y="16831"/>
                    <a:pt x="18559" y="16370"/>
                  </a:cubicBezTo>
                  <a:cubicBezTo>
                    <a:pt x="18928" y="15964"/>
                    <a:pt x="21068" y="12588"/>
                    <a:pt x="21696" y="11333"/>
                  </a:cubicBezTo>
                  <a:cubicBezTo>
                    <a:pt x="21733" y="11056"/>
                    <a:pt x="21677" y="10521"/>
                    <a:pt x="21769" y="9838"/>
                  </a:cubicBezTo>
                  <a:lnTo>
                    <a:pt x="22563" y="9949"/>
                  </a:lnTo>
                  <a:lnTo>
                    <a:pt x="24242" y="8122"/>
                  </a:lnTo>
                  <a:lnTo>
                    <a:pt x="21585" y="9469"/>
                  </a:lnTo>
                  <a:cubicBezTo>
                    <a:pt x="21585" y="9469"/>
                    <a:pt x="21234" y="8787"/>
                    <a:pt x="21234" y="8768"/>
                  </a:cubicBezTo>
                  <a:cubicBezTo>
                    <a:pt x="20847" y="7975"/>
                    <a:pt x="20404" y="7071"/>
                    <a:pt x="19980" y="6646"/>
                  </a:cubicBezTo>
                  <a:cubicBezTo>
                    <a:pt x="20035" y="6757"/>
                    <a:pt x="19666" y="6904"/>
                    <a:pt x="19297" y="7015"/>
                  </a:cubicBezTo>
                  <a:cubicBezTo>
                    <a:pt x="18891" y="7643"/>
                    <a:pt x="17987" y="8620"/>
                    <a:pt x="16363" y="8805"/>
                  </a:cubicBezTo>
                  <a:cubicBezTo>
                    <a:pt x="16197" y="8860"/>
                    <a:pt x="11713" y="9414"/>
                    <a:pt x="9850" y="7107"/>
                  </a:cubicBezTo>
                  <a:lnTo>
                    <a:pt x="8816" y="6406"/>
                  </a:lnTo>
                  <a:cubicBezTo>
                    <a:pt x="8521" y="6517"/>
                    <a:pt x="8244" y="6646"/>
                    <a:pt x="7968" y="6738"/>
                  </a:cubicBezTo>
                  <a:cubicBezTo>
                    <a:pt x="7193" y="7034"/>
                    <a:pt x="6510" y="7310"/>
                    <a:pt x="6049" y="7643"/>
                  </a:cubicBezTo>
                  <a:close/>
                  <a:moveTo>
                    <a:pt x="14961" y="4266"/>
                  </a:moveTo>
                  <a:lnTo>
                    <a:pt x="14961" y="4266"/>
                  </a:lnTo>
                  <a:cubicBezTo>
                    <a:pt x="14961" y="4266"/>
                    <a:pt x="14961" y="4266"/>
                    <a:pt x="14961" y="4266"/>
                  </a:cubicBezTo>
                  <a:close/>
                  <a:moveTo>
                    <a:pt x="15607" y="2900"/>
                  </a:moveTo>
                  <a:cubicBezTo>
                    <a:pt x="15607" y="2900"/>
                    <a:pt x="15607" y="2900"/>
                    <a:pt x="15588" y="2900"/>
                  </a:cubicBezTo>
                  <a:cubicBezTo>
                    <a:pt x="15588" y="2900"/>
                    <a:pt x="15588" y="2900"/>
                    <a:pt x="15607" y="2900"/>
                  </a:cubicBezTo>
                  <a:close/>
                </a:path>
              </a:pathLst>
            </a:custGeom>
            <a:solidFill>
              <a:srgbClr val="FFFFFF"/>
            </a:solidFill>
            <a:ln w="1835" cap="flat">
              <a:noFill/>
              <a:prstDash val="solid"/>
              <a:miter/>
            </a:ln>
          </p:spPr>
          <p:txBody>
            <a:bodyPr/>
            <a:lstStyle/>
            <a:p>
              <a:endParaRPr lang="en-GB"/>
            </a:p>
          </p:txBody>
        </p:sp>
        <p:sp>
          <p:nvSpPr>
            <p:cNvPr id="1536" name="Freeform: Shape 1535">
              <a:extLst>
                <a:ext uri="{FF2B5EF4-FFF2-40B4-BE49-F238E27FC236}">
                  <a16:creationId xmlns:a16="http://schemas.microsoft.com/office/drawing/2014/main" id="{FAE12BB9-3802-6388-6BD7-222770A8B326}"/>
                </a:ext>
              </a:extLst>
            </p:cNvPr>
            <p:cNvSpPr/>
            <p:nvPr/>
          </p:nvSpPr>
          <p:spPr>
            <a:xfrm>
              <a:off x="10912871" y="4872549"/>
              <a:ext cx="19471" cy="19498"/>
            </a:xfrm>
            <a:custGeom>
              <a:avLst/>
              <a:gdLst>
                <a:gd name="csX0" fmla="*/ 18 w 19471"/>
                <a:gd name="csY0" fmla="*/ 11855 h 19498"/>
                <a:gd name="csX1" fmla="*/ 18 w 19471"/>
                <a:gd name="csY1" fmla="*/ 11855 h 19498"/>
                <a:gd name="csX2" fmla="*/ 978 w 19471"/>
                <a:gd name="csY2" fmla="*/ 18774 h 19498"/>
                <a:gd name="csX3" fmla="*/ 5166 w 19471"/>
                <a:gd name="csY3" fmla="*/ 19494 h 19498"/>
                <a:gd name="csX4" fmla="*/ 12805 w 19471"/>
                <a:gd name="csY4" fmla="*/ 17464 h 19498"/>
                <a:gd name="csX5" fmla="*/ 14115 w 19471"/>
                <a:gd name="csY5" fmla="*/ 16025 h 19498"/>
                <a:gd name="csX6" fmla="*/ 16256 w 19471"/>
                <a:gd name="csY6" fmla="*/ 14585 h 19498"/>
                <a:gd name="csX7" fmla="*/ 19116 w 19471"/>
                <a:gd name="csY7" fmla="*/ 7426 h 19498"/>
                <a:gd name="csX8" fmla="*/ 15057 w 19471"/>
                <a:gd name="csY8" fmla="*/ 1688 h 19498"/>
                <a:gd name="csX9" fmla="*/ 12898 w 19471"/>
                <a:gd name="csY9" fmla="*/ 378 h 19498"/>
                <a:gd name="csX10" fmla="*/ 10868 w 19471"/>
                <a:gd name="csY10" fmla="*/ 27 h 19498"/>
                <a:gd name="csX11" fmla="*/ 6679 w 19471"/>
                <a:gd name="csY11" fmla="*/ 618 h 19498"/>
                <a:gd name="csX12" fmla="*/ 4650 w 19471"/>
                <a:gd name="csY12" fmla="*/ 4806 h 19498"/>
                <a:gd name="csX13" fmla="*/ 5480 w 19471"/>
                <a:gd name="csY13" fmla="*/ 6596 h 19498"/>
                <a:gd name="csX14" fmla="*/ 3100 w 19471"/>
                <a:gd name="csY14" fmla="*/ 9936 h 19498"/>
                <a:gd name="csX15" fmla="*/ 0 w 19471"/>
                <a:gd name="csY15" fmla="*/ 11855 h 194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9471" h="19498">
                  <a:moveTo>
                    <a:pt x="18" y="11855"/>
                  </a:moveTo>
                  <a:lnTo>
                    <a:pt x="18" y="11855"/>
                  </a:lnTo>
                  <a:cubicBezTo>
                    <a:pt x="369" y="14124"/>
                    <a:pt x="-461" y="16634"/>
                    <a:pt x="978" y="18774"/>
                  </a:cubicBezTo>
                  <a:cubicBezTo>
                    <a:pt x="1568" y="19604"/>
                    <a:pt x="5166" y="19494"/>
                    <a:pt x="5166" y="19494"/>
                  </a:cubicBezTo>
                  <a:cubicBezTo>
                    <a:pt x="7787" y="19143"/>
                    <a:pt x="10905" y="18774"/>
                    <a:pt x="12805" y="17464"/>
                  </a:cubicBezTo>
                  <a:cubicBezTo>
                    <a:pt x="13396" y="16984"/>
                    <a:pt x="13636" y="16504"/>
                    <a:pt x="14115" y="16025"/>
                  </a:cubicBezTo>
                  <a:cubicBezTo>
                    <a:pt x="14835" y="15545"/>
                    <a:pt x="15555" y="15065"/>
                    <a:pt x="16256" y="14585"/>
                  </a:cubicBezTo>
                  <a:cubicBezTo>
                    <a:pt x="19725" y="10286"/>
                    <a:pt x="19835" y="11836"/>
                    <a:pt x="19116" y="7426"/>
                  </a:cubicBezTo>
                  <a:cubicBezTo>
                    <a:pt x="19005" y="6946"/>
                    <a:pt x="16127" y="2887"/>
                    <a:pt x="15057" y="1688"/>
                  </a:cubicBezTo>
                  <a:cubicBezTo>
                    <a:pt x="14097" y="488"/>
                    <a:pt x="13617" y="857"/>
                    <a:pt x="12898" y="378"/>
                  </a:cubicBezTo>
                  <a:cubicBezTo>
                    <a:pt x="12178" y="267"/>
                    <a:pt x="11588" y="-102"/>
                    <a:pt x="10868" y="27"/>
                  </a:cubicBezTo>
                  <a:cubicBezTo>
                    <a:pt x="9429" y="27"/>
                    <a:pt x="7879" y="138"/>
                    <a:pt x="6679" y="618"/>
                  </a:cubicBezTo>
                  <a:cubicBezTo>
                    <a:pt x="4890" y="1208"/>
                    <a:pt x="4890" y="4086"/>
                    <a:pt x="4650" y="4806"/>
                  </a:cubicBezTo>
                  <a:cubicBezTo>
                    <a:pt x="4890" y="5396"/>
                    <a:pt x="5720" y="5766"/>
                    <a:pt x="5480" y="6596"/>
                  </a:cubicBezTo>
                  <a:cubicBezTo>
                    <a:pt x="5130" y="7426"/>
                    <a:pt x="4170" y="10065"/>
                    <a:pt x="3100" y="9936"/>
                  </a:cubicBezTo>
                  <a:lnTo>
                    <a:pt x="0" y="11855"/>
                  </a:lnTo>
                  <a:close/>
                </a:path>
              </a:pathLst>
            </a:custGeom>
            <a:solidFill>
              <a:srgbClr val="FFFFFF"/>
            </a:solidFill>
            <a:ln w="1835" cap="flat">
              <a:noFill/>
              <a:prstDash val="solid"/>
              <a:miter/>
            </a:ln>
          </p:spPr>
          <p:txBody>
            <a:bodyPr/>
            <a:lstStyle/>
            <a:p>
              <a:endParaRPr lang="en-GB"/>
            </a:p>
          </p:txBody>
        </p:sp>
        <p:sp>
          <p:nvSpPr>
            <p:cNvPr id="1537" name="Freeform: Shape 1536">
              <a:extLst>
                <a:ext uri="{FF2B5EF4-FFF2-40B4-BE49-F238E27FC236}">
                  <a16:creationId xmlns:a16="http://schemas.microsoft.com/office/drawing/2014/main" id="{82FB41E6-7F52-2B44-AF76-4EBFFA81F3E9}"/>
                </a:ext>
              </a:extLst>
            </p:cNvPr>
            <p:cNvSpPr/>
            <p:nvPr/>
          </p:nvSpPr>
          <p:spPr>
            <a:xfrm>
              <a:off x="10909902" y="4869556"/>
              <a:ext cx="25369" cy="25438"/>
            </a:xfrm>
            <a:custGeom>
              <a:avLst/>
              <a:gdLst>
                <a:gd name="csX0" fmla="*/ 7619 w 25369"/>
                <a:gd name="csY0" fmla="*/ 25438 h 25438"/>
                <a:gd name="csX1" fmla="*/ 1493 w 25369"/>
                <a:gd name="csY1" fmla="*/ 23520 h 25438"/>
                <a:gd name="csX2" fmla="*/ 91 w 25369"/>
                <a:gd name="csY2" fmla="*/ 17209 h 25438"/>
                <a:gd name="csX3" fmla="*/ 35 w 25369"/>
                <a:gd name="csY3" fmla="*/ 15327 h 25438"/>
                <a:gd name="csX4" fmla="*/ 1419 w 25369"/>
                <a:gd name="csY4" fmla="*/ 12319 h 25438"/>
                <a:gd name="csX5" fmla="*/ 4519 w 25369"/>
                <a:gd name="csY5" fmla="*/ 10400 h 25438"/>
                <a:gd name="csX6" fmla="*/ 4925 w 25369"/>
                <a:gd name="csY6" fmla="*/ 10197 h 25438"/>
                <a:gd name="csX7" fmla="*/ 5220 w 25369"/>
                <a:gd name="csY7" fmla="*/ 9607 h 25438"/>
                <a:gd name="csX8" fmla="*/ 4869 w 25369"/>
                <a:gd name="csY8" fmla="*/ 8943 h 25438"/>
                <a:gd name="csX9" fmla="*/ 4814 w 25369"/>
                <a:gd name="csY9" fmla="*/ 6858 h 25438"/>
                <a:gd name="csX10" fmla="*/ 8707 w 25369"/>
                <a:gd name="csY10" fmla="*/ 806 h 25438"/>
                <a:gd name="csX11" fmla="*/ 13855 w 25369"/>
                <a:gd name="csY11" fmla="*/ 49 h 25438"/>
                <a:gd name="csX12" fmla="*/ 16014 w 25369"/>
                <a:gd name="csY12" fmla="*/ 344 h 25438"/>
                <a:gd name="csX13" fmla="*/ 17546 w 25369"/>
                <a:gd name="csY13" fmla="*/ 916 h 25438"/>
                <a:gd name="csX14" fmla="*/ 20350 w 25369"/>
                <a:gd name="csY14" fmla="*/ 2854 h 25438"/>
                <a:gd name="csX15" fmla="*/ 24982 w 25369"/>
                <a:gd name="csY15" fmla="*/ 9718 h 25438"/>
                <a:gd name="csX16" fmla="*/ 23376 w 25369"/>
                <a:gd name="csY16" fmla="*/ 17338 h 25438"/>
                <a:gd name="csX17" fmla="*/ 21531 w 25369"/>
                <a:gd name="csY17" fmla="*/ 19460 h 25438"/>
                <a:gd name="csX18" fmla="*/ 20849 w 25369"/>
                <a:gd name="csY18" fmla="*/ 20069 h 25438"/>
                <a:gd name="csX19" fmla="*/ 18690 w 25369"/>
                <a:gd name="csY19" fmla="*/ 21508 h 25438"/>
                <a:gd name="csX20" fmla="*/ 17601 w 25369"/>
                <a:gd name="csY20" fmla="*/ 22781 h 25438"/>
                <a:gd name="csX21" fmla="*/ 8818 w 25369"/>
                <a:gd name="csY21" fmla="*/ 25402 h 25438"/>
                <a:gd name="csX22" fmla="*/ 7600 w 25369"/>
                <a:gd name="csY22" fmla="*/ 25420 h 25438"/>
                <a:gd name="csX23" fmla="*/ 6143 w 25369"/>
                <a:gd name="csY23" fmla="*/ 19460 h 25438"/>
                <a:gd name="csX24" fmla="*/ 8006 w 25369"/>
                <a:gd name="csY24" fmla="*/ 19516 h 25438"/>
                <a:gd name="csX25" fmla="*/ 14077 w 25369"/>
                <a:gd name="csY25" fmla="*/ 18002 h 25438"/>
                <a:gd name="csX26" fmla="*/ 14963 w 25369"/>
                <a:gd name="csY26" fmla="*/ 16914 h 25438"/>
                <a:gd name="csX27" fmla="*/ 17195 w 25369"/>
                <a:gd name="csY27" fmla="*/ 15345 h 25438"/>
                <a:gd name="csX28" fmla="*/ 19003 w 25369"/>
                <a:gd name="csY28" fmla="*/ 13297 h 25438"/>
                <a:gd name="csX29" fmla="*/ 19612 w 25369"/>
                <a:gd name="csY29" fmla="*/ 12596 h 25438"/>
                <a:gd name="csX30" fmla="*/ 19188 w 25369"/>
                <a:gd name="csY30" fmla="*/ 11323 h 25438"/>
                <a:gd name="csX31" fmla="*/ 15793 w 25369"/>
                <a:gd name="csY31" fmla="*/ 6692 h 25438"/>
                <a:gd name="csX32" fmla="*/ 14796 w 25369"/>
                <a:gd name="csY32" fmla="*/ 6193 h 25438"/>
                <a:gd name="csX33" fmla="*/ 14280 w 25369"/>
                <a:gd name="csY33" fmla="*/ 6046 h 25438"/>
                <a:gd name="csX34" fmla="*/ 10774 w 25369"/>
                <a:gd name="csY34" fmla="*/ 6378 h 25438"/>
                <a:gd name="csX35" fmla="*/ 10774 w 25369"/>
                <a:gd name="csY35" fmla="*/ 6378 h 25438"/>
                <a:gd name="csX36" fmla="*/ 10792 w 25369"/>
                <a:gd name="csY36" fmla="*/ 7098 h 25438"/>
                <a:gd name="csX37" fmla="*/ 11346 w 25369"/>
                <a:gd name="csY37" fmla="*/ 10382 h 25438"/>
                <a:gd name="csX38" fmla="*/ 7121 w 25369"/>
                <a:gd name="csY38" fmla="*/ 15788 h 25438"/>
                <a:gd name="csX39" fmla="*/ 6069 w 25369"/>
                <a:gd name="csY39" fmla="*/ 16434 h 25438"/>
                <a:gd name="csX40" fmla="*/ 6069 w 25369"/>
                <a:gd name="csY40" fmla="*/ 17301 h 25438"/>
                <a:gd name="csX41" fmla="*/ 6161 w 25369"/>
                <a:gd name="csY41" fmla="*/ 19423 h 254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Lst>
              <a:rect l="l" t="t" r="r" b="b"/>
              <a:pathLst>
                <a:path w="25369" h="25438">
                  <a:moveTo>
                    <a:pt x="7619" y="25438"/>
                  </a:moveTo>
                  <a:cubicBezTo>
                    <a:pt x="2858" y="25438"/>
                    <a:pt x="1880" y="24055"/>
                    <a:pt x="1493" y="23520"/>
                  </a:cubicBezTo>
                  <a:cubicBezTo>
                    <a:pt x="-20" y="21268"/>
                    <a:pt x="35" y="18925"/>
                    <a:pt x="91" y="17209"/>
                  </a:cubicBezTo>
                  <a:cubicBezTo>
                    <a:pt x="91" y="16563"/>
                    <a:pt x="146" y="15936"/>
                    <a:pt x="35" y="15327"/>
                  </a:cubicBezTo>
                  <a:cubicBezTo>
                    <a:pt x="-149" y="14146"/>
                    <a:pt x="404" y="12947"/>
                    <a:pt x="1419" y="12319"/>
                  </a:cubicBezTo>
                  <a:lnTo>
                    <a:pt x="4519" y="10400"/>
                  </a:lnTo>
                  <a:cubicBezTo>
                    <a:pt x="4648" y="10327"/>
                    <a:pt x="4796" y="10253"/>
                    <a:pt x="4925" y="10197"/>
                  </a:cubicBezTo>
                  <a:cubicBezTo>
                    <a:pt x="5017" y="10031"/>
                    <a:pt x="5128" y="9828"/>
                    <a:pt x="5220" y="9607"/>
                  </a:cubicBezTo>
                  <a:cubicBezTo>
                    <a:pt x="5091" y="9404"/>
                    <a:pt x="4980" y="9201"/>
                    <a:pt x="4869" y="8943"/>
                  </a:cubicBezTo>
                  <a:cubicBezTo>
                    <a:pt x="4593" y="8278"/>
                    <a:pt x="4574" y="7540"/>
                    <a:pt x="4814" y="6858"/>
                  </a:cubicBezTo>
                  <a:cubicBezTo>
                    <a:pt x="5072" y="5197"/>
                    <a:pt x="5608" y="1857"/>
                    <a:pt x="8707" y="806"/>
                  </a:cubicBezTo>
                  <a:cubicBezTo>
                    <a:pt x="9944" y="307"/>
                    <a:pt x="11623" y="49"/>
                    <a:pt x="13855" y="49"/>
                  </a:cubicBezTo>
                  <a:cubicBezTo>
                    <a:pt x="14464" y="-117"/>
                    <a:pt x="15405" y="178"/>
                    <a:pt x="16014" y="344"/>
                  </a:cubicBezTo>
                  <a:cubicBezTo>
                    <a:pt x="16439" y="418"/>
                    <a:pt x="17195" y="676"/>
                    <a:pt x="17546" y="916"/>
                  </a:cubicBezTo>
                  <a:cubicBezTo>
                    <a:pt x="18321" y="1082"/>
                    <a:pt x="19299" y="1507"/>
                    <a:pt x="20350" y="2854"/>
                  </a:cubicBezTo>
                  <a:cubicBezTo>
                    <a:pt x="20683" y="3204"/>
                    <a:pt x="24594" y="8149"/>
                    <a:pt x="24982" y="9718"/>
                  </a:cubicBezTo>
                  <a:cubicBezTo>
                    <a:pt x="25683" y="13943"/>
                    <a:pt x="25591" y="14958"/>
                    <a:pt x="23376" y="17338"/>
                  </a:cubicBezTo>
                  <a:cubicBezTo>
                    <a:pt x="22934" y="17836"/>
                    <a:pt x="22325" y="18482"/>
                    <a:pt x="21531" y="19460"/>
                  </a:cubicBezTo>
                  <a:cubicBezTo>
                    <a:pt x="21347" y="19700"/>
                    <a:pt x="21107" y="19903"/>
                    <a:pt x="20849" y="20069"/>
                  </a:cubicBezTo>
                  <a:lnTo>
                    <a:pt x="18690" y="21508"/>
                  </a:lnTo>
                  <a:cubicBezTo>
                    <a:pt x="18616" y="21804"/>
                    <a:pt x="18228" y="22283"/>
                    <a:pt x="17601" y="22781"/>
                  </a:cubicBezTo>
                  <a:cubicBezTo>
                    <a:pt x="15018" y="24571"/>
                    <a:pt x="11715" y="25014"/>
                    <a:pt x="8818" y="25402"/>
                  </a:cubicBezTo>
                  <a:cubicBezTo>
                    <a:pt x="8394" y="25420"/>
                    <a:pt x="7969" y="25420"/>
                    <a:pt x="7600" y="25420"/>
                  </a:cubicBezTo>
                  <a:close/>
                  <a:moveTo>
                    <a:pt x="6143" y="19460"/>
                  </a:moveTo>
                  <a:cubicBezTo>
                    <a:pt x="6678" y="19516"/>
                    <a:pt x="7397" y="19552"/>
                    <a:pt x="8006" y="19516"/>
                  </a:cubicBezTo>
                  <a:cubicBezTo>
                    <a:pt x="10184" y="19220"/>
                    <a:pt x="12822" y="18870"/>
                    <a:pt x="14077" y="18002"/>
                  </a:cubicBezTo>
                  <a:cubicBezTo>
                    <a:pt x="14464" y="17486"/>
                    <a:pt x="14686" y="17191"/>
                    <a:pt x="14963" y="16914"/>
                  </a:cubicBezTo>
                  <a:lnTo>
                    <a:pt x="17195" y="15345"/>
                  </a:lnTo>
                  <a:cubicBezTo>
                    <a:pt x="17952" y="14423"/>
                    <a:pt x="18542" y="13777"/>
                    <a:pt x="19003" y="13297"/>
                  </a:cubicBezTo>
                  <a:cubicBezTo>
                    <a:pt x="19280" y="13002"/>
                    <a:pt x="19483" y="12799"/>
                    <a:pt x="19612" y="12596"/>
                  </a:cubicBezTo>
                  <a:cubicBezTo>
                    <a:pt x="19465" y="12707"/>
                    <a:pt x="19336" y="12172"/>
                    <a:pt x="19188" y="11323"/>
                  </a:cubicBezTo>
                  <a:cubicBezTo>
                    <a:pt x="19003" y="10991"/>
                    <a:pt x="16660" y="7670"/>
                    <a:pt x="15793" y="6692"/>
                  </a:cubicBezTo>
                  <a:cubicBezTo>
                    <a:pt x="15535" y="6526"/>
                    <a:pt x="15184" y="6396"/>
                    <a:pt x="14796" y="6193"/>
                  </a:cubicBezTo>
                  <a:cubicBezTo>
                    <a:pt x="14630" y="6138"/>
                    <a:pt x="14446" y="6101"/>
                    <a:pt x="14280" y="6046"/>
                  </a:cubicBezTo>
                  <a:cubicBezTo>
                    <a:pt x="12139" y="6046"/>
                    <a:pt x="11198" y="6212"/>
                    <a:pt x="10774" y="6378"/>
                  </a:cubicBezTo>
                  <a:lnTo>
                    <a:pt x="10774" y="6378"/>
                  </a:lnTo>
                  <a:cubicBezTo>
                    <a:pt x="10866" y="6378"/>
                    <a:pt x="10848" y="6747"/>
                    <a:pt x="10792" y="7098"/>
                  </a:cubicBezTo>
                  <a:cubicBezTo>
                    <a:pt x="11235" y="7706"/>
                    <a:pt x="11770" y="8869"/>
                    <a:pt x="11346" y="10382"/>
                  </a:cubicBezTo>
                  <a:cubicBezTo>
                    <a:pt x="10553" y="12356"/>
                    <a:pt x="9390" y="15179"/>
                    <a:pt x="7121" y="15788"/>
                  </a:cubicBezTo>
                  <a:lnTo>
                    <a:pt x="6069" y="16434"/>
                  </a:lnTo>
                  <a:cubicBezTo>
                    <a:pt x="6069" y="16729"/>
                    <a:pt x="6069" y="17006"/>
                    <a:pt x="6069" y="17301"/>
                  </a:cubicBezTo>
                  <a:cubicBezTo>
                    <a:pt x="6069" y="18205"/>
                    <a:pt x="6050" y="18888"/>
                    <a:pt x="6161" y="19423"/>
                  </a:cubicBezTo>
                  <a:close/>
                </a:path>
              </a:pathLst>
            </a:custGeom>
            <a:solidFill>
              <a:srgbClr val="FFFFFF"/>
            </a:solidFill>
            <a:ln w="1835" cap="flat">
              <a:noFill/>
              <a:prstDash val="solid"/>
              <a:miter/>
            </a:ln>
          </p:spPr>
          <p:txBody>
            <a:bodyPr/>
            <a:lstStyle/>
            <a:p>
              <a:endParaRPr lang="en-GB"/>
            </a:p>
          </p:txBody>
        </p:sp>
        <p:sp>
          <p:nvSpPr>
            <p:cNvPr id="1538" name="Freeform: Shape 1537">
              <a:extLst>
                <a:ext uri="{FF2B5EF4-FFF2-40B4-BE49-F238E27FC236}">
                  <a16:creationId xmlns:a16="http://schemas.microsoft.com/office/drawing/2014/main" id="{7A68F7C2-EB64-A964-418F-824D1FD82DC0}"/>
                </a:ext>
              </a:extLst>
            </p:cNvPr>
            <p:cNvSpPr/>
            <p:nvPr/>
          </p:nvSpPr>
          <p:spPr>
            <a:xfrm>
              <a:off x="10958909" y="4939619"/>
              <a:ext cx="27379" cy="21339"/>
            </a:xfrm>
            <a:custGeom>
              <a:avLst/>
              <a:gdLst>
                <a:gd name="csX0" fmla="*/ 17140 w 27379"/>
                <a:gd name="csY0" fmla="*/ 20509 h 21339"/>
                <a:gd name="csX1" fmla="*/ 18579 w 27379"/>
                <a:gd name="csY1" fmla="*/ 20030 h 21339"/>
                <a:gd name="csX2" fmla="*/ 20498 w 27379"/>
                <a:gd name="csY2" fmla="*/ 20140 h 21339"/>
                <a:gd name="csX3" fmla="*/ 23838 w 27379"/>
                <a:gd name="csY3" fmla="*/ 20971 h 21339"/>
                <a:gd name="csX4" fmla="*/ 27307 w 27379"/>
                <a:gd name="csY4" fmla="*/ 12612 h 21339"/>
                <a:gd name="csX5" fmla="*/ 27196 w 27379"/>
                <a:gd name="csY5" fmla="*/ 11413 h 21339"/>
                <a:gd name="csX6" fmla="*/ 25757 w 27379"/>
                <a:gd name="csY6" fmla="*/ 10343 h 21339"/>
                <a:gd name="csX7" fmla="*/ 24558 w 27379"/>
                <a:gd name="csY7" fmla="*/ 9033 h 21339"/>
                <a:gd name="csX8" fmla="*/ 21089 w 27379"/>
                <a:gd name="csY8" fmla="*/ 7003 h 21339"/>
                <a:gd name="csX9" fmla="*/ 20498 w 27379"/>
                <a:gd name="csY9" fmla="*/ 5564 h 21339"/>
                <a:gd name="csX10" fmla="*/ 17638 w 27379"/>
                <a:gd name="csY10" fmla="*/ 3423 h 21339"/>
                <a:gd name="csX11" fmla="*/ 9999 w 27379"/>
                <a:gd name="csY11" fmla="*/ 563 h 21339"/>
                <a:gd name="csX12" fmla="*/ 921 w 27379"/>
                <a:gd name="csY12" fmla="*/ 8811 h 21339"/>
                <a:gd name="csX13" fmla="*/ 810 w 27379"/>
                <a:gd name="csY13" fmla="*/ 15730 h 21339"/>
                <a:gd name="csX14" fmla="*/ 2729 w 27379"/>
                <a:gd name="csY14" fmla="*/ 17041 h 21339"/>
                <a:gd name="csX15" fmla="*/ 4169 w 27379"/>
                <a:gd name="csY15" fmla="*/ 18111 h 21339"/>
                <a:gd name="csX16" fmla="*/ 8228 w 27379"/>
                <a:gd name="csY16" fmla="*/ 18941 h 21339"/>
                <a:gd name="csX17" fmla="*/ 9298 w 27379"/>
                <a:gd name="csY17" fmla="*/ 19421 h 21339"/>
                <a:gd name="csX18" fmla="*/ 18007 w 27379"/>
                <a:gd name="csY18" fmla="*/ 21340 h 213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7379" h="21339">
                  <a:moveTo>
                    <a:pt x="17140" y="20509"/>
                  </a:moveTo>
                  <a:cubicBezTo>
                    <a:pt x="18450" y="21100"/>
                    <a:pt x="18100" y="20159"/>
                    <a:pt x="18579" y="20030"/>
                  </a:cubicBezTo>
                  <a:cubicBezTo>
                    <a:pt x="19170" y="20030"/>
                    <a:pt x="19779" y="20030"/>
                    <a:pt x="20498" y="20140"/>
                  </a:cubicBezTo>
                  <a:cubicBezTo>
                    <a:pt x="21568" y="20380"/>
                    <a:pt x="23838" y="20971"/>
                    <a:pt x="23838" y="20971"/>
                  </a:cubicBezTo>
                  <a:cubicBezTo>
                    <a:pt x="25037" y="18221"/>
                    <a:pt x="26218" y="15472"/>
                    <a:pt x="27307" y="12612"/>
                  </a:cubicBezTo>
                  <a:cubicBezTo>
                    <a:pt x="27418" y="12262"/>
                    <a:pt x="27418" y="11893"/>
                    <a:pt x="27196" y="11413"/>
                  </a:cubicBezTo>
                  <a:cubicBezTo>
                    <a:pt x="26956" y="11062"/>
                    <a:pt x="26237" y="10822"/>
                    <a:pt x="25757" y="10343"/>
                  </a:cubicBezTo>
                  <a:cubicBezTo>
                    <a:pt x="25277" y="9992"/>
                    <a:pt x="24927" y="9512"/>
                    <a:pt x="24558" y="9033"/>
                  </a:cubicBezTo>
                  <a:cubicBezTo>
                    <a:pt x="23358" y="8313"/>
                    <a:pt x="22048" y="7833"/>
                    <a:pt x="21089" y="7003"/>
                  </a:cubicBezTo>
                  <a:cubicBezTo>
                    <a:pt x="20498" y="6523"/>
                    <a:pt x="20849" y="5933"/>
                    <a:pt x="20498" y="5564"/>
                  </a:cubicBezTo>
                  <a:cubicBezTo>
                    <a:pt x="19668" y="4733"/>
                    <a:pt x="17638" y="3423"/>
                    <a:pt x="17638" y="3423"/>
                  </a:cubicBezTo>
                  <a:cubicBezTo>
                    <a:pt x="8210" y="-525"/>
                    <a:pt x="12859" y="-396"/>
                    <a:pt x="9999" y="563"/>
                  </a:cubicBezTo>
                  <a:cubicBezTo>
                    <a:pt x="7250" y="1394"/>
                    <a:pt x="2471" y="6302"/>
                    <a:pt x="921" y="8811"/>
                  </a:cubicBezTo>
                  <a:cubicBezTo>
                    <a:pt x="-629" y="11431"/>
                    <a:pt x="91" y="14070"/>
                    <a:pt x="810" y="15730"/>
                  </a:cubicBezTo>
                  <a:cubicBezTo>
                    <a:pt x="1530" y="16210"/>
                    <a:pt x="2120" y="16561"/>
                    <a:pt x="2729" y="17041"/>
                  </a:cubicBezTo>
                  <a:cubicBezTo>
                    <a:pt x="3209" y="17391"/>
                    <a:pt x="3689" y="17871"/>
                    <a:pt x="4169" y="18111"/>
                  </a:cubicBezTo>
                  <a:cubicBezTo>
                    <a:pt x="6789" y="19421"/>
                    <a:pt x="5958" y="18351"/>
                    <a:pt x="8228" y="18941"/>
                  </a:cubicBezTo>
                  <a:cubicBezTo>
                    <a:pt x="8708" y="18941"/>
                    <a:pt x="7748" y="19052"/>
                    <a:pt x="9298" y="19421"/>
                  </a:cubicBezTo>
                  <a:cubicBezTo>
                    <a:pt x="10977" y="19771"/>
                    <a:pt x="15147" y="20620"/>
                    <a:pt x="18007" y="21340"/>
                  </a:cubicBezTo>
                </a:path>
              </a:pathLst>
            </a:custGeom>
            <a:solidFill>
              <a:srgbClr val="FFFFFF"/>
            </a:solidFill>
            <a:ln w="1835" cap="flat">
              <a:noFill/>
              <a:prstDash val="solid"/>
              <a:miter/>
            </a:ln>
          </p:spPr>
          <p:txBody>
            <a:bodyPr/>
            <a:lstStyle/>
            <a:p>
              <a:endParaRPr lang="en-GB"/>
            </a:p>
          </p:txBody>
        </p:sp>
        <p:sp>
          <p:nvSpPr>
            <p:cNvPr id="1539" name="Freeform: Shape 1538">
              <a:extLst>
                <a:ext uri="{FF2B5EF4-FFF2-40B4-BE49-F238E27FC236}">
                  <a16:creationId xmlns:a16="http://schemas.microsoft.com/office/drawing/2014/main" id="{32C40E9F-D968-3E35-1743-7A5BCCCF2201}"/>
                </a:ext>
              </a:extLst>
            </p:cNvPr>
            <p:cNvSpPr/>
            <p:nvPr/>
          </p:nvSpPr>
          <p:spPr>
            <a:xfrm>
              <a:off x="10955935" y="4936719"/>
              <a:ext cx="33343" cy="27155"/>
            </a:xfrm>
            <a:custGeom>
              <a:avLst/>
              <a:gdLst>
                <a:gd name="csX0" fmla="*/ 20226 w 33343"/>
                <a:gd name="csY0" fmla="*/ 27138 h 27155"/>
                <a:gd name="csX1" fmla="*/ 13325 w 33343"/>
                <a:gd name="csY1" fmla="*/ 25606 h 27155"/>
                <a:gd name="csX2" fmla="*/ 11609 w 33343"/>
                <a:gd name="csY2" fmla="*/ 25237 h 27155"/>
                <a:gd name="csX3" fmla="*/ 10096 w 33343"/>
                <a:gd name="csY3" fmla="*/ 24739 h 27155"/>
                <a:gd name="csX4" fmla="*/ 5778 w 33343"/>
                <a:gd name="csY4" fmla="*/ 23669 h 27155"/>
                <a:gd name="csX5" fmla="*/ 4247 w 33343"/>
                <a:gd name="csY5" fmla="*/ 22598 h 27155"/>
                <a:gd name="csX6" fmla="*/ 2715 w 33343"/>
                <a:gd name="csY6" fmla="*/ 21491 h 27155"/>
                <a:gd name="csX7" fmla="*/ 1036 w 33343"/>
                <a:gd name="csY7" fmla="*/ 19775 h 27155"/>
                <a:gd name="csX8" fmla="*/ 1331 w 33343"/>
                <a:gd name="csY8" fmla="*/ 10181 h 27155"/>
                <a:gd name="csX9" fmla="*/ 12088 w 33343"/>
                <a:gd name="csY9" fmla="*/ 586 h 27155"/>
                <a:gd name="csX10" fmla="*/ 16314 w 33343"/>
                <a:gd name="csY10" fmla="*/ 807 h 27155"/>
                <a:gd name="csX11" fmla="*/ 21776 w 33343"/>
                <a:gd name="csY11" fmla="*/ 3556 h 27155"/>
                <a:gd name="csX12" fmla="*/ 25595 w 33343"/>
                <a:gd name="csY12" fmla="*/ 6343 h 27155"/>
                <a:gd name="csX13" fmla="*/ 26462 w 33343"/>
                <a:gd name="csY13" fmla="*/ 7948 h 27155"/>
                <a:gd name="csX14" fmla="*/ 27625 w 33343"/>
                <a:gd name="csY14" fmla="*/ 8575 h 27155"/>
                <a:gd name="csX15" fmla="*/ 29064 w 33343"/>
                <a:gd name="csY15" fmla="*/ 9350 h 27155"/>
                <a:gd name="csX16" fmla="*/ 29968 w 33343"/>
                <a:gd name="csY16" fmla="*/ 10162 h 27155"/>
                <a:gd name="csX17" fmla="*/ 30540 w 33343"/>
                <a:gd name="csY17" fmla="*/ 10863 h 27155"/>
                <a:gd name="csX18" fmla="*/ 32680 w 33343"/>
                <a:gd name="csY18" fmla="*/ 12690 h 27155"/>
                <a:gd name="csX19" fmla="*/ 33086 w 33343"/>
                <a:gd name="csY19" fmla="*/ 16528 h 27155"/>
                <a:gd name="csX20" fmla="*/ 29544 w 33343"/>
                <a:gd name="csY20" fmla="*/ 25071 h 27155"/>
                <a:gd name="csX21" fmla="*/ 26056 w 33343"/>
                <a:gd name="csY21" fmla="*/ 26768 h 27155"/>
                <a:gd name="csX22" fmla="*/ 22809 w 33343"/>
                <a:gd name="csY22" fmla="*/ 25957 h 27155"/>
                <a:gd name="csX23" fmla="*/ 22790 w 33343"/>
                <a:gd name="csY23" fmla="*/ 25957 h 27155"/>
                <a:gd name="csX24" fmla="*/ 20392 w 33343"/>
                <a:gd name="csY24" fmla="*/ 26566 h 27155"/>
                <a:gd name="csX25" fmla="*/ 20244 w 33343"/>
                <a:gd name="csY25" fmla="*/ 27156 h 27155"/>
                <a:gd name="csX26" fmla="*/ 19691 w 33343"/>
                <a:gd name="csY26" fmla="*/ 20882 h 27155"/>
                <a:gd name="csX27" fmla="*/ 18565 w 33343"/>
                <a:gd name="csY27" fmla="*/ 21971 h 27155"/>
                <a:gd name="csX28" fmla="*/ 19820 w 33343"/>
                <a:gd name="csY28" fmla="*/ 20901 h 27155"/>
                <a:gd name="csX29" fmla="*/ 21111 w 33343"/>
                <a:gd name="csY29" fmla="*/ 21215 h 27155"/>
                <a:gd name="csX30" fmla="*/ 21351 w 33343"/>
                <a:gd name="csY30" fmla="*/ 20698 h 27155"/>
                <a:gd name="csX31" fmla="*/ 20004 w 33343"/>
                <a:gd name="csY31" fmla="*/ 20753 h 27155"/>
                <a:gd name="csX32" fmla="*/ 20853 w 33343"/>
                <a:gd name="csY32" fmla="*/ 20034 h 27155"/>
                <a:gd name="csX33" fmla="*/ 23953 w 33343"/>
                <a:gd name="csY33" fmla="*/ 20107 h 27155"/>
                <a:gd name="csX34" fmla="*/ 25078 w 33343"/>
                <a:gd name="csY34" fmla="*/ 20384 h 27155"/>
                <a:gd name="csX35" fmla="*/ 26997 w 33343"/>
                <a:gd name="csY35" fmla="*/ 15734 h 27155"/>
                <a:gd name="csX36" fmla="*/ 26610 w 33343"/>
                <a:gd name="csY36" fmla="*/ 15384 h 27155"/>
                <a:gd name="csX37" fmla="*/ 25521 w 33343"/>
                <a:gd name="csY37" fmla="*/ 14258 h 27155"/>
                <a:gd name="csX38" fmla="*/ 24912 w 33343"/>
                <a:gd name="csY38" fmla="*/ 13945 h 27155"/>
                <a:gd name="csX39" fmla="*/ 22108 w 33343"/>
                <a:gd name="csY39" fmla="*/ 12173 h 27155"/>
                <a:gd name="csX40" fmla="*/ 20835 w 33343"/>
                <a:gd name="csY40" fmla="*/ 10162 h 27155"/>
                <a:gd name="csX41" fmla="*/ 18989 w 33343"/>
                <a:gd name="csY41" fmla="*/ 8870 h 27155"/>
                <a:gd name="csX42" fmla="*/ 13768 w 33343"/>
                <a:gd name="csY42" fmla="*/ 6379 h 27155"/>
                <a:gd name="csX43" fmla="*/ 6424 w 33343"/>
                <a:gd name="csY43" fmla="*/ 13317 h 27155"/>
                <a:gd name="csX44" fmla="*/ 6221 w 33343"/>
                <a:gd name="csY44" fmla="*/ 16694 h 27155"/>
                <a:gd name="csX45" fmla="*/ 7549 w 33343"/>
                <a:gd name="csY45" fmla="*/ 17635 h 27155"/>
                <a:gd name="csX46" fmla="*/ 8490 w 33343"/>
                <a:gd name="csY46" fmla="*/ 18391 h 27155"/>
                <a:gd name="csX47" fmla="*/ 9376 w 33343"/>
                <a:gd name="csY47" fmla="*/ 18779 h 27155"/>
                <a:gd name="csX48" fmla="*/ 11830 w 33343"/>
                <a:gd name="csY48" fmla="*/ 18963 h 27155"/>
                <a:gd name="csX49" fmla="*/ 13011 w 33343"/>
                <a:gd name="csY49" fmla="*/ 19462 h 27155"/>
                <a:gd name="csX50" fmla="*/ 14561 w 33343"/>
                <a:gd name="csY50" fmla="*/ 19794 h 27155"/>
                <a:gd name="csX51" fmla="*/ 19709 w 33343"/>
                <a:gd name="csY51" fmla="*/ 20901 h 27155"/>
                <a:gd name="csX52" fmla="*/ 21111 w 33343"/>
                <a:gd name="csY52" fmla="*/ 21215 h 27155"/>
                <a:gd name="csX53" fmla="*/ 21130 w 33343"/>
                <a:gd name="csY53" fmla="*/ 21215 h 27155"/>
                <a:gd name="csX54" fmla="*/ 21370 w 33343"/>
                <a:gd name="csY54" fmla="*/ 20698 h 27155"/>
                <a:gd name="csX55" fmla="*/ 21333 w 33343"/>
                <a:gd name="csY55" fmla="*/ 20698 h 27155"/>
                <a:gd name="csX56" fmla="*/ 21093 w 33343"/>
                <a:gd name="csY56" fmla="*/ 21215 h 27155"/>
                <a:gd name="csX57" fmla="*/ 25927 w 33343"/>
                <a:gd name="csY57" fmla="*/ 7579 h 27155"/>
                <a:gd name="csX58" fmla="*/ 26001 w 33343"/>
                <a:gd name="csY58" fmla="*/ 7653 h 27155"/>
                <a:gd name="csX59" fmla="*/ 25927 w 33343"/>
                <a:gd name="csY59" fmla="*/ 7579 h 271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Lst>
              <a:rect l="l" t="t" r="r" b="b"/>
              <a:pathLst>
                <a:path w="33343" h="27155">
                  <a:moveTo>
                    <a:pt x="20226" y="27138"/>
                  </a:moveTo>
                  <a:cubicBezTo>
                    <a:pt x="18122" y="26621"/>
                    <a:pt x="15299" y="26012"/>
                    <a:pt x="13325" y="25606"/>
                  </a:cubicBezTo>
                  <a:lnTo>
                    <a:pt x="11609" y="25237"/>
                  </a:lnTo>
                  <a:cubicBezTo>
                    <a:pt x="11203" y="25145"/>
                    <a:pt x="10649" y="25016"/>
                    <a:pt x="10096" y="24739"/>
                  </a:cubicBezTo>
                  <a:cubicBezTo>
                    <a:pt x="8398" y="24739"/>
                    <a:pt x="7420" y="24499"/>
                    <a:pt x="5778" y="23669"/>
                  </a:cubicBezTo>
                  <a:cubicBezTo>
                    <a:pt x="5169" y="23373"/>
                    <a:pt x="4652" y="22931"/>
                    <a:pt x="4247" y="22598"/>
                  </a:cubicBezTo>
                  <a:cubicBezTo>
                    <a:pt x="3472" y="21971"/>
                    <a:pt x="3121" y="21750"/>
                    <a:pt x="2715" y="21491"/>
                  </a:cubicBezTo>
                  <a:cubicBezTo>
                    <a:pt x="2217" y="21159"/>
                    <a:pt x="1257" y="20329"/>
                    <a:pt x="1036" y="19775"/>
                  </a:cubicBezTo>
                  <a:cubicBezTo>
                    <a:pt x="-828" y="15402"/>
                    <a:pt x="169" y="12136"/>
                    <a:pt x="1331" y="10181"/>
                  </a:cubicBezTo>
                  <a:cubicBezTo>
                    <a:pt x="2973" y="7505"/>
                    <a:pt x="8232" y="1785"/>
                    <a:pt x="12088" y="586"/>
                  </a:cubicBezTo>
                  <a:cubicBezTo>
                    <a:pt x="13251" y="-263"/>
                    <a:pt x="15262" y="-189"/>
                    <a:pt x="16314" y="807"/>
                  </a:cubicBezTo>
                  <a:cubicBezTo>
                    <a:pt x="16406" y="899"/>
                    <a:pt x="17310" y="1693"/>
                    <a:pt x="21776" y="3556"/>
                  </a:cubicBezTo>
                  <a:cubicBezTo>
                    <a:pt x="22624" y="4055"/>
                    <a:pt x="24580" y="5328"/>
                    <a:pt x="25595" y="6343"/>
                  </a:cubicBezTo>
                  <a:cubicBezTo>
                    <a:pt x="25927" y="6675"/>
                    <a:pt x="26259" y="7339"/>
                    <a:pt x="26462" y="7948"/>
                  </a:cubicBezTo>
                  <a:cubicBezTo>
                    <a:pt x="26813" y="8169"/>
                    <a:pt x="27219" y="8372"/>
                    <a:pt x="27625" y="8575"/>
                  </a:cubicBezTo>
                  <a:cubicBezTo>
                    <a:pt x="28104" y="8815"/>
                    <a:pt x="28584" y="9073"/>
                    <a:pt x="29064" y="9350"/>
                  </a:cubicBezTo>
                  <a:cubicBezTo>
                    <a:pt x="29415" y="9553"/>
                    <a:pt x="29710" y="9830"/>
                    <a:pt x="29968" y="10162"/>
                  </a:cubicBezTo>
                  <a:cubicBezTo>
                    <a:pt x="30116" y="10383"/>
                    <a:pt x="30392" y="10752"/>
                    <a:pt x="30540" y="10863"/>
                  </a:cubicBezTo>
                  <a:cubicBezTo>
                    <a:pt x="31518" y="11509"/>
                    <a:pt x="32201" y="11933"/>
                    <a:pt x="32680" y="12690"/>
                  </a:cubicBezTo>
                  <a:cubicBezTo>
                    <a:pt x="33585" y="14424"/>
                    <a:pt x="33400" y="15716"/>
                    <a:pt x="33086" y="16528"/>
                  </a:cubicBezTo>
                  <a:cubicBezTo>
                    <a:pt x="31998" y="19462"/>
                    <a:pt x="30780" y="22266"/>
                    <a:pt x="29544" y="25071"/>
                  </a:cubicBezTo>
                  <a:cubicBezTo>
                    <a:pt x="28953" y="26418"/>
                    <a:pt x="27477" y="27064"/>
                    <a:pt x="26056" y="26768"/>
                  </a:cubicBezTo>
                  <a:cubicBezTo>
                    <a:pt x="26056" y="26768"/>
                    <a:pt x="23861" y="26178"/>
                    <a:pt x="22809" y="25957"/>
                  </a:cubicBezTo>
                  <a:cubicBezTo>
                    <a:pt x="22809" y="25957"/>
                    <a:pt x="22803" y="25957"/>
                    <a:pt x="22790" y="25957"/>
                  </a:cubicBezTo>
                  <a:cubicBezTo>
                    <a:pt x="22182" y="26418"/>
                    <a:pt x="21407" y="26732"/>
                    <a:pt x="20392" y="26566"/>
                  </a:cubicBezTo>
                  <a:lnTo>
                    <a:pt x="20244" y="27156"/>
                  </a:lnTo>
                  <a:close/>
                  <a:moveTo>
                    <a:pt x="19691" y="20882"/>
                  </a:moveTo>
                  <a:cubicBezTo>
                    <a:pt x="19229" y="21104"/>
                    <a:pt x="18823" y="21454"/>
                    <a:pt x="18565" y="21971"/>
                  </a:cubicBezTo>
                  <a:lnTo>
                    <a:pt x="19820" y="20901"/>
                  </a:lnTo>
                  <a:cubicBezTo>
                    <a:pt x="20263" y="21012"/>
                    <a:pt x="20687" y="21104"/>
                    <a:pt x="21111" y="21215"/>
                  </a:cubicBezTo>
                  <a:lnTo>
                    <a:pt x="21351" y="20698"/>
                  </a:lnTo>
                  <a:cubicBezTo>
                    <a:pt x="20982" y="20550"/>
                    <a:pt x="20502" y="20587"/>
                    <a:pt x="20004" y="20753"/>
                  </a:cubicBezTo>
                  <a:lnTo>
                    <a:pt x="20853" y="20034"/>
                  </a:lnTo>
                  <a:cubicBezTo>
                    <a:pt x="22329" y="19941"/>
                    <a:pt x="23030" y="19960"/>
                    <a:pt x="23953" y="20107"/>
                  </a:cubicBezTo>
                  <a:cubicBezTo>
                    <a:pt x="24285" y="20181"/>
                    <a:pt x="24672" y="20274"/>
                    <a:pt x="25078" y="20384"/>
                  </a:cubicBezTo>
                  <a:cubicBezTo>
                    <a:pt x="25743" y="18853"/>
                    <a:pt x="26388" y="17321"/>
                    <a:pt x="26997" y="15734"/>
                  </a:cubicBezTo>
                  <a:cubicBezTo>
                    <a:pt x="26868" y="15624"/>
                    <a:pt x="26739" y="15513"/>
                    <a:pt x="26610" y="15384"/>
                  </a:cubicBezTo>
                  <a:cubicBezTo>
                    <a:pt x="26259" y="15144"/>
                    <a:pt x="25890" y="14720"/>
                    <a:pt x="25521" y="14258"/>
                  </a:cubicBezTo>
                  <a:cubicBezTo>
                    <a:pt x="25318" y="14148"/>
                    <a:pt x="25097" y="14055"/>
                    <a:pt x="24912" y="13945"/>
                  </a:cubicBezTo>
                  <a:cubicBezTo>
                    <a:pt x="24008" y="13483"/>
                    <a:pt x="23012" y="12985"/>
                    <a:pt x="22108" y="12173"/>
                  </a:cubicBezTo>
                  <a:cubicBezTo>
                    <a:pt x="21333" y="11564"/>
                    <a:pt x="21001" y="10771"/>
                    <a:pt x="20835" y="10162"/>
                  </a:cubicBezTo>
                  <a:cubicBezTo>
                    <a:pt x="20336" y="9775"/>
                    <a:pt x="19580" y="9258"/>
                    <a:pt x="18989" y="8870"/>
                  </a:cubicBezTo>
                  <a:cubicBezTo>
                    <a:pt x="16425" y="7837"/>
                    <a:pt x="14819" y="7025"/>
                    <a:pt x="13768" y="6379"/>
                  </a:cubicBezTo>
                  <a:cubicBezTo>
                    <a:pt x="12015" y="7044"/>
                    <a:pt x="7882" y="10937"/>
                    <a:pt x="6424" y="13317"/>
                  </a:cubicBezTo>
                  <a:cubicBezTo>
                    <a:pt x="5870" y="14258"/>
                    <a:pt x="5796" y="15365"/>
                    <a:pt x="6221" y="16694"/>
                  </a:cubicBezTo>
                  <a:cubicBezTo>
                    <a:pt x="6811" y="17081"/>
                    <a:pt x="7180" y="17340"/>
                    <a:pt x="7549" y="17635"/>
                  </a:cubicBezTo>
                  <a:lnTo>
                    <a:pt x="8490" y="18391"/>
                  </a:lnTo>
                  <a:cubicBezTo>
                    <a:pt x="9136" y="18705"/>
                    <a:pt x="9358" y="18760"/>
                    <a:pt x="9376" y="18779"/>
                  </a:cubicBezTo>
                  <a:cubicBezTo>
                    <a:pt x="9800" y="18668"/>
                    <a:pt x="10539" y="18631"/>
                    <a:pt x="11830" y="18963"/>
                  </a:cubicBezTo>
                  <a:cubicBezTo>
                    <a:pt x="12255" y="19037"/>
                    <a:pt x="12660" y="19222"/>
                    <a:pt x="13011" y="19462"/>
                  </a:cubicBezTo>
                  <a:lnTo>
                    <a:pt x="14561" y="19794"/>
                  </a:lnTo>
                  <a:cubicBezTo>
                    <a:pt x="16037" y="20089"/>
                    <a:pt x="17938" y="20495"/>
                    <a:pt x="19709" y="20901"/>
                  </a:cubicBezTo>
                  <a:close/>
                  <a:moveTo>
                    <a:pt x="21111" y="21215"/>
                  </a:moveTo>
                  <a:lnTo>
                    <a:pt x="21130" y="21215"/>
                  </a:lnTo>
                  <a:lnTo>
                    <a:pt x="21370" y="20698"/>
                  </a:lnTo>
                  <a:cubicBezTo>
                    <a:pt x="21370" y="20698"/>
                    <a:pt x="21351" y="20698"/>
                    <a:pt x="21333" y="20698"/>
                  </a:cubicBezTo>
                  <a:lnTo>
                    <a:pt x="21093" y="21215"/>
                  </a:lnTo>
                  <a:close/>
                  <a:moveTo>
                    <a:pt x="25927" y="7579"/>
                  </a:moveTo>
                  <a:lnTo>
                    <a:pt x="26001" y="7653"/>
                  </a:lnTo>
                  <a:lnTo>
                    <a:pt x="25927" y="7579"/>
                  </a:lnTo>
                  <a:close/>
                </a:path>
              </a:pathLst>
            </a:custGeom>
            <a:solidFill>
              <a:srgbClr val="FFFFFF"/>
            </a:solidFill>
            <a:ln w="1835" cap="flat">
              <a:noFill/>
              <a:prstDash val="solid"/>
              <a:miter/>
            </a:ln>
          </p:spPr>
          <p:txBody>
            <a:bodyPr/>
            <a:lstStyle/>
            <a:p>
              <a:endParaRPr lang="en-GB"/>
            </a:p>
          </p:txBody>
        </p:sp>
        <p:sp>
          <p:nvSpPr>
            <p:cNvPr id="1540" name="Freeform: Shape 1539">
              <a:extLst>
                <a:ext uri="{FF2B5EF4-FFF2-40B4-BE49-F238E27FC236}">
                  <a16:creationId xmlns:a16="http://schemas.microsoft.com/office/drawing/2014/main" id="{35899558-EEF3-C88F-04E2-91E3A8476DB0}"/>
                </a:ext>
              </a:extLst>
            </p:cNvPr>
            <p:cNvSpPr/>
            <p:nvPr/>
          </p:nvSpPr>
          <p:spPr>
            <a:xfrm>
              <a:off x="10859397" y="4824677"/>
              <a:ext cx="20390" cy="27109"/>
            </a:xfrm>
            <a:custGeom>
              <a:avLst/>
              <a:gdLst>
                <a:gd name="csX0" fmla="*/ 19690 w 20390"/>
                <a:gd name="csY0" fmla="*/ 9095 h 27109"/>
                <a:gd name="csX1" fmla="*/ 18970 w 20390"/>
                <a:gd name="csY1" fmla="*/ 7785 h 27109"/>
                <a:gd name="csX2" fmla="*/ 18859 w 20390"/>
                <a:gd name="csY2" fmla="*/ 5866 h 27109"/>
                <a:gd name="csX3" fmla="*/ 19339 w 20390"/>
                <a:gd name="csY3" fmla="*/ 2397 h 27109"/>
                <a:gd name="csX4" fmla="*/ 10501 w 20390"/>
                <a:gd name="csY4" fmla="*/ 17 h 27109"/>
                <a:gd name="csX5" fmla="*/ 9301 w 20390"/>
                <a:gd name="csY5" fmla="*/ 256 h 27109"/>
                <a:gd name="csX6" fmla="*/ 8471 w 20390"/>
                <a:gd name="csY6" fmla="*/ 1806 h 27109"/>
                <a:gd name="csX7" fmla="*/ 7272 w 20390"/>
                <a:gd name="csY7" fmla="*/ 3246 h 27109"/>
                <a:gd name="csX8" fmla="*/ 5593 w 20390"/>
                <a:gd name="csY8" fmla="*/ 6954 h 27109"/>
                <a:gd name="csX9" fmla="*/ 4282 w 20390"/>
                <a:gd name="csY9" fmla="*/ 7674 h 27109"/>
                <a:gd name="csX10" fmla="*/ 2493 w 20390"/>
                <a:gd name="csY10" fmla="*/ 10663 h 27109"/>
                <a:gd name="csX11" fmla="*/ 703 w 20390"/>
                <a:gd name="csY11" fmla="*/ 18542 h 27109"/>
                <a:gd name="csX12" fmla="*/ 10132 w 20390"/>
                <a:gd name="csY12" fmla="*/ 26550 h 27109"/>
                <a:gd name="csX13" fmla="*/ 17051 w 20390"/>
                <a:gd name="csY13" fmla="*/ 25830 h 27109"/>
                <a:gd name="csX14" fmla="*/ 18121 w 20390"/>
                <a:gd name="csY14" fmla="*/ 23672 h 27109"/>
                <a:gd name="csX15" fmla="*/ 18952 w 20390"/>
                <a:gd name="csY15" fmla="*/ 22232 h 27109"/>
                <a:gd name="csX16" fmla="*/ 19191 w 20390"/>
                <a:gd name="csY16" fmla="*/ 18044 h 27109"/>
                <a:gd name="csX17" fmla="*/ 19671 w 20390"/>
                <a:gd name="csY17" fmla="*/ 16974 h 27109"/>
                <a:gd name="csX18" fmla="*/ 20391 w 20390"/>
                <a:gd name="csY18" fmla="*/ 8135 h 271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0390" h="27109">
                  <a:moveTo>
                    <a:pt x="19690" y="9095"/>
                  </a:moveTo>
                  <a:cubicBezTo>
                    <a:pt x="20169" y="7656"/>
                    <a:pt x="19210" y="8135"/>
                    <a:pt x="18970" y="7785"/>
                  </a:cubicBezTo>
                  <a:cubicBezTo>
                    <a:pt x="18970" y="7065"/>
                    <a:pt x="18859" y="6475"/>
                    <a:pt x="18859" y="5866"/>
                  </a:cubicBezTo>
                  <a:cubicBezTo>
                    <a:pt x="18970" y="4666"/>
                    <a:pt x="19339" y="2397"/>
                    <a:pt x="19339" y="2397"/>
                  </a:cubicBezTo>
                  <a:cubicBezTo>
                    <a:pt x="16350" y="1567"/>
                    <a:pt x="13490" y="718"/>
                    <a:pt x="10501" y="17"/>
                  </a:cubicBezTo>
                  <a:cubicBezTo>
                    <a:pt x="10150" y="17"/>
                    <a:pt x="9670" y="-94"/>
                    <a:pt x="9301" y="256"/>
                  </a:cubicBezTo>
                  <a:cubicBezTo>
                    <a:pt x="8951" y="607"/>
                    <a:pt x="8822" y="1327"/>
                    <a:pt x="8471" y="1806"/>
                  </a:cubicBezTo>
                  <a:cubicBezTo>
                    <a:pt x="8120" y="2286"/>
                    <a:pt x="7641" y="2766"/>
                    <a:pt x="7272" y="3246"/>
                  </a:cubicBezTo>
                  <a:cubicBezTo>
                    <a:pt x="6681" y="4445"/>
                    <a:pt x="6312" y="5866"/>
                    <a:pt x="5593" y="6954"/>
                  </a:cubicBezTo>
                  <a:cubicBezTo>
                    <a:pt x="5242" y="7434"/>
                    <a:pt x="4633" y="7194"/>
                    <a:pt x="4282" y="7674"/>
                  </a:cubicBezTo>
                  <a:cubicBezTo>
                    <a:pt x="3563" y="8504"/>
                    <a:pt x="2493" y="10663"/>
                    <a:pt x="2493" y="10663"/>
                  </a:cubicBezTo>
                  <a:cubicBezTo>
                    <a:pt x="-127" y="20461"/>
                    <a:pt x="-607" y="15922"/>
                    <a:pt x="703" y="18542"/>
                  </a:cubicBezTo>
                  <a:cubicBezTo>
                    <a:pt x="2013" y="21162"/>
                    <a:pt x="7512" y="25351"/>
                    <a:pt x="10132" y="26550"/>
                  </a:cubicBezTo>
                  <a:cubicBezTo>
                    <a:pt x="12881" y="27749"/>
                    <a:pt x="15501" y="26790"/>
                    <a:pt x="17051" y="25830"/>
                  </a:cubicBezTo>
                  <a:cubicBezTo>
                    <a:pt x="17402" y="25111"/>
                    <a:pt x="17771" y="24391"/>
                    <a:pt x="18121" y="23672"/>
                  </a:cubicBezTo>
                  <a:cubicBezTo>
                    <a:pt x="18361" y="23192"/>
                    <a:pt x="18841" y="22841"/>
                    <a:pt x="18952" y="22232"/>
                  </a:cubicBezTo>
                  <a:cubicBezTo>
                    <a:pt x="19911" y="19483"/>
                    <a:pt x="19062" y="20443"/>
                    <a:pt x="19191" y="18044"/>
                  </a:cubicBezTo>
                  <a:cubicBezTo>
                    <a:pt x="19302" y="17693"/>
                    <a:pt x="19431" y="18634"/>
                    <a:pt x="19671" y="16974"/>
                  </a:cubicBezTo>
                  <a:cubicBezTo>
                    <a:pt x="19782" y="15295"/>
                    <a:pt x="20151" y="11124"/>
                    <a:pt x="20391" y="8135"/>
                  </a:cubicBezTo>
                </a:path>
              </a:pathLst>
            </a:custGeom>
            <a:solidFill>
              <a:srgbClr val="FFFFFF"/>
            </a:solidFill>
            <a:ln w="1835" cap="flat">
              <a:noFill/>
              <a:prstDash val="solid"/>
              <a:miter/>
            </a:ln>
          </p:spPr>
          <p:txBody>
            <a:bodyPr/>
            <a:lstStyle/>
            <a:p>
              <a:endParaRPr lang="en-GB"/>
            </a:p>
          </p:txBody>
        </p:sp>
        <p:sp>
          <p:nvSpPr>
            <p:cNvPr id="1541" name="Freeform: Shape 1540">
              <a:extLst>
                <a:ext uri="{FF2B5EF4-FFF2-40B4-BE49-F238E27FC236}">
                  <a16:creationId xmlns:a16="http://schemas.microsoft.com/office/drawing/2014/main" id="{78BAAFC0-012E-B4AB-3A62-D2BD5E818A83}"/>
                </a:ext>
              </a:extLst>
            </p:cNvPr>
            <p:cNvSpPr/>
            <p:nvPr/>
          </p:nvSpPr>
          <p:spPr>
            <a:xfrm>
              <a:off x="10856487" y="4821735"/>
              <a:ext cx="26271" cy="33090"/>
            </a:xfrm>
            <a:custGeom>
              <a:avLst/>
              <a:gdLst>
                <a:gd name="csX0" fmla="*/ 15736 w 26271"/>
                <a:gd name="csY0" fmla="*/ 33017 h 33090"/>
                <a:gd name="csX1" fmla="*/ 11842 w 26271"/>
                <a:gd name="csY1" fmla="*/ 32205 h 33090"/>
                <a:gd name="csX2" fmla="*/ 937 w 26271"/>
                <a:gd name="csY2" fmla="*/ 22813 h 33090"/>
                <a:gd name="csX3" fmla="*/ 513 w 26271"/>
                <a:gd name="csY3" fmla="*/ 18606 h 33090"/>
                <a:gd name="csX4" fmla="*/ 2506 w 26271"/>
                <a:gd name="csY4" fmla="*/ 12830 h 33090"/>
                <a:gd name="csX5" fmla="*/ 4905 w 26271"/>
                <a:gd name="csY5" fmla="*/ 8697 h 33090"/>
                <a:gd name="csX6" fmla="*/ 6344 w 26271"/>
                <a:gd name="csY6" fmla="*/ 7609 h 33090"/>
                <a:gd name="csX7" fmla="*/ 6731 w 26271"/>
                <a:gd name="csY7" fmla="*/ 6631 h 33090"/>
                <a:gd name="csX8" fmla="*/ 7469 w 26271"/>
                <a:gd name="csY8" fmla="*/ 4878 h 33090"/>
                <a:gd name="csX9" fmla="*/ 8503 w 26271"/>
                <a:gd name="csY9" fmla="*/ 3531 h 33090"/>
                <a:gd name="csX10" fmla="*/ 8982 w 26271"/>
                <a:gd name="csY10" fmla="*/ 2885 h 33090"/>
                <a:gd name="csX11" fmla="*/ 10071 w 26271"/>
                <a:gd name="csY11" fmla="*/ 1132 h 33090"/>
                <a:gd name="csX12" fmla="*/ 13337 w 26271"/>
                <a:gd name="csY12" fmla="*/ 25 h 33090"/>
                <a:gd name="csX13" fmla="*/ 21419 w 26271"/>
                <a:gd name="csY13" fmla="*/ 2073 h 33090"/>
                <a:gd name="csX14" fmla="*/ 23024 w 26271"/>
                <a:gd name="csY14" fmla="*/ 2534 h 33090"/>
                <a:gd name="csX15" fmla="*/ 25164 w 26271"/>
                <a:gd name="csY15" fmla="*/ 5856 h 33090"/>
                <a:gd name="csX16" fmla="*/ 24722 w 26271"/>
                <a:gd name="csY16" fmla="*/ 9011 h 33090"/>
                <a:gd name="csX17" fmla="*/ 25238 w 26271"/>
                <a:gd name="csY17" fmla="*/ 9694 h 33090"/>
                <a:gd name="csX18" fmla="*/ 25700 w 26271"/>
                <a:gd name="csY18" fmla="*/ 11317 h 33090"/>
                <a:gd name="csX19" fmla="*/ 26272 w 26271"/>
                <a:gd name="csY19" fmla="*/ 11373 h 33090"/>
                <a:gd name="csX20" fmla="*/ 25552 w 26271"/>
                <a:gd name="csY20" fmla="*/ 20193 h 33090"/>
                <a:gd name="csX21" fmla="*/ 25128 w 26271"/>
                <a:gd name="csY21" fmla="*/ 22038 h 33090"/>
                <a:gd name="csX22" fmla="*/ 25128 w 26271"/>
                <a:gd name="csY22" fmla="*/ 22056 h 33090"/>
                <a:gd name="csX23" fmla="*/ 24666 w 26271"/>
                <a:gd name="csY23" fmla="*/ 26208 h 33090"/>
                <a:gd name="csX24" fmla="*/ 23725 w 26271"/>
                <a:gd name="csY24" fmla="*/ 27961 h 33090"/>
                <a:gd name="csX25" fmla="*/ 22618 w 26271"/>
                <a:gd name="csY25" fmla="*/ 30138 h 33090"/>
                <a:gd name="csX26" fmla="*/ 21493 w 26271"/>
                <a:gd name="csY26" fmla="*/ 31374 h 33090"/>
                <a:gd name="csX27" fmla="*/ 15699 w 26271"/>
                <a:gd name="csY27" fmla="*/ 33090 h 33090"/>
                <a:gd name="csX28" fmla="*/ 6362 w 26271"/>
                <a:gd name="csY28" fmla="*/ 20266 h 33090"/>
                <a:gd name="csX29" fmla="*/ 14296 w 26271"/>
                <a:gd name="csY29" fmla="*/ 26743 h 33090"/>
                <a:gd name="csX30" fmla="*/ 17728 w 26271"/>
                <a:gd name="csY30" fmla="*/ 26577 h 33090"/>
                <a:gd name="csX31" fmla="*/ 18116 w 26271"/>
                <a:gd name="csY31" fmla="*/ 25802 h 33090"/>
                <a:gd name="csX32" fmla="*/ 19038 w 26271"/>
                <a:gd name="csY32" fmla="*/ 24252 h 33090"/>
                <a:gd name="csX33" fmla="*/ 19371 w 26271"/>
                <a:gd name="csY33" fmla="*/ 23182 h 33090"/>
                <a:gd name="csX34" fmla="*/ 19131 w 26271"/>
                <a:gd name="csY34" fmla="*/ 20857 h 33090"/>
                <a:gd name="csX35" fmla="*/ 19278 w 26271"/>
                <a:gd name="csY35" fmla="*/ 20082 h 33090"/>
                <a:gd name="csX36" fmla="*/ 19629 w 26271"/>
                <a:gd name="csY36" fmla="*/ 19362 h 33090"/>
                <a:gd name="csX37" fmla="*/ 20182 w 26271"/>
                <a:gd name="csY37" fmla="*/ 12886 h 33090"/>
                <a:gd name="csX38" fmla="*/ 19408 w 26271"/>
                <a:gd name="csY38" fmla="*/ 12388 h 33090"/>
                <a:gd name="csX39" fmla="*/ 18909 w 26271"/>
                <a:gd name="csY39" fmla="*/ 10727 h 33090"/>
                <a:gd name="csX40" fmla="*/ 18854 w 26271"/>
                <a:gd name="csY40" fmla="*/ 9989 h 33090"/>
                <a:gd name="csX41" fmla="*/ 18780 w 26271"/>
                <a:gd name="csY41" fmla="*/ 8826 h 33090"/>
                <a:gd name="csX42" fmla="*/ 18928 w 26271"/>
                <a:gd name="csY42" fmla="*/ 7535 h 33090"/>
                <a:gd name="csX43" fmla="*/ 14001 w 26271"/>
                <a:gd name="csY43" fmla="*/ 6188 h 33090"/>
                <a:gd name="csX44" fmla="*/ 13743 w 26271"/>
                <a:gd name="csY44" fmla="*/ 6557 h 33090"/>
                <a:gd name="csX45" fmla="*/ 13005 w 26271"/>
                <a:gd name="csY45" fmla="*/ 7443 h 33090"/>
                <a:gd name="csX46" fmla="*/ 12322 w 26271"/>
                <a:gd name="csY46" fmla="*/ 8771 h 33090"/>
                <a:gd name="csX47" fmla="*/ 10994 w 26271"/>
                <a:gd name="csY47" fmla="*/ 11539 h 33090"/>
                <a:gd name="csX48" fmla="*/ 9185 w 26271"/>
                <a:gd name="csY48" fmla="*/ 12960 h 33090"/>
                <a:gd name="csX49" fmla="*/ 8060 w 26271"/>
                <a:gd name="csY49" fmla="*/ 14934 h 33090"/>
                <a:gd name="csX50" fmla="*/ 6362 w 26271"/>
                <a:gd name="csY50" fmla="*/ 20266 h 33090"/>
                <a:gd name="csX51" fmla="*/ 9573 w 26271"/>
                <a:gd name="csY51" fmla="*/ 12406 h 33090"/>
                <a:gd name="csX52" fmla="*/ 9499 w 26271"/>
                <a:gd name="csY52" fmla="*/ 12498 h 33090"/>
                <a:gd name="csX53" fmla="*/ 9573 w 26271"/>
                <a:gd name="csY53" fmla="*/ 12406 h 330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6271" h="33090">
                  <a:moveTo>
                    <a:pt x="15736" y="33017"/>
                  </a:moveTo>
                  <a:cubicBezTo>
                    <a:pt x="14389" y="33017"/>
                    <a:pt x="13079" y="32740"/>
                    <a:pt x="11842" y="32205"/>
                  </a:cubicBezTo>
                  <a:cubicBezTo>
                    <a:pt x="8982" y="30913"/>
                    <a:pt x="2709" y="26374"/>
                    <a:pt x="937" y="22813"/>
                  </a:cubicBezTo>
                  <a:cubicBezTo>
                    <a:pt x="-114" y="21798"/>
                    <a:pt x="-317" y="19805"/>
                    <a:pt x="513" y="18606"/>
                  </a:cubicBezTo>
                  <a:cubicBezTo>
                    <a:pt x="642" y="18440"/>
                    <a:pt x="1288" y="17351"/>
                    <a:pt x="2506" y="12830"/>
                  </a:cubicBezTo>
                  <a:cubicBezTo>
                    <a:pt x="3022" y="11668"/>
                    <a:pt x="4037" y="9712"/>
                    <a:pt x="4905" y="8697"/>
                  </a:cubicBezTo>
                  <a:cubicBezTo>
                    <a:pt x="5329" y="8125"/>
                    <a:pt x="5882" y="7793"/>
                    <a:pt x="6344" y="7609"/>
                  </a:cubicBezTo>
                  <a:cubicBezTo>
                    <a:pt x="6454" y="7332"/>
                    <a:pt x="6602" y="6981"/>
                    <a:pt x="6731" y="6631"/>
                  </a:cubicBezTo>
                  <a:cubicBezTo>
                    <a:pt x="6971" y="6022"/>
                    <a:pt x="7193" y="5431"/>
                    <a:pt x="7469" y="4878"/>
                  </a:cubicBezTo>
                  <a:cubicBezTo>
                    <a:pt x="7986" y="4103"/>
                    <a:pt x="8244" y="3808"/>
                    <a:pt x="8503" y="3531"/>
                  </a:cubicBezTo>
                  <a:lnTo>
                    <a:pt x="8982" y="2885"/>
                  </a:lnTo>
                  <a:cubicBezTo>
                    <a:pt x="9167" y="2424"/>
                    <a:pt x="9462" y="1723"/>
                    <a:pt x="10071" y="1132"/>
                  </a:cubicBezTo>
                  <a:cubicBezTo>
                    <a:pt x="11344" y="-104"/>
                    <a:pt x="12820" y="-30"/>
                    <a:pt x="13337" y="25"/>
                  </a:cubicBezTo>
                  <a:cubicBezTo>
                    <a:pt x="16566" y="708"/>
                    <a:pt x="18965" y="1372"/>
                    <a:pt x="21419" y="2073"/>
                  </a:cubicBezTo>
                  <a:lnTo>
                    <a:pt x="23024" y="2534"/>
                  </a:lnTo>
                  <a:cubicBezTo>
                    <a:pt x="24482" y="2940"/>
                    <a:pt x="25404" y="4361"/>
                    <a:pt x="25164" y="5856"/>
                  </a:cubicBezTo>
                  <a:cubicBezTo>
                    <a:pt x="25164" y="5856"/>
                    <a:pt x="24869" y="7830"/>
                    <a:pt x="24722" y="9011"/>
                  </a:cubicBezTo>
                  <a:cubicBezTo>
                    <a:pt x="24925" y="9214"/>
                    <a:pt x="25091" y="9435"/>
                    <a:pt x="25238" y="9694"/>
                  </a:cubicBezTo>
                  <a:cubicBezTo>
                    <a:pt x="25570" y="10247"/>
                    <a:pt x="25681" y="10819"/>
                    <a:pt x="25700" y="11317"/>
                  </a:cubicBezTo>
                  <a:lnTo>
                    <a:pt x="26272" y="11373"/>
                  </a:lnTo>
                  <a:lnTo>
                    <a:pt x="25552" y="20193"/>
                  </a:lnTo>
                  <a:cubicBezTo>
                    <a:pt x="25478" y="20746"/>
                    <a:pt x="25386" y="21410"/>
                    <a:pt x="25128" y="22038"/>
                  </a:cubicBezTo>
                  <a:cubicBezTo>
                    <a:pt x="25128" y="22038"/>
                    <a:pt x="25128" y="22044"/>
                    <a:pt x="25128" y="22056"/>
                  </a:cubicBezTo>
                  <a:cubicBezTo>
                    <a:pt x="25441" y="23348"/>
                    <a:pt x="25330" y="24289"/>
                    <a:pt x="24666" y="26208"/>
                  </a:cubicBezTo>
                  <a:cubicBezTo>
                    <a:pt x="24537" y="26891"/>
                    <a:pt x="24020" y="27592"/>
                    <a:pt x="23725" y="27961"/>
                  </a:cubicBezTo>
                  <a:lnTo>
                    <a:pt x="22618" y="30138"/>
                  </a:lnTo>
                  <a:cubicBezTo>
                    <a:pt x="22378" y="30636"/>
                    <a:pt x="21991" y="31079"/>
                    <a:pt x="21493" y="31374"/>
                  </a:cubicBezTo>
                  <a:cubicBezTo>
                    <a:pt x="19647" y="32500"/>
                    <a:pt x="17655" y="33090"/>
                    <a:pt x="15699" y="33090"/>
                  </a:cubicBezTo>
                  <a:close/>
                  <a:moveTo>
                    <a:pt x="6362" y="20266"/>
                  </a:moveTo>
                  <a:cubicBezTo>
                    <a:pt x="7432" y="22093"/>
                    <a:pt x="12008" y="25710"/>
                    <a:pt x="14296" y="26743"/>
                  </a:cubicBezTo>
                  <a:cubicBezTo>
                    <a:pt x="15570" y="27278"/>
                    <a:pt x="16843" y="26964"/>
                    <a:pt x="17728" y="26577"/>
                  </a:cubicBezTo>
                  <a:lnTo>
                    <a:pt x="18116" y="25802"/>
                  </a:lnTo>
                  <a:cubicBezTo>
                    <a:pt x="18540" y="24935"/>
                    <a:pt x="18780" y="24584"/>
                    <a:pt x="19038" y="24252"/>
                  </a:cubicBezTo>
                  <a:cubicBezTo>
                    <a:pt x="19241" y="23698"/>
                    <a:pt x="19334" y="23403"/>
                    <a:pt x="19371" y="23182"/>
                  </a:cubicBezTo>
                  <a:cubicBezTo>
                    <a:pt x="19223" y="22831"/>
                    <a:pt x="19075" y="22112"/>
                    <a:pt x="19131" y="20857"/>
                  </a:cubicBezTo>
                  <a:cubicBezTo>
                    <a:pt x="19131" y="20580"/>
                    <a:pt x="19186" y="20340"/>
                    <a:pt x="19278" y="20082"/>
                  </a:cubicBezTo>
                  <a:cubicBezTo>
                    <a:pt x="19352" y="19842"/>
                    <a:pt x="19481" y="19584"/>
                    <a:pt x="19629" y="19362"/>
                  </a:cubicBezTo>
                  <a:lnTo>
                    <a:pt x="20182" y="12886"/>
                  </a:lnTo>
                  <a:lnTo>
                    <a:pt x="19408" y="12388"/>
                  </a:lnTo>
                  <a:cubicBezTo>
                    <a:pt x="19075" y="11889"/>
                    <a:pt x="18909" y="11317"/>
                    <a:pt x="18909" y="10727"/>
                  </a:cubicBezTo>
                  <a:cubicBezTo>
                    <a:pt x="18909" y="10450"/>
                    <a:pt x="18872" y="10210"/>
                    <a:pt x="18854" y="9989"/>
                  </a:cubicBezTo>
                  <a:cubicBezTo>
                    <a:pt x="18817" y="9601"/>
                    <a:pt x="18780" y="9214"/>
                    <a:pt x="18780" y="8826"/>
                  </a:cubicBezTo>
                  <a:cubicBezTo>
                    <a:pt x="18817" y="8439"/>
                    <a:pt x="18872" y="7978"/>
                    <a:pt x="18928" y="7535"/>
                  </a:cubicBezTo>
                  <a:cubicBezTo>
                    <a:pt x="17286" y="7074"/>
                    <a:pt x="15662" y="6612"/>
                    <a:pt x="14001" y="6188"/>
                  </a:cubicBezTo>
                  <a:cubicBezTo>
                    <a:pt x="13927" y="6317"/>
                    <a:pt x="13835" y="6446"/>
                    <a:pt x="13743" y="6557"/>
                  </a:cubicBezTo>
                  <a:cubicBezTo>
                    <a:pt x="13540" y="6852"/>
                    <a:pt x="13282" y="7147"/>
                    <a:pt x="13005" y="7443"/>
                  </a:cubicBezTo>
                  <a:cubicBezTo>
                    <a:pt x="12636" y="7904"/>
                    <a:pt x="12488" y="8347"/>
                    <a:pt x="12322" y="8771"/>
                  </a:cubicBezTo>
                  <a:cubicBezTo>
                    <a:pt x="11990" y="9638"/>
                    <a:pt x="11602" y="10616"/>
                    <a:pt x="10994" y="11539"/>
                  </a:cubicBezTo>
                  <a:cubicBezTo>
                    <a:pt x="10385" y="12369"/>
                    <a:pt x="9702" y="12757"/>
                    <a:pt x="9185" y="12960"/>
                  </a:cubicBezTo>
                  <a:cubicBezTo>
                    <a:pt x="8816" y="13532"/>
                    <a:pt x="8373" y="14307"/>
                    <a:pt x="8060" y="14934"/>
                  </a:cubicBezTo>
                  <a:cubicBezTo>
                    <a:pt x="7414" y="17517"/>
                    <a:pt x="6842" y="19159"/>
                    <a:pt x="6362" y="20266"/>
                  </a:cubicBezTo>
                  <a:close/>
                  <a:moveTo>
                    <a:pt x="9573" y="12406"/>
                  </a:moveTo>
                  <a:cubicBezTo>
                    <a:pt x="9573" y="12406"/>
                    <a:pt x="9517" y="12461"/>
                    <a:pt x="9499" y="12498"/>
                  </a:cubicBezTo>
                  <a:cubicBezTo>
                    <a:pt x="9517" y="12480"/>
                    <a:pt x="9554" y="12443"/>
                    <a:pt x="9573" y="12406"/>
                  </a:cubicBezTo>
                  <a:close/>
                </a:path>
              </a:pathLst>
            </a:custGeom>
            <a:solidFill>
              <a:srgbClr val="FFFFFF"/>
            </a:solidFill>
            <a:ln w="1835" cap="flat">
              <a:noFill/>
              <a:prstDash val="solid"/>
              <a:miter/>
            </a:ln>
          </p:spPr>
          <p:txBody>
            <a:bodyPr/>
            <a:lstStyle/>
            <a:p>
              <a:endParaRPr lang="en-GB"/>
            </a:p>
          </p:txBody>
        </p:sp>
        <p:sp>
          <p:nvSpPr>
            <p:cNvPr id="1542" name="Freeform: Shape 1541">
              <a:extLst>
                <a:ext uri="{FF2B5EF4-FFF2-40B4-BE49-F238E27FC236}">
                  <a16:creationId xmlns:a16="http://schemas.microsoft.com/office/drawing/2014/main" id="{23C35A3C-E070-8B39-73D4-4FCDCC984720}"/>
                </a:ext>
              </a:extLst>
            </p:cNvPr>
            <p:cNvSpPr/>
            <p:nvPr/>
          </p:nvSpPr>
          <p:spPr>
            <a:xfrm>
              <a:off x="11003173" y="4863018"/>
              <a:ext cx="24959" cy="24485"/>
            </a:xfrm>
            <a:custGeom>
              <a:avLst/>
              <a:gdLst>
                <a:gd name="csX0" fmla="*/ 4170 w 24959"/>
                <a:gd name="csY0" fmla="*/ 11126 h 24485"/>
                <a:gd name="csX1" fmla="*/ 3690 w 24959"/>
                <a:gd name="csY1" fmla="*/ 12566 h 24485"/>
                <a:gd name="csX2" fmla="*/ 2620 w 24959"/>
                <a:gd name="csY2" fmla="*/ 14115 h 24485"/>
                <a:gd name="csX3" fmla="*/ 0 w 24959"/>
                <a:gd name="csY3" fmla="*/ 16496 h 24485"/>
                <a:gd name="csX4" fmla="*/ 5130 w 24959"/>
                <a:gd name="csY4" fmla="*/ 23895 h 24485"/>
                <a:gd name="csX5" fmla="*/ 6200 w 24959"/>
                <a:gd name="csY5" fmla="*/ 24485 h 24485"/>
                <a:gd name="csX6" fmla="*/ 7879 w 24959"/>
                <a:gd name="csY6" fmla="*/ 23895 h 24485"/>
                <a:gd name="csX7" fmla="*/ 9669 w 24959"/>
                <a:gd name="csY7" fmla="*/ 23544 h 24485"/>
                <a:gd name="csX8" fmla="*/ 13377 w 24959"/>
                <a:gd name="csY8" fmla="*/ 21754 h 24485"/>
                <a:gd name="csX9" fmla="*/ 14817 w 24959"/>
                <a:gd name="csY9" fmla="*/ 22105 h 24485"/>
                <a:gd name="csX10" fmla="*/ 18156 w 24959"/>
                <a:gd name="csY10" fmla="*/ 20906 h 24485"/>
                <a:gd name="csX11" fmla="*/ 24725 w 24959"/>
                <a:gd name="csY11" fmla="*/ 16127 h 24485"/>
                <a:gd name="csX12" fmla="*/ 22806 w 24959"/>
                <a:gd name="csY12" fmla="*/ 3949 h 24485"/>
                <a:gd name="csX13" fmla="*/ 17068 w 24959"/>
                <a:gd name="csY13" fmla="*/ 0 h 24485"/>
                <a:gd name="csX14" fmla="*/ 14927 w 24959"/>
                <a:gd name="csY14" fmla="*/ 959 h 24485"/>
                <a:gd name="csX15" fmla="*/ 13248 w 24959"/>
                <a:gd name="csY15" fmla="*/ 1550 h 24485"/>
                <a:gd name="csX16" fmla="*/ 10388 w 24959"/>
                <a:gd name="csY16" fmla="*/ 4539 h 24485"/>
                <a:gd name="csX17" fmla="*/ 9318 w 24959"/>
                <a:gd name="csY17" fmla="*/ 5130 h 24485"/>
                <a:gd name="csX18" fmla="*/ 2989 w 24959"/>
                <a:gd name="csY18" fmla="*/ 11348 h 244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4959" h="24485">
                  <a:moveTo>
                    <a:pt x="4170" y="11126"/>
                  </a:moveTo>
                  <a:cubicBezTo>
                    <a:pt x="2860" y="11846"/>
                    <a:pt x="3930" y="12086"/>
                    <a:pt x="3690" y="12566"/>
                  </a:cubicBezTo>
                  <a:cubicBezTo>
                    <a:pt x="3340" y="13045"/>
                    <a:pt x="3100" y="13636"/>
                    <a:pt x="2620" y="14115"/>
                  </a:cubicBezTo>
                  <a:cubicBezTo>
                    <a:pt x="1790" y="14946"/>
                    <a:pt x="0" y="16496"/>
                    <a:pt x="0" y="16496"/>
                  </a:cubicBezTo>
                  <a:cubicBezTo>
                    <a:pt x="1679" y="18876"/>
                    <a:pt x="3340" y="21515"/>
                    <a:pt x="5130" y="23895"/>
                  </a:cubicBezTo>
                  <a:cubicBezTo>
                    <a:pt x="5369" y="24135"/>
                    <a:pt x="5720" y="24485"/>
                    <a:pt x="6200" y="24485"/>
                  </a:cubicBezTo>
                  <a:cubicBezTo>
                    <a:pt x="6679" y="24485"/>
                    <a:pt x="7270" y="24006"/>
                    <a:pt x="7879" y="23895"/>
                  </a:cubicBezTo>
                  <a:cubicBezTo>
                    <a:pt x="8469" y="23655"/>
                    <a:pt x="9078" y="23655"/>
                    <a:pt x="9669" y="23544"/>
                  </a:cubicBezTo>
                  <a:cubicBezTo>
                    <a:pt x="10868" y="22954"/>
                    <a:pt x="12049" y="22105"/>
                    <a:pt x="13377" y="21754"/>
                  </a:cubicBezTo>
                  <a:cubicBezTo>
                    <a:pt x="13968" y="21644"/>
                    <a:pt x="14208" y="22234"/>
                    <a:pt x="14817" y="22105"/>
                  </a:cubicBezTo>
                  <a:cubicBezTo>
                    <a:pt x="16016" y="21865"/>
                    <a:pt x="18156" y="20906"/>
                    <a:pt x="18156" y="20906"/>
                  </a:cubicBezTo>
                  <a:cubicBezTo>
                    <a:pt x="26644" y="15167"/>
                    <a:pt x="24006" y="18876"/>
                    <a:pt x="24725" y="16127"/>
                  </a:cubicBezTo>
                  <a:cubicBezTo>
                    <a:pt x="25555" y="13267"/>
                    <a:pt x="24006" y="6569"/>
                    <a:pt x="22806" y="3949"/>
                  </a:cubicBezTo>
                  <a:cubicBezTo>
                    <a:pt x="21496" y="1199"/>
                    <a:pt x="18987" y="369"/>
                    <a:pt x="17068" y="0"/>
                  </a:cubicBezTo>
                  <a:cubicBezTo>
                    <a:pt x="16348" y="351"/>
                    <a:pt x="15629" y="590"/>
                    <a:pt x="14927" y="959"/>
                  </a:cubicBezTo>
                  <a:cubicBezTo>
                    <a:pt x="14337" y="1199"/>
                    <a:pt x="13728" y="1199"/>
                    <a:pt x="13248" y="1550"/>
                  </a:cubicBezTo>
                  <a:cubicBezTo>
                    <a:pt x="10739" y="3100"/>
                    <a:pt x="12049" y="2860"/>
                    <a:pt x="10388" y="4539"/>
                  </a:cubicBezTo>
                  <a:cubicBezTo>
                    <a:pt x="10038" y="4779"/>
                    <a:pt x="10628" y="3949"/>
                    <a:pt x="9318" y="5130"/>
                  </a:cubicBezTo>
                  <a:cubicBezTo>
                    <a:pt x="8119" y="6200"/>
                    <a:pt x="5130" y="9318"/>
                    <a:pt x="2989" y="11348"/>
                  </a:cubicBezTo>
                </a:path>
              </a:pathLst>
            </a:custGeom>
            <a:solidFill>
              <a:srgbClr val="FFFFFF"/>
            </a:solidFill>
            <a:ln w="1835" cap="flat">
              <a:noFill/>
              <a:prstDash val="solid"/>
              <a:miter/>
            </a:ln>
          </p:spPr>
          <p:txBody>
            <a:bodyPr/>
            <a:lstStyle/>
            <a:p>
              <a:endParaRPr lang="en-GB"/>
            </a:p>
          </p:txBody>
        </p:sp>
        <p:sp>
          <p:nvSpPr>
            <p:cNvPr id="1543" name="Freeform: Shape 1542">
              <a:extLst>
                <a:ext uri="{FF2B5EF4-FFF2-40B4-BE49-F238E27FC236}">
                  <a16:creationId xmlns:a16="http://schemas.microsoft.com/office/drawing/2014/main" id="{8C6C095A-916F-C4F4-BB80-E38371A28801}"/>
                </a:ext>
              </a:extLst>
            </p:cNvPr>
            <p:cNvSpPr/>
            <p:nvPr/>
          </p:nvSpPr>
          <p:spPr>
            <a:xfrm>
              <a:off x="11000153" y="4860039"/>
              <a:ext cx="30940" cy="30453"/>
            </a:xfrm>
            <a:custGeom>
              <a:avLst/>
              <a:gdLst>
                <a:gd name="csX0" fmla="*/ 9220 w 30940"/>
                <a:gd name="csY0" fmla="*/ 30454 h 30453"/>
                <a:gd name="csX1" fmla="*/ 6028 w 30940"/>
                <a:gd name="csY1" fmla="*/ 28977 h 30453"/>
                <a:gd name="csX2" fmla="*/ 2393 w 30940"/>
                <a:gd name="csY2" fmla="*/ 23866 h 30453"/>
                <a:gd name="csX3" fmla="*/ 548 w 30940"/>
                <a:gd name="csY3" fmla="*/ 21172 h 30453"/>
                <a:gd name="csX4" fmla="*/ 1046 w 30940"/>
                <a:gd name="csY4" fmla="*/ 17187 h 30453"/>
                <a:gd name="csX5" fmla="*/ 3519 w 30940"/>
                <a:gd name="csY5" fmla="*/ 14954 h 30453"/>
                <a:gd name="csX6" fmla="*/ 3574 w 30940"/>
                <a:gd name="csY6" fmla="*/ 14862 h 30453"/>
                <a:gd name="csX7" fmla="*/ 3648 w 30940"/>
                <a:gd name="csY7" fmla="*/ 13866 h 30453"/>
                <a:gd name="csX8" fmla="*/ 4331 w 30940"/>
                <a:gd name="csY8" fmla="*/ 12574 h 30453"/>
                <a:gd name="csX9" fmla="*/ 3943 w 30940"/>
                <a:gd name="csY9" fmla="*/ 12150 h 30453"/>
                <a:gd name="csX10" fmla="*/ 7486 w 30940"/>
                <a:gd name="csY10" fmla="*/ 8644 h 30453"/>
                <a:gd name="csX11" fmla="*/ 10327 w 30940"/>
                <a:gd name="csY11" fmla="*/ 5876 h 30453"/>
                <a:gd name="csX12" fmla="*/ 11822 w 30940"/>
                <a:gd name="csY12" fmla="*/ 4787 h 30453"/>
                <a:gd name="csX13" fmla="*/ 14682 w 30940"/>
                <a:gd name="csY13" fmla="*/ 1983 h 30453"/>
                <a:gd name="csX14" fmla="*/ 16546 w 30940"/>
                <a:gd name="csY14" fmla="*/ 1226 h 30453"/>
                <a:gd name="csX15" fmla="*/ 17856 w 30940"/>
                <a:gd name="csY15" fmla="*/ 710 h 30453"/>
                <a:gd name="csX16" fmla="*/ 18760 w 30940"/>
                <a:gd name="csY16" fmla="*/ 322 h 30453"/>
                <a:gd name="csX17" fmla="*/ 20642 w 30940"/>
                <a:gd name="csY17" fmla="*/ 45 h 30453"/>
                <a:gd name="csX18" fmla="*/ 28502 w 30940"/>
                <a:gd name="csY18" fmla="*/ 5636 h 30453"/>
                <a:gd name="csX19" fmla="*/ 30587 w 30940"/>
                <a:gd name="csY19" fmla="*/ 19936 h 30453"/>
                <a:gd name="csX20" fmla="*/ 28170 w 30940"/>
                <a:gd name="csY20" fmla="*/ 23239 h 30453"/>
                <a:gd name="csX21" fmla="*/ 22819 w 30940"/>
                <a:gd name="csY21" fmla="*/ 26357 h 30453"/>
                <a:gd name="csX22" fmla="*/ 18372 w 30940"/>
                <a:gd name="csY22" fmla="*/ 27999 h 30453"/>
                <a:gd name="csX23" fmla="*/ 16527 w 30940"/>
                <a:gd name="csY23" fmla="*/ 27833 h 30453"/>
                <a:gd name="csX24" fmla="*/ 15217 w 30940"/>
                <a:gd name="csY24" fmla="*/ 28516 h 30453"/>
                <a:gd name="csX25" fmla="*/ 13999 w 30940"/>
                <a:gd name="csY25" fmla="*/ 29162 h 30453"/>
                <a:gd name="csX26" fmla="*/ 13243 w 30940"/>
                <a:gd name="csY26" fmla="*/ 29420 h 30453"/>
                <a:gd name="csX27" fmla="*/ 12486 w 30940"/>
                <a:gd name="csY27" fmla="*/ 29531 h 30453"/>
                <a:gd name="csX28" fmla="*/ 11453 w 30940"/>
                <a:gd name="csY28" fmla="*/ 29771 h 30453"/>
                <a:gd name="csX29" fmla="*/ 9220 w 30940"/>
                <a:gd name="csY29" fmla="*/ 30417 h 30453"/>
                <a:gd name="csX30" fmla="*/ 6951 w 30940"/>
                <a:gd name="csY30" fmla="*/ 19955 h 30453"/>
                <a:gd name="csX31" fmla="*/ 7357 w 30940"/>
                <a:gd name="csY31" fmla="*/ 20545 h 30453"/>
                <a:gd name="csX32" fmla="*/ 9811 w 30940"/>
                <a:gd name="csY32" fmla="*/ 24088 h 30453"/>
                <a:gd name="csX33" fmla="*/ 10327 w 30940"/>
                <a:gd name="csY33" fmla="*/ 23959 h 30453"/>
                <a:gd name="csX34" fmla="*/ 11730 w 30940"/>
                <a:gd name="csY34" fmla="*/ 23663 h 30453"/>
                <a:gd name="csX35" fmla="*/ 12320 w 30940"/>
                <a:gd name="csY35" fmla="*/ 23331 h 30453"/>
                <a:gd name="csX36" fmla="*/ 15623 w 30940"/>
                <a:gd name="csY36" fmla="*/ 21855 h 30453"/>
                <a:gd name="csX37" fmla="*/ 17800 w 30940"/>
                <a:gd name="csY37" fmla="*/ 22003 h 30453"/>
                <a:gd name="csX38" fmla="*/ 19978 w 30940"/>
                <a:gd name="csY38" fmla="*/ 21154 h 30453"/>
                <a:gd name="csX39" fmla="*/ 24904 w 30940"/>
                <a:gd name="csY39" fmla="*/ 18146 h 30453"/>
                <a:gd name="csX40" fmla="*/ 23114 w 30940"/>
                <a:gd name="csY40" fmla="*/ 8182 h 30453"/>
                <a:gd name="csX41" fmla="*/ 20402 w 30940"/>
                <a:gd name="csY41" fmla="*/ 6134 h 30453"/>
                <a:gd name="csX42" fmla="*/ 20162 w 30940"/>
                <a:gd name="csY42" fmla="*/ 6227 h 30453"/>
                <a:gd name="csX43" fmla="*/ 19258 w 30940"/>
                <a:gd name="csY43" fmla="*/ 6614 h 30453"/>
                <a:gd name="csX44" fmla="*/ 17966 w 30940"/>
                <a:gd name="csY44" fmla="*/ 7038 h 30453"/>
                <a:gd name="csX45" fmla="*/ 16933 w 30940"/>
                <a:gd name="csY45" fmla="*/ 7684 h 30453"/>
                <a:gd name="csX46" fmla="*/ 15494 w 30940"/>
                <a:gd name="csY46" fmla="*/ 9640 h 30453"/>
                <a:gd name="csX47" fmla="*/ 14295 w 30940"/>
                <a:gd name="csY47" fmla="*/ 10360 h 30453"/>
                <a:gd name="csX48" fmla="*/ 11730 w 30940"/>
                <a:gd name="csY48" fmla="*/ 12888 h 30453"/>
                <a:gd name="csX49" fmla="*/ 9479 w 30940"/>
                <a:gd name="csY49" fmla="*/ 15120 h 30453"/>
                <a:gd name="csX50" fmla="*/ 9202 w 30940"/>
                <a:gd name="csY50" fmla="*/ 13589 h 30453"/>
                <a:gd name="csX51" fmla="*/ 9313 w 30940"/>
                <a:gd name="csY51" fmla="*/ 15286 h 30453"/>
                <a:gd name="csX52" fmla="*/ 8353 w 30940"/>
                <a:gd name="csY52" fmla="*/ 16227 h 30453"/>
                <a:gd name="csX53" fmla="*/ 8630 w 30940"/>
                <a:gd name="csY53" fmla="*/ 16726 h 30453"/>
                <a:gd name="csX54" fmla="*/ 9350 w 30940"/>
                <a:gd name="csY54" fmla="*/ 15729 h 30453"/>
                <a:gd name="csX55" fmla="*/ 9405 w 30940"/>
                <a:gd name="csY55" fmla="*/ 16855 h 30453"/>
                <a:gd name="csX56" fmla="*/ 8907 w 30940"/>
                <a:gd name="csY56" fmla="*/ 17667 h 30453"/>
                <a:gd name="csX57" fmla="*/ 7763 w 30940"/>
                <a:gd name="csY57" fmla="*/ 19198 h 30453"/>
                <a:gd name="csX58" fmla="*/ 6951 w 30940"/>
                <a:gd name="csY58" fmla="*/ 19955 h 30453"/>
                <a:gd name="csX59" fmla="*/ 8316 w 30940"/>
                <a:gd name="csY59" fmla="*/ 16246 h 30453"/>
                <a:gd name="csX60" fmla="*/ 8593 w 30940"/>
                <a:gd name="csY60" fmla="*/ 16744 h 30453"/>
                <a:gd name="csX61" fmla="*/ 8630 w 30940"/>
                <a:gd name="csY61" fmla="*/ 16726 h 30453"/>
                <a:gd name="csX62" fmla="*/ 8353 w 30940"/>
                <a:gd name="csY62" fmla="*/ 16227 h 30453"/>
                <a:gd name="csX63" fmla="*/ 8316 w 30940"/>
                <a:gd name="csY63" fmla="*/ 16246 h 304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30940" h="30453">
                  <a:moveTo>
                    <a:pt x="9220" y="30454"/>
                  </a:moveTo>
                  <a:cubicBezTo>
                    <a:pt x="7504" y="30454"/>
                    <a:pt x="6434" y="29383"/>
                    <a:pt x="6028" y="28977"/>
                  </a:cubicBezTo>
                  <a:cubicBezTo>
                    <a:pt x="4589" y="27132"/>
                    <a:pt x="3482" y="25490"/>
                    <a:pt x="2393" y="23866"/>
                  </a:cubicBezTo>
                  <a:lnTo>
                    <a:pt x="548" y="21172"/>
                  </a:lnTo>
                  <a:cubicBezTo>
                    <a:pt x="-338" y="19918"/>
                    <a:pt x="-135" y="18202"/>
                    <a:pt x="1046" y="17187"/>
                  </a:cubicBezTo>
                  <a:cubicBezTo>
                    <a:pt x="1046" y="17187"/>
                    <a:pt x="2744" y="15729"/>
                    <a:pt x="3519" y="14954"/>
                  </a:cubicBezTo>
                  <a:cubicBezTo>
                    <a:pt x="3519" y="14954"/>
                    <a:pt x="3537" y="14899"/>
                    <a:pt x="3574" y="14862"/>
                  </a:cubicBezTo>
                  <a:cubicBezTo>
                    <a:pt x="3556" y="14493"/>
                    <a:pt x="3574" y="14142"/>
                    <a:pt x="3648" y="13866"/>
                  </a:cubicBezTo>
                  <a:cubicBezTo>
                    <a:pt x="3796" y="13349"/>
                    <a:pt x="4035" y="12925"/>
                    <a:pt x="4331" y="12574"/>
                  </a:cubicBezTo>
                  <a:lnTo>
                    <a:pt x="3943" y="12150"/>
                  </a:lnTo>
                  <a:cubicBezTo>
                    <a:pt x="5032" y="11116"/>
                    <a:pt x="6323" y="9825"/>
                    <a:pt x="7486" y="8644"/>
                  </a:cubicBezTo>
                  <a:cubicBezTo>
                    <a:pt x="8648" y="7463"/>
                    <a:pt x="9719" y="6430"/>
                    <a:pt x="10327" y="5876"/>
                  </a:cubicBezTo>
                  <a:cubicBezTo>
                    <a:pt x="10715" y="5507"/>
                    <a:pt x="11213" y="5064"/>
                    <a:pt x="11822" y="4787"/>
                  </a:cubicBezTo>
                  <a:cubicBezTo>
                    <a:pt x="12431" y="3588"/>
                    <a:pt x="13132" y="2942"/>
                    <a:pt x="14682" y="1983"/>
                  </a:cubicBezTo>
                  <a:cubicBezTo>
                    <a:pt x="15236" y="1558"/>
                    <a:pt x="16029" y="1355"/>
                    <a:pt x="16546" y="1226"/>
                  </a:cubicBezTo>
                  <a:cubicBezTo>
                    <a:pt x="17007" y="1060"/>
                    <a:pt x="17431" y="876"/>
                    <a:pt x="17856" y="710"/>
                  </a:cubicBezTo>
                  <a:lnTo>
                    <a:pt x="18760" y="322"/>
                  </a:lnTo>
                  <a:cubicBezTo>
                    <a:pt x="19332" y="27"/>
                    <a:pt x="19978" y="-65"/>
                    <a:pt x="20642" y="45"/>
                  </a:cubicBezTo>
                  <a:cubicBezTo>
                    <a:pt x="24424" y="765"/>
                    <a:pt x="27082" y="2647"/>
                    <a:pt x="28502" y="5636"/>
                  </a:cubicBezTo>
                  <a:cubicBezTo>
                    <a:pt x="29849" y="8570"/>
                    <a:pt x="31731" y="16043"/>
                    <a:pt x="30587" y="19936"/>
                  </a:cubicBezTo>
                  <a:cubicBezTo>
                    <a:pt x="30735" y="21412"/>
                    <a:pt x="29628" y="22870"/>
                    <a:pt x="28170" y="23239"/>
                  </a:cubicBezTo>
                  <a:cubicBezTo>
                    <a:pt x="28059" y="23276"/>
                    <a:pt x="26860" y="23608"/>
                    <a:pt x="22819" y="26357"/>
                  </a:cubicBezTo>
                  <a:cubicBezTo>
                    <a:pt x="21952" y="26800"/>
                    <a:pt x="19830" y="27723"/>
                    <a:pt x="18372" y="27999"/>
                  </a:cubicBezTo>
                  <a:cubicBezTo>
                    <a:pt x="17930" y="28092"/>
                    <a:pt x="17155" y="27999"/>
                    <a:pt x="16527" y="27833"/>
                  </a:cubicBezTo>
                  <a:cubicBezTo>
                    <a:pt x="16158" y="27999"/>
                    <a:pt x="15697" y="28258"/>
                    <a:pt x="15217" y="28516"/>
                  </a:cubicBezTo>
                  <a:lnTo>
                    <a:pt x="13999" y="29162"/>
                  </a:lnTo>
                  <a:cubicBezTo>
                    <a:pt x="13759" y="29273"/>
                    <a:pt x="13501" y="29365"/>
                    <a:pt x="13243" y="29420"/>
                  </a:cubicBezTo>
                  <a:cubicBezTo>
                    <a:pt x="13187" y="29420"/>
                    <a:pt x="12542" y="29531"/>
                    <a:pt x="12486" y="29531"/>
                  </a:cubicBezTo>
                  <a:cubicBezTo>
                    <a:pt x="12302" y="29605"/>
                    <a:pt x="11638" y="29734"/>
                    <a:pt x="11453" y="29771"/>
                  </a:cubicBezTo>
                  <a:cubicBezTo>
                    <a:pt x="10863" y="30066"/>
                    <a:pt x="10143" y="30417"/>
                    <a:pt x="9220" y="30417"/>
                  </a:cubicBezTo>
                  <a:close/>
                  <a:moveTo>
                    <a:pt x="6951" y="19955"/>
                  </a:moveTo>
                  <a:lnTo>
                    <a:pt x="7357" y="20545"/>
                  </a:lnTo>
                  <a:cubicBezTo>
                    <a:pt x="8169" y="21726"/>
                    <a:pt x="8962" y="22925"/>
                    <a:pt x="9811" y="24088"/>
                  </a:cubicBezTo>
                  <a:cubicBezTo>
                    <a:pt x="9958" y="24032"/>
                    <a:pt x="10143" y="23995"/>
                    <a:pt x="10327" y="23959"/>
                  </a:cubicBezTo>
                  <a:cubicBezTo>
                    <a:pt x="10530" y="23811"/>
                    <a:pt x="11213" y="23719"/>
                    <a:pt x="11730" y="23663"/>
                  </a:cubicBezTo>
                  <a:lnTo>
                    <a:pt x="12320" y="23331"/>
                  </a:lnTo>
                  <a:cubicBezTo>
                    <a:pt x="13261" y="22815"/>
                    <a:pt x="14350" y="22206"/>
                    <a:pt x="15623" y="21855"/>
                  </a:cubicBezTo>
                  <a:cubicBezTo>
                    <a:pt x="16140" y="21707"/>
                    <a:pt x="17044" y="21800"/>
                    <a:pt x="17800" y="22003"/>
                  </a:cubicBezTo>
                  <a:cubicBezTo>
                    <a:pt x="18483" y="21781"/>
                    <a:pt x="19406" y="21412"/>
                    <a:pt x="19978" y="21154"/>
                  </a:cubicBezTo>
                  <a:cubicBezTo>
                    <a:pt x="22266" y="19586"/>
                    <a:pt x="23816" y="18681"/>
                    <a:pt x="24904" y="18146"/>
                  </a:cubicBezTo>
                  <a:cubicBezTo>
                    <a:pt x="25329" y="16098"/>
                    <a:pt x="24222" y="10563"/>
                    <a:pt x="23114" y="8182"/>
                  </a:cubicBezTo>
                  <a:cubicBezTo>
                    <a:pt x="22635" y="7168"/>
                    <a:pt x="21804" y="6522"/>
                    <a:pt x="20402" y="6134"/>
                  </a:cubicBezTo>
                  <a:cubicBezTo>
                    <a:pt x="20328" y="6171"/>
                    <a:pt x="20254" y="6208"/>
                    <a:pt x="20162" y="6227"/>
                  </a:cubicBezTo>
                  <a:lnTo>
                    <a:pt x="19258" y="6614"/>
                  </a:lnTo>
                  <a:cubicBezTo>
                    <a:pt x="19055" y="6706"/>
                    <a:pt x="18188" y="6983"/>
                    <a:pt x="17966" y="7038"/>
                  </a:cubicBezTo>
                  <a:cubicBezTo>
                    <a:pt x="17376" y="7371"/>
                    <a:pt x="17099" y="7537"/>
                    <a:pt x="16933" y="7684"/>
                  </a:cubicBezTo>
                  <a:cubicBezTo>
                    <a:pt x="16804" y="8053"/>
                    <a:pt x="16435" y="8699"/>
                    <a:pt x="15494" y="9640"/>
                  </a:cubicBezTo>
                  <a:cubicBezTo>
                    <a:pt x="15162" y="9972"/>
                    <a:pt x="14756" y="10212"/>
                    <a:pt x="14295" y="10360"/>
                  </a:cubicBezTo>
                  <a:cubicBezTo>
                    <a:pt x="13483" y="11098"/>
                    <a:pt x="12652" y="11947"/>
                    <a:pt x="11730" y="12888"/>
                  </a:cubicBezTo>
                  <a:cubicBezTo>
                    <a:pt x="10992" y="13607"/>
                    <a:pt x="10217" y="14382"/>
                    <a:pt x="9479" y="15120"/>
                  </a:cubicBezTo>
                  <a:cubicBezTo>
                    <a:pt x="9552" y="14622"/>
                    <a:pt x="9479" y="14069"/>
                    <a:pt x="9202" y="13589"/>
                  </a:cubicBezTo>
                  <a:lnTo>
                    <a:pt x="9313" y="15286"/>
                  </a:lnTo>
                  <a:cubicBezTo>
                    <a:pt x="8980" y="15618"/>
                    <a:pt x="8667" y="15932"/>
                    <a:pt x="8353" y="16227"/>
                  </a:cubicBezTo>
                  <a:lnTo>
                    <a:pt x="8630" y="16726"/>
                  </a:lnTo>
                  <a:cubicBezTo>
                    <a:pt x="8907" y="16523"/>
                    <a:pt x="9183" y="16172"/>
                    <a:pt x="9350" y="15729"/>
                  </a:cubicBezTo>
                  <a:lnTo>
                    <a:pt x="9405" y="16855"/>
                  </a:lnTo>
                  <a:cubicBezTo>
                    <a:pt x="9405" y="16855"/>
                    <a:pt x="8944" y="17593"/>
                    <a:pt x="8907" y="17667"/>
                  </a:cubicBezTo>
                  <a:cubicBezTo>
                    <a:pt x="8667" y="18091"/>
                    <a:pt x="8316" y="18645"/>
                    <a:pt x="7763" y="19198"/>
                  </a:cubicBezTo>
                  <a:cubicBezTo>
                    <a:pt x="7541" y="19419"/>
                    <a:pt x="7264" y="19696"/>
                    <a:pt x="6951" y="19955"/>
                  </a:cubicBezTo>
                  <a:close/>
                  <a:moveTo>
                    <a:pt x="8316" y="16246"/>
                  </a:moveTo>
                  <a:lnTo>
                    <a:pt x="8593" y="16744"/>
                  </a:lnTo>
                  <a:cubicBezTo>
                    <a:pt x="8593" y="16744"/>
                    <a:pt x="8611" y="16744"/>
                    <a:pt x="8630" y="16726"/>
                  </a:cubicBezTo>
                  <a:lnTo>
                    <a:pt x="8353" y="16227"/>
                  </a:lnTo>
                  <a:cubicBezTo>
                    <a:pt x="8353" y="16227"/>
                    <a:pt x="8335" y="16227"/>
                    <a:pt x="8316" y="16246"/>
                  </a:cubicBezTo>
                  <a:close/>
                </a:path>
              </a:pathLst>
            </a:custGeom>
            <a:solidFill>
              <a:srgbClr val="FFFFFF"/>
            </a:solidFill>
            <a:ln w="1835" cap="flat">
              <a:noFill/>
              <a:prstDash val="solid"/>
              <a:miter/>
            </a:ln>
          </p:spPr>
          <p:txBody>
            <a:bodyPr/>
            <a:lstStyle/>
            <a:p>
              <a:endParaRPr lang="en-GB"/>
            </a:p>
          </p:txBody>
        </p:sp>
        <p:sp>
          <p:nvSpPr>
            <p:cNvPr id="1544" name="Freeform: Shape 1543">
              <a:extLst>
                <a:ext uri="{FF2B5EF4-FFF2-40B4-BE49-F238E27FC236}">
                  <a16:creationId xmlns:a16="http://schemas.microsoft.com/office/drawing/2014/main" id="{54906FFE-C9FF-112C-B481-282CDA2CFF8F}"/>
                </a:ext>
              </a:extLst>
            </p:cNvPr>
            <p:cNvSpPr/>
            <p:nvPr/>
          </p:nvSpPr>
          <p:spPr>
            <a:xfrm>
              <a:off x="10986307" y="4809066"/>
              <a:ext cx="19744" cy="25795"/>
            </a:xfrm>
            <a:custGeom>
              <a:avLst/>
              <a:gdLst>
                <a:gd name="csX0" fmla="*/ 4559 w 19744"/>
                <a:gd name="csY0" fmla="*/ 19706 h 25795"/>
                <a:gd name="csX1" fmla="*/ 5758 w 19744"/>
                <a:gd name="csY1" fmla="*/ 20777 h 25795"/>
                <a:gd name="csX2" fmla="*/ 6589 w 19744"/>
                <a:gd name="csY2" fmla="*/ 22326 h 25795"/>
                <a:gd name="csX3" fmla="*/ 7548 w 19744"/>
                <a:gd name="csY3" fmla="*/ 25795 h 25795"/>
                <a:gd name="csX4" fmla="*/ 16626 w 19744"/>
                <a:gd name="csY4" fmla="*/ 24356 h 25795"/>
                <a:gd name="csX5" fmla="*/ 17586 w 19744"/>
                <a:gd name="csY5" fmla="*/ 23766 h 25795"/>
                <a:gd name="csX6" fmla="*/ 17826 w 19744"/>
                <a:gd name="csY6" fmla="*/ 21976 h 25795"/>
                <a:gd name="csX7" fmla="*/ 18305 w 19744"/>
                <a:gd name="csY7" fmla="*/ 20186 h 25795"/>
                <a:gd name="csX8" fmla="*/ 18305 w 19744"/>
                <a:gd name="csY8" fmla="*/ 16127 h 25795"/>
                <a:gd name="csX9" fmla="*/ 19265 w 19744"/>
                <a:gd name="csY9" fmla="*/ 14927 h 25795"/>
                <a:gd name="csX10" fmla="*/ 19745 w 19744"/>
                <a:gd name="csY10" fmla="*/ 11458 h 25795"/>
                <a:gd name="csX11" fmla="*/ 18305 w 19744"/>
                <a:gd name="csY11" fmla="*/ 3580 h 25795"/>
                <a:gd name="csX12" fmla="*/ 6367 w 19744"/>
                <a:gd name="csY12" fmla="*/ 0 h 25795"/>
                <a:gd name="csX13" fmla="*/ 389 w 19744"/>
                <a:gd name="csY13" fmla="*/ 3340 h 25795"/>
                <a:gd name="csX14" fmla="*/ 149 w 19744"/>
                <a:gd name="csY14" fmla="*/ 5720 h 25795"/>
                <a:gd name="csX15" fmla="*/ 38 w 19744"/>
                <a:gd name="csY15" fmla="*/ 7399 h 25795"/>
                <a:gd name="csX16" fmla="*/ 1477 w 19744"/>
                <a:gd name="csY16" fmla="*/ 11348 h 25795"/>
                <a:gd name="csX17" fmla="*/ 1477 w 19744"/>
                <a:gd name="csY17" fmla="*/ 12547 h 25795"/>
                <a:gd name="csX18" fmla="*/ 4337 w 19744"/>
                <a:gd name="csY18" fmla="*/ 20906 h 257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9744" h="25795">
                  <a:moveTo>
                    <a:pt x="4559" y="19706"/>
                  </a:moveTo>
                  <a:cubicBezTo>
                    <a:pt x="4670" y="21256"/>
                    <a:pt x="5389" y="20426"/>
                    <a:pt x="5758" y="20777"/>
                  </a:cubicBezTo>
                  <a:cubicBezTo>
                    <a:pt x="5998" y="21256"/>
                    <a:pt x="6349" y="21736"/>
                    <a:pt x="6589" y="22326"/>
                  </a:cubicBezTo>
                  <a:cubicBezTo>
                    <a:pt x="6939" y="23397"/>
                    <a:pt x="7548" y="25795"/>
                    <a:pt x="7548" y="25795"/>
                  </a:cubicBezTo>
                  <a:cubicBezTo>
                    <a:pt x="10537" y="25316"/>
                    <a:pt x="13637" y="24965"/>
                    <a:pt x="16626" y="24356"/>
                  </a:cubicBezTo>
                  <a:cubicBezTo>
                    <a:pt x="16977" y="24356"/>
                    <a:pt x="17346" y="24116"/>
                    <a:pt x="17586" y="23766"/>
                  </a:cubicBezTo>
                  <a:cubicBezTo>
                    <a:pt x="17826" y="23286"/>
                    <a:pt x="17696" y="22566"/>
                    <a:pt x="17826" y="21976"/>
                  </a:cubicBezTo>
                  <a:cubicBezTo>
                    <a:pt x="17936" y="21385"/>
                    <a:pt x="18176" y="20777"/>
                    <a:pt x="18305" y="20186"/>
                  </a:cubicBezTo>
                  <a:cubicBezTo>
                    <a:pt x="18305" y="18876"/>
                    <a:pt x="18065" y="17437"/>
                    <a:pt x="18305" y="16127"/>
                  </a:cubicBezTo>
                  <a:cubicBezTo>
                    <a:pt x="18416" y="15536"/>
                    <a:pt x="19136" y="15536"/>
                    <a:pt x="19265" y="14927"/>
                  </a:cubicBezTo>
                  <a:cubicBezTo>
                    <a:pt x="19615" y="13857"/>
                    <a:pt x="19745" y="11458"/>
                    <a:pt x="19745" y="11458"/>
                  </a:cubicBezTo>
                  <a:cubicBezTo>
                    <a:pt x="18195" y="1421"/>
                    <a:pt x="20464" y="5480"/>
                    <a:pt x="18305" y="3580"/>
                  </a:cubicBezTo>
                  <a:cubicBezTo>
                    <a:pt x="16036" y="1661"/>
                    <a:pt x="9356" y="0"/>
                    <a:pt x="6367" y="0"/>
                  </a:cubicBezTo>
                  <a:cubicBezTo>
                    <a:pt x="3378" y="0"/>
                    <a:pt x="1477" y="1919"/>
                    <a:pt x="389" y="3340"/>
                  </a:cubicBezTo>
                  <a:cubicBezTo>
                    <a:pt x="278" y="4170"/>
                    <a:pt x="278" y="4890"/>
                    <a:pt x="149" y="5720"/>
                  </a:cubicBezTo>
                  <a:cubicBezTo>
                    <a:pt x="149" y="6310"/>
                    <a:pt x="-91" y="6790"/>
                    <a:pt x="38" y="7399"/>
                  </a:cubicBezTo>
                  <a:cubicBezTo>
                    <a:pt x="278" y="10388"/>
                    <a:pt x="629" y="9078"/>
                    <a:pt x="1477" y="11348"/>
                  </a:cubicBezTo>
                  <a:cubicBezTo>
                    <a:pt x="1477" y="11698"/>
                    <a:pt x="998" y="10868"/>
                    <a:pt x="1477" y="12547"/>
                  </a:cubicBezTo>
                  <a:cubicBezTo>
                    <a:pt x="1957" y="14097"/>
                    <a:pt x="3396" y="18046"/>
                    <a:pt x="4337" y="20906"/>
                  </a:cubicBezTo>
                </a:path>
              </a:pathLst>
            </a:custGeom>
            <a:solidFill>
              <a:srgbClr val="FFFFFF"/>
            </a:solidFill>
            <a:ln w="1835" cap="flat">
              <a:noFill/>
              <a:prstDash val="solid"/>
              <a:miter/>
            </a:ln>
          </p:spPr>
          <p:txBody>
            <a:bodyPr/>
            <a:lstStyle/>
            <a:p>
              <a:endParaRPr lang="en-GB"/>
            </a:p>
          </p:txBody>
        </p:sp>
        <p:sp>
          <p:nvSpPr>
            <p:cNvPr id="1545" name="Freeform: Shape 1544">
              <a:extLst>
                <a:ext uri="{FF2B5EF4-FFF2-40B4-BE49-F238E27FC236}">
                  <a16:creationId xmlns:a16="http://schemas.microsoft.com/office/drawing/2014/main" id="{D288AAE6-0E38-C6E1-DC85-FD72810D1544}"/>
                </a:ext>
              </a:extLst>
            </p:cNvPr>
            <p:cNvSpPr/>
            <p:nvPr/>
          </p:nvSpPr>
          <p:spPr>
            <a:xfrm>
              <a:off x="10983330" y="4806039"/>
              <a:ext cx="25673" cy="31792"/>
            </a:xfrm>
            <a:custGeom>
              <a:avLst/>
              <a:gdLst>
                <a:gd name="csX0" fmla="*/ 10525 w 25673"/>
                <a:gd name="csY0" fmla="*/ 31792 h 31792"/>
                <a:gd name="csX1" fmla="*/ 7628 w 25673"/>
                <a:gd name="csY1" fmla="*/ 29541 h 31792"/>
                <a:gd name="csX2" fmla="*/ 6761 w 25673"/>
                <a:gd name="csY2" fmla="*/ 26367 h 31792"/>
                <a:gd name="csX3" fmla="*/ 5894 w 25673"/>
                <a:gd name="csY3" fmla="*/ 25869 h 31792"/>
                <a:gd name="csX4" fmla="*/ 4990 w 25673"/>
                <a:gd name="csY4" fmla="*/ 24670 h 31792"/>
                <a:gd name="csX5" fmla="*/ 4473 w 25673"/>
                <a:gd name="csY5" fmla="*/ 24836 h 31792"/>
                <a:gd name="csX6" fmla="*/ 3034 w 25673"/>
                <a:gd name="csY6" fmla="*/ 20666 h 31792"/>
                <a:gd name="csX7" fmla="*/ 1595 w 25673"/>
                <a:gd name="csY7" fmla="*/ 16422 h 31792"/>
                <a:gd name="csX8" fmla="*/ 1263 w 25673"/>
                <a:gd name="csY8" fmla="*/ 14614 h 31792"/>
                <a:gd name="csX9" fmla="*/ 63 w 25673"/>
                <a:gd name="csY9" fmla="*/ 10628 h 31792"/>
                <a:gd name="csX10" fmla="*/ 137 w 25673"/>
                <a:gd name="csY10" fmla="*/ 8875 h 31792"/>
                <a:gd name="csX11" fmla="*/ 303 w 25673"/>
                <a:gd name="csY11" fmla="*/ 7307 h 31792"/>
                <a:gd name="csX12" fmla="*/ 432 w 25673"/>
                <a:gd name="csY12" fmla="*/ 5923 h 31792"/>
                <a:gd name="csX13" fmla="*/ 1004 w 25673"/>
                <a:gd name="csY13" fmla="*/ 4539 h 31792"/>
                <a:gd name="csX14" fmla="*/ 9363 w 25673"/>
                <a:gd name="csY14" fmla="*/ 0 h 31792"/>
                <a:gd name="csX15" fmla="*/ 23220 w 25673"/>
                <a:gd name="csY15" fmla="*/ 4299 h 31792"/>
                <a:gd name="csX16" fmla="*/ 25157 w 25673"/>
                <a:gd name="csY16" fmla="*/ 8119 h 31792"/>
                <a:gd name="csX17" fmla="*/ 25674 w 25673"/>
                <a:gd name="csY17" fmla="*/ 14005 h 31792"/>
                <a:gd name="csX18" fmla="*/ 25084 w 25673"/>
                <a:gd name="csY18" fmla="*/ 18876 h 31792"/>
                <a:gd name="csX19" fmla="*/ 24179 w 25673"/>
                <a:gd name="csY19" fmla="*/ 20407 h 31792"/>
                <a:gd name="csX20" fmla="*/ 24235 w 25673"/>
                <a:gd name="csY20" fmla="*/ 21662 h 31792"/>
                <a:gd name="csX21" fmla="*/ 24290 w 25673"/>
                <a:gd name="csY21" fmla="*/ 23175 h 31792"/>
                <a:gd name="csX22" fmla="*/ 23921 w 25673"/>
                <a:gd name="csY22" fmla="*/ 24947 h 31792"/>
                <a:gd name="csX23" fmla="*/ 23755 w 25673"/>
                <a:gd name="csY23" fmla="*/ 25814 h 31792"/>
                <a:gd name="csX24" fmla="*/ 23294 w 25673"/>
                <a:gd name="csY24" fmla="*/ 28046 h 31792"/>
                <a:gd name="csX25" fmla="*/ 19659 w 25673"/>
                <a:gd name="csY25" fmla="*/ 30316 h 31792"/>
                <a:gd name="csX26" fmla="*/ 14142 w 25673"/>
                <a:gd name="csY26" fmla="*/ 31257 h 31792"/>
                <a:gd name="csX27" fmla="*/ 11060 w 25673"/>
                <a:gd name="csY27" fmla="*/ 31718 h 31792"/>
                <a:gd name="csX28" fmla="*/ 10599 w 25673"/>
                <a:gd name="csY28" fmla="*/ 31755 h 31792"/>
                <a:gd name="csX29" fmla="*/ 9676 w 25673"/>
                <a:gd name="csY29" fmla="*/ 21275 h 31792"/>
                <a:gd name="csX30" fmla="*/ 10802 w 25673"/>
                <a:gd name="csY30" fmla="*/ 21644 h 31792"/>
                <a:gd name="csX31" fmla="*/ 11392 w 25673"/>
                <a:gd name="csY31" fmla="*/ 22419 h 31792"/>
                <a:gd name="csX32" fmla="*/ 12333 w 25673"/>
                <a:gd name="csY32" fmla="*/ 24209 h 31792"/>
                <a:gd name="csX33" fmla="*/ 12703 w 25673"/>
                <a:gd name="csY33" fmla="*/ 25463 h 31792"/>
                <a:gd name="csX34" fmla="*/ 13238 w 25673"/>
                <a:gd name="csY34" fmla="*/ 25389 h 31792"/>
                <a:gd name="csX35" fmla="*/ 17814 w 25673"/>
                <a:gd name="csY35" fmla="*/ 24670 h 31792"/>
                <a:gd name="csX36" fmla="*/ 17869 w 25673"/>
                <a:gd name="csY36" fmla="*/ 24411 h 31792"/>
                <a:gd name="csX37" fmla="*/ 18164 w 25673"/>
                <a:gd name="csY37" fmla="*/ 23249 h 31792"/>
                <a:gd name="csX38" fmla="*/ 18238 w 25673"/>
                <a:gd name="csY38" fmla="*/ 22013 h 31792"/>
                <a:gd name="csX39" fmla="*/ 18330 w 25673"/>
                <a:gd name="csY39" fmla="*/ 18599 h 31792"/>
                <a:gd name="csX40" fmla="*/ 19493 w 25673"/>
                <a:gd name="csY40" fmla="*/ 16514 h 31792"/>
                <a:gd name="csX41" fmla="*/ 19733 w 25673"/>
                <a:gd name="csY41" fmla="*/ 14318 h 31792"/>
                <a:gd name="csX42" fmla="*/ 19142 w 25673"/>
                <a:gd name="csY42" fmla="*/ 8691 h 31792"/>
                <a:gd name="csX43" fmla="*/ 9326 w 25673"/>
                <a:gd name="csY43" fmla="*/ 5978 h 31792"/>
                <a:gd name="csX44" fmla="*/ 6244 w 25673"/>
                <a:gd name="csY44" fmla="*/ 7528 h 31792"/>
                <a:gd name="csX45" fmla="*/ 6244 w 25673"/>
                <a:gd name="csY45" fmla="*/ 7768 h 31792"/>
                <a:gd name="csX46" fmla="*/ 6097 w 25673"/>
                <a:gd name="csY46" fmla="*/ 9152 h 31792"/>
                <a:gd name="csX47" fmla="*/ 5986 w 25673"/>
                <a:gd name="csY47" fmla="*/ 9945 h 31792"/>
                <a:gd name="csX48" fmla="*/ 6134 w 25673"/>
                <a:gd name="csY48" fmla="*/ 11292 h 31792"/>
                <a:gd name="csX49" fmla="*/ 7241 w 25673"/>
                <a:gd name="csY49" fmla="*/ 13341 h 31792"/>
                <a:gd name="csX50" fmla="*/ 7425 w 25673"/>
                <a:gd name="csY50" fmla="*/ 14374 h 31792"/>
                <a:gd name="csX51" fmla="*/ 7370 w 25673"/>
                <a:gd name="csY51" fmla="*/ 14909 h 31792"/>
                <a:gd name="csX52" fmla="*/ 8662 w 25673"/>
                <a:gd name="csY52" fmla="*/ 18710 h 31792"/>
                <a:gd name="csX53" fmla="*/ 9510 w 25673"/>
                <a:gd name="csY53" fmla="*/ 21164 h 31792"/>
                <a:gd name="csX54" fmla="*/ 8034 w 25673"/>
                <a:gd name="csY54" fmla="*/ 20740 h 31792"/>
                <a:gd name="csX55" fmla="*/ 9547 w 25673"/>
                <a:gd name="csY55" fmla="*/ 21238 h 31792"/>
                <a:gd name="csX56" fmla="*/ 10009 w 25673"/>
                <a:gd name="csY56" fmla="*/ 22548 h 31792"/>
                <a:gd name="csX57" fmla="*/ 7573 w 25673"/>
                <a:gd name="csY57" fmla="*/ 22732 h 31792"/>
                <a:gd name="csX58" fmla="*/ 10009 w 25673"/>
                <a:gd name="csY58" fmla="*/ 22548 h 31792"/>
                <a:gd name="csX59" fmla="*/ 10009 w 25673"/>
                <a:gd name="csY59" fmla="*/ 22603 h 31792"/>
                <a:gd name="csX60" fmla="*/ 10562 w 25673"/>
                <a:gd name="csY60" fmla="*/ 22566 h 31792"/>
                <a:gd name="csX61" fmla="*/ 10562 w 25673"/>
                <a:gd name="csY61" fmla="*/ 22511 h 31792"/>
                <a:gd name="csX62" fmla="*/ 10562 w 25673"/>
                <a:gd name="csY62" fmla="*/ 22511 h 31792"/>
                <a:gd name="csX63" fmla="*/ 9713 w 25673"/>
                <a:gd name="csY63" fmla="*/ 21293 h 31792"/>
                <a:gd name="csX64" fmla="*/ 18976 w 25673"/>
                <a:gd name="csY64" fmla="*/ 24430 h 31792"/>
                <a:gd name="csX65" fmla="*/ 18847 w 25673"/>
                <a:gd name="csY65" fmla="*/ 24485 h 31792"/>
                <a:gd name="csX66" fmla="*/ 18995 w 25673"/>
                <a:gd name="csY66" fmla="*/ 24448 h 31792"/>
                <a:gd name="csX67" fmla="*/ 18976 w 25673"/>
                <a:gd name="csY67" fmla="*/ 24448 h 31792"/>
                <a:gd name="csX68" fmla="*/ 19364 w 25673"/>
                <a:gd name="csY68" fmla="*/ 17086 h 31792"/>
                <a:gd name="csX69" fmla="*/ 19290 w 25673"/>
                <a:gd name="csY69" fmla="*/ 17381 h 31792"/>
                <a:gd name="csX70" fmla="*/ 19364 w 25673"/>
                <a:gd name="csY70" fmla="*/ 17086 h 317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Lst>
              <a:rect l="l" t="t" r="r" b="b"/>
              <a:pathLst>
                <a:path w="25673" h="31792">
                  <a:moveTo>
                    <a:pt x="10525" y="31792"/>
                  </a:moveTo>
                  <a:cubicBezTo>
                    <a:pt x="9178" y="31792"/>
                    <a:pt x="7979" y="30888"/>
                    <a:pt x="7628" y="29541"/>
                  </a:cubicBezTo>
                  <a:cubicBezTo>
                    <a:pt x="7628" y="29541"/>
                    <a:pt x="7093" y="27438"/>
                    <a:pt x="6761" y="26367"/>
                  </a:cubicBezTo>
                  <a:cubicBezTo>
                    <a:pt x="6429" y="26220"/>
                    <a:pt x="6115" y="26072"/>
                    <a:pt x="5894" y="25869"/>
                  </a:cubicBezTo>
                  <a:cubicBezTo>
                    <a:pt x="5469" y="25500"/>
                    <a:pt x="5174" y="25094"/>
                    <a:pt x="4990" y="24670"/>
                  </a:cubicBezTo>
                  <a:lnTo>
                    <a:pt x="4473" y="24836"/>
                  </a:lnTo>
                  <a:lnTo>
                    <a:pt x="3034" y="20666"/>
                  </a:lnTo>
                  <a:cubicBezTo>
                    <a:pt x="2425" y="18913"/>
                    <a:pt x="1853" y="17289"/>
                    <a:pt x="1595" y="16422"/>
                  </a:cubicBezTo>
                  <a:cubicBezTo>
                    <a:pt x="1447" y="15905"/>
                    <a:pt x="1263" y="15278"/>
                    <a:pt x="1263" y="14614"/>
                  </a:cubicBezTo>
                  <a:cubicBezTo>
                    <a:pt x="488" y="13580"/>
                    <a:pt x="211" y="12676"/>
                    <a:pt x="63" y="10628"/>
                  </a:cubicBezTo>
                  <a:cubicBezTo>
                    <a:pt x="-84" y="10093"/>
                    <a:pt x="63" y="9337"/>
                    <a:pt x="137" y="8875"/>
                  </a:cubicBezTo>
                  <a:lnTo>
                    <a:pt x="303" y="7307"/>
                  </a:lnTo>
                  <a:cubicBezTo>
                    <a:pt x="340" y="6864"/>
                    <a:pt x="377" y="6403"/>
                    <a:pt x="432" y="5923"/>
                  </a:cubicBezTo>
                  <a:cubicBezTo>
                    <a:pt x="506" y="5425"/>
                    <a:pt x="709" y="4945"/>
                    <a:pt x="1004" y="4539"/>
                  </a:cubicBezTo>
                  <a:cubicBezTo>
                    <a:pt x="3809" y="775"/>
                    <a:pt x="7112" y="0"/>
                    <a:pt x="9363" y="0"/>
                  </a:cubicBezTo>
                  <a:cubicBezTo>
                    <a:pt x="12905" y="0"/>
                    <a:pt x="20286" y="1808"/>
                    <a:pt x="23220" y="4299"/>
                  </a:cubicBezTo>
                  <a:cubicBezTo>
                    <a:pt x="24641" y="4853"/>
                    <a:pt x="25545" y="6661"/>
                    <a:pt x="25157" y="8119"/>
                  </a:cubicBezTo>
                  <a:cubicBezTo>
                    <a:pt x="25157" y="8156"/>
                    <a:pt x="24954" y="9337"/>
                    <a:pt x="25674" y="14005"/>
                  </a:cubicBezTo>
                  <a:cubicBezTo>
                    <a:pt x="25674" y="15259"/>
                    <a:pt x="25526" y="17511"/>
                    <a:pt x="25084" y="18876"/>
                  </a:cubicBezTo>
                  <a:cubicBezTo>
                    <a:pt x="24973" y="19522"/>
                    <a:pt x="24567" y="20038"/>
                    <a:pt x="24179" y="20407"/>
                  </a:cubicBezTo>
                  <a:cubicBezTo>
                    <a:pt x="24179" y="20795"/>
                    <a:pt x="24198" y="21219"/>
                    <a:pt x="24235" y="21662"/>
                  </a:cubicBezTo>
                  <a:cubicBezTo>
                    <a:pt x="24272" y="22179"/>
                    <a:pt x="24290" y="22677"/>
                    <a:pt x="24290" y="23175"/>
                  </a:cubicBezTo>
                  <a:cubicBezTo>
                    <a:pt x="24143" y="24153"/>
                    <a:pt x="24050" y="24559"/>
                    <a:pt x="23921" y="24947"/>
                  </a:cubicBezTo>
                  <a:lnTo>
                    <a:pt x="23755" y="25814"/>
                  </a:lnTo>
                  <a:cubicBezTo>
                    <a:pt x="23737" y="26367"/>
                    <a:pt x="23700" y="27198"/>
                    <a:pt x="23294" y="28046"/>
                  </a:cubicBezTo>
                  <a:cubicBezTo>
                    <a:pt x="22279" y="29615"/>
                    <a:pt x="20987" y="30316"/>
                    <a:pt x="19659" y="30316"/>
                  </a:cubicBezTo>
                  <a:cubicBezTo>
                    <a:pt x="18256" y="30667"/>
                    <a:pt x="16190" y="30962"/>
                    <a:pt x="14142" y="31257"/>
                  </a:cubicBezTo>
                  <a:lnTo>
                    <a:pt x="11060" y="31718"/>
                  </a:lnTo>
                  <a:cubicBezTo>
                    <a:pt x="10913" y="31737"/>
                    <a:pt x="10747" y="31755"/>
                    <a:pt x="10599" y="31755"/>
                  </a:cubicBezTo>
                  <a:close/>
                  <a:moveTo>
                    <a:pt x="9676" y="21275"/>
                  </a:moveTo>
                  <a:lnTo>
                    <a:pt x="10802" y="21644"/>
                  </a:lnTo>
                  <a:cubicBezTo>
                    <a:pt x="11042" y="21884"/>
                    <a:pt x="11226" y="22142"/>
                    <a:pt x="11392" y="22419"/>
                  </a:cubicBezTo>
                  <a:cubicBezTo>
                    <a:pt x="11854" y="23231"/>
                    <a:pt x="12131" y="23692"/>
                    <a:pt x="12333" y="24209"/>
                  </a:cubicBezTo>
                  <a:cubicBezTo>
                    <a:pt x="12444" y="24559"/>
                    <a:pt x="12573" y="25002"/>
                    <a:pt x="12703" y="25463"/>
                  </a:cubicBezTo>
                  <a:lnTo>
                    <a:pt x="13238" y="25389"/>
                  </a:lnTo>
                  <a:cubicBezTo>
                    <a:pt x="14769" y="25168"/>
                    <a:pt x="16301" y="24947"/>
                    <a:pt x="17814" y="24670"/>
                  </a:cubicBezTo>
                  <a:cubicBezTo>
                    <a:pt x="17814" y="24578"/>
                    <a:pt x="17832" y="24504"/>
                    <a:pt x="17869" y="24411"/>
                  </a:cubicBezTo>
                  <a:cubicBezTo>
                    <a:pt x="17943" y="23987"/>
                    <a:pt x="18053" y="23637"/>
                    <a:pt x="18164" y="23249"/>
                  </a:cubicBezTo>
                  <a:lnTo>
                    <a:pt x="18238" y="22013"/>
                  </a:lnTo>
                  <a:cubicBezTo>
                    <a:pt x="18183" y="20979"/>
                    <a:pt x="18109" y="19817"/>
                    <a:pt x="18330" y="18599"/>
                  </a:cubicBezTo>
                  <a:cubicBezTo>
                    <a:pt x="18533" y="17584"/>
                    <a:pt x="19050" y="16939"/>
                    <a:pt x="19493" y="16514"/>
                  </a:cubicBezTo>
                  <a:cubicBezTo>
                    <a:pt x="19603" y="15831"/>
                    <a:pt x="19696" y="15020"/>
                    <a:pt x="19733" y="14318"/>
                  </a:cubicBezTo>
                  <a:cubicBezTo>
                    <a:pt x="19290" y="11606"/>
                    <a:pt x="19142" y="9853"/>
                    <a:pt x="19142" y="8691"/>
                  </a:cubicBezTo>
                  <a:cubicBezTo>
                    <a:pt x="17408" y="7454"/>
                    <a:pt x="11798" y="5978"/>
                    <a:pt x="9326" y="5978"/>
                  </a:cubicBezTo>
                  <a:cubicBezTo>
                    <a:pt x="8200" y="5978"/>
                    <a:pt x="7185" y="6495"/>
                    <a:pt x="6244" y="7528"/>
                  </a:cubicBezTo>
                  <a:lnTo>
                    <a:pt x="6244" y="7768"/>
                  </a:lnTo>
                  <a:cubicBezTo>
                    <a:pt x="6189" y="8211"/>
                    <a:pt x="6152" y="8672"/>
                    <a:pt x="6097" y="9152"/>
                  </a:cubicBezTo>
                  <a:cubicBezTo>
                    <a:pt x="6097" y="9207"/>
                    <a:pt x="6005" y="9909"/>
                    <a:pt x="5986" y="9945"/>
                  </a:cubicBezTo>
                  <a:cubicBezTo>
                    <a:pt x="6041" y="10739"/>
                    <a:pt x="6060" y="11071"/>
                    <a:pt x="6134" y="11292"/>
                  </a:cubicBezTo>
                  <a:cubicBezTo>
                    <a:pt x="6374" y="11495"/>
                    <a:pt x="6798" y="12104"/>
                    <a:pt x="7241" y="13341"/>
                  </a:cubicBezTo>
                  <a:cubicBezTo>
                    <a:pt x="7370" y="13673"/>
                    <a:pt x="7425" y="14023"/>
                    <a:pt x="7425" y="14374"/>
                  </a:cubicBezTo>
                  <a:cubicBezTo>
                    <a:pt x="7425" y="14540"/>
                    <a:pt x="7425" y="14743"/>
                    <a:pt x="7370" y="14909"/>
                  </a:cubicBezTo>
                  <a:cubicBezTo>
                    <a:pt x="7702" y="16016"/>
                    <a:pt x="8163" y="17308"/>
                    <a:pt x="8662" y="18710"/>
                  </a:cubicBezTo>
                  <a:lnTo>
                    <a:pt x="9510" y="21164"/>
                  </a:lnTo>
                  <a:cubicBezTo>
                    <a:pt x="9104" y="20887"/>
                    <a:pt x="8699" y="20703"/>
                    <a:pt x="8034" y="20740"/>
                  </a:cubicBezTo>
                  <a:lnTo>
                    <a:pt x="9547" y="21238"/>
                  </a:lnTo>
                  <a:lnTo>
                    <a:pt x="10009" y="22548"/>
                  </a:lnTo>
                  <a:lnTo>
                    <a:pt x="7573" y="22732"/>
                  </a:lnTo>
                  <a:lnTo>
                    <a:pt x="10009" y="22548"/>
                  </a:lnTo>
                  <a:lnTo>
                    <a:pt x="10009" y="22603"/>
                  </a:lnTo>
                  <a:cubicBezTo>
                    <a:pt x="10009" y="22603"/>
                    <a:pt x="10562" y="22566"/>
                    <a:pt x="10562" y="22566"/>
                  </a:cubicBezTo>
                  <a:cubicBezTo>
                    <a:pt x="10562" y="22566"/>
                    <a:pt x="10562" y="22529"/>
                    <a:pt x="10562" y="22511"/>
                  </a:cubicBezTo>
                  <a:lnTo>
                    <a:pt x="10562" y="22511"/>
                  </a:lnTo>
                  <a:cubicBezTo>
                    <a:pt x="10488" y="22123"/>
                    <a:pt x="10175" y="21644"/>
                    <a:pt x="9713" y="21293"/>
                  </a:cubicBezTo>
                  <a:close/>
                  <a:moveTo>
                    <a:pt x="18976" y="24430"/>
                  </a:moveTo>
                  <a:cubicBezTo>
                    <a:pt x="18976" y="24430"/>
                    <a:pt x="18902" y="24448"/>
                    <a:pt x="18847" y="24485"/>
                  </a:cubicBezTo>
                  <a:cubicBezTo>
                    <a:pt x="18902" y="24485"/>
                    <a:pt x="18958" y="24467"/>
                    <a:pt x="18995" y="24448"/>
                  </a:cubicBezTo>
                  <a:cubicBezTo>
                    <a:pt x="18995" y="24448"/>
                    <a:pt x="18995" y="24448"/>
                    <a:pt x="18976" y="24448"/>
                  </a:cubicBezTo>
                  <a:close/>
                  <a:moveTo>
                    <a:pt x="19364" y="17086"/>
                  </a:moveTo>
                  <a:cubicBezTo>
                    <a:pt x="19345" y="17178"/>
                    <a:pt x="19308" y="17271"/>
                    <a:pt x="19290" y="17381"/>
                  </a:cubicBezTo>
                  <a:cubicBezTo>
                    <a:pt x="19308" y="17289"/>
                    <a:pt x="19345" y="17178"/>
                    <a:pt x="19364" y="17086"/>
                  </a:cubicBezTo>
                  <a:close/>
                </a:path>
              </a:pathLst>
            </a:custGeom>
            <a:solidFill>
              <a:srgbClr val="FFFFFF"/>
            </a:solidFill>
            <a:ln w="1835" cap="flat">
              <a:noFill/>
              <a:prstDash val="solid"/>
              <a:miter/>
            </a:ln>
          </p:spPr>
          <p:txBody>
            <a:bodyPr/>
            <a:lstStyle/>
            <a:p>
              <a:endParaRPr lang="en-GB"/>
            </a:p>
          </p:txBody>
        </p:sp>
        <p:sp>
          <p:nvSpPr>
            <p:cNvPr id="1546" name="Freeform: Shape 1545">
              <a:extLst>
                <a:ext uri="{FF2B5EF4-FFF2-40B4-BE49-F238E27FC236}">
                  <a16:creationId xmlns:a16="http://schemas.microsoft.com/office/drawing/2014/main" id="{9611BBE4-22EB-7230-7686-E579F35E1B60}"/>
                </a:ext>
              </a:extLst>
            </p:cNvPr>
            <p:cNvSpPr/>
            <p:nvPr/>
          </p:nvSpPr>
          <p:spPr>
            <a:xfrm>
              <a:off x="10990715" y="4771719"/>
              <a:ext cx="26075" cy="19355"/>
            </a:xfrm>
            <a:custGeom>
              <a:avLst/>
              <a:gdLst>
                <a:gd name="csX0" fmla="*/ 19728 w 26075"/>
                <a:gd name="csY0" fmla="*/ 15370 h 19355"/>
                <a:gd name="csX1" fmla="*/ 20927 w 26075"/>
                <a:gd name="csY1" fmla="*/ 14300 h 19355"/>
                <a:gd name="csX2" fmla="*/ 22607 w 26075"/>
                <a:gd name="csY2" fmla="*/ 13580 h 19355"/>
                <a:gd name="csX3" fmla="*/ 26075 w 26075"/>
                <a:gd name="csY3" fmla="*/ 12750 h 19355"/>
                <a:gd name="csX4" fmla="*/ 25116 w 26075"/>
                <a:gd name="csY4" fmla="*/ 3801 h 19355"/>
                <a:gd name="csX5" fmla="*/ 24525 w 26075"/>
                <a:gd name="csY5" fmla="*/ 2731 h 19355"/>
                <a:gd name="csX6" fmla="*/ 22846 w 26075"/>
                <a:gd name="csY6" fmla="*/ 2491 h 19355"/>
                <a:gd name="csX7" fmla="*/ 21057 w 26075"/>
                <a:gd name="csY7" fmla="*/ 1771 h 19355"/>
                <a:gd name="csX8" fmla="*/ 16997 w 26075"/>
                <a:gd name="csY8" fmla="*/ 1661 h 19355"/>
                <a:gd name="csX9" fmla="*/ 15798 w 26075"/>
                <a:gd name="csY9" fmla="*/ 590 h 19355"/>
                <a:gd name="csX10" fmla="*/ 12329 w 26075"/>
                <a:gd name="csY10" fmla="*/ 0 h 19355"/>
                <a:gd name="csX11" fmla="*/ 4321 w 26075"/>
                <a:gd name="csY11" fmla="*/ 959 h 19355"/>
                <a:gd name="csX12" fmla="*/ 22 w 26075"/>
                <a:gd name="csY12" fmla="*/ 12547 h 19355"/>
                <a:gd name="csX13" fmla="*/ 3122 w 26075"/>
                <a:gd name="csY13" fmla="*/ 18765 h 19355"/>
                <a:gd name="csX14" fmla="*/ 5391 w 26075"/>
                <a:gd name="csY14" fmla="*/ 19005 h 19355"/>
                <a:gd name="csX15" fmla="*/ 7181 w 26075"/>
                <a:gd name="csY15" fmla="*/ 19356 h 19355"/>
                <a:gd name="csX16" fmla="*/ 11130 w 26075"/>
                <a:gd name="csY16" fmla="*/ 18156 h 19355"/>
                <a:gd name="csX17" fmla="*/ 12329 w 26075"/>
                <a:gd name="csY17" fmla="*/ 18156 h 19355"/>
                <a:gd name="csX18" fmla="*/ 20927 w 26075"/>
                <a:gd name="csY18" fmla="*/ 15776 h 193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6075" h="19355">
                  <a:moveTo>
                    <a:pt x="19728" y="15370"/>
                  </a:moveTo>
                  <a:cubicBezTo>
                    <a:pt x="21278" y="15370"/>
                    <a:pt x="20448" y="14651"/>
                    <a:pt x="20927" y="14300"/>
                  </a:cubicBezTo>
                  <a:cubicBezTo>
                    <a:pt x="21407" y="14060"/>
                    <a:pt x="21998" y="13820"/>
                    <a:pt x="22607" y="13580"/>
                  </a:cubicBezTo>
                  <a:cubicBezTo>
                    <a:pt x="23677" y="13230"/>
                    <a:pt x="26075" y="12750"/>
                    <a:pt x="26075" y="12750"/>
                  </a:cubicBezTo>
                  <a:cubicBezTo>
                    <a:pt x="25725" y="9761"/>
                    <a:pt x="25596" y="6772"/>
                    <a:pt x="25116" y="3801"/>
                  </a:cubicBezTo>
                  <a:cubicBezTo>
                    <a:pt x="25116" y="3450"/>
                    <a:pt x="25005" y="2971"/>
                    <a:pt x="24525" y="2731"/>
                  </a:cubicBezTo>
                  <a:cubicBezTo>
                    <a:pt x="24175" y="2491"/>
                    <a:pt x="23326" y="2620"/>
                    <a:pt x="22846" y="2491"/>
                  </a:cubicBezTo>
                  <a:cubicBezTo>
                    <a:pt x="22256" y="2251"/>
                    <a:pt x="21647" y="2011"/>
                    <a:pt x="21057" y="1771"/>
                  </a:cubicBezTo>
                  <a:cubicBezTo>
                    <a:pt x="19747" y="1771"/>
                    <a:pt x="18307" y="1882"/>
                    <a:pt x="16997" y="1661"/>
                  </a:cubicBezTo>
                  <a:cubicBezTo>
                    <a:pt x="16407" y="1421"/>
                    <a:pt x="16407" y="830"/>
                    <a:pt x="15798" y="590"/>
                  </a:cubicBezTo>
                  <a:cubicBezTo>
                    <a:pt x="14728" y="240"/>
                    <a:pt x="12329" y="0"/>
                    <a:pt x="12329" y="0"/>
                  </a:cubicBezTo>
                  <a:cubicBezTo>
                    <a:pt x="2181" y="959"/>
                    <a:pt x="6351" y="-1070"/>
                    <a:pt x="4321" y="959"/>
                  </a:cubicBezTo>
                  <a:cubicBezTo>
                    <a:pt x="2181" y="3100"/>
                    <a:pt x="262" y="9669"/>
                    <a:pt x="22" y="12547"/>
                  </a:cubicBezTo>
                  <a:cubicBezTo>
                    <a:pt x="-218" y="15536"/>
                    <a:pt x="1572" y="17566"/>
                    <a:pt x="3122" y="18765"/>
                  </a:cubicBezTo>
                  <a:cubicBezTo>
                    <a:pt x="3841" y="18876"/>
                    <a:pt x="4672" y="18876"/>
                    <a:pt x="5391" y="19005"/>
                  </a:cubicBezTo>
                  <a:cubicBezTo>
                    <a:pt x="5982" y="19116"/>
                    <a:pt x="6591" y="19356"/>
                    <a:pt x="7181" y="19356"/>
                  </a:cubicBezTo>
                  <a:cubicBezTo>
                    <a:pt x="10041" y="19245"/>
                    <a:pt x="8860" y="18765"/>
                    <a:pt x="11130" y="18156"/>
                  </a:cubicBezTo>
                  <a:cubicBezTo>
                    <a:pt x="11480" y="18046"/>
                    <a:pt x="10650" y="18507"/>
                    <a:pt x="12329" y="18156"/>
                  </a:cubicBezTo>
                  <a:cubicBezTo>
                    <a:pt x="14008" y="17677"/>
                    <a:pt x="18067" y="16477"/>
                    <a:pt x="20927" y="15776"/>
                  </a:cubicBezTo>
                </a:path>
              </a:pathLst>
            </a:custGeom>
            <a:solidFill>
              <a:srgbClr val="FFFFFF"/>
            </a:solidFill>
            <a:ln w="1835" cap="flat">
              <a:noFill/>
              <a:prstDash val="solid"/>
              <a:miter/>
            </a:ln>
          </p:spPr>
          <p:txBody>
            <a:bodyPr/>
            <a:lstStyle/>
            <a:p>
              <a:endParaRPr lang="en-GB"/>
            </a:p>
          </p:txBody>
        </p:sp>
        <p:sp>
          <p:nvSpPr>
            <p:cNvPr id="1547" name="Freeform: Shape 1546">
              <a:extLst>
                <a:ext uri="{FF2B5EF4-FFF2-40B4-BE49-F238E27FC236}">
                  <a16:creationId xmlns:a16="http://schemas.microsoft.com/office/drawing/2014/main" id="{E12C548F-BFF1-B5F1-6B1C-3AB526095364}"/>
                </a:ext>
              </a:extLst>
            </p:cNvPr>
            <p:cNvSpPr/>
            <p:nvPr/>
          </p:nvSpPr>
          <p:spPr>
            <a:xfrm>
              <a:off x="10987734" y="4768712"/>
              <a:ext cx="32048" cy="25315"/>
            </a:xfrm>
            <a:custGeom>
              <a:avLst/>
              <a:gdLst>
                <a:gd name="csX0" fmla="*/ 10273 w 32048"/>
                <a:gd name="csY0" fmla="*/ 25297 h 25315"/>
                <a:gd name="csX1" fmla="*/ 8225 w 32048"/>
                <a:gd name="csY1" fmla="*/ 25002 h 25315"/>
                <a:gd name="csX2" fmla="*/ 6970 w 32048"/>
                <a:gd name="csY2" fmla="*/ 24817 h 25315"/>
                <a:gd name="csX3" fmla="*/ 5642 w 32048"/>
                <a:gd name="csY3" fmla="*/ 24670 h 25315"/>
                <a:gd name="csX4" fmla="*/ 4295 w 32048"/>
                <a:gd name="csY4" fmla="*/ 24079 h 25315"/>
                <a:gd name="csX5" fmla="*/ 32 w 32048"/>
                <a:gd name="csY5" fmla="*/ 15278 h 25315"/>
                <a:gd name="csX6" fmla="*/ 5180 w 32048"/>
                <a:gd name="csY6" fmla="*/ 1808 h 25315"/>
                <a:gd name="csX7" fmla="*/ 9055 w 32048"/>
                <a:gd name="csY7" fmla="*/ 166 h 25315"/>
                <a:gd name="csX8" fmla="*/ 15015 w 32048"/>
                <a:gd name="csY8" fmla="*/ 0 h 25315"/>
                <a:gd name="csX9" fmla="*/ 19720 w 32048"/>
                <a:gd name="csY9" fmla="*/ 738 h 25315"/>
                <a:gd name="csX10" fmla="*/ 21381 w 32048"/>
                <a:gd name="csY10" fmla="*/ 1864 h 25315"/>
                <a:gd name="csX11" fmla="*/ 22968 w 32048"/>
                <a:gd name="csY11" fmla="*/ 1790 h 25315"/>
                <a:gd name="csX12" fmla="*/ 24038 w 32048"/>
                <a:gd name="csY12" fmla="*/ 1790 h 25315"/>
                <a:gd name="csX13" fmla="*/ 25126 w 32048"/>
                <a:gd name="csY13" fmla="*/ 1993 h 25315"/>
                <a:gd name="csX14" fmla="*/ 26916 w 32048"/>
                <a:gd name="csY14" fmla="*/ 2712 h 25315"/>
                <a:gd name="csX15" fmla="*/ 29186 w 32048"/>
                <a:gd name="csY15" fmla="*/ 3266 h 25315"/>
                <a:gd name="csX16" fmla="*/ 31086 w 32048"/>
                <a:gd name="csY16" fmla="*/ 6809 h 25315"/>
                <a:gd name="csX17" fmla="*/ 31677 w 32048"/>
                <a:gd name="csY17" fmla="*/ 11883 h 25315"/>
                <a:gd name="csX18" fmla="*/ 32027 w 32048"/>
                <a:gd name="csY18" fmla="*/ 15407 h 25315"/>
                <a:gd name="csX19" fmla="*/ 29647 w 32048"/>
                <a:gd name="csY19" fmla="*/ 18691 h 25315"/>
                <a:gd name="csX20" fmla="*/ 26566 w 32048"/>
                <a:gd name="csY20" fmla="*/ 19430 h 25315"/>
                <a:gd name="csX21" fmla="*/ 26289 w 32048"/>
                <a:gd name="csY21" fmla="*/ 19540 h 25315"/>
                <a:gd name="csX22" fmla="*/ 24499 w 32048"/>
                <a:gd name="csY22" fmla="*/ 21072 h 25315"/>
                <a:gd name="csX23" fmla="*/ 24647 w 32048"/>
                <a:gd name="csY23" fmla="*/ 21625 h 25315"/>
                <a:gd name="csX24" fmla="*/ 17174 w 32048"/>
                <a:gd name="csY24" fmla="*/ 23710 h 25315"/>
                <a:gd name="csX25" fmla="*/ 16159 w 32048"/>
                <a:gd name="csY25" fmla="*/ 24006 h 25315"/>
                <a:gd name="csX26" fmla="*/ 14332 w 32048"/>
                <a:gd name="csY26" fmla="*/ 24245 h 25315"/>
                <a:gd name="csX27" fmla="*/ 14203 w 32048"/>
                <a:gd name="csY27" fmla="*/ 24301 h 25315"/>
                <a:gd name="csX28" fmla="*/ 10310 w 32048"/>
                <a:gd name="csY28" fmla="*/ 25316 h 25315"/>
                <a:gd name="csX29" fmla="*/ 10310 w 32048"/>
                <a:gd name="csY29" fmla="*/ 25316 h 25315"/>
                <a:gd name="csX30" fmla="*/ 7339 w 32048"/>
                <a:gd name="csY30" fmla="*/ 18839 h 25315"/>
                <a:gd name="csX31" fmla="*/ 7431 w 32048"/>
                <a:gd name="csY31" fmla="*/ 18839 h 25315"/>
                <a:gd name="csX32" fmla="*/ 8907 w 32048"/>
                <a:gd name="csY32" fmla="*/ 19005 h 25315"/>
                <a:gd name="csX33" fmla="*/ 9719 w 32048"/>
                <a:gd name="csY33" fmla="*/ 19190 h 25315"/>
                <a:gd name="csX34" fmla="*/ 11066 w 32048"/>
                <a:gd name="csY34" fmla="*/ 19227 h 25315"/>
                <a:gd name="csX35" fmla="*/ 13373 w 32048"/>
                <a:gd name="csY35" fmla="*/ 18212 h 25315"/>
                <a:gd name="csX36" fmla="*/ 14683 w 32048"/>
                <a:gd name="csY36" fmla="*/ 18156 h 25315"/>
                <a:gd name="csX37" fmla="*/ 15513 w 32048"/>
                <a:gd name="csY37" fmla="*/ 17953 h 25315"/>
                <a:gd name="csX38" fmla="*/ 21270 w 32048"/>
                <a:gd name="csY38" fmla="*/ 16330 h 25315"/>
                <a:gd name="csX39" fmla="*/ 20753 w 32048"/>
                <a:gd name="csY39" fmla="*/ 17714 h 25315"/>
                <a:gd name="csX40" fmla="*/ 21455 w 32048"/>
                <a:gd name="csY40" fmla="*/ 16274 h 25315"/>
                <a:gd name="csX41" fmla="*/ 22728 w 32048"/>
                <a:gd name="csY41" fmla="*/ 15942 h 25315"/>
                <a:gd name="csX42" fmla="*/ 22728 w 32048"/>
                <a:gd name="csY42" fmla="*/ 15370 h 25315"/>
                <a:gd name="csX43" fmla="*/ 21602 w 32048"/>
                <a:gd name="csY43" fmla="*/ 15961 h 25315"/>
                <a:gd name="csX44" fmla="*/ 22119 w 32048"/>
                <a:gd name="csY44" fmla="*/ 14909 h 25315"/>
                <a:gd name="csX45" fmla="*/ 24518 w 32048"/>
                <a:gd name="csY45" fmla="*/ 13802 h 25315"/>
                <a:gd name="csX46" fmla="*/ 25828 w 32048"/>
                <a:gd name="csY46" fmla="*/ 13414 h 25315"/>
                <a:gd name="csX47" fmla="*/ 25735 w 32048"/>
                <a:gd name="csY47" fmla="*/ 12381 h 25315"/>
                <a:gd name="csX48" fmla="*/ 25329 w 32048"/>
                <a:gd name="csY48" fmla="*/ 8377 h 25315"/>
                <a:gd name="csX49" fmla="*/ 25071 w 32048"/>
                <a:gd name="csY49" fmla="*/ 8340 h 25315"/>
                <a:gd name="csX50" fmla="*/ 23115 w 32048"/>
                <a:gd name="csY50" fmla="*/ 7750 h 25315"/>
                <a:gd name="csX51" fmla="*/ 19462 w 32048"/>
                <a:gd name="csY51" fmla="*/ 7584 h 25315"/>
                <a:gd name="csX52" fmla="*/ 17284 w 32048"/>
                <a:gd name="csY52" fmla="*/ 6255 h 25315"/>
                <a:gd name="csX53" fmla="*/ 15015 w 32048"/>
                <a:gd name="csY53" fmla="*/ 5941 h 25315"/>
                <a:gd name="csX54" fmla="*/ 9295 w 32048"/>
                <a:gd name="csY54" fmla="*/ 6200 h 25315"/>
                <a:gd name="csX55" fmla="*/ 5992 w 32048"/>
                <a:gd name="csY55" fmla="*/ 15776 h 25315"/>
                <a:gd name="csX56" fmla="*/ 7358 w 32048"/>
                <a:gd name="csY56" fmla="*/ 18858 h 25315"/>
                <a:gd name="csX57" fmla="*/ 22709 w 32048"/>
                <a:gd name="csY57" fmla="*/ 15389 h 25315"/>
                <a:gd name="csX58" fmla="*/ 22709 w 32048"/>
                <a:gd name="csY58" fmla="*/ 15961 h 25315"/>
                <a:gd name="csX59" fmla="*/ 22765 w 32048"/>
                <a:gd name="csY59" fmla="*/ 15961 h 25315"/>
                <a:gd name="csX60" fmla="*/ 22765 w 32048"/>
                <a:gd name="csY60" fmla="*/ 15407 h 25315"/>
                <a:gd name="csX61" fmla="*/ 22709 w 32048"/>
                <a:gd name="csY61" fmla="*/ 15407 h 25315"/>
                <a:gd name="csX62" fmla="*/ 25145 w 32048"/>
                <a:gd name="csY62" fmla="*/ 7251 h 25315"/>
                <a:gd name="csX63" fmla="*/ 25163 w 32048"/>
                <a:gd name="csY63" fmla="*/ 7362 h 25315"/>
                <a:gd name="csX64" fmla="*/ 25145 w 32048"/>
                <a:gd name="csY64" fmla="*/ 7251 h 2531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Lst>
              <a:rect l="l" t="t" r="r" b="b"/>
              <a:pathLst>
                <a:path w="32048" h="25315">
                  <a:moveTo>
                    <a:pt x="10273" y="25297"/>
                  </a:moveTo>
                  <a:cubicBezTo>
                    <a:pt x="9369" y="25297"/>
                    <a:pt x="8704" y="25131"/>
                    <a:pt x="8225" y="25002"/>
                  </a:cubicBezTo>
                  <a:cubicBezTo>
                    <a:pt x="7579" y="24854"/>
                    <a:pt x="7265" y="24836"/>
                    <a:pt x="6970" y="24817"/>
                  </a:cubicBezTo>
                  <a:cubicBezTo>
                    <a:pt x="6509" y="24781"/>
                    <a:pt x="6047" y="24744"/>
                    <a:pt x="5642" y="24670"/>
                  </a:cubicBezTo>
                  <a:cubicBezTo>
                    <a:pt x="5143" y="24596"/>
                    <a:pt x="4700" y="24393"/>
                    <a:pt x="4295" y="24079"/>
                  </a:cubicBezTo>
                  <a:cubicBezTo>
                    <a:pt x="1268" y="21773"/>
                    <a:pt x="-245" y="18636"/>
                    <a:pt x="32" y="15278"/>
                  </a:cubicBezTo>
                  <a:cubicBezTo>
                    <a:pt x="309" y="12104"/>
                    <a:pt x="2302" y="4705"/>
                    <a:pt x="5180" y="1808"/>
                  </a:cubicBezTo>
                  <a:cubicBezTo>
                    <a:pt x="5826" y="461"/>
                    <a:pt x="7597" y="-314"/>
                    <a:pt x="9055" y="166"/>
                  </a:cubicBezTo>
                  <a:cubicBezTo>
                    <a:pt x="9092" y="166"/>
                    <a:pt x="10273" y="443"/>
                    <a:pt x="15015" y="0"/>
                  </a:cubicBezTo>
                  <a:cubicBezTo>
                    <a:pt x="16048" y="55"/>
                    <a:pt x="18392" y="295"/>
                    <a:pt x="19720" y="738"/>
                  </a:cubicBezTo>
                  <a:cubicBezTo>
                    <a:pt x="20514" y="1052"/>
                    <a:pt x="21030" y="1476"/>
                    <a:pt x="21381" y="1864"/>
                  </a:cubicBezTo>
                  <a:cubicBezTo>
                    <a:pt x="21750" y="1827"/>
                    <a:pt x="22359" y="1808"/>
                    <a:pt x="22968" y="1790"/>
                  </a:cubicBezTo>
                  <a:lnTo>
                    <a:pt x="24038" y="1790"/>
                  </a:lnTo>
                  <a:cubicBezTo>
                    <a:pt x="24407" y="1790"/>
                    <a:pt x="24776" y="1845"/>
                    <a:pt x="25126" y="1993"/>
                  </a:cubicBezTo>
                  <a:lnTo>
                    <a:pt x="26916" y="2712"/>
                  </a:lnTo>
                  <a:cubicBezTo>
                    <a:pt x="27285" y="2565"/>
                    <a:pt x="28263" y="2639"/>
                    <a:pt x="29186" y="3266"/>
                  </a:cubicBezTo>
                  <a:cubicBezTo>
                    <a:pt x="30238" y="3746"/>
                    <a:pt x="31086" y="5148"/>
                    <a:pt x="31086" y="6809"/>
                  </a:cubicBezTo>
                  <a:cubicBezTo>
                    <a:pt x="31345" y="8193"/>
                    <a:pt x="31511" y="10038"/>
                    <a:pt x="31677" y="11883"/>
                  </a:cubicBezTo>
                  <a:cubicBezTo>
                    <a:pt x="31787" y="13064"/>
                    <a:pt x="31880" y="14245"/>
                    <a:pt x="32027" y="15407"/>
                  </a:cubicBezTo>
                  <a:cubicBezTo>
                    <a:pt x="32212" y="16957"/>
                    <a:pt x="31179" y="18396"/>
                    <a:pt x="29647" y="18691"/>
                  </a:cubicBezTo>
                  <a:cubicBezTo>
                    <a:pt x="29629" y="18691"/>
                    <a:pt x="27507" y="19116"/>
                    <a:pt x="26566" y="19430"/>
                  </a:cubicBezTo>
                  <a:cubicBezTo>
                    <a:pt x="26492" y="19448"/>
                    <a:pt x="26400" y="19485"/>
                    <a:pt x="26289" y="19540"/>
                  </a:cubicBezTo>
                  <a:cubicBezTo>
                    <a:pt x="25938" y="20186"/>
                    <a:pt x="25348" y="20758"/>
                    <a:pt x="24499" y="21072"/>
                  </a:cubicBezTo>
                  <a:lnTo>
                    <a:pt x="24647" y="21625"/>
                  </a:lnTo>
                  <a:cubicBezTo>
                    <a:pt x="22285" y="22216"/>
                    <a:pt x="19111" y="23138"/>
                    <a:pt x="17174" y="23710"/>
                  </a:cubicBezTo>
                  <a:lnTo>
                    <a:pt x="16159" y="24006"/>
                  </a:lnTo>
                  <a:cubicBezTo>
                    <a:pt x="15642" y="24116"/>
                    <a:pt x="14775" y="24209"/>
                    <a:pt x="14332" y="24245"/>
                  </a:cubicBezTo>
                  <a:lnTo>
                    <a:pt x="14203" y="24301"/>
                  </a:lnTo>
                  <a:cubicBezTo>
                    <a:pt x="13133" y="25002"/>
                    <a:pt x="12229" y="25242"/>
                    <a:pt x="10310" y="25316"/>
                  </a:cubicBezTo>
                  <a:lnTo>
                    <a:pt x="10310" y="25316"/>
                  </a:lnTo>
                  <a:close/>
                  <a:moveTo>
                    <a:pt x="7339" y="18839"/>
                  </a:moveTo>
                  <a:lnTo>
                    <a:pt x="7431" y="18839"/>
                  </a:lnTo>
                  <a:cubicBezTo>
                    <a:pt x="7930" y="18894"/>
                    <a:pt x="8446" y="18931"/>
                    <a:pt x="8907" y="19005"/>
                  </a:cubicBezTo>
                  <a:cubicBezTo>
                    <a:pt x="8981" y="19005"/>
                    <a:pt x="9646" y="19171"/>
                    <a:pt x="9719" y="19190"/>
                  </a:cubicBezTo>
                  <a:cubicBezTo>
                    <a:pt x="10808" y="19263"/>
                    <a:pt x="11029" y="19208"/>
                    <a:pt x="11066" y="19227"/>
                  </a:cubicBezTo>
                  <a:cubicBezTo>
                    <a:pt x="11398" y="18950"/>
                    <a:pt x="12044" y="18562"/>
                    <a:pt x="13373" y="18212"/>
                  </a:cubicBezTo>
                  <a:cubicBezTo>
                    <a:pt x="13797" y="18119"/>
                    <a:pt x="14277" y="18101"/>
                    <a:pt x="14683" y="18156"/>
                  </a:cubicBezTo>
                  <a:lnTo>
                    <a:pt x="15513" y="17953"/>
                  </a:lnTo>
                  <a:cubicBezTo>
                    <a:pt x="17026" y="17529"/>
                    <a:pt x="19240" y="16883"/>
                    <a:pt x="21270" y="16330"/>
                  </a:cubicBezTo>
                  <a:cubicBezTo>
                    <a:pt x="20975" y="16717"/>
                    <a:pt x="20772" y="17197"/>
                    <a:pt x="20753" y="17714"/>
                  </a:cubicBezTo>
                  <a:lnTo>
                    <a:pt x="21455" y="16274"/>
                  </a:lnTo>
                  <a:cubicBezTo>
                    <a:pt x="21879" y="16164"/>
                    <a:pt x="22322" y="16053"/>
                    <a:pt x="22728" y="15942"/>
                  </a:cubicBezTo>
                  <a:lnTo>
                    <a:pt x="22728" y="15370"/>
                  </a:lnTo>
                  <a:cubicBezTo>
                    <a:pt x="22359" y="15426"/>
                    <a:pt x="21953" y="15629"/>
                    <a:pt x="21602" y="15961"/>
                  </a:cubicBezTo>
                  <a:lnTo>
                    <a:pt x="22119" y="14909"/>
                  </a:lnTo>
                  <a:cubicBezTo>
                    <a:pt x="23152" y="14337"/>
                    <a:pt x="23835" y="14060"/>
                    <a:pt x="24518" y="13802"/>
                  </a:cubicBezTo>
                  <a:cubicBezTo>
                    <a:pt x="24887" y="13673"/>
                    <a:pt x="25348" y="13543"/>
                    <a:pt x="25828" y="13414"/>
                  </a:cubicBezTo>
                  <a:cubicBezTo>
                    <a:pt x="25791" y="13082"/>
                    <a:pt x="25772" y="12732"/>
                    <a:pt x="25735" y="12381"/>
                  </a:cubicBezTo>
                  <a:cubicBezTo>
                    <a:pt x="25625" y="11053"/>
                    <a:pt x="25495" y="9706"/>
                    <a:pt x="25329" y="8377"/>
                  </a:cubicBezTo>
                  <a:cubicBezTo>
                    <a:pt x="25219" y="8377"/>
                    <a:pt x="25126" y="8377"/>
                    <a:pt x="25071" y="8340"/>
                  </a:cubicBezTo>
                  <a:lnTo>
                    <a:pt x="23115" y="7750"/>
                  </a:lnTo>
                  <a:cubicBezTo>
                    <a:pt x="21860" y="7768"/>
                    <a:pt x="20624" y="7787"/>
                    <a:pt x="19462" y="7584"/>
                  </a:cubicBezTo>
                  <a:cubicBezTo>
                    <a:pt x="18281" y="7159"/>
                    <a:pt x="17654" y="6643"/>
                    <a:pt x="17284" y="6255"/>
                  </a:cubicBezTo>
                  <a:cubicBezTo>
                    <a:pt x="16731" y="6144"/>
                    <a:pt x="15771" y="6015"/>
                    <a:pt x="15015" y="5941"/>
                  </a:cubicBezTo>
                  <a:cubicBezTo>
                    <a:pt x="12229" y="6237"/>
                    <a:pt x="10439" y="6237"/>
                    <a:pt x="9295" y="6200"/>
                  </a:cubicBezTo>
                  <a:cubicBezTo>
                    <a:pt x="7948" y="7787"/>
                    <a:pt x="6232" y="13101"/>
                    <a:pt x="5992" y="15776"/>
                  </a:cubicBezTo>
                  <a:cubicBezTo>
                    <a:pt x="5955" y="16201"/>
                    <a:pt x="5863" y="17437"/>
                    <a:pt x="7358" y="18858"/>
                  </a:cubicBezTo>
                  <a:close/>
                  <a:moveTo>
                    <a:pt x="22709" y="15389"/>
                  </a:moveTo>
                  <a:lnTo>
                    <a:pt x="22709" y="15961"/>
                  </a:lnTo>
                  <a:cubicBezTo>
                    <a:pt x="22709" y="15961"/>
                    <a:pt x="22746" y="15961"/>
                    <a:pt x="22765" y="15961"/>
                  </a:cubicBezTo>
                  <a:lnTo>
                    <a:pt x="22765" y="15407"/>
                  </a:lnTo>
                  <a:lnTo>
                    <a:pt x="22709" y="15407"/>
                  </a:lnTo>
                  <a:close/>
                  <a:moveTo>
                    <a:pt x="25145" y="7251"/>
                  </a:moveTo>
                  <a:cubicBezTo>
                    <a:pt x="25145" y="7251"/>
                    <a:pt x="25145" y="7325"/>
                    <a:pt x="25163" y="7362"/>
                  </a:cubicBezTo>
                  <a:cubicBezTo>
                    <a:pt x="25163" y="7325"/>
                    <a:pt x="25163" y="7288"/>
                    <a:pt x="25145" y="7251"/>
                  </a:cubicBezTo>
                  <a:close/>
                </a:path>
              </a:pathLst>
            </a:custGeom>
            <a:solidFill>
              <a:srgbClr val="FFFFFF"/>
            </a:solidFill>
            <a:ln w="1835" cap="flat">
              <a:noFill/>
              <a:prstDash val="solid"/>
              <a:miter/>
            </a:ln>
          </p:spPr>
          <p:txBody>
            <a:bodyPr/>
            <a:lstStyle/>
            <a:p>
              <a:endParaRPr lang="en-GB"/>
            </a:p>
          </p:txBody>
        </p:sp>
        <p:sp>
          <p:nvSpPr>
            <p:cNvPr id="1548" name="Freeform: Shape 1547">
              <a:extLst>
                <a:ext uri="{FF2B5EF4-FFF2-40B4-BE49-F238E27FC236}">
                  <a16:creationId xmlns:a16="http://schemas.microsoft.com/office/drawing/2014/main" id="{C0687D14-D792-109C-AA49-B09A0D1BBA21}"/>
                </a:ext>
              </a:extLst>
            </p:cNvPr>
            <p:cNvSpPr/>
            <p:nvPr/>
          </p:nvSpPr>
          <p:spPr>
            <a:xfrm>
              <a:off x="10925832" y="4790146"/>
              <a:ext cx="23961" cy="26457"/>
            </a:xfrm>
            <a:custGeom>
              <a:avLst/>
              <a:gdLst>
                <a:gd name="csX0" fmla="*/ 21323 w 23961"/>
                <a:gd name="csY0" fmla="*/ 12461 h 26457"/>
                <a:gd name="csX1" fmla="*/ 21323 w 23961"/>
                <a:gd name="csY1" fmla="*/ 10911 h 26457"/>
                <a:gd name="csX2" fmla="*/ 22042 w 23961"/>
                <a:gd name="csY2" fmla="*/ 9121 h 26457"/>
                <a:gd name="csX3" fmla="*/ 23961 w 23961"/>
                <a:gd name="csY3" fmla="*/ 6132 h 26457"/>
                <a:gd name="csX4" fmla="*/ 17042 w 23961"/>
                <a:gd name="csY4" fmla="*/ 283 h 26457"/>
                <a:gd name="csX5" fmla="*/ 15972 w 23961"/>
                <a:gd name="csY5" fmla="*/ 43 h 26457"/>
                <a:gd name="csX6" fmla="*/ 14532 w 23961"/>
                <a:gd name="csY6" fmla="*/ 1003 h 26457"/>
                <a:gd name="csX7" fmla="*/ 12743 w 23961"/>
                <a:gd name="csY7" fmla="*/ 1833 h 26457"/>
                <a:gd name="csX8" fmla="*/ 9753 w 23961"/>
                <a:gd name="csY8" fmla="*/ 4453 h 26457"/>
                <a:gd name="csX9" fmla="*/ 8203 w 23961"/>
                <a:gd name="csY9" fmla="*/ 4564 h 26457"/>
                <a:gd name="csX10" fmla="*/ 5214 w 23961"/>
                <a:gd name="csY10" fmla="*/ 6593 h 26457"/>
                <a:gd name="csX11" fmla="*/ 85 w 23961"/>
                <a:gd name="csY11" fmla="*/ 12812 h 26457"/>
                <a:gd name="csX12" fmla="*/ 5214 w 23961"/>
                <a:gd name="csY12" fmla="*/ 24159 h 26457"/>
                <a:gd name="csX13" fmla="*/ 11672 w 23961"/>
                <a:gd name="csY13" fmla="*/ 26429 h 26457"/>
                <a:gd name="csX14" fmla="*/ 13462 w 23961"/>
                <a:gd name="csY14" fmla="*/ 24990 h 26457"/>
                <a:gd name="csX15" fmla="*/ 15012 w 23961"/>
                <a:gd name="csY15" fmla="*/ 23919 h 26457"/>
                <a:gd name="csX16" fmla="*/ 17042 w 23961"/>
                <a:gd name="csY16" fmla="*/ 20340 h 26457"/>
                <a:gd name="csX17" fmla="*/ 17872 w 23961"/>
                <a:gd name="csY17" fmla="*/ 19510 h 26457"/>
                <a:gd name="csX18" fmla="*/ 22300 w 23961"/>
                <a:gd name="csY18" fmla="*/ 11871 h 2645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3961" h="26457">
                  <a:moveTo>
                    <a:pt x="21323" y="12461"/>
                  </a:moveTo>
                  <a:cubicBezTo>
                    <a:pt x="22393" y="11262"/>
                    <a:pt x="21323" y="11391"/>
                    <a:pt x="21323" y="10911"/>
                  </a:cubicBezTo>
                  <a:cubicBezTo>
                    <a:pt x="21562" y="10321"/>
                    <a:pt x="21673" y="9712"/>
                    <a:pt x="22042" y="9121"/>
                  </a:cubicBezTo>
                  <a:cubicBezTo>
                    <a:pt x="22633" y="8162"/>
                    <a:pt x="23961" y="6132"/>
                    <a:pt x="23961" y="6132"/>
                  </a:cubicBezTo>
                  <a:cubicBezTo>
                    <a:pt x="21692" y="4213"/>
                    <a:pt x="19422" y="2183"/>
                    <a:pt x="17042" y="283"/>
                  </a:cubicBezTo>
                  <a:cubicBezTo>
                    <a:pt x="16802" y="43"/>
                    <a:pt x="16451" y="-68"/>
                    <a:pt x="15972" y="43"/>
                  </a:cubicBezTo>
                  <a:cubicBezTo>
                    <a:pt x="15492" y="154"/>
                    <a:pt x="15012" y="763"/>
                    <a:pt x="14532" y="1003"/>
                  </a:cubicBezTo>
                  <a:cubicBezTo>
                    <a:pt x="13942" y="1353"/>
                    <a:pt x="13333" y="1482"/>
                    <a:pt x="12743" y="1833"/>
                  </a:cubicBezTo>
                  <a:cubicBezTo>
                    <a:pt x="11783" y="2663"/>
                    <a:pt x="10824" y="3752"/>
                    <a:pt x="9753" y="4453"/>
                  </a:cubicBezTo>
                  <a:cubicBezTo>
                    <a:pt x="9163" y="4804"/>
                    <a:pt x="8683" y="4213"/>
                    <a:pt x="8203" y="4564"/>
                  </a:cubicBezTo>
                  <a:cubicBezTo>
                    <a:pt x="7133" y="5043"/>
                    <a:pt x="5214" y="6593"/>
                    <a:pt x="5214" y="6593"/>
                  </a:cubicBezTo>
                  <a:cubicBezTo>
                    <a:pt x="-1355" y="14232"/>
                    <a:pt x="195" y="9933"/>
                    <a:pt x="85" y="12812"/>
                  </a:cubicBezTo>
                  <a:cubicBezTo>
                    <a:pt x="85" y="15801"/>
                    <a:pt x="3185" y="21890"/>
                    <a:pt x="5214" y="24159"/>
                  </a:cubicBezTo>
                  <a:cubicBezTo>
                    <a:pt x="7133" y="26429"/>
                    <a:pt x="9753" y="26540"/>
                    <a:pt x="11672" y="26429"/>
                  </a:cubicBezTo>
                  <a:cubicBezTo>
                    <a:pt x="12263" y="25949"/>
                    <a:pt x="12872" y="25469"/>
                    <a:pt x="13462" y="24990"/>
                  </a:cubicBezTo>
                  <a:cubicBezTo>
                    <a:pt x="13942" y="24639"/>
                    <a:pt x="14532" y="24399"/>
                    <a:pt x="15012" y="23919"/>
                  </a:cubicBezTo>
                  <a:cubicBezTo>
                    <a:pt x="17042" y="21890"/>
                    <a:pt x="15842" y="22370"/>
                    <a:pt x="17042" y="20340"/>
                  </a:cubicBezTo>
                  <a:cubicBezTo>
                    <a:pt x="17152" y="19989"/>
                    <a:pt x="16931" y="20930"/>
                    <a:pt x="17872" y="19510"/>
                  </a:cubicBezTo>
                  <a:cubicBezTo>
                    <a:pt x="18702" y="18070"/>
                    <a:pt x="20861" y="14380"/>
                    <a:pt x="22300" y="11871"/>
                  </a:cubicBezTo>
                </a:path>
              </a:pathLst>
            </a:custGeom>
            <a:solidFill>
              <a:srgbClr val="FFFFFF"/>
            </a:solidFill>
            <a:ln w="1835" cap="flat">
              <a:noFill/>
              <a:prstDash val="solid"/>
              <a:miter/>
            </a:ln>
          </p:spPr>
          <p:txBody>
            <a:bodyPr/>
            <a:lstStyle/>
            <a:p>
              <a:endParaRPr lang="en-GB"/>
            </a:p>
          </p:txBody>
        </p:sp>
        <p:sp>
          <p:nvSpPr>
            <p:cNvPr id="1549" name="Freeform: Shape 1548">
              <a:extLst>
                <a:ext uri="{FF2B5EF4-FFF2-40B4-BE49-F238E27FC236}">
                  <a16:creationId xmlns:a16="http://schemas.microsoft.com/office/drawing/2014/main" id="{4CFD76D1-7D7C-004B-E057-83305E6B0C61}"/>
                </a:ext>
              </a:extLst>
            </p:cNvPr>
            <p:cNvSpPr/>
            <p:nvPr/>
          </p:nvSpPr>
          <p:spPr>
            <a:xfrm>
              <a:off x="10922839" y="4787153"/>
              <a:ext cx="29959" cy="32503"/>
            </a:xfrm>
            <a:custGeom>
              <a:avLst/>
              <a:gdLst>
                <a:gd name="csX0" fmla="*/ 13668 w 29959"/>
                <a:gd name="csY0" fmla="*/ 32448 h 32503"/>
                <a:gd name="csX1" fmla="*/ 5900 w 29959"/>
                <a:gd name="csY1" fmla="*/ 29072 h 32503"/>
                <a:gd name="csX2" fmla="*/ 70 w 29959"/>
                <a:gd name="csY2" fmla="*/ 15805 h 32503"/>
                <a:gd name="csX3" fmla="*/ 1804 w 29959"/>
                <a:gd name="csY3" fmla="*/ 11856 h 32503"/>
                <a:gd name="csX4" fmla="*/ 5937 w 29959"/>
                <a:gd name="csY4" fmla="*/ 7649 h 32503"/>
                <a:gd name="csX5" fmla="*/ 9978 w 29959"/>
                <a:gd name="csY5" fmla="*/ 4845 h 32503"/>
                <a:gd name="csX6" fmla="*/ 11676 w 29959"/>
                <a:gd name="csY6" fmla="*/ 4549 h 32503"/>
                <a:gd name="csX7" fmla="*/ 12727 w 29959"/>
                <a:gd name="csY7" fmla="*/ 3553 h 32503"/>
                <a:gd name="csX8" fmla="*/ 13779 w 29959"/>
                <a:gd name="csY8" fmla="*/ 2594 h 32503"/>
                <a:gd name="csX9" fmla="*/ 15532 w 29959"/>
                <a:gd name="csY9" fmla="*/ 1634 h 32503"/>
                <a:gd name="csX10" fmla="*/ 16233 w 29959"/>
                <a:gd name="csY10" fmla="*/ 1302 h 32503"/>
                <a:gd name="csX11" fmla="*/ 18263 w 29959"/>
                <a:gd name="csY11" fmla="*/ 140 h 32503"/>
                <a:gd name="csX12" fmla="*/ 22156 w 29959"/>
                <a:gd name="csY12" fmla="*/ 1173 h 32503"/>
                <a:gd name="csX13" fmla="*/ 26677 w 29959"/>
                <a:gd name="csY13" fmla="*/ 4955 h 32503"/>
                <a:gd name="csX14" fmla="*/ 28891 w 29959"/>
                <a:gd name="csY14" fmla="*/ 6856 h 32503"/>
                <a:gd name="csX15" fmla="*/ 29482 w 29959"/>
                <a:gd name="csY15" fmla="*/ 10768 h 32503"/>
                <a:gd name="csX16" fmla="*/ 27636 w 29959"/>
                <a:gd name="csY16" fmla="*/ 13665 h 32503"/>
                <a:gd name="csX17" fmla="*/ 27802 w 29959"/>
                <a:gd name="csY17" fmla="*/ 14384 h 32503"/>
                <a:gd name="csX18" fmla="*/ 27489 w 29959"/>
                <a:gd name="csY18" fmla="*/ 16119 h 32503"/>
                <a:gd name="csX19" fmla="*/ 27895 w 29959"/>
                <a:gd name="csY19" fmla="*/ 16359 h 32503"/>
                <a:gd name="csX20" fmla="*/ 23466 w 29959"/>
                <a:gd name="csY20" fmla="*/ 24034 h 32503"/>
                <a:gd name="csX21" fmla="*/ 22341 w 29959"/>
                <a:gd name="csY21" fmla="*/ 25437 h 32503"/>
                <a:gd name="csX22" fmla="*/ 22322 w 29959"/>
                <a:gd name="csY22" fmla="*/ 25584 h 32503"/>
                <a:gd name="csX23" fmla="*/ 20145 w 29959"/>
                <a:gd name="csY23" fmla="*/ 29072 h 32503"/>
                <a:gd name="csX24" fmla="*/ 18595 w 29959"/>
                <a:gd name="csY24" fmla="*/ 30216 h 32503"/>
                <a:gd name="csX25" fmla="*/ 16529 w 29959"/>
                <a:gd name="csY25" fmla="*/ 31821 h 32503"/>
                <a:gd name="csX26" fmla="*/ 14868 w 29959"/>
                <a:gd name="csY26" fmla="*/ 32467 h 32503"/>
                <a:gd name="csX27" fmla="*/ 13705 w 29959"/>
                <a:gd name="csY27" fmla="*/ 32504 h 32503"/>
                <a:gd name="csX28" fmla="*/ 6048 w 29959"/>
                <a:gd name="csY28" fmla="*/ 16119 h 32503"/>
                <a:gd name="csX29" fmla="*/ 10403 w 29959"/>
                <a:gd name="csY29" fmla="*/ 25160 h 32503"/>
                <a:gd name="csX30" fmla="*/ 13539 w 29959"/>
                <a:gd name="csY30" fmla="*/ 26452 h 32503"/>
                <a:gd name="csX31" fmla="*/ 14554 w 29959"/>
                <a:gd name="csY31" fmla="*/ 25640 h 32503"/>
                <a:gd name="csX32" fmla="*/ 15495 w 29959"/>
                <a:gd name="csY32" fmla="*/ 25031 h 32503"/>
                <a:gd name="csX33" fmla="*/ 16547 w 29959"/>
                <a:gd name="csY33" fmla="*/ 24053 h 32503"/>
                <a:gd name="csX34" fmla="*/ 17433 w 29959"/>
                <a:gd name="csY34" fmla="*/ 21820 h 32503"/>
                <a:gd name="csX35" fmla="*/ 18337 w 29959"/>
                <a:gd name="csY35" fmla="*/ 20824 h 32503"/>
                <a:gd name="csX36" fmla="*/ 21806 w 29959"/>
                <a:gd name="csY36" fmla="*/ 14864 h 32503"/>
                <a:gd name="csX37" fmla="*/ 21307 w 29959"/>
                <a:gd name="csY37" fmla="*/ 13886 h 32503"/>
                <a:gd name="csX38" fmla="*/ 21510 w 29959"/>
                <a:gd name="csY38" fmla="*/ 12797 h 32503"/>
                <a:gd name="csX39" fmla="*/ 22415 w 29959"/>
                <a:gd name="csY39" fmla="*/ 10583 h 32503"/>
                <a:gd name="csX40" fmla="*/ 22987 w 29959"/>
                <a:gd name="csY40" fmla="*/ 9697 h 32503"/>
                <a:gd name="csX41" fmla="*/ 22710 w 29959"/>
                <a:gd name="csY41" fmla="*/ 9458 h 32503"/>
                <a:gd name="csX42" fmla="*/ 19149 w 29959"/>
                <a:gd name="csY42" fmla="*/ 6450 h 32503"/>
                <a:gd name="csX43" fmla="*/ 18761 w 29959"/>
                <a:gd name="csY43" fmla="*/ 6653 h 32503"/>
                <a:gd name="csX44" fmla="*/ 17672 w 29959"/>
                <a:gd name="csY44" fmla="*/ 7170 h 32503"/>
                <a:gd name="csX45" fmla="*/ 16787 w 29959"/>
                <a:gd name="csY45" fmla="*/ 7852 h 32503"/>
                <a:gd name="csX46" fmla="*/ 14333 w 29959"/>
                <a:gd name="csY46" fmla="*/ 9919 h 32503"/>
                <a:gd name="csX47" fmla="*/ 11934 w 29959"/>
                <a:gd name="csY47" fmla="*/ 10528 h 32503"/>
                <a:gd name="csX48" fmla="*/ 10015 w 29959"/>
                <a:gd name="csY48" fmla="*/ 11912 h 32503"/>
                <a:gd name="csX49" fmla="*/ 6011 w 29959"/>
                <a:gd name="csY49" fmla="*/ 16119 h 32503"/>
                <a:gd name="csX50" fmla="*/ 21824 w 29959"/>
                <a:gd name="csY50" fmla="*/ 14882 h 32503"/>
                <a:gd name="csX51" fmla="*/ 22673 w 29959"/>
                <a:gd name="csY51" fmla="*/ 16561 h 32503"/>
                <a:gd name="csX52" fmla="*/ 21824 w 29959"/>
                <a:gd name="csY52" fmla="*/ 14882 h 32503"/>
                <a:gd name="csX53" fmla="*/ 22433 w 29959"/>
                <a:gd name="csY53" fmla="*/ 13794 h 32503"/>
                <a:gd name="csX54" fmla="*/ 24315 w 29959"/>
                <a:gd name="csY54" fmla="*/ 15454 h 32503"/>
                <a:gd name="csX55" fmla="*/ 22433 w 29959"/>
                <a:gd name="csY55" fmla="*/ 13794 h 32503"/>
                <a:gd name="csX56" fmla="*/ 22470 w 29959"/>
                <a:gd name="csY56" fmla="*/ 13720 h 32503"/>
                <a:gd name="csX57" fmla="*/ 22138 w 29959"/>
                <a:gd name="csY57" fmla="*/ 13406 h 32503"/>
                <a:gd name="csX58" fmla="*/ 22082 w 29959"/>
                <a:gd name="csY58" fmla="*/ 13480 h 32503"/>
                <a:gd name="csX59" fmla="*/ 22082 w 29959"/>
                <a:gd name="csY59" fmla="*/ 13480 h 32503"/>
                <a:gd name="csX60" fmla="*/ 22082 w 29959"/>
                <a:gd name="csY60" fmla="*/ 13480 h 32503"/>
                <a:gd name="csX61" fmla="*/ 21806 w 29959"/>
                <a:gd name="csY61" fmla="*/ 14864 h 32503"/>
                <a:gd name="csX62" fmla="*/ 22415 w 29959"/>
                <a:gd name="csY62" fmla="*/ 13794 h 32503"/>
                <a:gd name="csX63" fmla="*/ 26437 w 29959"/>
                <a:gd name="csY63" fmla="*/ 11912 h 32503"/>
                <a:gd name="csX64" fmla="*/ 26437 w 29959"/>
                <a:gd name="csY64" fmla="*/ 11912 h 32503"/>
                <a:gd name="csX65" fmla="*/ 26437 w 29959"/>
                <a:gd name="csY65" fmla="*/ 11912 h 32503"/>
                <a:gd name="csX66" fmla="*/ 18152 w 29959"/>
                <a:gd name="csY66" fmla="*/ 5601 h 32503"/>
                <a:gd name="csX67" fmla="*/ 18337 w 29959"/>
                <a:gd name="csY67" fmla="*/ 5749 h 32503"/>
                <a:gd name="csX68" fmla="*/ 18152 w 29959"/>
                <a:gd name="csY68" fmla="*/ 5601 h 325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29959" h="32503">
                  <a:moveTo>
                    <a:pt x="13668" y="32448"/>
                  </a:moveTo>
                  <a:cubicBezTo>
                    <a:pt x="11713" y="32448"/>
                    <a:pt x="8391" y="32042"/>
                    <a:pt x="5900" y="29072"/>
                  </a:cubicBezTo>
                  <a:cubicBezTo>
                    <a:pt x="3594" y="26488"/>
                    <a:pt x="70" y="19698"/>
                    <a:pt x="70" y="15805"/>
                  </a:cubicBezTo>
                  <a:cubicBezTo>
                    <a:pt x="-244" y="14440"/>
                    <a:pt x="531" y="12465"/>
                    <a:pt x="1804" y="11856"/>
                  </a:cubicBezTo>
                  <a:cubicBezTo>
                    <a:pt x="1859" y="11838"/>
                    <a:pt x="2856" y="11229"/>
                    <a:pt x="5937" y="7649"/>
                  </a:cubicBezTo>
                  <a:cubicBezTo>
                    <a:pt x="6841" y="6856"/>
                    <a:pt x="8650" y="5435"/>
                    <a:pt x="9978" y="4845"/>
                  </a:cubicBezTo>
                  <a:cubicBezTo>
                    <a:pt x="10347" y="4679"/>
                    <a:pt x="11048" y="4568"/>
                    <a:pt x="11676" y="4549"/>
                  </a:cubicBezTo>
                  <a:cubicBezTo>
                    <a:pt x="12008" y="4254"/>
                    <a:pt x="12377" y="3904"/>
                    <a:pt x="12727" y="3553"/>
                  </a:cubicBezTo>
                  <a:lnTo>
                    <a:pt x="13779" y="2594"/>
                  </a:lnTo>
                  <a:cubicBezTo>
                    <a:pt x="14646" y="2003"/>
                    <a:pt x="15089" y="1819"/>
                    <a:pt x="15532" y="1634"/>
                  </a:cubicBezTo>
                  <a:cubicBezTo>
                    <a:pt x="15606" y="1579"/>
                    <a:pt x="16141" y="1339"/>
                    <a:pt x="16233" y="1302"/>
                  </a:cubicBezTo>
                  <a:cubicBezTo>
                    <a:pt x="16695" y="878"/>
                    <a:pt x="17340" y="361"/>
                    <a:pt x="18263" y="140"/>
                  </a:cubicBezTo>
                  <a:cubicBezTo>
                    <a:pt x="19665" y="-229"/>
                    <a:pt x="21141" y="140"/>
                    <a:pt x="22156" y="1173"/>
                  </a:cubicBezTo>
                  <a:cubicBezTo>
                    <a:pt x="23540" y="2261"/>
                    <a:pt x="25127" y="3608"/>
                    <a:pt x="26677" y="4955"/>
                  </a:cubicBezTo>
                  <a:lnTo>
                    <a:pt x="28891" y="6856"/>
                  </a:lnTo>
                  <a:cubicBezTo>
                    <a:pt x="30054" y="7834"/>
                    <a:pt x="30293" y="9495"/>
                    <a:pt x="29482" y="10768"/>
                  </a:cubicBezTo>
                  <a:lnTo>
                    <a:pt x="27636" y="13665"/>
                  </a:lnTo>
                  <a:cubicBezTo>
                    <a:pt x="27729" y="13923"/>
                    <a:pt x="27802" y="14163"/>
                    <a:pt x="27802" y="14384"/>
                  </a:cubicBezTo>
                  <a:cubicBezTo>
                    <a:pt x="27858" y="15048"/>
                    <a:pt x="27692" y="15639"/>
                    <a:pt x="27489" y="16119"/>
                  </a:cubicBezTo>
                  <a:lnTo>
                    <a:pt x="27895" y="16359"/>
                  </a:lnTo>
                  <a:cubicBezTo>
                    <a:pt x="26455" y="18886"/>
                    <a:pt x="24297" y="22595"/>
                    <a:pt x="23466" y="24034"/>
                  </a:cubicBezTo>
                  <a:cubicBezTo>
                    <a:pt x="23190" y="24440"/>
                    <a:pt x="22839" y="24975"/>
                    <a:pt x="22341" y="25437"/>
                  </a:cubicBezTo>
                  <a:cubicBezTo>
                    <a:pt x="22341" y="25492"/>
                    <a:pt x="22322" y="25529"/>
                    <a:pt x="22322" y="25584"/>
                  </a:cubicBezTo>
                  <a:cubicBezTo>
                    <a:pt x="22046" y="26857"/>
                    <a:pt x="21529" y="27669"/>
                    <a:pt x="20145" y="29072"/>
                  </a:cubicBezTo>
                  <a:cubicBezTo>
                    <a:pt x="19573" y="29625"/>
                    <a:pt x="19019" y="29976"/>
                    <a:pt x="18595" y="30216"/>
                  </a:cubicBezTo>
                  <a:lnTo>
                    <a:pt x="16529" y="31821"/>
                  </a:lnTo>
                  <a:cubicBezTo>
                    <a:pt x="16049" y="32190"/>
                    <a:pt x="15458" y="32411"/>
                    <a:pt x="14868" y="32467"/>
                  </a:cubicBezTo>
                  <a:cubicBezTo>
                    <a:pt x="14591" y="32467"/>
                    <a:pt x="14185" y="32504"/>
                    <a:pt x="13705" y="32504"/>
                  </a:cubicBezTo>
                  <a:close/>
                  <a:moveTo>
                    <a:pt x="6048" y="16119"/>
                  </a:moveTo>
                  <a:cubicBezTo>
                    <a:pt x="6214" y="18056"/>
                    <a:pt x="8631" y="23167"/>
                    <a:pt x="10403" y="25160"/>
                  </a:cubicBezTo>
                  <a:cubicBezTo>
                    <a:pt x="11141" y="26027"/>
                    <a:pt x="12082" y="26433"/>
                    <a:pt x="13539" y="26452"/>
                  </a:cubicBezTo>
                  <a:lnTo>
                    <a:pt x="14554" y="25640"/>
                  </a:lnTo>
                  <a:cubicBezTo>
                    <a:pt x="14665" y="25566"/>
                    <a:pt x="15366" y="25086"/>
                    <a:pt x="15495" y="25031"/>
                  </a:cubicBezTo>
                  <a:cubicBezTo>
                    <a:pt x="16215" y="24440"/>
                    <a:pt x="16436" y="24219"/>
                    <a:pt x="16547" y="24053"/>
                  </a:cubicBezTo>
                  <a:cubicBezTo>
                    <a:pt x="16565" y="23665"/>
                    <a:pt x="16768" y="22946"/>
                    <a:pt x="17433" y="21820"/>
                  </a:cubicBezTo>
                  <a:cubicBezTo>
                    <a:pt x="17672" y="21433"/>
                    <a:pt x="17968" y="21082"/>
                    <a:pt x="18337" y="20824"/>
                  </a:cubicBezTo>
                  <a:cubicBezTo>
                    <a:pt x="19167" y="19440"/>
                    <a:pt x="20588" y="16986"/>
                    <a:pt x="21806" y="14864"/>
                  </a:cubicBezTo>
                  <a:lnTo>
                    <a:pt x="21307" y="13886"/>
                  </a:lnTo>
                  <a:cubicBezTo>
                    <a:pt x="21307" y="13517"/>
                    <a:pt x="21381" y="13148"/>
                    <a:pt x="21510" y="12797"/>
                  </a:cubicBezTo>
                  <a:cubicBezTo>
                    <a:pt x="21824" y="11856"/>
                    <a:pt x="22027" y="11266"/>
                    <a:pt x="22415" y="10583"/>
                  </a:cubicBezTo>
                  <a:lnTo>
                    <a:pt x="22987" y="9697"/>
                  </a:lnTo>
                  <a:lnTo>
                    <a:pt x="22710" y="9458"/>
                  </a:lnTo>
                  <a:cubicBezTo>
                    <a:pt x="21547" y="8461"/>
                    <a:pt x="20348" y="7446"/>
                    <a:pt x="19149" y="6450"/>
                  </a:cubicBezTo>
                  <a:cubicBezTo>
                    <a:pt x="19038" y="6524"/>
                    <a:pt x="18909" y="6598"/>
                    <a:pt x="18761" y="6653"/>
                  </a:cubicBezTo>
                  <a:cubicBezTo>
                    <a:pt x="18558" y="6801"/>
                    <a:pt x="18115" y="6985"/>
                    <a:pt x="17672" y="7170"/>
                  </a:cubicBezTo>
                  <a:lnTo>
                    <a:pt x="16787" y="7852"/>
                  </a:lnTo>
                  <a:cubicBezTo>
                    <a:pt x="16012" y="8590"/>
                    <a:pt x="15182" y="9347"/>
                    <a:pt x="14333" y="9919"/>
                  </a:cubicBezTo>
                  <a:cubicBezTo>
                    <a:pt x="13392" y="10472"/>
                    <a:pt x="12506" y="10602"/>
                    <a:pt x="11934" y="10528"/>
                  </a:cubicBezTo>
                  <a:cubicBezTo>
                    <a:pt x="11214" y="10989"/>
                    <a:pt x="10532" y="11487"/>
                    <a:pt x="10015" y="11912"/>
                  </a:cubicBezTo>
                  <a:cubicBezTo>
                    <a:pt x="8207" y="14052"/>
                    <a:pt x="6934" y="15325"/>
                    <a:pt x="6011" y="16119"/>
                  </a:cubicBezTo>
                  <a:close/>
                  <a:moveTo>
                    <a:pt x="21824" y="14882"/>
                  </a:moveTo>
                  <a:cubicBezTo>
                    <a:pt x="21879" y="15491"/>
                    <a:pt x="22138" y="16137"/>
                    <a:pt x="22673" y="16561"/>
                  </a:cubicBezTo>
                  <a:lnTo>
                    <a:pt x="21824" y="14882"/>
                  </a:lnTo>
                  <a:close/>
                  <a:moveTo>
                    <a:pt x="22433" y="13794"/>
                  </a:moveTo>
                  <a:lnTo>
                    <a:pt x="24315" y="15454"/>
                  </a:lnTo>
                  <a:lnTo>
                    <a:pt x="22433" y="13794"/>
                  </a:lnTo>
                  <a:lnTo>
                    <a:pt x="22470" y="13720"/>
                  </a:lnTo>
                  <a:lnTo>
                    <a:pt x="22138" y="13406"/>
                  </a:lnTo>
                  <a:cubicBezTo>
                    <a:pt x="22138" y="13406"/>
                    <a:pt x="22101" y="13462"/>
                    <a:pt x="22082" y="13480"/>
                  </a:cubicBezTo>
                  <a:lnTo>
                    <a:pt x="22082" y="13480"/>
                  </a:lnTo>
                  <a:cubicBezTo>
                    <a:pt x="22082" y="13480"/>
                    <a:pt x="22082" y="13480"/>
                    <a:pt x="22082" y="13480"/>
                  </a:cubicBezTo>
                  <a:cubicBezTo>
                    <a:pt x="21861" y="13812"/>
                    <a:pt x="21750" y="14329"/>
                    <a:pt x="21806" y="14864"/>
                  </a:cubicBezTo>
                  <a:cubicBezTo>
                    <a:pt x="22027" y="14495"/>
                    <a:pt x="22230" y="14126"/>
                    <a:pt x="22415" y="13794"/>
                  </a:cubicBezTo>
                  <a:close/>
                  <a:moveTo>
                    <a:pt x="26437" y="11912"/>
                  </a:moveTo>
                  <a:lnTo>
                    <a:pt x="26437" y="11912"/>
                  </a:lnTo>
                  <a:cubicBezTo>
                    <a:pt x="26437" y="11912"/>
                    <a:pt x="26437" y="11912"/>
                    <a:pt x="26437" y="11912"/>
                  </a:cubicBezTo>
                  <a:close/>
                  <a:moveTo>
                    <a:pt x="18152" y="5601"/>
                  </a:moveTo>
                  <a:cubicBezTo>
                    <a:pt x="18152" y="5601"/>
                    <a:pt x="18263" y="5712"/>
                    <a:pt x="18337" y="5749"/>
                  </a:cubicBezTo>
                  <a:cubicBezTo>
                    <a:pt x="18263" y="5693"/>
                    <a:pt x="18208" y="5657"/>
                    <a:pt x="18152" y="5601"/>
                  </a:cubicBezTo>
                  <a:close/>
                </a:path>
              </a:pathLst>
            </a:custGeom>
            <a:solidFill>
              <a:srgbClr val="FFFFFF"/>
            </a:solidFill>
            <a:ln w="1835" cap="flat">
              <a:noFill/>
              <a:prstDash val="solid"/>
              <a:miter/>
            </a:ln>
          </p:spPr>
          <p:txBody>
            <a:bodyPr/>
            <a:lstStyle/>
            <a:p>
              <a:endParaRPr lang="en-GB"/>
            </a:p>
          </p:txBody>
        </p:sp>
        <p:sp>
          <p:nvSpPr>
            <p:cNvPr id="1550" name="Freeform: Shape 1549">
              <a:extLst>
                <a:ext uri="{FF2B5EF4-FFF2-40B4-BE49-F238E27FC236}">
                  <a16:creationId xmlns:a16="http://schemas.microsoft.com/office/drawing/2014/main" id="{F9245189-D026-C178-6A34-605C47ED8DA2}"/>
                </a:ext>
              </a:extLst>
            </p:cNvPr>
            <p:cNvSpPr/>
            <p:nvPr/>
          </p:nvSpPr>
          <p:spPr>
            <a:xfrm>
              <a:off x="11046157" y="4862557"/>
              <a:ext cx="13496" cy="19577"/>
            </a:xfrm>
            <a:custGeom>
              <a:avLst/>
              <a:gdLst>
                <a:gd name="csX0" fmla="*/ 2629 w 13496"/>
                <a:gd name="csY0" fmla="*/ 19577 h 19577"/>
                <a:gd name="csX1" fmla="*/ 489 w 13496"/>
                <a:gd name="csY1" fmla="*/ 17547 h 19577"/>
                <a:gd name="csX2" fmla="*/ 9 w 13496"/>
                <a:gd name="csY2" fmla="*/ 2509 h 19577"/>
                <a:gd name="csX3" fmla="*/ 2039 w 13496"/>
                <a:gd name="csY3" fmla="*/ 240 h 19577"/>
                <a:gd name="csX4" fmla="*/ 10748 w 13496"/>
                <a:gd name="csY4" fmla="*/ 0 h 19577"/>
                <a:gd name="csX5" fmla="*/ 13017 w 13496"/>
                <a:gd name="csY5" fmla="*/ 2030 h 19577"/>
                <a:gd name="csX6" fmla="*/ 13497 w 13496"/>
                <a:gd name="csY6" fmla="*/ 17068 h 19577"/>
                <a:gd name="csX7" fmla="*/ 11357 w 13496"/>
                <a:gd name="csY7" fmla="*/ 19337 h 19577"/>
                <a:gd name="csX8" fmla="*/ 2647 w 13496"/>
                <a:gd name="csY8" fmla="*/ 19577 h 195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96" h="19577">
                  <a:moveTo>
                    <a:pt x="2629" y="19577"/>
                  </a:moveTo>
                  <a:cubicBezTo>
                    <a:pt x="1430" y="19577"/>
                    <a:pt x="489" y="18747"/>
                    <a:pt x="489" y="17547"/>
                  </a:cubicBezTo>
                  <a:lnTo>
                    <a:pt x="9" y="2509"/>
                  </a:lnTo>
                  <a:cubicBezTo>
                    <a:pt x="-102" y="1310"/>
                    <a:pt x="839" y="351"/>
                    <a:pt x="2039" y="240"/>
                  </a:cubicBezTo>
                  <a:lnTo>
                    <a:pt x="10748" y="0"/>
                  </a:lnTo>
                  <a:cubicBezTo>
                    <a:pt x="11947" y="0"/>
                    <a:pt x="12888" y="830"/>
                    <a:pt x="13017" y="2030"/>
                  </a:cubicBezTo>
                  <a:lnTo>
                    <a:pt x="13497" y="17068"/>
                  </a:lnTo>
                  <a:cubicBezTo>
                    <a:pt x="13497" y="18267"/>
                    <a:pt x="12538" y="19227"/>
                    <a:pt x="11357" y="19337"/>
                  </a:cubicBezTo>
                  <a:lnTo>
                    <a:pt x="2647" y="19577"/>
                  </a:lnTo>
                  <a:close/>
                </a:path>
              </a:pathLst>
            </a:custGeom>
            <a:solidFill>
              <a:srgbClr val="FFFFFF"/>
            </a:solidFill>
            <a:ln w="1835" cap="flat">
              <a:noFill/>
              <a:prstDash val="solid"/>
              <a:miter/>
            </a:ln>
          </p:spPr>
          <p:txBody>
            <a:bodyPr/>
            <a:lstStyle/>
            <a:p>
              <a:endParaRPr lang="en-GB"/>
            </a:p>
          </p:txBody>
        </p:sp>
        <p:sp>
          <p:nvSpPr>
            <p:cNvPr id="1551" name="Freeform: Shape 1550">
              <a:extLst>
                <a:ext uri="{FF2B5EF4-FFF2-40B4-BE49-F238E27FC236}">
                  <a16:creationId xmlns:a16="http://schemas.microsoft.com/office/drawing/2014/main" id="{C98D8EC1-269B-E952-C06C-39C333537A5F}"/>
                </a:ext>
              </a:extLst>
            </p:cNvPr>
            <p:cNvSpPr/>
            <p:nvPr/>
          </p:nvSpPr>
          <p:spPr>
            <a:xfrm>
              <a:off x="11043154" y="4859586"/>
              <a:ext cx="19506" cy="25537"/>
            </a:xfrm>
            <a:custGeom>
              <a:avLst/>
              <a:gdLst>
                <a:gd name="csX0" fmla="*/ 5631 w 19506"/>
                <a:gd name="csY0" fmla="*/ 25537 h 25537"/>
                <a:gd name="csX1" fmla="*/ 502 w 19506"/>
                <a:gd name="csY1" fmla="*/ 20518 h 25537"/>
                <a:gd name="csX2" fmla="*/ 22 w 19506"/>
                <a:gd name="csY2" fmla="*/ 5572 h 25537"/>
                <a:gd name="csX3" fmla="*/ 4727 w 19506"/>
                <a:gd name="csY3" fmla="*/ 240 h 25537"/>
                <a:gd name="csX4" fmla="*/ 13676 w 19506"/>
                <a:gd name="csY4" fmla="*/ 0 h 25537"/>
                <a:gd name="csX5" fmla="*/ 19009 w 19506"/>
                <a:gd name="csY5" fmla="*/ 4724 h 25537"/>
                <a:gd name="csX6" fmla="*/ 19507 w 19506"/>
                <a:gd name="csY6" fmla="*/ 19965 h 25537"/>
                <a:gd name="csX7" fmla="*/ 14673 w 19506"/>
                <a:gd name="csY7" fmla="*/ 25297 h 25537"/>
                <a:gd name="csX8" fmla="*/ 5742 w 19506"/>
                <a:gd name="csY8" fmla="*/ 25537 h 25537"/>
                <a:gd name="csX9" fmla="*/ 5668 w 19506"/>
                <a:gd name="csY9" fmla="*/ 25537 h 25537"/>
                <a:gd name="csX10" fmla="*/ 6462 w 19506"/>
                <a:gd name="csY10" fmla="*/ 20389 h 25537"/>
                <a:gd name="csX11" fmla="*/ 6462 w 19506"/>
                <a:gd name="csY11" fmla="*/ 20444 h 25537"/>
                <a:gd name="csX12" fmla="*/ 6462 w 19506"/>
                <a:gd name="csY12" fmla="*/ 20389 h 25537"/>
                <a:gd name="csX13" fmla="*/ 6000 w 19506"/>
                <a:gd name="csY13" fmla="*/ 6163 h 25537"/>
                <a:gd name="csX14" fmla="*/ 6425 w 19506"/>
                <a:gd name="csY14" fmla="*/ 19540 h 25537"/>
                <a:gd name="csX15" fmla="*/ 13473 w 19506"/>
                <a:gd name="csY15" fmla="*/ 19356 h 25537"/>
                <a:gd name="csX16" fmla="*/ 13049 w 19506"/>
                <a:gd name="csY16" fmla="*/ 5978 h 25537"/>
                <a:gd name="csX17" fmla="*/ 5982 w 19506"/>
                <a:gd name="csY17" fmla="*/ 6163 h 25537"/>
                <a:gd name="csX18" fmla="*/ 5982 w 19506"/>
                <a:gd name="csY18" fmla="*/ 5185 h 25537"/>
                <a:gd name="csX19" fmla="*/ 5982 w 19506"/>
                <a:gd name="csY19" fmla="*/ 5314 h 25537"/>
                <a:gd name="csX20" fmla="*/ 5982 w 19506"/>
                <a:gd name="csY20" fmla="*/ 5185 h 255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9506" h="25537">
                  <a:moveTo>
                    <a:pt x="5631" y="25537"/>
                  </a:moveTo>
                  <a:cubicBezTo>
                    <a:pt x="2753" y="25537"/>
                    <a:pt x="502" y="23341"/>
                    <a:pt x="502" y="20518"/>
                  </a:cubicBezTo>
                  <a:lnTo>
                    <a:pt x="22" y="5572"/>
                  </a:lnTo>
                  <a:cubicBezTo>
                    <a:pt x="-236" y="2971"/>
                    <a:pt x="1812" y="554"/>
                    <a:pt x="4727" y="240"/>
                  </a:cubicBezTo>
                  <a:lnTo>
                    <a:pt x="13676" y="0"/>
                  </a:lnTo>
                  <a:cubicBezTo>
                    <a:pt x="16481" y="0"/>
                    <a:pt x="18732" y="2030"/>
                    <a:pt x="19009" y="4724"/>
                  </a:cubicBezTo>
                  <a:lnTo>
                    <a:pt x="19507" y="19965"/>
                  </a:lnTo>
                  <a:cubicBezTo>
                    <a:pt x="19507" y="22769"/>
                    <a:pt x="17422" y="25039"/>
                    <a:pt x="14673" y="25297"/>
                  </a:cubicBezTo>
                  <a:lnTo>
                    <a:pt x="5742" y="25537"/>
                  </a:lnTo>
                  <a:lnTo>
                    <a:pt x="5668" y="25537"/>
                  </a:lnTo>
                  <a:close/>
                  <a:moveTo>
                    <a:pt x="6462" y="20389"/>
                  </a:moveTo>
                  <a:lnTo>
                    <a:pt x="6462" y="20444"/>
                  </a:lnTo>
                  <a:lnTo>
                    <a:pt x="6462" y="20389"/>
                  </a:lnTo>
                  <a:close/>
                  <a:moveTo>
                    <a:pt x="6000" y="6163"/>
                  </a:moveTo>
                  <a:lnTo>
                    <a:pt x="6425" y="19540"/>
                  </a:lnTo>
                  <a:lnTo>
                    <a:pt x="13473" y="19356"/>
                  </a:lnTo>
                  <a:lnTo>
                    <a:pt x="13049" y="5978"/>
                  </a:lnTo>
                  <a:lnTo>
                    <a:pt x="5982" y="6163"/>
                  </a:lnTo>
                  <a:close/>
                  <a:moveTo>
                    <a:pt x="5982" y="5185"/>
                  </a:moveTo>
                  <a:lnTo>
                    <a:pt x="5982" y="5314"/>
                  </a:lnTo>
                  <a:lnTo>
                    <a:pt x="5982" y="5185"/>
                  </a:lnTo>
                  <a:close/>
                </a:path>
              </a:pathLst>
            </a:custGeom>
            <a:solidFill>
              <a:srgbClr val="FFFFFF"/>
            </a:solidFill>
            <a:ln w="1835" cap="flat">
              <a:noFill/>
              <a:prstDash val="solid"/>
              <a:miter/>
            </a:ln>
          </p:spPr>
          <p:txBody>
            <a:bodyPr/>
            <a:lstStyle/>
            <a:p>
              <a:endParaRPr lang="en-GB"/>
            </a:p>
          </p:txBody>
        </p:sp>
        <p:sp>
          <p:nvSpPr>
            <p:cNvPr id="1552" name="Freeform: Shape 1551">
              <a:extLst>
                <a:ext uri="{FF2B5EF4-FFF2-40B4-BE49-F238E27FC236}">
                  <a16:creationId xmlns:a16="http://schemas.microsoft.com/office/drawing/2014/main" id="{446E019E-609A-4590-D425-AEF29E810F1B}"/>
                </a:ext>
              </a:extLst>
            </p:cNvPr>
            <p:cNvSpPr/>
            <p:nvPr/>
          </p:nvSpPr>
          <p:spPr>
            <a:xfrm>
              <a:off x="10901173" y="4949409"/>
              <a:ext cx="13488" cy="19669"/>
            </a:xfrm>
            <a:custGeom>
              <a:avLst/>
              <a:gdLst>
                <a:gd name="csX0" fmla="*/ 2749 w 13488"/>
                <a:gd name="csY0" fmla="*/ 19669 h 19669"/>
                <a:gd name="csX1" fmla="*/ 480 w 13488"/>
                <a:gd name="csY1" fmla="*/ 17529 h 19669"/>
                <a:gd name="csX2" fmla="*/ 0 w 13488"/>
                <a:gd name="csY2" fmla="*/ 2491 h 19669"/>
                <a:gd name="csX3" fmla="*/ 2030 w 13488"/>
                <a:gd name="csY3" fmla="*/ 351 h 19669"/>
                <a:gd name="csX4" fmla="*/ 10739 w 13488"/>
                <a:gd name="csY4" fmla="*/ 0 h 19669"/>
                <a:gd name="csX5" fmla="*/ 13008 w 13488"/>
                <a:gd name="csY5" fmla="*/ 2140 h 19669"/>
                <a:gd name="csX6" fmla="*/ 13488 w 13488"/>
                <a:gd name="csY6" fmla="*/ 17178 h 19669"/>
                <a:gd name="csX7" fmla="*/ 11348 w 13488"/>
                <a:gd name="csY7" fmla="*/ 19319 h 19669"/>
                <a:gd name="csX8" fmla="*/ 2749 w 13488"/>
                <a:gd name="csY8" fmla="*/ 19669 h 196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88" h="19669">
                  <a:moveTo>
                    <a:pt x="2749" y="19669"/>
                  </a:moveTo>
                  <a:cubicBezTo>
                    <a:pt x="1550" y="19669"/>
                    <a:pt x="480" y="18710"/>
                    <a:pt x="480" y="17529"/>
                  </a:cubicBezTo>
                  <a:lnTo>
                    <a:pt x="0" y="2491"/>
                  </a:lnTo>
                  <a:cubicBezTo>
                    <a:pt x="0" y="1292"/>
                    <a:pt x="830" y="351"/>
                    <a:pt x="2030" y="351"/>
                  </a:cubicBezTo>
                  <a:lnTo>
                    <a:pt x="10739" y="0"/>
                  </a:lnTo>
                  <a:cubicBezTo>
                    <a:pt x="11938" y="0"/>
                    <a:pt x="12879" y="959"/>
                    <a:pt x="13008" y="2140"/>
                  </a:cubicBezTo>
                  <a:lnTo>
                    <a:pt x="13488" y="17178"/>
                  </a:lnTo>
                  <a:cubicBezTo>
                    <a:pt x="13488" y="18378"/>
                    <a:pt x="12529" y="19319"/>
                    <a:pt x="11348" y="19319"/>
                  </a:cubicBezTo>
                  <a:lnTo>
                    <a:pt x="2749" y="19669"/>
                  </a:lnTo>
                  <a:close/>
                </a:path>
              </a:pathLst>
            </a:custGeom>
            <a:solidFill>
              <a:srgbClr val="FFFFFF"/>
            </a:solidFill>
            <a:ln w="1835" cap="flat">
              <a:noFill/>
              <a:prstDash val="solid"/>
              <a:miter/>
            </a:ln>
          </p:spPr>
          <p:txBody>
            <a:bodyPr/>
            <a:lstStyle/>
            <a:p>
              <a:endParaRPr lang="en-GB"/>
            </a:p>
          </p:txBody>
        </p:sp>
        <p:sp>
          <p:nvSpPr>
            <p:cNvPr id="1553" name="Freeform: Shape 1552">
              <a:extLst>
                <a:ext uri="{FF2B5EF4-FFF2-40B4-BE49-F238E27FC236}">
                  <a16:creationId xmlns:a16="http://schemas.microsoft.com/office/drawing/2014/main" id="{BB3010BA-BC70-6476-5628-DCA78075743D}"/>
                </a:ext>
              </a:extLst>
            </p:cNvPr>
            <p:cNvSpPr/>
            <p:nvPr/>
          </p:nvSpPr>
          <p:spPr>
            <a:xfrm>
              <a:off x="10898184" y="4946382"/>
              <a:ext cx="19484" cy="25684"/>
            </a:xfrm>
            <a:custGeom>
              <a:avLst/>
              <a:gdLst>
                <a:gd name="csX0" fmla="*/ 5738 w 19484"/>
                <a:gd name="csY0" fmla="*/ 25685 h 25684"/>
                <a:gd name="csX1" fmla="*/ 480 w 19484"/>
                <a:gd name="csY1" fmla="*/ 20555 h 25684"/>
                <a:gd name="csX2" fmla="*/ 0 w 19484"/>
                <a:gd name="csY2" fmla="*/ 5609 h 25684"/>
                <a:gd name="csX3" fmla="*/ 5019 w 19484"/>
                <a:gd name="csY3" fmla="*/ 369 h 25684"/>
                <a:gd name="csX4" fmla="*/ 13617 w 19484"/>
                <a:gd name="csY4" fmla="*/ 0 h 25684"/>
                <a:gd name="csX5" fmla="*/ 13617 w 19484"/>
                <a:gd name="csY5" fmla="*/ 0 h 25684"/>
                <a:gd name="csX6" fmla="*/ 18987 w 19484"/>
                <a:gd name="csY6" fmla="*/ 4834 h 25684"/>
                <a:gd name="csX7" fmla="*/ 19485 w 19484"/>
                <a:gd name="csY7" fmla="*/ 20094 h 25684"/>
                <a:gd name="csX8" fmla="*/ 14337 w 19484"/>
                <a:gd name="csY8" fmla="*/ 25316 h 25684"/>
                <a:gd name="csX9" fmla="*/ 5868 w 19484"/>
                <a:gd name="csY9" fmla="*/ 25685 h 25684"/>
                <a:gd name="csX10" fmla="*/ 5738 w 19484"/>
                <a:gd name="csY10" fmla="*/ 25685 h 25684"/>
                <a:gd name="csX11" fmla="*/ 6458 w 19484"/>
                <a:gd name="csY11" fmla="*/ 20426 h 25684"/>
                <a:gd name="csX12" fmla="*/ 6458 w 19484"/>
                <a:gd name="csY12" fmla="*/ 20463 h 25684"/>
                <a:gd name="csX13" fmla="*/ 6458 w 19484"/>
                <a:gd name="csY13" fmla="*/ 20426 h 25684"/>
                <a:gd name="csX14" fmla="*/ 5997 w 19484"/>
                <a:gd name="csY14" fmla="*/ 6292 h 25684"/>
                <a:gd name="csX15" fmla="*/ 6421 w 19484"/>
                <a:gd name="csY15" fmla="*/ 19669 h 25684"/>
                <a:gd name="csX16" fmla="*/ 13470 w 19484"/>
                <a:gd name="csY16" fmla="*/ 19374 h 25684"/>
                <a:gd name="csX17" fmla="*/ 13045 w 19484"/>
                <a:gd name="csY17" fmla="*/ 5978 h 25684"/>
                <a:gd name="csX18" fmla="*/ 5997 w 19484"/>
                <a:gd name="csY18" fmla="*/ 6274 h 25684"/>
                <a:gd name="csX19" fmla="*/ 14208 w 19484"/>
                <a:gd name="csY19" fmla="*/ 19356 h 25684"/>
                <a:gd name="csX20" fmla="*/ 14171 w 19484"/>
                <a:gd name="csY20" fmla="*/ 19356 h 25684"/>
                <a:gd name="csX21" fmla="*/ 14208 w 19484"/>
                <a:gd name="csY21" fmla="*/ 19356 h 25684"/>
                <a:gd name="csX22" fmla="*/ 5203 w 19484"/>
                <a:gd name="csY22" fmla="*/ 6329 h 25684"/>
                <a:gd name="csX23" fmla="*/ 5148 w 19484"/>
                <a:gd name="csY23" fmla="*/ 6329 h 25684"/>
                <a:gd name="csX24" fmla="*/ 5203 w 19484"/>
                <a:gd name="csY24" fmla="*/ 6329 h 2568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9484" h="25684">
                  <a:moveTo>
                    <a:pt x="5738" y="25685"/>
                  </a:moveTo>
                  <a:cubicBezTo>
                    <a:pt x="2842" y="25685"/>
                    <a:pt x="480" y="23378"/>
                    <a:pt x="480" y="20555"/>
                  </a:cubicBezTo>
                  <a:lnTo>
                    <a:pt x="0" y="5609"/>
                  </a:lnTo>
                  <a:cubicBezTo>
                    <a:pt x="0" y="2639"/>
                    <a:pt x="2196" y="369"/>
                    <a:pt x="5019" y="369"/>
                  </a:cubicBezTo>
                  <a:lnTo>
                    <a:pt x="13617" y="0"/>
                  </a:lnTo>
                  <a:lnTo>
                    <a:pt x="13617" y="0"/>
                  </a:lnTo>
                  <a:cubicBezTo>
                    <a:pt x="16422" y="0"/>
                    <a:pt x="18673" y="2085"/>
                    <a:pt x="18987" y="4834"/>
                  </a:cubicBezTo>
                  <a:lnTo>
                    <a:pt x="19485" y="20094"/>
                  </a:lnTo>
                  <a:cubicBezTo>
                    <a:pt x="19485" y="23028"/>
                    <a:pt x="17178" y="25316"/>
                    <a:pt x="14337" y="25316"/>
                  </a:cubicBezTo>
                  <a:lnTo>
                    <a:pt x="5868" y="25685"/>
                  </a:lnTo>
                  <a:lnTo>
                    <a:pt x="5738" y="25685"/>
                  </a:lnTo>
                  <a:close/>
                  <a:moveTo>
                    <a:pt x="6458" y="20426"/>
                  </a:moveTo>
                  <a:lnTo>
                    <a:pt x="6458" y="20463"/>
                  </a:lnTo>
                  <a:lnTo>
                    <a:pt x="6458" y="20426"/>
                  </a:lnTo>
                  <a:close/>
                  <a:moveTo>
                    <a:pt x="5997" y="6292"/>
                  </a:moveTo>
                  <a:lnTo>
                    <a:pt x="6421" y="19669"/>
                  </a:lnTo>
                  <a:lnTo>
                    <a:pt x="13470" y="19374"/>
                  </a:lnTo>
                  <a:lnTo>
                    <a:pt x="13045" y="5978"/>
                  </a:lnTo>
                  <a:lnTo>
                    <a:pt x="5997" y="6274"/>
                  </a:lnTo>
                  <a:close/>
                  <a:moveTo>
                    <a:pt x="14208" y="19356"/>
                  </a:moveTo>
                  <a:lnTo>
                    <a:pt x="14171" y="19356"/>
                  </a:lnTo>
                  <a:lnTo>
                    <a:pt x="14208" y="19356"/>
                  </a:lnTo>
                  <a:close/>
                  <a:moveTo>
                    <a:pt x="5203" y="6329"/>
                  </a:moveTo>
                  <a:lnTo>
                    <a:pt x="5148" y="6329"/>
                  </a:lnTo>
                  <a:lnTo>
                    <a:pt x="5203" y="6329"/>
                  </a:lnTo>
                  <a:close/>
                </a:path>
              </a:pathLst>
            </a:custGeom>
            <a:solidFill>
              <a:srgbClr val="FFFFFF"/>
            </a:solidFill>
            <a:ln w="1835" cap="flat">
              <a:noFill/>
              <a:prstDash val="solid"/>
              <a:miter/>
            </a:ln>
          </p:spPr>
          <p:txBody>
            <a:bodyPr/>
            <a:lstStyle/>
            <a:p>
              <a:endParaRPr lang="en-GB"/>
            </a:p>
          </p:txBody>
        </p:sp>
        <p:sp>
          <p:nvSpPr>
            <p:cNvPr id="1554" name="Freeform: Shape 1553">
              <a:extLst>
                <a:ext uri="{FF2B5EF4-FFF2-40B4-BE49-F238E27FC236}">
                  <a16:creationId xmlns:a16="http://schemas.microsoft.com/office/drawing/2014/main" id="{D7E23558-2E87-CF09-0D9E-A27672E56592}"/>
                </a:ext>
              </a:extLst>
            </p:cNvPr>
            <p:cNvSpPr/>
            <p:nvPr/>
          </p:nvSpPr>
          <p:spPr>
            <a:xfrm>
              <a:off x="10928887" y="4839511"/>
              <a:ext cx="13488" cy="19586"/>
            </a:xfrm>
            <a:custGeom>
              <a:avLst/>
              <a:gdLst>
                <a:gd name="csX0" fmla="*/ 2749 w 13488"/>
                <a:gd name="csY0" fmla="*/ 19577 h 19586"/>
                <a:gd name="csX1" fmla="*/ 480 w 13488"/>
                <a:gd name="csY1" fmla="*/ 17547 h 19586"/>
                <a:gd name="csX2" fmla="*/ 0 w 13488"/>
                <a:gd name="csY2" fmla="*/ 2509 h 19586"/>
                <a:gd name="csX3" fmla="*/ 2140 w 13488"/>
                <a:gd name="csY3" fmla="*/ 240 h 19586"/>
                <a:gd name="csX4" fmla="*/ 10739 w 13488"/>
                <a:gd name="csY4" fmla="*/ 0 h 19586"/>
                <a:gd name="csX5" fmla="*/ 13008 w 13488"/>
                <a:gd name="csY5" fmla="*/ 2140 h 19586"/>
                <a:gd name="csX6" fmla="*/ 13488 w 13488"/>
                <a:gd name="csY6" fmla="*/ 17068 h 19586"/>
                <a:gd name="csX7" fmla="*/ 11348 w 13488"/>
                <a:gd name="csY7" fmla="*/ 19337 h 19586"/>
                <a:gd name="csX8" fmla="*/ 2749 w 13488"/>
                <a:gd name="csY8" fmla="*/ 19577 h 19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88" h="19586">
                  <a:moveTo>
                    <a:pt x="2749" y="19577"/>
                  </a:moveTo>
                  <a:cubicBezTo>
                    <a:pt x="1550" y="19688"/>
                    <a:pt x="480" y="18747"/>
                    <a:pt x="480" y="17547"/>
                  </a:cubicBezTo>
                  <a:lnTo>
                    <a:pt x="0" y="2509"/>
                  </a:lnTo>
                  <a:cubicBezTo>
                    <a:pt x="0" y="1310"/>
                    <a:pt x="959" y="369"/>
                    <a:pt x="2140" y="240"/>
                  </a:cubicBezTo>
                  <a:lnTo>
                    <a:pt x="10739" y="0"/>
                  </a:lnTo>
                  <a:cubicBezTo>
                    <a:pt x="11938" y="0"/>
                    <a:pt x="13008" y="959"/>
                    <a:pt x="13008" y="2140"/>
                  </a:cubicBezTo>
                  <a:lnTo>
                    <a:pt x="13488" y="17068"/>
                  </a:lnTo>
                  <a:cubicBezTo>
                    <a:pt x="13488" y="18267"/>
                    <a:pt x="12658" y="19337"/>
                    <a:pt x="11348" y="19337"/>
                  </a:cubicBezTo>
                  <a:lnTo>
                    <a:pt x="2749" y="19577"/>
                  </a:lnTo>
                  <a:close/>
                </a:path>
              </a:pathLst>
            </a:custGeom>
            <a:solidFill>
              <a:srgbClr val="FFFFFF"/>
            </a:solidFill>
            <a:ln w="1835" cap="flat">
              <a:noFill/>
              <a:prstDash val="solid"/>
              <a:miter/>
            </a:ln>
          </p:spPr>
          <p:txBody>
            <a:bodyPr/>
            <a:lstStyle/>
            <a:p>
              <a:endParaRPr lang="en-GB"/>
            </a:p>
          </p:txBody>
        </p:sp>
        <p:sp>
          <p:nvSpPr>
            <p:cNvPr id="1555" name="Freeform: Shape 1554">
              <a:extLst>
                <a:ext uri="{FF2B5EF4-FFF2-40B4-BE49-F238E27FC236}">
                  <a16:creationId xmlns:a16="http://schemas.microsoft.com/office/drawing/2014/main" id="{619D6C95-F994-1957-718B-16ACDD423667}"/>
                </a:ext>
              </a:extLst>
            </p:cNvPr>
            <p:cNvSpPr/>
            <p:nvPr/>
          </p:nvSpPr>
          <p:spPr>
            <a:xfrm>
              <a:off x="10925880" y="4836558"/>
              <a:ext cx="19466" cy="25555"/>
            </a:xfrm>
            <a:custGeom>
              <a:avLst/>
              <a:gdLst>
                <a:gd name="csX0" fmla="*/ 5554 w 19466"/>
                <a:gd name="csY0" fmla="*/ 25537 h 25555"/>
                <a:gd name="csX1" fmla="*/ 2140 w 19466"/>
                <a:gd name="csY1" fmla="*/ 24227 h 25555"/>
                <a:gd name="csX2" fmla="*/ 480 w 19466"/>
                <a:gd name="csY2" fmla="*/ 20518 h 25555"/>
                <a:gd name="csX3" fmla="*/ 0 w 19466"/>
                <a:gd name="csY3" fmla="*/ 5572 h 25555"/>
                <a:gd name="csX4" fmla="*/ 4834 w 19466"/>
                <a:gd name="csY4" fmla="*/ 240 h 25555"/>
                <a:gd name="csX5" fmla="*/ 13654 w 19466"/>
                <a:gd name="csY5" fmla="*/ 0 h 25555"/>
                <a:gd name="csX6" fmla="*/ 18987 w 19466"/>
                <a:gd name="csY6" fmla="*/ 5130 h 25555"/>
                <a:gd name="csX7" fmla="*/ 19466 w 19466"/>
                <a:gd name="csY7" fmla="*/ 19965 h 25555"/>
                <a:gd name="csX8" fmla="*/ 14337 w 19466"/>
                <a:gd name="csY8" fmla="*/ 25316 h 25555"/>
                <a:gd name="csX9" fmla="*/ 5905 w 19466"/>
                <a:gd name="csY9" fmla="*/ 25555 h 25555"/>
                <a:gd name="csX10" fmla="*/ 5535 w 19466"/>
                <a:gd name="csY10" fmla="*/ 25555 h 25555"/>
                <a:gd name="csX11" fmla="*/ 6477 w 19466"/>
                <a:gd name="csY11" fmla="*/ 20371 h 25555"/>
                <a:gd name="csX12" fmla="*/ 6477 w 19466"/>
                <a:gd name="csY12" fmla="*/ 20407 h 25555"/>
                <a:gd name="csX13" fmla="*/ 6477 w 19466"/>
                <a:gd name="csY13" fmla="*/ 20371 h 25555"/>
                <a:gd name="csX14" fmla="*/ 6015 w 19466"/>
                <a:gd name="csY14" fmla="*/ 6144 h 25555"/>
                <a:gd name="csX15" fmla="*/ 6440 w 19466"/>
                <a:gd name="csY15" fmla="*/ 19522 h 25555"/>
                <a:gd name="csX16" fmla="*/ 13488 w 19466"/>
                <a:gd name="csY16" fmla="*/ 19337 h 25555"/>
                <a:gd name="csX17" fmla="*/ 13064 w 19466"/>
                <a:gd name="csY17" fmla="*/ 5960 h 25555"/>
                <a:gd name="csX18" fmla="*/ 6015 w 19466"/>
                <a:gd name="csY18" fmla="*/ 6144 h 25555"/>
                <a:gd name="csX19" fmla="*/ 14263 w 19466"/>
                <a:gd name="csY19" fmla="*/ 19319 h 25555"/>
                <a:gd name="csX20" fmla="*/ 14245 w 19466"/>
                <a:gd name="csY20" fmla="*/ 19319 h 25555"/>
                <a:gd name="csX21" fmla="*/ 14263 w 19466"/>
                <a:gd name="csY21" fmla="*/ 19319 h 25555"/>
                <a:gd name="csX22" fmla="*/ 13027 w 19466"/>
                <a:gd name="csY22" fmla="*/ 5203 h 25555"/>
                <a:gd name="csX23" fmla="*/ 13027 w 19466"/>
                <a:gd name="csY23" fmla="*/ 5240 h 25555"/>
                <a:gd name="csX24" fmla="*/ 13027 w 19466"/>
                <a:gd name="csY24" fmla="*/ 5203 h 255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9466" h="25555">
                  <a:moveTo>
                    <a:pt x="5554" y="25537"/>
                  </a:moveTo>
                  <a:cubicBezTo>
                    <a:pt x="4299" y="25537"/>
                    <a:pt x="3081" y="25076"/>
                    <a:pt x="2140" y="24227"/>
                  </a:cubicBezTo>
                  <a:cubicBezTo>
                    <a:pt x="1089" y="23267"/>
                    <a:pt x="480" y="21921"/>
                    <a:pt x="480" y="20518"/>
                  </a:cubicBezTo>
                  <a:lnTo>
                    <a:pt x="0" y="5572"/>
                  </a:lnTo>
                  <a:cubicBezTo>
                    <a:pt x="0" y="2768"/>
                    <a:pt x="2085" y="498"/>
                    <a:pt x="4834" y="240"/>
                  </a:cubicBezTo>
                  <a:lnTo>
                    <a:pt x="13654" y="0"/>
                  </a:lnTo>
                  <a:cubicBezTo>
                    <a:pt x="16625" y="0"/>
                    <a:pt x="18987" y="2306"/>
                    <a:pt x="18987" y="5130"/>
                  </a:cubicBezTo>
                  <a:lnTo>
                    <a:pt x="19466" y="19965"/>
                  </a:lnTo>
                  <a:cubicBezTo>
                    <a:pt x="19466" y="23009"/>
                    <a:pt x="17215" y="25316"/>
                    <a:pt x="14337" y="25316"/>
                  </a:cubicBezTo>
                  <a:lnTo>
                    <a:pt x="5905" y="25555"/>
                  </a:lnTo>
                  <a:cubicBezTo>
                    <a:pt x="5794" y="25555"/>
                    <a:pt x="5665" y="25555"/>
                    <a:pt x="5535" y="25555"/>
                  </a:cubicBezTo>
                  <a:close/>
                  <a:moveTo>
                    <a:pt x="6477" y="20371"/>
                  </a:moveTo>
                  <a:lnTo>
                    <a:pt x="6477" y="20407"/>
                  </a:lnTo>
                  <a:lnTo>
                    <a:pt x="6477" y="20371"/>
                  </a:lnTo>
                  <a:close/>
                  <a:moveTo>
                    <a:pt x="6015" y="6144"/>
                  </a:moveTo>
                  <a:lnTo>
                    <a:pt x="6440" y="19522"/>
                  </a:lnTo>
                  <a:lnTo>
                    <a:pt x="13488" y="19337"/>
                  </a:lnTo>
                  <a:lnTo>
                    <a:pt x="13064" y="5960"/>
                  </a:lnTo>
                  <a:lnTo>
                    <a:pt x="6015" y="6144"/>
                  </a:lnTo>
                  <a:close/>
                  <a:moveTo>
                    <a:pt x="14263" y="19319"/>
                  </a:moveTo>
                  <a:lnTo>
                    <a:pt x="14245" y="19319"/>
                  </a:lnTo>
                  <a:lnTo>
                    <a:pt x="14263" y="19319"/>
                  </a:lnTo>
                  <a:close/>
                  <a:moveTo>
                    <a:pt x="13027" y="5203"/>
                  </a:moveTo>
                  <a:lnTo>
                    <a:pt x="13027" y="5240"/>
                  </a:lnTo>
                  <a:lnTo>
                    <a:pt x="13027" y="5203"/>
                  </a:lnTo>
                  <a:close/>
                </a:path>
              </a:pathLst>
            </a:custGeom>
            <a:solidFill>
              <a:srgbClr val="FFFFFF"/>
            </a:solidFill>
            <a:ln w="1835" cap="flat">
              <a:noFill/>
              <a:prstDash val="solid"/>
              <a:miter/>
            </a:ln>
          </p:spPr>
          <p:txBody>
            <a:bodyPr/>
            <a:lstStyle/>
            <a:p>
              <a:endParaRPr lang="en-GB"/>
            </a:p>
          </p:txBody>
        </p:sp>
        <p:sp>
          <p:nvSpPr>
            <p:cNvPr id="1556" name="Freeform: Shape 1555">
              <a:extLst>
                <a:ext uri="{FF2B5EF4-FFF2-40B4-BE49-F238E27FC236}">
                  <a16:creationId xmlns:a16="http://schemas.microsoft.com/office/drawing/2014/main" id="{04AF06A3-5FA7-B231-736F-99D6A3F7EAF5}"/>
                </a:ext>
              </a:extLst>
            </p:cNvPr>
            <p:cNvSpPr/>
            <p:nvPr/>
          </p:nvSpPr>
          <p:spPr>
            <a:xfrm>
              <a:off x="10964351" y="4749614"/>
              <a:ext cx="13488" cy="19595"/>
            </a:xfrm>
            <a:custGeom>
              <a:avLst/>
              <a:gdLst>
                <a:gd name="csX0" fmla="*/ 2749 w 13488"/>
                <a:gd name="csY0" fmla="*/ 19559 h 19595"/>
                <a:gd name="csX1" fmla="*/ 480 w 13488"/>
                <a:gd name="csY1" fmla="*/ 17529 h 19595"/>
                <a:gd name="csX2" fmla="*/ 0 w 13488"/>
                <a:gd name="csY2" fmla="*/ 2491 h 19595"/>
                <a:gd name="csX3" fmla="*/ 2140 w 13488"/>
                <a:gd name="csY3" fmla="*/ 351 h 19595"/>
                <a:gd name="csX4" fmla="*/ 10739 w 13488"/>
                <a:gd name="csY4" fmla="*/ 0 h 19595"/>
                <a:gd name="csX5" fmla="*/ 13008 w 13488"/>
                <a:gd name="csY5" fmla="*/ 2159 h 19595"/>
                <a:gd name="csX6" fmla="*/ 13488 w 13488"/>
                <a:gd name="csY6" fmla="*/ 17086 h 19595"/>
                <a:gd name="csX7" fmla="*/ 11458 w 13488"/>
                <a:gd name="csY7" fmla="*/ 19356 h 19595"/>
                <a:gd name="csX8" fmla="*/ 2749 w 13488"/>
                <a:gd name="csY8" fmla="*/ 19596 h 195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3488" h="19595">
                  <a:moveTo>
                    <a:pt x="2749" y="19559"/>
                  </a:moveTo>
                  <a:cubicBezTo>
                    <a:pt x="1550" y="19669"/>
                    <a:pt x="609" y="18728"/>
                    <a:pt x="480" y="17529"/>
                  </a:cubicBezTo>
                  <a:lnTo>
                    <a:pt x="0" y="2491"/>
                  </a:lnTo>
                  <a:cubicBezTo>
                    <a:pt x="0" y="1292"/>
                    <a:pt x="959" y="351"/>
                    <a:pt x="2140" y="351"/>
                  </a:cubicBezTo>
                  <a:lnTo>
                    <a:pt x="10739" y="0"/>
                  </a:lnTo>
                  <a:cubicBezTo>
                    <a:pt x="11938" y="0"/>
                    <a:pt x="13008" y="959"/>
                    <a:pt x="13008" y="2159"/>
                  </a:cubicBezTo>
                  <a:lnTo>
                    <a:pt x="13488" y="17086"/>
                  </a:lnTo>
                  <a:cubicBezTo>
                    <a:pt x="13488" y="18286"/>
                    <a:pt x="12658" y="19356"/>
                    <a:pt x="11458" y="19356"/>
                  </a:cubicBezTo>
                  <a:lnTo>
                    <a:pt x="2749" y="19596"/>
                  </a:lnTo>
                  <a:close/>
                </a:path>
              </a:pathLst>
            </a:custGeom>
            <a:solidFill>
              <a:srgbClr val="FFFFFF"/>
            </a:solidFill>
            <a:ln w="1835" cap="flat">
              <a:noFill/>
              <a:prstDash val="solid"/>
              <a:miter/>
            </a:ln>
          </p:spPr>
          <p:txBody>
            <a:bodyPr/>
            <a:lstStyle/>
            <a:p>
              <a:endParaRPr lang="en-GB"/>
            </a:p>
          </p:txBody>
        </p:sp>
        <p:sp>
          <p:nvSpPr>
            <p:cNvPr id="1557" name="Freeform: Shape 1556">
              <a:extLst>
                <a:ext uri="{FF2B5EF4-FFF2-40B4-BE49-F238E27FC236}">
                  <a16:creationId xmlns:a16="http://schemas.microsoft.com/office/drawing/2014/main" id="{DB43CB3C-341C-E15D-DA38-15A22867837D}"/>
                </a:ext>
              </a:extLst>
            </p:cNvPr>
            <p:cNvSpPr/>
            <p:nvPr/>
          </p:nvSpPr>
          <p:spPr>
            <a:xfrm>
              <a:off x="10961362" y="4746607"/>
              <a:ext cx="19447" cy="25555"/>
            </a:xfrm>
            <a:custGeom>
              <a:avLst/>
              <a:gdLst>
                <a:gd name="csX0" fmla="*/ 5517 w 19447"/>
                <a:gd name="csY0" fmla="*/ 25555 h 25555"/>
                <a:gd name="csX1" fmla="*/ 498 w 19447"/>
                <a:gd name="csY1" fmla="*/ 20850 h 25555"/>
                <a:gd name="csX2" fmla="*/ 0 w 19447"/>
                <a:gd name="csY2" fmla="*/ 5591 h 25555"/>
                <a:gd name="csX3" fmla="*/ 5148 w 19447"/>
                <a:gd name="csY3" fmla="*/ 369 h 25555"/>
                <a:gd name="csX4" fmla="*/ 13617 w 19447"/>
                <a:gd name="csY4" fmla="*/ 0 h 25555"/>
                <a:gd name="csX5" fmla="*/ 13617 w 19447"/>
                <a:gd name="csY5" fmla="*/ 0 h 25555"/>
                <a:gd name="csX6" fmla="*/ 18987 w 19447"/>
                <a:gd name="csY6" fmla="*/ 5130 h 25555"/>
                <a:gd name="csX7" fmla="*/ 19448 w 19447"/>
                <a:gd name="csY7" fmla="*/ 19965 h 25555"/>
                <a:gd name="csX8" fmla="*/ 14429 w 19447"/>
                <a:gd name="csY8" fmla="*/ 25316 h 25555"/>
                <a:gd name="csX9" fmla="*/ 5886 w 19447"/>
                <a:gd name="csY9" fmla="*/ 25555 h 25555"/>
                <a:gd name="csX10" fmla="*/ 5499 w 19447"/>
                <a:gd name="csY10" fmla="*/ 25555 h 25555"/>
                <a:gd name="csX11" fmla="*/ 5997 w 19447"/>
                <a:gd name="csY11" fmla="*/ 6292 h 25555"/>
                <a:gd name="csX12" fmla="*/ 6421 w 19447"/>
                <a:gd name="csY12" fmla="*/ 19559 h 25555"/>
                <a:gd name="csX13" fmla="*/ 13470 w 19447"/>
                <a:gd name="csY13" fmla="*/ 19374 h 25555"/>
                <a:gd name="csX14" fmla="*/ 13045 w 19447"/>
                <a:gd name="csY14" fmla="*/ 5997 h 25555"/>
                <a:gd name="csX15" fmla="*/ 5997 w 19447"/>
                <a:gd name="csY15" fmla="*/ 6292 h 25555"/>
                <a:gd name="csX16" fmla="*/ 14374 w 19447"/>
                <a:gd name="csY16" fmla="*/ 19337 h 25555"/>
                <a:gd name="csX17" fmla="*/ 14318 w 19447"/>
                <a:gd name="csY17" fmla="*/ 19337 h 25555"/>
                <a:gd name="csX18" fmla="*/ 14374 w 19447"/>
                <a:gd name="csY18" fmla="*/ 19337 h 25555"/>
                <a:gd name="csX19" fmla="*/ 5314 w 19447"/>
                <a:gd name="csY19" fmla="*/ 6329 h 25555"/>
                <a:gd name="csX20" fmla="*/ 5277 w 19447"/>
                <a:gd name="csY20" fmla="*/ 6329 h 25555"/>
                <a:gd name="csX21" fmla="*/ 5314 w 19447"/>
                <a:gd name="csY21" fmla="*/ 6329 h 25555"/>
                <a:gd name="csX22" fmla="*/ 13027 w 19447"/>
                <a:gd name="csY22" fmla="*/ 5222 h 25555"/>
                <a:gd name="csX23" fmla="*/ 13027 w 19447"/>
                <a:gd name="csY23" fmla="*/ 5259 h 25555"/>
                <a:gd name="csX24" fmla="*/ 13027 w 19447"/>
                <a:gd name="csY24" fmla="*/ 5222 h 255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9447" h="25555">
                  <a:moveTo>
                    <a:pt x="5517" y="25555"/>
                  </a:moveTo>
                  <a:cubicBezTo>
                    <a:pt x="2934" y="25555"/>
                    <a:pt x="775" y="23581"/>
                    <a:pt x="498" y="20850"/>
                  </a:cubicBezTo>
                  <a:lnTo>
                    <a:pt x="0" y="5591"/>
                  </a:lnTo>
                  <a:cubicBezTo>
                    <a:pt x="0" y="2657"/>
                    <a:pt x="2306" y="369"/>
                    <a:pt x="5148" y="369"/>
                  </a:cubicBezTo>
                  <a:lnTo>
                    <a:pt x="13617" y="0"/>
                  </a:lnTo>
                  <a:lnTo>
                    <a:pt x="13617" y="0"/>
                  </a:lnTo>
                  <a:cubicBezTo>
                    <a:pt x="16643" y="0"/>
                    <a:pt x="18987" y="2306"/>
                    <a:pt x="18987" y="5130"/>
                  </a:cubicBezTo>
                  <a:lnTo>
                    <a:pt x="19448" y="19965"/>
                  </a:lnTo>
                  <a:cubicBezTo>
                    <a:pt x="19448" y="23009"/>
                    <a:pt x="17252" y="25316"/>
                    <a:pt x="14429" y="25316"/>
                  </a:cubicBezTo>
                  <a:lnTo>
                    <a:pt x="5886" y="25555"/>
                  </a:lnTo>
                  <a:cubicBezTo>
                    <a:pt x="5738" y="25555"/>
                    <a:pt x="5609" y="25555"/>
                    <a:pt x="5499" y="25555"/>
                  </a:cubicBezTo>
                  <a:close/>
                  <a:moveTo>
                    <a:pt x="5997" y="6292"/>
                  </a:moveTo>
                  <a:lnTo>
                    <a:pt x="6421" y="19559"/>
                  </a:lnTo>
                  <a:lnTo>
                    <a:pt x="13470" y="19374"/>
                  </a:lnTo>
                  <a:lnTo>
                    <a:pt x="13045" y="5997"/>
                  </a:lnTo>
                  <a:lnTo>
                    <a:pt x="5997" y="6292"/>
                  </a:lnTo>
                  <a:close/>
                  <a:moveTo>
                    <a:pt x="14374" y="19337"/>
                  </a:moveTo>
                  <a:lnTo>
                    <a:pt x="14318" y="19337"/>
                  </a:lnTo>
                  <a:lnTo>
                    <a:pt x="14374" y="19337"/>
                  </a:lnTo>
                  <a:close/>
                  <a:moveTo>
                    <a:pt x="5314" y="6329"/>
                  </a:moveTo>
                  <a:lnTo>
                    <a:pt x="5277" y="6329"/>
                  </a:lnTo>
                  <a:lnTo>
                    <a:pt x="5314" y="6329"/>
                  </a:lnTo>
                  <a:close/>
                  <a:moveTo>
                    <a:pt x="13027" y="5222"/>
                  </a:moveTo>
                  <a:lnTo>
                    <a:pt x="13027" y="5259"/>
                  </a:lnTo>
                  <a:lnTo>
                    <a:pt x="13027" y="5222"/>
                  </a:lnTo>
                  <a:close/>
                </a:path>
              </a:pathLst>
            </a:custGeom>
            <a:solidFill>
              <a:srgbClr val="FFFFFF"/>
            </a:solidFill>
            <a:ln w="1835" cap="flat">
              <a:noFill/>
              <a:prstDash val="solid"/>
              <a:miter/>
            </a:ln>
          </p:spPr>
          <p:txBody>
            <a:bodyPr/>
            <a:lstStyle/>
            <a:p>
              <a:endParaRPr lang="en-GB"/>
            </a:p>
          </p:txBody>
        </p:sp>
        <p:sp>
          <p:nvSpPr>
            <p:cNvPr id="1558" name="Freeform: Shape 1557">
              <a:extLst>
                <a:ext uri="{FF2B5EF4-FFF2-40B4-BE49-F238E27FC236}">
                  <a16:creationId xmlns:a16="http://schemas.microsoft.com/office/drawing/2014/main" id="{9214BE9E-D2A4-15E3-3FC7-3B77C7986AB2}"/>
                </a:ext>
              </a:extLst>
            </p:cNvPr>
            <p:cNvSpPr/>
            <p:nvPr/>
          </p:nvSpPr>
          <p:spPr>
            <a:xfrm>
              <a:off x="10867972" y="4754972"/>
              <a:ext cx="278818" cy="252958"/>
            </a:xfrm>
            <a:custGeom>
              <a:avLst/>
              <a:gdLst>
                <a:gd name="csX0" fmla="*/ 249712 w 278818"/>
                <a:gd name="csY0" fmla="*/ 101736 h 252958"/>
                <a:gd name="csX1" fmla="*/ 245653 w 278818"/>
                <a:gd name="csY1" fmla="*/ 102806 h 252958"/>
                <a:gd name="csX2" fmla="*/ 263570 w 278818"/>
                <a:gd name="csY2" fmla="*/ 100057 h 252958"/>
                <a:gd name="csX3" fmla="*/ 278146 w 278818"/>
                <a:gd name="csY3" fmla="*/ 87639 h 252958"/>
                <a:gd name="csX4" fmla="*/ 275877 w 278818"/>
                <a:gd name="csY4" fmla="*/ 82030 h 252958"/>
                <a:gd name="csX5" fmla="*/ 260839 w 278818"/>
                <a:gd name="csY5" fmla="*/ 67213 h 252958"/>
                <a:gd name="csX6" fmla="*/ 247590 w 278818"/>
                <a:gd name="csY6" fmla="*/ 63504 h 252958"/>
                <a:gd name="csX7" fmla="*/ 237202 w 278818"/>
                <a:gd name="csY7" fmla="*/ 57286 h 252958"/>
                <a:gd name="csX8" fmla="*/ 217145 w 278818"/>
                <a:gd name="csY8" fmla="*/ 36749 h 252958"/>
                <a:gd name="csX9" fmla="*/ 212016 w 278818"/>
                <a:gd name="csY9" fmla="*/ 33650 h 252958"/>
                <a:gd name="csX10" fmla="*/ 205096 w 278818"/>
                <a:gd name="csY10" fmla="*/ 34480 h 252958"/>
                <a:gd name="csX11" fmla="*/ 198528 w 278818"/>
                <a:gd name="csY11" fmla="*/ 32690 h 252958"/>
                <a:gd name="csX12" fmla="*/ 191608 w 278818"/>
                <a:gd name="csY12" fmla="*/ 33520 h 252958"/>
                <a:gd name="csX13" fmla="*/ 175611 w 278818"/>
                <a:gd name="csY13" fmla="*/ 29572 h 252958"/>
                <a:gd name="csX14" fmla="*/ 161163 w 278818"/>
                <a:gd name="csY14" fmla="*/ 39370 h 252958"/>
                <a:gd name="csX15" fmla="*/ 125810 w 278818"/>
                <a:gd name="csY15" fmla="*/ 6766 h 252958"/>
                <a:gd name="csX16" fmla="*/ 113503 w 278818"/>
                <a:gd name="csY16" fmla="*/ 7245 h 252958"/>
                <a:gd name="csX17" fmla="*/ 106694 w 278818"/>
                <a:gd name="csY17" fmla="*/ 8076 h 252958"/>
                <a:gd name="csX18" fmla="*/ 94627 w 278818"/>
                <a:gd name="csY18" fmla="*/ 5806 h 252958"/>
                <a:gd name="csX19" fmla="*/ 81378 w 278818"/>
                <a:gd name="csY19" fmla="*/ 1987 h 252958"/>
                <a:gd name="csX20" fmla="*/ 74699 w 278818"/>
                <a:gd name="csY20" fmla="*/ 197 h 252958"/>
                <a:gd name="csX21" fmla="*/ 69090 w 278818"/>
                <a:gd name="csY21" fmla="*/ 2466 h 252958"/>
                <a:gd name="csX22" fmla="*/ 62410 w 278818"/>
                <a:gd name="csY22" fmla="*/ 547 h 252958"/>
                <a:gd name="csX23" fmla="*/ 45804 w 278818"/>
                <a:gd name="csY23" fmla="*/ 19774 h 252958"/>
                <a:gd name="csX24" fmla="*/ 44494 w 278818"/>
                <a:gd name="csY24" fmla="*/ 36011 h 252958"/>
                <a:gd name="csX25" fmla="*/ 45324 w 278818"/>
                <a:gd name="csY25" fmla="*/ 42820 h 252958"/>
                <a:gd name="csX26" fmla="*/ 38995 w 278818"/>
                <a:gd name="csY26" fmla="*/ 53208 h 252958"/>
                <a:gd name="csX27" fmla="*/ 41265 w 278818"/>
                <a:gd name="csY27" fmla="*/ 58818 h 252958"/>
                <a:gd name="csX28" fmla="*/ 47243 w 278818"/>
                <a:gd name="csY28" fmla="*/ 68726 h 252958"/>
                <a:gd name="csX29" fmla="*/ 40914 w 278818"/>
                <a:gd name="csY29" fmla="*/ 79243 h 252958"/>
                <a:gd name="csX30" fmla="*/ 22038 w 278818"/>
                <a:gd name="csY30" fmla="*/ 92732 h 252958"/>
                <a:gd name="csX31" fmla="*/ 15229 w 278818"/>
                <a:gd name="csY31" fmla="*/ 93562 h 252958"/>
                <a:gd name="csX32" fmla="*/ 9491 w 278818"/>
                <a:gd name="csY32" fmla="*/ 95831 h 252958"/>
                <a:gd name="csX33" fmla="*/ 1963 w 278818"/>
                <a:gd name="csY33" fmla="*/ 104780 h 252958"/>
                <a:gd name="csX34" fmla="*/ 44 w 278818"/>
                <a:gd name="csY34" fmla="*/ 111460 h 252958"/>
                <a:gd name="csX35" fmla="*/ 5302 w 278818"/>
                <a:gd name="csY35" fmla="*/ 129487 h 252958"/>
                <a:gd name="csX36" fmla="*/ 9842 w 278818"/>
                <a:gd name="csY36" fmla="*/ 140706 h 252958"/>
                <a:gd name="csX37" fmla="*/ 12111 w 278818"/>
                <a:gd name="csY37" fmla="*/ 146315 h 252958"/>
                <a:gd name="csX38" fmla="*/ 26319 w 278818"/>
                <a:gd name="csY38" fmla="*/ 171871 h 252958"/>
                <a:gd name="csX39" fmla="*/ 28459 w 278818"/>
                <a:gd name="csY39" fmla="*/ 177480 h 252958"/>
                <a:gd name="csX40" fmla="*/ 30729 w 278818"/>
                <a:gd name="csY40" fmla="*/ 183089 h 252958"/>
                <a:gd name="csX41" fmla="*/ 48996 w 278818"/>
                <a:gd name="csY41" fmla="*/ 192647 h 252958"/>
                <a:gd name="csX42" fmla="*/ 55915 w 278818"/>
                <a:gd name="csY42" fmla="*/ 191688 h 252958"/>
                <a:gd name="csX43" fmla="*/ 58185 w 278818"/>
                <a:gd name="csY43" fmla="*/ 197297 h 252958"/>
                <a:gd name="csX44" fmla="*/ 54956 w 278818"/>
                <a:gd name="csY44" fmla="*/ 202556 h 252958"/>
                <a:gd name="csX45" fmla="*/ 53037 w 278818"/>
                <a:gd name="csY45" fmla="*/ 209235 h 252958"/>
                <a:gd name="csX46" fmla="*/ 83722 w 278818"/>
                <a:gd name="csY46" fmla="*/ 248168 h 252958"/>
                <a:gd name="csX47" fmla="*/ 88980 w 278818"/>
                <a:gd name="csY47" fmla="*/ 251397 h 252958"/>
                <a:gd name="csX48" fmla="*/ 95789 w 278818"/>
                <a:gd name="csY48" fmla="*/ 250438 h 252958"/>
                <a:gd name="csX49" fmla="*/ 110606 w 278818"/>
                <a:gd name="csY49" fmla="*/ 252947 h 252958"/>
                <a:gd name="csX50" fmla="*/ 117414 w 278818"/>
                <a:gd name="csY50" fmla="*/ 252117 h 252958"/>
                <a:gd name="csX51" fmla="*/ 125053 w 278818"/>
                <a:gd name="csY51" fmla="*/ 243168 h 252958"/>
                <a:gd name="csX52" fmla="*/ 124223 w 278818"/>
                <a:gd name="csY52" fmla="*/ 236359 h 252958"/>
                <a:gd name="csX53" fmla="*/ 127452 w 278818"/>
                <a:gd name="csY53" fmla="*/ 231100 h 252958"/>
                <a:gd name="csX54" fmla="*/ 122913 w 278818"/>
                <a:gd name="csY54" fmla="*/ 219882 h 252958"/>
                <a:gd name="csX55" fmla="*/ 120643 w 278818"/>
                <a:gd name="csY55" fmla="*/ 214272 h 252958"/>
                <a:gd name="csX56" fmla="*/ 114665 w 278818"/>
                <a:gd name="csY56" fmla="*/ 204364 h 252958"/>
                <a:gd name="csX57" fmla="*/ 88039 w 278818"/>
                <a:gd name="csY57" fmla="*/ 181908 h 252958"/>
                <a:gd name="csX58" fmla="*/ 74662 w 278818"/>
                <a:gd name="csY58" fmla="*/ 178199 h 252958"/>
                <a:gd name="csX59" fmla="*/ 68093 w 278818"/>
                <a:gd name="csY59" fmla="*/ 176410 h 252958"/>
                <a:gd name="csX60" fmla="*/ 64514 w 278818"/>
                <a:gd name="csY60" fmla="*/ 169250 h 252958"/>
                <a:gd name="csX61" fmla="*/ 68462 w 278818"/>
                <a:gd name="csY61" fmla="*/ 156002 h 252958"/>
                <a:gd name="csX62" fmla="*/ 65362 w 278818"/>
                <a:gd name="csY62" fmla="*/ 143584 h 252958"/>
                <a:gd name="csX63" fmla="*/ 63093 w 278818"/>
                <a:gd name="csY63" fmla="*/ 137975 h 252958"/>
                <a:gd name="csX64" fmla="*/ 60104 w 278818"/>
                <a:gd name="csY64" fmla="*/ 125428 h 252958"/>
                <a:gd name="csX65" fmla="*/ 52336 w 278818"/>
                <a:gd name="csY65" fmla="*/ 104522 h 252958"/>
                <a:gd name="csX66" fmla="*/ 56985 w 278818"/>
                <a:gd name="csY66" fmla="*/ 98083 h 252958"/>
                <a:gd name="csX67" fmla="*/ 64993 w 278818"/>
                <a:gd name="csY67" fmla="*/ 98673 h 252958"/>
                <a:gd name="csX68" fmla="*/ 70252 w 278818"/>
                <a:gd name="csY68" fmla="*/ 101773 h 252958"/>
                <a:gd name="csX69" fmla="*/ 81471 w 278818"/>
                <a:gd name="csY69" fmla="*/ 97123 h 252958"/>
                <a:gd name="csX70" fmla="*/ 87080 w 278818"/>
                <a:gd name="csY70" fmla="*/ 94854 h 252958"/>
                <a:gd name="csX71" fmla="*/ 98428 w 278818"/>
                <a:gd name="csY71" fmla="*/ 90314 h 252958"/>
                <a:gd name="csX72" fmla="*/ 104037 w 278818"/>
                <a:gd name="csY72" fmla="*/ 88045 h 252958"/>
                <a:gd name="csX73" fmla="*/ 116584 w 278818"/>
                <a:gd name="csY73" fmla="*/ 84816 h 252958"/>
                <a:gd name="csX74" fmla="*/ 142730 w 278818"/>
                <a:gd name="csY74" fmla="*/ 65110 h 252958"/>
                <a:gd name="csX75" fmla="*/ 157657 w 278818"/>
                <a:gd name="csY75" fmla="*/ 64870 h 252958"/>
                <a:gd name="csX76" fmla="*/ 162787 w 278818"/>
                <a:gd name="csY76" fmla="*/ 67970 h 252958"/>
                <a:gd name="csX77" fmla="*/ 169466 w 278818"/>
                <a:gd name="csY77" fmla="*/ 69759 h 252958"/>
                <a:gd name="csX78" fmla="*/ 182364 w 278818"/>
                <a:gd name="csY78" fmla="*/ 78948 h 252958"/>
                <a:gd name="csX79" fmla="*/ 189173 w 278818"/>
                <a:gd name="csY79" fmla="*/ 78118 h 252958"/>
                <a:gd name="csX80" fmla="*/ 197771 w 278818"/>
                <a:gd name="csY80" fmla="*/ 73339 h 252958"/>
                <a:gd name="csX81" fmla="*/ 204580 w 278818"/>
                <a:gd name="csY81" fmla="*/ 72509 h 252958"/>
                <a:gd name="csX82" fmla="*/ 210189 w 278818"/>
                <a:gd name="csY82" fmla="*/ 70128 h 252958"/>
                <a:gd name="csX83" fmla="*/ 224766 w 278818"/>
                <a:gd name="csY83" fmla="*/ 75387 h 252958"/>
                <a:gd name="csX84" fmla="*/ 235154 w 278818"/>
                <a:gd name="csY84" fmla="*/ 81605 h 252958"/>
                <a:gd name="csX85" fmla="*/ 235984 w 278818"/>
                <a:gd name="csY85" fmla="*/ 88414 h 252958"/>
                <a:gd name="csX86" fmla="*/ 249712 w 278818"/>
                <a:gd name="csY86" fmla="*/ 101662 h 2529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Lst>
              <a:rect l="l" t="t" r="r" b="b"/>
              <a:pathLst>
                <a:path w="278818" h="252958">
                  <a:moveTo>
                    <a:pt x="249712" y="101736"/>
                  </a:moveTo>
                  <a:cubicBezTo>
                    <a:pt x="251392" y="104116"/>
                    <a:pt x="243273" y="103175"/>
                    <a:pt x="245653" y="102806"/>
                  </a:cubicBezTo>
                  <a:cubicBezTo>
                    <a:pt x="247923" y="102566"/>
                    <a:pt x="258071" y="102695"/>
                    <a:pt x="263570" y="100057"/>
                  </a:cubicBezTo>
                  <a:cubicBezTo>
                    <a:pt x="268939" y="97547"/>
                    <a:pt x="276117" y="90628"/>
                    <a:pt x="278146" y="87639"/>
                  </a:cubicBezTo>
                  <a:cubicBezTo>
                    <a:pt x="280287" y="84650"/>
                    <a:pt x="276707" y="83819"/>
                    <a:pt x="275877" y="82030"/>
                  </a:cubicBezTo>
                  <a:cubicBezTo>
                    <a:pt x="270858" y="77140"/>
                    <a:pt x="266688" y="71162"/>
                    <a:pt x="260839" y="67213"/>
                  </a:cubicBezTo>
                  <a:cubicBezTo>
                    <a:pt x="257019" y="64704"/>
                    <a:pt x="251521" y="65903"/>
                    <a:pt x="247590" y="63504"/>
                  </a:cubicBezTo>
                  <a:lnTo>
                    <a:pt x="237202" y="57286"/>
                  </a:lnTo>
                  <a:cubicBezTo>
                    <a:pt x="230523" y="50477"/>
                    <a:pt x="224194" y="43318"/>
                    <a:pt x="217145" y="36749"/>
                  </a:cubicBezTo>
                  <a:cubicBezTo>
                    <a:pt x="215706" y="35439"/>
                    <a:pt x="213916" y="34000"/>
                    <a:pt x="212016" y="33650"/>
                  </a:cubicBezTo>
                  <a:cubicBezTo>
                    <a:pt x="209746" y="33299"/>
                    <a:pt x="207366" y="34240"/>
                    <a:pt x="205096" y="34480"/>
                  </a:cubicBezTo>
                  <a:cubicBezTo>
                    <a:pt x="202956" y="33889"/>
                    <a:pt x="200797" y="32801"/>
                    <a:pt x="198528" y="32690"/>
                  </a:cubicBezTo>
                  <a:cubicBezTo>
                    <a:pt x="196147" y="32450"/>
                    <a:pt x="193749" y="34129"/>
                    <a:pt x="191608" y="33520"/>
                  </a:cubicBezTo>
                  <a:cubicBezTo>
                    <a:pt x="179670" y="29812"/>
                    <a:pt x="184929" y="23962"/>
                    <a:pt x="175611" y="29572"/>
                  </a:cubicBezTo>
                  <a:cubicBezTo>
                    <a:pt x="170592" y="32561"/>
                    <a:pt x="166053" y="36011"/>
                    <a:pt x="161163" y="39370"/>
                  </a:cubicBezTo>
                  <a:cubicBezTo>
                    <a:pt x="139907" y="33391"/>
                    <a:pt x="163082" y="41159"/>
                    <a:pt x="125810" y="6766"/>
                  </a:cubicBezTo>
                  <a:cubicBezTo>
                    <a:pt x="120791" y="2116"/>
                    <a:pt x="118282" y="6046"/>
                    <a:pt x="113503" y="7245"/>
                  </a:cubicBezTo>
                  <a:cubicBezTo>
                    <a:pt x="111362" y="7725"/>
                    <a:pt x="108964" y="7725"/>
                    <a:pt x="106694" y="8076"/>
                  </a:cubicBezTo>
                  <a:cubicBezTo>
                    <a:pt x="94996" y="1027"/>
                    <a:pt x="108613" y="7725"/>
                    <a:pt x="94627" y="5806"/>
                  </a:cubicBezTo>
                  <a:cubicBezTo>
                    <a:pt x="90088" y="5086"/>
                    <a:pt x="85788" y="3297"/>
                    <a:pt x="81378" y="1987"/>
                  </a:cubicBezTo>
                  <a:cubicBezTo>
                    <a:pt x="79109" y="1396"/>
                    <a:pt x="76839" y="-634"/>
                    <a:pt x="74699" y="197"/>
                  </a:cubicBezTo>
                  <a:lnTo>
                    <a:pt x="69090" y="2466"/>
                  </a:lnTo>
                  <a:cubicBezTo>
                    <a:pt x="66820" y="1876"/>
                    <a:pt x="64440" y="-634"/>
                    <a:pt x="62410" y="547"/>
                  </a:cubicBezTo>
                  <a:cubicBezTo>
                    <a:pt x="53812" y="5806"/>
                    <a:pt x="50343" y="12246"/>
                    <a:pt x="45804" y="19774"/>
                  </a:cubicBezTo>
                  <a:cubicBezTo>
                    <a:pt x="45453" y="25143"/>
                    <a:pt x="43885" y="30513"/>
                    <a:pt x="44494" y="36011"/>
                  </a:cubicBezTo>
                  <a:cubicBezTo>
                    <a:pt x="44734" y="38281"/>
                    <a:pt x="46044" y="40661"/>
                    <a:pt x="45324" y="42820"/>
                  </a:cubicBezTo>
                  <a:cubicBezTo>
                    <a:pt x="44014" y="46639"/>
                    <a:pt x="38995" y="53208"/>
                    <a:pt x="38995" y="53208"/>
                  </a:cubicBezTo>
                  <a:cubicBezTo>
                    <a:pt x="39715" y="55127"/>
                    <a:pt x="40305" y="57028"/>
                    <a:pt x="41265" y="58818"/>
                  </a:cubicBezTo>
                  <a:cubicBezTo>
                    <a:pt x="43054" y="62286"/>
                    <a:pt x="47243" y="64907"/>
                    <a:pt x="47243" y="68726"/>
                  </a:cubicBezTo>
                  <a:cubicBezTo>
                    <a:pt x="47132" y="72785"/>
                    <a:pt x="40914" y="79243"/>
                    <a:pt x="40914" y="79243"/>
                  </a:cubicBezTo>
                  <a:cubicBezTo>
                    <a:pt x="34585" y="83653"/>
                    <a:pt x="28847" y="88912"/>
                    <a:pt x="22038" y="92732"/>
                  </a:cubicBezTo>
                  <a:cubicBezTo>
                    <a:pt x="20008" y="93802"/>
                    <a:pt x="17388" y="92971"/>
                    <a:pt x="15229" y="93562"/>
                  </a:cubicBezTo>
                  <a:cubicBezTo>
                    <a:pt x="13200" y="94042"/>
                    <a:pt x="11410" y="95112"/>
                    <a:pt x="9491" y="95831"/>
                  </a:cubicBezTo>
                  <a:cubicBezTo>
                    <a:pt x="6982" y="98821"/>
                    <a:pt x="3992" y="101441"/>
                    <a:pt x="1963" y="104780"/>
                  </a:cubicBezTo>
                  <a:cubicBezTo>
                    <a:pt x="763" y="106810"/>
                    <a:pt x="284" y="109080"/>
                    <a:pt x="44" y="111460"/>
                  </a:cubicBezTo>
                  <a:cubicBezTo>
                    <a:pt x="-436" y="117789"/>
                    <a:pt x="3144" y="124007"/>
                    <a:pt x="5302" y="129487"/>
                  </a:cubicBezTo>
                  <a:lnTo>
                    <a:pt x="9842" y="140706"/>
                  </a:lnTo>
                  <a:lnTo>
                    <a:pt x="12111" y="146315"/>
                  </a:lnTo>
                  <a:cubicBezTo>
                    <a:pt x="24049" y="163992"/>
                    <a:pt x="19639" y="155264"/>
                    <a:pt x="26319" y="171871"/>
                  </a:cubicBezTo>
                  <a:lnTo>
                    <a:pt x="28459" y="177480"/>
                  </a:lnTo>
                  <a:lnTo>
                    <a:pt x="30729" y="183089"/>
                  </a:lnTo>
                  <a:cubicBezTo>
                    <a:pt x="33958" y="185008"/>
                    <a:pt x="44217" y="191798"/>
                    <a:pt x="48996" y="192647"/>
                  </a:cubicBezTo>
                  <a:cubicBezTo>
                    <a:pt x="51265" y="192998"/>
                    <a:pt x="53535" y="192057"/>
                    <a:pt x="55915" y="191688"/>
                  </a:cubicBezTo>
                  <a:cubicBezTo>
                    <a:pt x="56635" y="193607"/>
                    <a:pt x="58295" y="195396"/>
                    <a:pt x="58185" y="197297"/>
                  </a:cubicBezTo>
                  <a:cubicBezTo>
                    <a:pt x="57945" y="199327"/>
                    <a:pt x="55804" y="200637"/>
                    <a:pt x="54956" y="202556"/>
                  </a:cubicBezTo>
                  <a:cubicBezTo>
                    <a:pt x="53996" y="204696"/>
                    <a:pt x="53646" y="206966"/>
                    <a:pt x="53037" y="209235"/>
                  </a:cubicBezTo>
                  <a:cubicBezTo>
                    <a:pt x="61875" y="231082"/>
                    <a:pt x="56266" y="221173"/>
                    <a:pt x="83722" y="248168"/>
                  </a:cubicBezTo>
                  <a:cubicBezTo>
                    <a:pt x="85161" y="249607"/>
                    <a:pt x="86951" y="250917"/>
                    <a:pt x="88980" y="251397"/>
                  </a:cubicBezTo>
                  <a:cubicBezTo>
                    <a:pt x="91250" y="251748"/>
                    <a:pt x="93520" y="250807"/>
                    <a:pt x="95789" y="250438"/>
                  </a:cubicBezTo>
                  <a:cubicBezTo>
                    <a:pt x="102358" y="252356"/>
                    <a:pt x="103428" y="253058"/>
                    <a:pt x="110606" y="252947"/>
                  </a:cubicBezTo>
                  <a:cubicBezTo>
                    <a:pt x="112875" y="252947"/>
                    <a:pt x="115145" y="252356"/>
                    <a:pt x="117414" y="252117"/>
                  </a:cubicBezTo>
                  <a:cubicBezTo>
                    <a:pt x="120035" y="249127"/>
                    <a:pt x="123503" y="246747"/>
                    <a:pt x="125053" y="243168"/>
                  </a:cubicBezTo>
                  <a:cubicBezTo>
                    <a:pt x="125884" y="241009"/>
                    <a:pt x="123743" y="238628"/>
                    <a:pt x="124223" y="236359"/>
                  </a:cubicBezTo>
                  <a:cubicBezTo>
                    <a:pt x="124574" y="234329"/>
                    <a:pt x="126382" y="232890"/>
                    <a:pt x="127452" y="231100"/>
                  </a:cubicBezTo>
                  <a:lnTo>
                    <a:pt x="122913" y="219882"/>
                  </a:lnTo>
                  <a:cubicBezTo>
                    <a:pt x="122193" y="218092"/>
                    <a:pt x="121714" y="216062"/>
                    <a:pt x="120643" y="214272"/>
                  </a:cubicBezTo>
                  <a:lnTo>
                    <a:pt x="114665" y="204364"/>
                  </a:lnTo>
                  <a:cubicBezTo>
                    <a:pt x="110015" y="199714"/>
                    <a:pt x="97358" y="184547"/>
                    <a:pt x="88039" y="181908"/>
                  </a:cubicBezTo>
                  <a:lnTo>
                    <a:pt x="74662" y="178199"/>
                  </a:lnTo>
                  <a:lnTo>
                    <a:pt x="68093" y="176410"/>
                  </a:lnTo>
                  <a:cubicBezTo>
                    <a:pt x="66894" y="174029"/>
                    <a:pt x="64514" y="171871"/>
                    <a:pt x="64514" y="169250"/>
                  </a:cubicBezTo>
                  <a:cubicBezTo>
                    <a:pt x="64624" y="164711"/>
                    <a:pt x="68462" y="156002"/>
                    <a:pt x="68462" y="156002"/>
                  </a:cubicBezTo>
                  <a:cubicBezTo>
                    <a:pt x="62724" y="141905"/>
                    <a:pt x="69293" y="159711"/>
                    <a:pt x="65362" y="143584"/>
                  </a:cubicBezTo>
                  <a:cubicBezTo>
                    <a:pt x="64883" y="141555"/>
                    <a:pt x="63573" y="139875"/>
                    <a:pt x="63093" y="137975"/>
                  </a:cubicBezTo>
                  <a:cubicBezTo>
                    <a:pt x="59144" y="121848"/>
                    <a:pt x="65713" y="139525"/>
                    <a:pt x="60104" y="125428"/>
                  </a:cubicBezTo>
                  <a:cubicBezTo>
                    <a:pt x="52815" y="114800"/>
                    <a:pt x="47335" y="114560"/>
                    <a:pt x="52336" y="104522"/>
                  </a:cubicBezTo>
                  <a:cubicBezTo>
                    <a:pt x="53535" y="102142"/>
                    <a:pt x="55435" y="100223"/>
                    <a:pt x="56985" y="98083"/>
                  </a:cubicBezTo>
                  <a:cubicBezTo>
                    <a:pt x="59606" y="98193"/>
                    <a:pt x="62484" y="97972"/>
                    <a:pt x="64993" y="98673"/>
                  </a:cubicBezTo>
                  <a:cubicBezTo>
                    <a:pt x="67023" y="99153"/>
                    <a:pt x="68222" y="101902"/>
                    <a:pt x="70252" y="101773"/>
                  </a:cubicBezTo>
                  <a:cubicBezTo>
                    <a:pt x="74311" y="101422"/>
                    <a:pt x="77780" y="98673"/>
                    <a:pt x="81471" y="97123"/>
                  </a:cubicBezTo>
                  <a:lnTo>
                    <a:pt x="87080" y="94854"/>
                  </a:lnTo>
                  <a:lnTo>
                    <a:pt x="98428" y="90314"/>
                  </a:lnTo>
                  <a:cubicBezTo>
                    <a:pt x="100217" y="89484"/>
                    <a:pt x="102007" y="88285"/>
                    <a:pt x="104037" y="88045"/>
                  </a:cubicBezTo>
                  <a:cubicBezTo>
                    <a:pt x="108447" y="87454"/>
                    <a:pt x="112635" y="87565"/>
                    <a:pt x="116584" y="84816"/>
                  </a:cubicBezTo>
                  <a:cubicBezTo>
                    <a:pt x="125533" y="78598"/>
                    <a:pt x="134021" y="71678"/>
                    <a:pt x="142730" y="65110"/>
                  </a:cubicBezTo>
                  <a:cubicBezTo>
                    <a:pt x="147749" y="64519"/>
                    <a:pt x="152528" y="63430"/>
                    <a:pt x="157657" y="64870"/>
                  </a:cubicBezTo>
                  <a:cubicBezTo>
                    <a:pt x="159576" y="65349"/>
                    <a:pt x="160997" y="67139"/>
                    <a:pt x="162787" y="67970"/>
                  </a:cubicBezTo>
                  <a:cubicBezTo>
                    <a:pt x="164927" y="68800"/>
                    <a:pt x="167197" y="69169"/>
                    <a:pt x="169466" y="69759"/>
                  </a:cubicBezTo>
                  <a:cubicBezTo>
                    <a:pt x="169817" y="70110"/>
                    <a:pt x="179855" y="78468"/>
                    <a:pt x="182364" y="78948"/>
                  </a:cubicBezTo>
                  <a:cubicBezTo>
                    <a:pt x="184504" y="79299"/>
                    <a:pt x="187014" y="78838"/>
                    <a:pt x="189173" y="78118"/>
                  </a:cubicBezTo>
                  <a:cubicBezTo>
                    <a:pt x="192273" y="76919"/>
                    <a:pt x="194911" y="74889"/>
                    <a:pt x="197771" y="73339"/>
                  </a:cubicBezTo>
                  <a:cubicBezTo>
                    <a:pt x="200041" y="72988"/>
                    <a:pt x="202421" y="72988"/>
                    <a:pt x="204580" y="72509"/>
                  </a:cubicBezTo>
                  <a:cubicBezTo>
                    <a:pt x="206609" y="71918"/>
                    <a:pt x="208289" y="70239"/>
                    <a:pt x="210189" y="70128"/>
                  </a:cubicBezTo>
                  <a:cubicBezTo>
                    <a:pt x="212809" y="70128"/>
                    <a:pt x="223197" y="74538"/>
                    <a:pt x="224766" y="75387"/>
                  </a:cubicBezTo>
                  <a:cubicBezTo>
                    <a:pt x="228345" y="77177"/>
                    <a:pt x="235154" y="81605"/>
                    <a:pt x="235154" y="81605"/>
                  </a:cubicBezTo>
                  <a:cubicBezTo>
                    <a:pt x="235394" y="83875"/>
                    <a:pt x="234564" y="86624"/>
                    <a:pt x="235984" y="88414"/>
                  </a:cubicBezTo>
                  <a:cubicBezTo>
                    <a:pt x="239693" y="93673"/>
                    <a:pt x="244933" y="97492"/>
                    <a:pt x="249712" y="101662"/>
                  </a:cubicBezTo>
                  <a:close/>
                </a:path>
              </a:pathLst>
            </a:custGeom>
            <a:solidFill>
              <a:schemeClr val="accent6"/>
            </a:solidFill>
            <a:ln w="1835" cap="flat">
              <a:noFill/>
              <a:prstDash val="solid"/>
              <a:miter/>
            </a:ln>
          </p:spPr>
          <p:txBody>
            <a:bodyPr/>
            <a:lstStyle/>
            <a:p>
              <a:endParaRPr lang="en-GB"/>
            </a:p>
          </p:txBody>
        </p:sp>
      </p:grpSp>
      <p:grpSp>
        <p:nvGrpSpPr>
          <p:cNvPr id="862" name="Th2 Cell">
            <a:extLst>
              <a:ext uri="{FF2B5EF4-FFF2-40B4-BE49-F238E27FC236}">
                <a16:creationId xmlns:a16="http://schemas.microsoft.com/office/drawing/2014/main" id="{1373B90C-F691-4918-C276-501FF5A704E4}"/>
              </a:ext>
            </a:extLst>
          </p:cNvPr>
          <p:cNvGrpSpPr/>
          <p:nvPr/>
        </p:nvGrpSpPr>
        <p:grpSpPr>
          <a:xfrm rot="19233248">
            <a:off x="6680113" y="5348259"/>
            <a:ext cx="378401" cy="371019"/>
            <a:chOff x="9911932" y="2777814"/>
            <a:chExt cx="303568" cy="303568"/>
          </a:xfrm>
        </p:grpSpPr>
        <p:sp>
          <p:nvSpPr>
            <p:cNvPr id="863" name="Oval 862">
              <a:extLst>
                <a:ext uri="{FF2B5EF4-FFF2-40B4-BE49-F238E27FC236}">
                  <a16:creationId xmlns:a16="http://schemas.microsoft.com/office/drawing/2014/main" id="{2F042D0B-2E63-3063-FA6F-9D583FFFA3F0}"/>
                </a:ext>
              </a:extLst>
            </p:cNvPr>
            <p:cNvSpPr/>
            <p:nvPr/>
          </p:nvSpPr>
          <p:spPr>
            <a:xfrm>
              <a:off x="9911932" y="2777814"/>
              <a:ext cx="303568" cy="303568"/>
            </a:xfrm>
            <a:prstGeom prst="ellipse">
              <a:avLst/>
            </a:prstGeom>
            <a:solidFill>
              <a:schemeClr val="accent5">
                <a:lumMod val="60000"/>
                <a:lumOff val="40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i "/>
              </a:endParaRPr>
            </a:p>
          </p:txBody>
        </p:sp>
        <p:sp>
          <p:nvSpPr>
            <p:cNvPr id="864" name="Oval 863">
              <a:extLst>
                <a:ext uri="{FF2B5EF4-FFF2-40B4-BE49-F238E27FC236}">
                  <a16:creationId xmlns:a16="http://schemas.microsoft.com/office/drawing/2014/main" id="{18B5764E-9652-3571-3396-5B8A944168C6}"/>
                </a:ext>
              </a:extLst>
            </p:cNvPr>
            <p:cNvSpPr/>
            <p:nvPr/>
          </p:nvSpPr>
          <p:spPr>
            <a:xfrm>
              <a:off x="9980376" y="2871183"/>
              <a:ext cx="162409" cy="162410"/>
            </a:xfrm>
            <a:prstGeom prst="ellipse">
              <a:avLst/>
            </a:prstGeom>
            <a:solidFill>
              <a:schemeClr val="accent5">
                <a:lumMod val="40000"/>
                <a:lumOff val="60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i "/>
              </a:endParaRPr>
            </a:p>
          </p:txBody>
        </p:sp>
      </p:grpSp>
      <p:grpSp>
        <p:nvGrpSpPr>
          <p:cNvPr id="2123" name="Group 2122">
            <a:extLst>
              <a:ext uri="{FF2B5EF4-FFF2-40B4-BE49-F238E27FC236}">
                <a16:creationId xmlns:a16="http://schemas.microsoft.com/office/drawing/2014/main" id="{9423492A-6170-D670-91AE-B1DE7DA467A7}"/>
              </a:ext>
            </a:extLst>
          </p:cNvPr>
          <p:cNvGrpSpPr/>
          <p:nvPr/>
        </p:nvGrpSpPr>
        <p:grpSpPr>
          <a:xfrm>
            <a:off x="6675213" y="4043681"/>
            <a:ext cx="388200" cy="384980"/>
            <a:chOff x="10837732" y="4043681"/>
            <a:chExt cx="388200" cy="384980"/>
          </a:xfrm>
        </p:grpSpPr>
        <p:sp>
          <p:nvSpPr>
            <p:cNvPr id="2121" name="Freeform: Shape 2120">
              <a:extLst>
                <a:ext uri="{FF2B5EF4-FFF2-40B4-BE49-F238E27FC236}">
                  <a16:creationId xmlns:a16="http://schemas.microsoft.com/office/drawing/2014/main" id="{FFB6179D-372D-4148-1E0D-3BEB1239932C}"/>
                </a:ext>
              </a:extLst>
            </p:cNvPr>
            <p:cNvSpPr/>
            <p:nvPr/>
          </p:nvSpPr>
          <p:spPr>
            <a:xfrm>
              <a:off x="10837732" y="4043681"/>
              <a:ext cx="388200" cy="384980"/>
            </a:xfrm>
            <a:custGeom>
              <a:avLst/>
              <a:gdLst>
                <a:gd name="csX0" fmla="*/ 200248 w 388200"/>
                <a:gd name="csY0" fmla="*/ 384876 h 384980"/>
                <a:gd name="csX1" fmla="*/ 104 w 388200"/>
                <a:gd name="csY1" fmla="*/ 198699 h 384980"/>
                <a:gd name="csX2" fmla="*/ 187830 w 388200"/>
                <a:gd name="csY2" fmla="*/ 104 h 384980"/>
                <a:gd name="csX3" fmla="*/ 388104 w 388200"/>
                <a:gd name="csY3" fmla="*/ 186281 h 384980"/>
                <a:gd name="csX4" fmla="*/ 200248 w 388200"/>
                <a:gd name="csY4" fmla="*/ 384876 h 384980"/>
              </a:gdLst>
              <a:ahLst/>
              <a:cxnLst>
                <a:cxn ang="0">
                  <a:pos x="csX0" y="csY0"/>
                </a:cxn>
                <a:cxn ang="0">
                  <a:pos x="csX1" y="csY1"/>
                </a:cxn>
                <a:cxn ang="0">
                  <a:pos x="csX2" y="csY2"/>
                </a:cxn>
                <a:cxn ang="0">
                  <a:pos x="csX3" y="csY3"/>
                </a:cxn>
                <a:cxn ang="0">
                  <a:pos x="csX4" y="csY4"/>
                </a:cxn>
              </a:cxnLst>
              <a:rect l="l" t="t" r="r" b="b"/>
              <a:pathLst>
                <a:path w="388200" h="384980">
                  <a:moveTo>
                    <a:pt x="200248" y="384876"/>
                  </a:moveTo>
                  <a:cubicBezTo>
                    <a:pt x="93137" y="388345"/>
                    <a:pt x="3443" y="304980"/>
                    <a:pt x="104" y="198699"/>
                  </a:cubicBezTo>
                  <a:cubicBezTo>
                    <a:pt x="-3365" y="92529"/>
                    <a:pt x="80719" y="3555"/>
                    <a:pt x="187830" y="104"/>
                  </a:cubicBezTo>
                  <a:cubicBezTo>
                    <a:pt x="295071" y="-3364"/>
                    <a:pt x="384635" y="80000"/>
                    <a:pt x="388104" y="186281"/>
                  </a:cubicBezTo>
                  <a:cubicBezTo>
                    <a:pt x="391444" y="292452"/>
                    <a:pt x="307378" y="381407"/>
                    <a:pt x="200248" y="384876"/>
                  </a:cubicBezTo>
                  <a:close/>
                </a:path>
              </a:pathLst>
            </a:custGeom>
            <a:solidFill>
              <a:schemeClr val="accent4">
                <a:lumMod val="60000"/>
                <a:lumOff val="40000"/>
              </a:schemeClr>
            </a:solidFill>
            <a:ln w="1835" cap="flat">
              <a:noFill/>
              <a:prstDash val="solid"/>
              <a:miter/>
            </a:ln>
          </p:spPr>
          <p:txBody>
            <a:bodyPr/>
            <a:lstStyle/>
            <a:p>
              <a:endParaRPr lang="en-GB"/>
            </a:p>
          </p:txBody>
        </p:sp>
        <p:sp>
          <p:nvSpPr>
            <p:cNvPr id="1737" name="Freeform: Shape 1736">
              <a:extLst>
                <a:ext uri="{FF2B5EF4-FFF2-40B4-BE49-F238E27FC236}">
                  <a16:creationId xmlns:a16="http://schemas.microsoft.com/office/drawing/2014/main" id="{659857F8-6C5E-6675-0315-3C5F2B16CFF8}"/>
                </a:ext>
              </a:extLst>
            </p:cNvPr>
            <p:cNvSpPr/>
            <p:nvPr/>
          </p:nvSpPr>
          <p:spPr>
            <a:xfrm>
              <a:off x="10984096" y="4308909"/>
              <a:ext cx="23123" cy="21152"/>
            </a:xfrm>
            <a:custGeom>
              <a:avLst/>
              <a:gdLst>
                <a:gd name="csX0" fmla="*/ 14806 w 23123"/>
                <a:gd name="csY0" fmla="*/ 0 h 21152"/>
                <a:gd name="csX1" fmla="*/ 14806 w 23123"/>
                <a:gd name="csY1" fmla="*/ 0 h 21152"/>
                <a:gd name="csX2" fmla="*/ 22646 w 23123"/>
                <a:gd name="csY2" fmla="*/ 1785 h 21152"/>
                <a:gd name="csX3" fmla="*/ 22926 w 23123"/>
                <a:gd name="csY3" fmla="*/ 6510 h 21152"/>
                <a:gd name="csX4" fmla="*/ 19671 w 23123"/>
                <a:gd name="csY4" fmla="*/ 14806 h 21152"/>
                <a:gd name="csX5" fmla="*/ 17886 w 23123"/>
                <a:gd name="csY5" fmla="*/ 16136 h 21152"/>
                <a:gd name="csX6" fmla="*/ 15961 w 23123"/>
                <a:gd name="csY6" fmla="*/ 18201 h 21152"/>
                <a:gd name="csX7" fmla="*/ 7525 w 23123"/>
                <a:gd name="csY7" fmla="*/ 20406 h 21152"/>
                <a:gd name="csX8" fmla="*/ 1470 w 23123"/>
                <a:gd name="csY8" fmla="*/ 15366 h 21152"/>
                <a:gd name="csX9" fmla="*/ 280 w 23123"/>
                <a:gd name="csY9" fmla="*/ 12846 h 21152"/>
                <a:gd name="csX10" fmla="*/ 0 w 23123"/>
                <a:gd name="csY10" fmla="*/ 10465 h 21152"/>
                <a:gd name="csX11" fmla="*/ 1190 w 23123"/>
                <a:gd name="csY11" fmla="*/ 5880 h 21152"/>
                <a:gd name="csX12" fmla="*/ 6230 w 23123"/>
                <a:gd name="csY12" fmla="*/ 4270 h 21152"/>
                <a:gd name="csX13" fmla="*/ 8295 w 23123"/>
                <a:gd name="csY13" fmla="*/ 5320 h 21152"/>
                <a:gd name="csX14" fmla="*/ 12286 w 23123"/>
                <a:gd name="csY14" fmla="*/ 3115 h 21152"/>
                <a:gd name="csX15" fmla="*/ 14806 w 23123"/>
                <a:gd name="csY15" fmla="*/ 0 h 211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3123" h="21152">
                  <a:moveTo>
                    <a:pt x="14806" y="0"/>
                  </a:moveTo>
                  <a:lnTo>
                    <a:pt x="14806" y="0"/>
                  </a:lnTo>
                  <a:cubicBezTo>
                    <a:pt x="17466" y="595"/>
                    <a:pt x="20441" y="0"/>
                    <a:pt x="22646" y="1785"/>
                  </a:cubicBezTo>
                  <a:cubicBezTo>
                    <a:pt x="23521" y="2520"/>
                    <a:pt x="22926" y="6510"/>
                    <a:pt x="22926" y="6510"/>
                  </a:cubicBezTo>
                  <a:cubicBezTo>
                    <a:pt x="22191" y="9310"/>
                    <a:pt x="21456" y="12741"/>
                    <a:pt x="19671" y="14806"/>
                  </a:cubicBezTo>
                  <a:cubicBezTo>
                    <a:pt x="19216" y="15401"/>
                    <a:pt x="18481" y="15541"/>
                    <a:pt x="17886" y="16136"/>
                  </a:cubicBezTo>
                  <a:cubicBezTo>
                    <a:pt x="17291" y="16731"/>
                    <a:pt x="16696" y="17466"/>
                    <a:pt x="15961" y="18201"/>
                  </a:cubicBezTo>
                  <a:cubicBezTo>
                    <a:pt x="10640" y="21456"/>
                    <a:pt x="12566" y="21736"/>
                    <a:pt x="7525" y="20406"/>
                  </a:cubicBezTo>
                  <a:cubicBezTo>
                    <a:pt x="6930" y="20266"/>
                    <a:pt x="2625" y="16556"/>
                    <a:pt x="1470" y="15366"/>
                  </a:cubicBezTo>
                  <a:cubicBezTo>
                    <a:pt x="280" y="14036"/>
                    <a:pt x="595" y="13581"/>
                    <a:pt x="280" y="12846"/>
                  </a:cubicBezTo>
                  <a:cubicBezTo>
                    <a:pt x="140" y="11971"/>
                    <a:pt x="0" y="11235"/>
                    <a:pt x="0" y="10465"/>
                  </a:cubicBezTo>
                  <a:cubicBezTo>
                    <a:pt x="280" y="8855"/>
                    <a:pt x="595" y="7210"/>
                    <a:pt x="1190" y="5880"/>
                  </a:cubicBezTo>
                  <a:cubicBezTo>
                    <a:pt x="2065" y="3955"/>
                    <a:pt x="5495" y="4270"/>
                    <a:pt x="6230" y="4270"/>
                  </a:cubicBezTo>
                  <a:cubicBezTo>
                    <a:pt x="6965" y="4550"/>
                    <a:pt x="7280" y="5460"/>
                    <a:pt x="8295" y="5320"/>
                  </a:cubicBezTo>
                  <a:cubicBezTo>
                    <a:pt x="9170" y="5180"/>
                    <a:pt x="12286" y="4270"/>
                    <a:pt x="12286" y="3115"/>
                  </a:cubicBezTo>
                  <a:lnTo>
                    <a:pt x="14806" y="0"/>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38" name="Freeform: Shape 1737">
              <a:extLst>
                <a:ext uri="{FF2B5EF4-FFF2-40B4-BE49-F238E27FC236}">
                  <a16:creationId xmlns:a16="http://schemas.microsoft.com/office/drawing/2014/main" id="{69A35E2C-E02F-E9E4-1926-2868591484D4}"/>
                </a:ext>
              </a:extLst>
            </p:cNvPr>
            <p:cNvSpPr/>
            <p:nvPr/>
          </p:nvSpPr>
          <p:spPr>
            <a:xfrm>
              <a:off x="10982276" y="4307107"/>
              <a:ext cx="26822" cy="24833"/>
            </a:xfrm>
            <a:custGeom>
              <a:avLst/>
              <a:gdLst>
                <a:gd name="csX0" fmla="*/ 12776 w 26822"/>
                <a:gd name="csY0" fmla="*/ 24833 h 24833"/>
                <a:gd name="csX1" fmla="*/ 9485 w 26822"/>
                <a:gd name="csY1" fmla="*/ 24203 h 24833"/>
                <a:gd name="csX2" fmla="*/ 8890 w 26822"/>
                <a:gd name="csY2" fmla="*/ 24028 h 24833"/>
                <a:gd name="csX3" fmla="*/ 1995 w 26822"/>
                <a:gd name="csY3" fmla="*/ 18533 h 24833"/>
                <a:gd name="csX4" fmla="*/ 490 w 26822"/>
                <a:gd name="csY4" fmla="*/ 15663 h 24833"/>
                <a:gd name="csX5" fmla="*/ 315 w 26822"/>
                <a:gd name="csY5" fmla="*/ 14998 h 24833"/>
                <a:gd name="csX6" fmla="*/ 0 w 26822"/>
                <a:gd name="csY6" fmla="*/ 12338 h 24833"/>
                <a:gd name="csX7" fmla="*/ 1330 w 26822"/>
                <a:gd name="csY7" fmla="*/ 7017 h 24833"/>
                <a:gd name="csX8" fmla="*/ 7840 w 26822"/>
                <a:gd name="csY8" fmla="*/ 4287 h 24833"/>
                <a:gd name="csX9" fmla="*/ 8750 w 26822"/>
                <a:gd name="csY9" fmla="*/ 4427 h 24833"/>
                <a:gd name="csX10" fmla="*/ 10010 w 26822"/>
                <a:gd name="csY10" fmla="*/ 5267 h 24833"/>
                <a:gd name="csX11" fmla="*/ 12356 w 26822"/>
                <a:gd name="csY11" fmla="*/ 4462 h 24833"/>
                <a:gd name="csX12" fmla="*/ 12706 w 26822"/>
                <a:gd name="csY12" fmla="*/ 3797 h 24833"/>
                <a:gd name="csX13" fmla="*/ 15226 w 26822"/>
                <a:gd name="csY13" fmla="*/ 682 h 24833"/>
                <a:gd name="csX14" fmla="*/ 17046 w 26822"/>
                <a:gd name="csY14" fmla="*/ 52 h 24833"/>
                <a:gd name="csX15" fmla="*/ 19496 w 26822"/>
                <a:gd name="csY15" fmla="*/ 332 h 24833"/>
                <a:gd name="csX16" fmla="*/ 25621 w 26822"/>
                <a:gd name="csY16" fmla="*/ 2187 h 24833"/>
                <a:gd name="csX17" fmla="*/ 26601 w 26822"/>
                <a:gd name="csY17" fmla="*/ 8627 h 24833"/>
                <a:gd name="csX18" fmla="*/ 26356 w 26822"/>
                <a:gd name="csY18" fmla="*/ 9573 h 24833"/>
                <a:gd name="csX19" fmla="*/ 22891 w 26822"/>
                <a:gd name="csY19" fmla="*/ 17833 h 24833"/>
                <a:gd name="csX20" fmla="*/ 21526 w 26822"/>
                <a:gd name="csY20" fmla="*/ 18918 h 24833"/>
                <a:gd name="csX21" fmla="*/ 21036 w 26822"/>
                <a:gd name="csY21" fmla="*/ 19268 h 24833"/>
                <a:gd name="csX22" fmla="*/ 20301 w 26822"/>
                <a:gd name="csY22" fmla="*/ 20073 h 24833"/>
                <a:gd name="csX23" fmla="*/ 19111 w 26822"/>
                <a:gd name="csY23" fmla="*/ 21333 h 24833"/>
                <a:gd name="csX24" fmla="*/ 15996 w 26822"/>
                <a:gd name="csY24" fmla="*/ 23433 h 24833"/>
                <a:gd name="csX25" fmla="*/ 12776 w 26822"/>
                <a:gd name="csY25" fmla="*/ 24833 h 24833"/>
                <a:gd name="csX26" fmla="*/ 7455 w 26822"/>
                <a:gd name="csY26" fmla="*/ 7927 h 24833"/>
                <a:gd name="csX27" fmla="*/ 4690 w 26822"/>
                <a:gd name="csY27" fmla="*/ 8487 h 24833"/>
                <a:gd name="csX28" fmla="*/ 3675 w 26822"/>
                <a:gd name="csY28" fmla="*/ 12618 h 24833"/>
                <a:gd name="csX29" fmla="*/ 3920 w 26822"/>
                <a:gd name="csY29" fmla="*/ 13948 h 24833"/>
                <a:gd name="csX30" fmla="*/ 4130 w 26822"/>
                <a:gd name="csY30" fmla="*/ 14928 h 24833"/>
                <a:gd name="csX31" fmla="*/ 4725 w 26822"/>
                <a:gd name="csY31" fmla="*/ 15943 h 24833"/>
                <a:gd name="csX32" fmla="*/ 10150 w 26822"/>
                <a:gd name="csY32" fmla="*/ 20493 h 24833"/>
                <a:gd name="csX33" fmla="*/ 10500 w 26822"/>
                <a:gd name="csY33" fmla="*/ 20563 h 24833"/>
                <a:gd name="csX34" fmla="*/ 13896 w 26822"/>
                <a:gd name="csY34" fmla="*/ 20388 h 24833"/>
                <a:gd name="csX35" fmla="*/ 16871 w 26822"/>
                <a:gd name="csY35" fmla="*/ 18393 h 24833"/>
                <a:gd name="csX36" fmla="*/ 17606 w 26822"/>
                <a:gd name="csY36" fmla="*/ 17553 h 24833"/>
                <a:gd name="csX37" fmla="*/ 18481 w 26822"/>
                <a:gd name="csY37" fmla="*/ 16608 h 24833"/>
                <a:gd name="csX38" fmla="*/ 19741 w 26822"/>
                <a:gd name="csY38" fmla="*/ 15698 h 24833"/>
                <a:gd name="csX39" fmla="*/ 20161 w 26822"/>
                <a:gd name="csY39" fmla="*/ 15383 h 24833"/>
                <a:gd name="csX40" fmla="*/ 22821 w 26822"/>
                <a:gd name="csY40" fmla="*/ 8592 h 24833"/>
                <a:gd name="csX41" fmla="*/ 23031 w 26822"/>
                <a:gd name="csY41" fmla="*/ 7822 h 24833"/>
                <a:gd name="csX42" fmla="*/ 23101 w 26822"/>
                <a:gd name="csY42" fmla="*/ 4812 h 24833"/>
                <a:gd name="csX43" fmla="*/ 19286 w 26822"/>
                <a:gd name="csY43" fmla="*/ 3937 h 24833"/>
                <a:gd name="csX44" fmla="*/ 17466 w 26822"/>
                <a:gd name="csY44" fmla="*/ 3762 h 24833"/>
                <a:gd name="csX45" fmla="*/ 15891 w 26822"/>
                <a:gd name="csY45" fmla="*/ 5687 h 24833"/>
                <a:gd name="csX46" fmla="*/ 10500 w 26822"/>
                <a:gd name="csY46" fmla="*/ 8907 h 24833"/>
                <a:gd name="csX47" fmla="*/ 7595 w 26822"/>
                <a:gd name="csY47" fmla="*/ 7927 h 24833"/>
                <a:gd name="csX48" fmla="*/ 7595 w 26822"/>
                <a:gd name="csY48" fmla="*/ 7927 h 24833"/>
                <a:gd name="csX49" fmla="*/ 7525 w 26822"/>
                <a:gd name="csY49" fmla="*/ 7927 h 248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26822" h="24833">
                  <a:moveTo>
                    <a:pt x="12776" y="24833"/>
                  </a:moveTo>
                  <a:cubicBezTo>
                    <a:pt x="11936" y="24833"/>
                    <a:pt x="10990" y="24588"/>
                    <a:pt x="9485" y="24203"/>
                  </a:cubicBezTo>
                  <a:lnTo>
                    <a:pt x="8890" y="24028"/>
                  </a:lnTo>
                  <a:cubicBezTo>
                    <a:pt x="7455" y="23678"/>
                    <a:pt x="2030" y="18568"/>
                    <a:pt x="1995" y="18533"/>
                  </a:cubicBezTo>
                  <a:cubicBezTo>
                    <a:pt x="840" y="17203"/>
                    <a:pt x="595" y="16398"/>
                    <a:pt x="490" y="15663"/>
                  </a:cubicBezTo>
                  <a:cubicBezTo>
                    <a:pt x="420" y="15523"/>
                    <a:pt x="315" y="15138"/>
                    <a:pt x="315" y="14998"/>
                  </a:cubicBezTo>
                  <a:cubicBezTo>
                    <a:pt x="105" y="13773"/>
                    <a:pt x="0" y="13073"/>
                    <a:pt x="0" y="12338"/>
                  </a:cubicBezTo>
                  <a:cubicBezTo>
                    <a:pt x="350" y="10133"/>
                    <a:pt x="665" y="8452"/>
                    <a:pt x="1330" y="7017"/>
                  </a:cubicBezTo>
                  <a:cubicBezTo>
                    <a:pt x="2660" y="4112"/>
                    <a:pt x="6370" y="4147"/>
                    <a:pt x="7840" y="4287"/>
                  </a:cubicBezTo>
                  <a:cubicBezTo>
                    <a:pt x="8050" y="4287"/>
                    <a:pt x="8540" y="4322"/>
                    <a:pt x="8750" y="4427"/>
                  </a:cubicBezTo>
                  <a:cubicBezTo>
                    <a:pt x="9345" y="4672"/>
                    <a:pt x="9730" y="5022"/>
                    <a:pt x="10010" y="5267"/>
                  </a:cubicBezTo>
                  <a:cubicBezTo>
                    <a:pt x="10605" y="5267"/>
                    <a:pt x="11901" y="4777"/>
                    <a:pt x="12356" y="4462"/>
                  </a:cubicBezTo>
                  <a:cubicBezTo>
                    <a:pt x="12426" y="4217"/>
                    <a:pt x="12531" y="4007"/>
                    <a:pt x="12706" y="3797"/>
                  </a:cubicBezTo>
                  <a:lnTo>
                    <a:pt x="15226" y="682"/>
                  </a:lnTo>
                  <a:cubicBezTo>
                    <a:pt x="15646" y="157"/>
                    <a:pt x="16381" y="-123"/>
                    <a:pt x="17046" y="52"/>
                  </a:cubicBezTo>
                  <a:cubicBezTo>
                    <a:pt x="17851" y="227"/>
                    <a:pt x="18656" y="297"/>
                    <a:pt x="19496" y="332"/>
                  </a:cubicBezTo>
                  <a:cubicBezTo>
                    <a:pt x="21491" y="472"/>
                    <a:pt x="23731" y="647"/>
                    <a:pt x="25621" y="2187"/>
                  </a:cubicBezTo>
                  <a:cubicBezTo>
                    <a:pt x="26041" y="2537"/>
                    <a:pt x="27336" y="3587"/>
                    <a:pt x="26601" y="8627"/>
                  </a:cubicBezTo>
                  <a:lnTo>
                    <a:pt x="26356" y="9573"/>
                  </a:lnTo>
                  <a:cubicBezTo>
                    <a:pt x="25621" y="12408"/>
                    <a:pt x="24816" y="15628"/>
                    <a:pt x="22891" y="17833"/>
                  </a:cubicBezTo>
                  <a:cubicBezTo>
                    <a:pt x="22506" y="18358"/>
                    <a:pt x="21946" y="18673"/>
                    <a:pt x="21526" y="18918"/>
                  </a:cubicBezTo>
                  <a:cubicBezTo>
                    <a:pt x="21316" y="19058"/>
                    <a:pt x="21141" y="19163"/>
                    <a:pt x="21036" y="19268"/>
                  </a:cubicBezTo>
                  <a:cubicBezTo>
                    <a:pt x="20791" y="19513"/>
                    <a:pt x="20546" y="19758"/>
                    <a:pt x="20301" y="20073"/>
                  </a:cubicBezTo>
                  <a:cubicBezTo>
                    <a:pt x="19916" y="20493"/>
                    <a:pt x="19531" y="20913"/>
                    <a:pt x="19111" y="21333"/>
                  </a:cubicBezTo>
                  <a:cubicBezTo>
                    <a:pt x="17466" y="22383"/>
                    <a:pt x="16626" y="22978"/>
                    <a:pt x="15996" y="23433"/>
                  </a:cubicBezTo>
                  <a:cubicBezTo>
                    <a:pt x="14631" y="24413"/>
                    <a:pt x="13826" y="24833"/>
                    <a:pt x="12776" y="24833"/>
                  </a:cubicBezTo>
                  <a:close/>
                  <a:moveTo>
                    <a:pt x="7455" y="7927"/>
                  </a:moveTo>
                  <a:cubicBezTo>
                    <a:pt x="5040" y="7927"/>
                    <a:pt x="4725" y="8382"/>
                    <a:pt x="4690" y="8487"/>
                  </a:cubicBezTo>
                  <a:cubicBezTo>
                    <a:pt x="4200" y="9642"/>
                    <a:pt x="3885" y="11288"/>
                    <a:pt x="3675" y="12618"/>
                  </a:cubicBezTo>
                  <a:cubicBezTo>
                    <a:pt x="3675" y="12828"/>
                    <a:pt x="3815" y="13353"/>
                    <a:pt x="3920" y="13948"/>
                  </a:cubicBezTo>
                  <a:cubicBezTo>
                    <a:pt x="3990" y="14298"/>
                    <a:pt x="4095" y="14613"/>
                    <a:pt x="4130" y="14928"/>
                  </a:cubicBezTo>
                  <a:cubicBezTo>
                    <a:pt x="4200" y="15208"/>
                    <a:pt x="4200" y="15383"/>
                    <a:pt x="4725" y="15943"/>
                  </a:cubicBezTo>
                  <a:cubicBezTo>
                    <a:pt x="5775" y="16993"/>
                    <a:pt x="9450" y="20108"/>
                    <a:pt x="10150" y="20493"/>
                  </a:cubicBezTo>
                  <a:lnTo>
                    <a:pt x="10500" y="20563"/>
                  </a:lnTo>
                  <a:cubicBezTo>
                    <a:pt x="12741" y="21158"/>
                    <a:pt x="12776" y="21158"/>
                    <a:pt x="13896" y="20388"/>
                  </a:cubicBezTo>
                  <a:cubicBezTo>
                    <a:pt x="14561" y="19898"/>
                    <a:pt x="15471" y="19233"/>
                    <a:pt x="16871" y="18393"/>
                  </a:cubicBezTo>
                  <a:cubicBezTo>
                    <a:pt x="16941" y="18288"/>
                    <a:pt x="17256" y="17903"/>
                    <a:pt x="17606" y="17553"/>
                  </a:cubicBezTo>
                  <a:cubicBezTo>
                    <a:pt x="17921" y="17238"/>
                    <a:pt x="18201" y="16888"/>
                    <a:pt x="18481" y="16608"/>
                  </a:cubicBezTo>
                  <a:cubicBezTo>
                    <a:pt x="18936" y="16188"/>
                    <a:pt x="19391" y="15908"/>
                    <a:pt x="19741" y="15698"/>
                  </a:cubicBezTo>
                  <a:cubicBezTo>
                    <a:pt x="19741" y="15663"/>
                    <a:pt x="20161" y="15418"/>
                    <a:pt x="20161" y="15383"/>
                  </a:cubicBezTo>
                  <a:cubicBezTo>
                    <a:pt x="21491" y="13808"/>
                    <a:pt x="22226" y="11043"/>
                    <a:pt x="22821" y="8592"/>
                  </a:cubicBezTo>
                  <a:lnTo>
                    <a:pt x="23031" y="7822"/>
                  </a:lnTo>
                  <a:cubicBezTo>
                    <a:pt x="23171" y="6807"/>
                    <a:pt x="23206" y="5407"/>
                    <a:pt x="23101" y="4812"/>
                  </a:cubicBezTo>
                  <a:cubicBezTo>
                    <a:pt x="22121" y="4147"/>
                    <a:pt x="20791" y="4077"/>
                    <a:pt x="19286" y="3937"/>
                  </a:cubicBezTo>
                  <a:cubicBezTo>
                    <a:pt x="18656" y="3902"/>
                    <a:pt x="18061" y="3867"/>
                    <a:pt x="17466" y="3762"/>
                  </a:cubicBezTo>
                  <a:lnTo>
                    <a:pt x="15891" y="5687"/>
                  </a:lnTo>
                  <a:cubicBezTo>
                    <a:pt x="15051" y="8102"/>
                    <a:pt x="10675" y="8872"/>
                    <a:pt x="10500" y="8907"/>
                  </a:cubicBezTo>
                  <a:cubicBezTo>
                    <a:pt x="8960" y="9152"/>
                    <a:pt x="8015" y="8312"/>
                    <a:pt x="7595" y="7927"/>
                  </a:cubicBezTo>
                  <a:lnTo>
                    <a:pt x="7595" y="7927"/>
                  </a:lnTo>
                  <a:cubicBezTo>
                    <a:pt x="7595" y="7927"/>
                    <a:pt x="7560" y="7927"/>
                    <a:pt x="7525" y="7927"/>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39" name="Freeform: Shape 1738">
              <a:extLst>
                <a:ext uri="{FF2B5EF4-FFF2-40B4-BE49-F238E27FC236}">
                  <a16:creationId xmlns:a16="http://schemas.microsoft.com/office/drawing/2014/main" id="{67727774-0041-7B04-4EFF-9072CAA30094}"/>
                </a:ext>
              </a:extLst>
            </p:cNvPr>
            <p:cNvSpPr/>
            <p:nvPr/>
          </p:nvSpPr>
          <p:spPr>
            <a:xfrm>
              <a:off x="10961490" y="4275244"/>
              <a:ext cx="21306" cy="22604"/>
            </a:xfrm>
            <a:custGeom>
              <a:avLst/>
              <a:gdLst>
                <a:gd name="csX0" fmla="*/ 11511 w 21306"/>
                <a:gd name="csY0" fmla="*/ 834 h 22604"/>
                <a:gd name="csX1" fmla="*/ 11511 w 21306"/>
                <a:gd name="csY1" fmla="*/ 834 h 22604"/>
                <a:gd name="csX2" fmla="*/ 19491 w 21306"/>
                <a:gd name="csY2" fmla="*/ 379 h 22604"/>
                <a:gd name="csX3" fmla="*/ 21276 w 21306"/>
                <a:gd name="csY3" fmla="*/ 4824 h 22604"/>
                <a:gd name="csX4" fmla="*/ 20401 w 21306"/>
                <a:gd name="csY4" fmla="*/ 13714 h 22604"/>
                <a:gd name="csX5" fmla="*/ 19071 w 21306"/>
                <a:gd name="csY5" fmla="*/ 15500 h 22604"/>
                <a:gd name="csX6" fmla="*/ 17881 w 21306"/>
                <a:gd name="csY6" fmla="*/ 18020 h 22604"/>
                <a:gd name="csX7" fmla="*/ 10321 w 21306"/>
                <a:gd name="csY7" fmla="*/ 22605 h 22604"/>
                <a:gd name="csX8" fmla="*/ 3075 w 21306"/>
                <a:gd name="csY8" fmla="*/ 19350 h 22604"/>
                <a:gd name="csX9" fmla="*/ 1150 w 21306"/>
                <a:gd name="csY9" fmla="*/ 17285 h 22604"/>
                <a:gd name="csX10" fmla="*/ 275 w 21306"/>
                <a:gd name="csY10" fmla="*/ 15080 h 22604"/>
                <a:gd name="csX11" fmla="*/ 135 w 21306"/>
                <a:gd name="csY11" fmla="*/ 10494 h 22604"/>
                <a:gd name="csX12" fmla="*/ 4581 w 21306"/>
                <a:gd name="csY12" fmla="*/ 7379 h 22604"/>
                <a:gd name="csX13" fmla="*/ 6646 w 21306"/>
                <a:gd name="csY13" fmla="*/ 7834 h 22604"/>
                <a:gd name="csX14" fmla="*/ 9901 w 21306"/>
                <a:gd name="csY14" fmla="*/ 4579 h 22604"/>
                <a:gd name="csX15" fmla="*/ 11511 w 21306"/>
                <a:gd name="csY15" fmla="*/ 869 h 226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306" h="22604">
                  <a:moveTo>
                    <a:pt x="11511" y="834"/>
                  </a:moveTo>
                  <a:lnTo>
                    <a:pt x="11511" y="834"/>
                  </a:lnTo>
                  <a:cubicBezTo>
                    <a:pt x="14171" y="694"/>
                    <a:pt x="16831" y="-636"/>
                    <a:pt x="19491" y="379"/>
                  </a:cubicBezTo>
                  <a:cubicBezTo>
                    <a:pt x="20541" y="834"/>
                    <a:pt x="21276" y="4824"/>
                    <a:pt x="21276" y="4824"/>
                  </a:cubicBezTo>
                  <a:cubicBezTo>
                    <a:pt x="21276" y="7799"/>
                    <a:pt x="21556" y="11194"/>
                    <a:pt x="20401" y="13714"/>
                  </a:cubicBezTo>
                  <a:cubicBezTo>
                    <a:pt x="20121" y="14310"/>
                    <a:pt x="19526" y="14765"/>
                    <a:pt x="19071" y="15500"/>
                  </a:cubicBezTo>
                  <a:cubicBezTo>
                    <a:pt x="18616" y="16235"/>
                    <a:pt x="18196" y="17110"/>
                    <a:pt x="17881" y="18020"/>
                  </a:cubicBezTo>
                  <a:cubicBezTo>
                    <a:pt x="13751" y="22745"/>
                    <a:pt x="15501" y="22465"/>
                    <a:pt x="10321" y="22605"/>
                  </a:cubicBezTo>
                  <a:cubicBezTo>
                    <a:pt x="9726" y="22605"/>
                    <a:pt x="4546" y="20225"/>
                    <a:pt x="3075" y="19350"/>
                  </a:cubicBezTo>
                  <a:cubicBezTo>
                    <a:pt x="1605" y="18475"/>
                    <a:pt x="1745" y="18020"/>
                    <a:pt x="1150" y="17285"/>
                  </a:cubicBezTo>
                  <a:cubicBezTo>
                    <a:pt x="870" y="16550"/>
                    <a:pt x="415" y="15955"/>
                    <a:pt x="275" y="15080"/>
                  </a:cubicBezTo>
                  <a:cubicBezTo>
                    <a:pt x="135" y="13609"/>
                    <a:pt x="-180" y="11964"/>
                    <a:pt x="135" y="10494"/>
                  </a:cubicBezTo>
                  <a:cubicBezTo>
                    <a:pt x="590" y="8429"/>
                    <a:pt x="3845" y="7694"/>
                    <a:pt x="4581" y="7379"/>
                  </a:cubicBezTo>
                  <a:cubicBezTo>
                    <a:pt x="5316" y="7519"/>
                    <a:pt x="5771" y="8429"/>
                    <a:pt x="6646" y="7834"/>
                  </a:cubicBezTo>
                  <a:cubicBezTo>
                    <a:pt x="7696" y="7379"/>
                    <a:pt x="10356" y="5769"/>
                    <a:pt x="9901" y="4579"/>
                  </a:cubicBezTo>
                  <a:lnTo>
                    <a:pt x="11511" y="869"/>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0" name="Freeform: Shape 1739">
              <a:extLst>
                <a:ext uri="{FF2B5EF4-FFF2-40B4-BE49-F238E27FC236}">
                  <a16:creationId xmlns:a16="http://schemas.microsoft.com/office/drawing/2014/main" id="{A823E781-8BD6-9162-8A3D-B2148EB087EF}"/>
                </a:ext>
              </a:extLst>
            </p:cNvPr>
            <p:cNvSpPr/>
            <p:nvPr/>
          </p:nvSpPr>
          <p:spPr>
            <a:xfrm>
              <a:off x="10959646" y="4273377"/>
              <a:ext cx="24973" cy="26291"/>
            </a:xfrm>
            <a:custGeom>
              <a:avLst/>
              <a:gdLst>
                <a:gd name="csX0" fmla="*/ 12235 w 24973"/>
                <a:gd name="csY0" fmla="*/ 26292 h 26291"/>
                <a:gd name="csX1" fmla="*/ 3974 w 24973"/>
                <a:gd name="csY1" fmla="*/ 22757 h 26291"/>
                <a:gd name="csX2" fmla="*/ 1804 w 24973"/>
                <a:gd name="csY2" fmla="*/ 20622 h 26291"/>
                <a:gd name="csX3" fmla="*/ 1314 w 24973"/>
                <a:gd name="csY3" fmla="*/ 19817 h 26291"/>
                <a:gd name="csX4" fmla="*/ 1034 w 24973"/>
                <a:gd name="csY4" fmla="*/ 19257 h 26291"/>
                <a:gd name="csX5" fmla="*/ 299 w 24973"/>
                <a:gd name="csY5" fmla="*/ 17192 h 26291"/>
                <a:gd name="csX6" fmla="*/ 194 w 24973"/>
                <a:gd name="csY6" fmla="*/ 16247 h 26291"/>
                <a:gd name="csX7" fmla="*/ 159 w 24973"/>
                <a:gd name="csY7" fmla="*/ 11941 h 26291"/>
                <a:gd name="csX8" fmla="*/ 5409 w 24973"/>
                <a:gd name="csY8" fmla="*/ 7601 h 26291"/>
                <a:gd name="csX9" fmla="*/ 6774 w 24973"/>
                <a:gd name="csY9" fmla="*/ 7391 h 26291"/>
                <a:gd name="csX10" fmla="*/ 7929 w 24973"/>
                <a:gd name="csY10" fmla="*/ 7881 h 26291"/>
                <a:gd name="csX11" fmla="*/ 9890 w 24973"/>
                <a:gd name="csY11" fmla="*/ 6481 h 26291"/>
                <a:gd name="csX12" fmla="*/ 10065 w 24973"/>
                <a:gd name="csY12" fmla="*/ 5641 h 26291"/>
                <a:gd name="csX13" fmla="*/ 11710 w 24973"/>
                <a:gd name="csY13" fmla="*/ 1931 h 26291"/>
                <a:gd name="csX14" fmla="*/ 13285 w 24973"/>
                <a:gd name="csY14" fmla="*/ 846 h 26291"/>
                <a:gd name="csX15" fmla="*/ 15665 w 24973"/>
                <a:gd name="csY15" fmla="*/ 461 h 26291"/>
                <a:gd name="csX16" fmla="*/ 22035 w 24973"/>
                <a:gd name="csY16" fmla="*/ 531 h 26291"/>
                <a:gd name="csX17" fmla="*/ 24940 w 24973"/>
                <a:gd name="csY17" fmla="*/ 6341 h 26291"/>
                <a:gd name="csX18" fmla="*/ 24940 w 24973"/>
                <a:gd name="csY18" fmla="*/ 8161 h 26291"/>
                <a:gd name="csX19" fmla="*/ 23925 w 24973"/>
                <a:gd name="csY19" fmla="*/ 16352 h 26291"/>
                <a:gd name="csX20" fmla="*/ 23015 w 24973"/>
                <a:gd name="csY20" fmla="*/ 17612 h 26291"/>
                <a:gd name="csX21" fmla="*/ 22490 w 24973"/>
                <a:gd name="csY21" fmla="*/ 18277 h 26291"/>
                <a:gd name="csX22" fmla="*/ 21510 w 24973"/>
                <a:gd name="csY22" fmla="*/ 20412 h 26291"/>
                <a:gd name="csX23" fmla="*/ 21125 w 24973"/>
                <a:gd name="csY23" fmla="*/ 21042 h 26291"/>
                <a:gd name="csX24" fmla="*/ 19095 w 24973"/>
                <a:gd name="csY24" fmla="*/ 23527 h 26291"/>
                <a:gd name="csX25" fmla="*/ 13005 w 24973"/>
                <a:gd name="csY25" fmla="*/ 26257 h 26291"/>
                <a:gd name="csX26" fmla="*/ 12270 w 24973"/>
                <a:gd name="csY26" fmla="*/ 26257 h 26291"/>
                <a:gd name="csX27" fmla="*/ 4604 w 24973"/>
                <a:gd name="csY27" fmla="*/ 18172 h 26291"/>
                <a:gd name="csX28" fmla="*/ 4989 w 24973"/>
                <a:gd name="csY28" fmla="*/ 18802 h 26291"/>
                <a:gd name="csX29" fmla="*/ 5864 w 24973"/>
                <a:gd name="csY29" fmla="*/ 19607 h 26291"/>
                <a:gd name="csX30" fmla="*/ 12480 w 24973"/>
                <a:gd name="csY30" fmla="*/ 22652 h 26291"/>
                <a:gd name="csX31" fmla="*/ 12900 w 24973"/>
                <a:gd name="csY31" fmla="*/ 22652 h 26291"/>
                <a:gd name="csX32" fmla="*/ 16190 w 24973"/>
                <a:gd name="csY32" fmla="*/ 21322 h 26291"/>
                <a:gd name="csX33" fmla="*/ 18115 w 24973"/>
                <a:gd name="csY33" fmla="*/ 18942 h 26291"/>
                <a:gd name="csX34" fmla="*/ 19375 w 24973"/>
                <a:gd name="csY34" fmla="*/ 16422 h 26291"/>
                <a:gd name="csX35" fmla="*/ 20250 w 24973"/>
                <a:gd name="csY35" fmla="*/ 15266 h 26291"/>
                <a:gd name="csX36" fmla="*/ 20635 w 24973"/>
                <a:gd name="csY36" fmla="*/ 14776 h 26291"/>
                <a:gd name="csX37" fmla="*/ 21335 w 24973"/>
                <a:gd name="csY37" fmla="*/ 8301 h 26291"/>
                <a:gd name="csX38" fmla="*/ 21335 w 24973"/>
                <a:gd name="csY38" fmla="*/ 6761 h 26291"/>
                <a:gd name="csX39" fmla="*/ 20425 w 24973"/>
                <a:gd name="csY39" fmla="*/ 3961 h 26291"/>
                <a:gd name="csX40" fmla="*/ 16435 w 24973"/>
                <a:gd name="csY40" fmla="*/ 4171 h 26291"/>
                <a:gd name="csX41" fmla="*/ 14685 w 24973"/>
                <a:gd name="csY41" fmla="*/ 4486 h 26291"/>
                <a:gd name="csX42" fmla="*/ 13705 w 24973"/>
                <a:gd name="csY42" fmla="*/ 6691 h 26291"/>
                <a:gd name="csX43" fmla="*/ 9295 w 24973"/>
                <a:gd name="csY43" fmla="*/ 11416 h 26291"/>
                <a:gd name="csX44" fmla="*/ 6354 w 24973"/>
                <a:gd name="csY44" fmla="*/ 11276 h 26291"/>
                <a:gd name="csX45" fmla="*/ 3869 w 24973"/>
                <a:gd name="csY45" fmla="*/ 12781 h 26291"/>
                <a:gd name="csX46" fmla="*/ 3939 w 24973"/>
                <a:gd name="csY46" fmla="*/ 15932 h 26291"/>
                <a:gd name="csX47" fmla="*/ 4009 w 24973"/>
                <a:gd name="csY47" fmla="*/ 16807 h 26291"/>
                <a:gd name="csX48" fmla="*/ 4394 w 24973"/>
                <a:gd name="csY48" fmla="*/ 17717 h 26291"/>
                <a:gd name="csX49" fmla="*/ 4674 w 24973"/>
                <a:gd name="csY49" fmla="*/ 18277 h 26291"/>
                <a:gd name="csX50" fmla="*/ 7579 w 24973"/>
                <a:gd name="csY50" fmla="*/ 8056 h 26291"/>
                <a:gd name="csX51" fmla="*/ 7439 w 24973"/>
                <a:gd name="csY51" fmla="*/ 8126 h 26291"/>
                <a:gd name="csX52" fmla="*/ 7579 w 24973"/>
                <a:gd name="csY52" fmla="*/ 8056 h 2629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24973" h="26291">
                  <a:moveTo>
                    <a:pt x="12235" y="26292"/>
                  </a:moveTo>
                  <a:cubicBezTo>
                    <a:pt x="10765" y="26292"/>
                    <a:pt x="4674" y="23177"/>
                    <a:pt x="3974" y="22757"/>
                  </a:cubicBezTo>
                  <a:cubicBezTo>
                    <a:pt x="2644" y="21952"/>
                    <a:pt x="2189" y="21322"/>
                    <a:pt x="1804" y="20622"/>
                  </a:cubicBezTo>
                  <a:cubicBezTo>
                    <a:pt x="1699" y="20482"/>
                    <a:pt x="1384" y="19957"/>
                    <a:pt x="1314" y="19817"/>
                  </a:cubicBezTo>
                  <a:lnTo>
                    <a:pt x="1034" y="19257"/>
                  </a:lnTo>
                  <a:cubicBezTo>
                    <a:pt x="789" y="18732"/>
                    <a:pt x="439" y="18102"/>
                    <a:pt x="299" y="17192"/>
                  </a:cubicBezTo>
                  <a:lnTo>
                    <a:pt x="194" y="16247"/>
                  </a:lnTo>
                  <a:cubicBezTo>
                    <a:pt x="19" y="14916"/>
                    <a:pt x="-121" y="13411"/>
                    <a:pt x="159" y="11941"/>
                  </a:cubicBezTo>
                  <a:cubicBezTo>
                    <a:pt x="789" y="9106"/>
                    <a:pt x="4044" y="8056"/>
                    <a:pt x="5409" y="7601"/>
                  </a:cubicBezTo>
                  <a:cubicBezTo>
                    <a:pt x="5724" y="7496"/>
                    <a:pt x="6459" y="7391"/>
                    <a:pt x="6774" y="7391"/>
                  </a:cubicBezTo>
                  <a:cubicBezTo>
                    <a:pt x="7264" y="7496"/>
                    <a:pt x="7649" y="7706"/>
                    <a:pt x="7929" y="7881"/>
                  </a:cubicBezTo>
                  <a:cubicBezTo>
                    <a:pt x="8770" y="7426"/>
                    <a:pt x="9575" y="6866"/>
                    <a:pt x="9890" y="6481"/>
                  </a:cubicBezTo>
                  <a:cubicBezTo>
                    <a:pt x="9890" y="6201"/>
                    <a:pt x="9925" y="5886"/>
                    <a:pt x="10065" y="5641"/>
                  </a:cubicBezTo>
                  <a:lnTo>
                    <a:pt x="11710" y="1931"/>
                  </a:lnTo>
                  <a:cubicBezTo>
                    <a:pt x="11990" y="1301"/>
                    <a:pt x="12620" y="881"/>
                    <a:pt x="13285" y="846"/>
                  </a:cubicBezTo>
                  <a:cubicBezTo>
                    <a:pt x="14090" y="811"/>
                    <a:pt x="14860" y="636"/>
                    <a:pt x="15665" y="461"/>
                  </a:cubicBezTo>
                  <a:cubicBezTo>
                    <a:pt x="17590" y="76"/>
                    <a:pt x="19725" y="-379"/>
                    <a:pt x="22035" y="531"/>
                  </a:cubicBezTo>
                  <a:cubicBezTo>
                    <a:pt x="22560" y="741"/>
                    <a:pt x="24030" y="1371"/>
                    <a:pt x="24940" y="6341"/>
                  </a:cubicBezTo>
                  <a:lnTo>
                    <a:pt x="24940" y="8161"/>
                  </a:lnTo>
                  <a:cubicBezTo>
                    <a:pt x="25010" y="10821"/>
                    <a:pt x="25080" y="13866"/>
                    <a:pt x="23925" y="16352"/>
                  </a:cubicBezTo>
                  <a:cubicBezTo>
                    <a:pt x="23645" y="16912"/>
                    <a:pt x="23330" y="17262"/>
                    <a:pt x="23015" y="17612"/>
                  </a:cubicBezTo>
                  <a:cubicBezTo>
                    <a:pt x="22840" y="17822"/>
                    <a:pt x="22665" y="18032"/>
                    <a:pt x="22490" y="18277"/>
                  </a:cubicBezTo>
                  <a:cubicBezTo>
                    <a:pt x="22070" y="19012"/>
                    <a:pt x="21720" y="19747"/>
                    <a:pt x="21510" y="20412"/>
                  </a:cubicBezTo>
                  <a:cubicBezTo>
                    <a:pt x="21440" y="20657"/>
                    <a:pt x="21300" y="20867"/>
                    <a:pt x="21125" y="21042"/>
                  </a:cubicBezTo>
                  <a:cubicBezTo>
                    <a:pt x="20180" y="22127"/>
                    <a:pt x="19550" y="22932"/>
                    <a:pt x="19095" y="23527"/>
                  </a:cubicBezTo>
                  <a:cubicBezTo>
                    <a:pt x="17205" y="25977"/>
                    <a:pt x="16610" y="26152"/>
                    <a:pt x="13005" y="26257"/>
                  </a:cubicBezTo>
                  <a:lnTo>
                    <a:pt x="12270" y="26257"/>
                  </a:lnTo>
                  <a:close/>
                  <a:moveTo>
                    <a:pt x="4604" y="18172"/>
                  </a:moveTo>
                  <a:cubicBezTo>
                    <a:pt x="4779" y="18382"/>
                    <a:pt x="4884" y="18592"/>
                    <a:pt x="4989" y="18802"/>
                  </a:cubicBezTo>
                  <a:cubicBezTo>
                    <a:pt x="5164" y="19117"/>
                    <a:pt x="5234" y="19222"/>
                    <a:pt x="5864" y="19607"/>
                  </a:cubicBezTo>
                  <a:cubicBezTo>
                    <a:pt x="7229" y="20447"/>
                    <a:pt x="11675" y="22442"/>
                    <a:pt x="12480" y="22652"/>
                  </a:cubicBezTo>
                  <a:lnTo>
                    <a:pt x="12900" y="22652"/>
                  </a:lnTo>
                  <a:cubicBezTo>
                    <a:pt x="14463" y="22582"/>
                    <a:pt x="15560" y="22138"/>
                    <a:pt x="16190" y="21322"/>
                  </a:cubicBezTo>
                  <a:cubicBezTo>
                    <a:pt x="16645" y="20727"/>
                    <a:pt x="17275" y="19957"/>
                    <a:pt x="18115" y="18942"/>
                  </a:cubicBezTo>
                  <a:cubicBezTo>
                    <a:pt x="18500" y="17892"/>
                    <a:pt x="18990" y="17017"/>
                    <a:pt x="19375" y="16422"/>
                  </a:cubicBezTo>
                  <a:cubicBezTo>
                    <a:pt x="19655" y="15967"/>
                    <a:pt x="19970" y="15581"/>
                    <a:pt x="20250" y="15266"/>
                  </a:cubicBezTo>
                  <a:cubicBezTo>
                    <a:pt x="20425" y="15091"/>
                    <a:pt x="20565" y="14881"/>
                    <a:pt x="20635" y="14776"/>
                  </a:cubicBezTo>
                  <a:cubicBezTo>
                    <a:pt x="21405" y="13131"/>
                    <a:pt x="21370" y="10681"/>
                    <a:pt x="21335" y="8301"/>
                  </a:cubicBezTo>
                  <a:lnTo>
                    <a:pt x="21335" y="6761"/>
                  </a:lnTo>
                  <a:cubicBezTo>
                    <a:pt x="21125" y="5851"/>
                    <a:pt x="20705" y="4486"/>
                    <a:pt x="20425" y="3961"/>
                  </a:cubicBezTo>
                  <a:cubicBezTo>
                    <a:pt x="19200" y="3611"/>
                    <a:pt x="17940" y="3891"/>
                    <a:pt x="16435" y="4171"/>
                  </a:cubicBezTo>
                  <a:cubicBezTo>
                    <a:pt x="15840" y="4311"/>
                    <a:pt x="15280" y="4416"/>
                    <a:pt x="14685" y="4486"/>
                  </a:cubicBezTo>
                  <a:lnTo>
                    <a:pt x="13705" y="6691"/>
                  </a:lnTo>
                  <a:cubicBezTo>
                    <a:pt x="13775" y="9421"/>
                    <a:pt x="9470" y="11311"/>
                    <a:pt x="9295" y="11416"/>
                  </a:cubicBezTo>
                  <a:cubicBezTo>
                    <a:pt x="8174" y="12221"/>
                    <a:pt x="6914" y="11626"/>
                    <a:pt x="6354" y="11276"/>
                  </a:cubicBezTo>
                  <a:cubicBezTo>
                    <a:pt x="4429" y="11941"/>
                    <a:pt x="3939" y="12466"/>
                    <a:pt x="3869" y="12781"/>
                  </a:cubicBezTo>
                  <a:cubicBezTo>
                    <a:pt x="3694" y="13656"/>
                    <a:pt x="3834" y="14811"/>
                    <a:pt x="3939" y="15932"/>
                  </a:cubicBezTo>
                  <a:lnTo>
                    <a:pt x="4009" y="16807"/>
                  </a:lnTo>
                  <a:cubicBezTo>
                    <a:pt x="4044" y="16982"/>
                    <a:pt x="4184" y="17297"/>
                    <a:pt x="4394" y="17717"/>
                  </a:cubicBezTo>
                  <a:cubicBezTo>
                    <a:pt x="4499" y="17892"/>
                    <a:pt x="4569" y="18102"/>
                    <a:pt x="4674" y="18277"/>
                  </a:cubicBezTo>
                  <a:close/>
                  <a:moveTo>
                    <a:pt x="7579" y="8056"/>
                  </a:moveTo>
                  <a:cubicBezTo>
                    <a:pt x="7579" y="8056"/>
                    <a:pt x="7509" y="8091"/>
                    <a:pt x="7439" y="8126"/>
                  </a:cubicBezTo>
                  <a:cubicBezTo>
                    <a:pt x="7474" y="8126"/>
                    <a:pt x="7509" y="8091"/>
                    <a:pt x="7579" y="8056"/>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1" name="Freeform: Shape 1740">
              <a:extLst>
                <a:ext uri="{FF2B5EF4-FFF2-40B4-BE49-F238E27FC236}">
                  <a16:creationId xmlns:a16="http://schemas.microsoft.com/office/drawing/2014/main" id="{CF5B6788-B9D7-59A4-636F-68BD6703CEF9}"/>
                </a:ext>
              </a:extLst>
            </p:cNvPr>
            <p:cNvSpPr/>
            <p:nvPr/>
          </p:nvSpPr>
          <p:spPr>
            <a:xfrm>
              <a:off x="11031172" y="4217423"/>
              <a:ext cx="21106" cy="23483"/>
            </a:xfrm>
            <a:custGeom>
              <a:avLst/>
              <a:gdLst>
                <a:gd name="csX0" fmla="*/ 21107 w 21106"/>
                <a:gd name="csY0" fmla="*/ 15883 h 23483"/>
                <a:gd name="csX1" fmla="*/ 21107 w 21106"/>
                <a:gd name="csY1" fmla="*/ 15883 h 23483"/>
                <a:gd name="csX2" fmla="*/ 18447 w 21106"/>
                <a:gd name="csY2" fmla="*/ 23128 h 23483"/>
                <a:gd name="csX3" fmla="*/ 13547 w 21106"/>
                <a:gd name="csY3" fmla="*/ 22988 h 23483"/>
                <a:gd name="csX4" fmla="*/ 5706 w 21106"/>
                <a:gd name="csY4" fmla="*/ 18683 h 23483"/>
                <a:gd name="csX5" fmla="*/ 4516 w 21106"/>
                <a:gd name="csY5" fmla="*/ 16758 h 23483"/>
                <a:gd name="csX6" fmla="*/ 2591 w 21106"/>
                <a:gd name="csY6" fmla="*/ 14693 h 23483"/>
                <a:gd name="csX7" fmla="*/ 1121 w 21106"/>
                <a:gd name="csY7" fmla="*/ 6117 h 23483"/>
                <a:gd name="csX8" fmla="*/ 7036 w 21106"/>
                <a:gd name="csY8" fmla="*/ 937 h 23483"/>
                <a:gd name="csX9" fmla="*/ 9696 w 21106"/>
                <a:gd name="csY9" fmla="*/ 62 h 23483"/>
                <a:gd name="csX10" fmla="*/ 12217 w 21106"/>
                <a:gd name="csY10" fmla="*/ 62 h 23483"/>
                <a:gd name="csX11" fmla="*/ 16662 w 21106"/>
                <a:gd name="csY11" fmla="*/ 1847 h 23483"/>
                <a:gd name="csX12" fmla="*/ 17852 w 21106"/>
                <a:gd name="csY12" fmla="*/ 7028 h 23483"/>
                <a:gd name="csX13" fmla="*/ 16522 w 21106"/>
                <a:gd name="csY13" fmla="*/ 8813 h 23483"/>
                <a:gd name="csX14" fmla="*/ 18307 w 21106"/>
                <a:gd name="csY14" fmla="*/ 12943 h 23483"/>
                <a:gd name="csX15" fmla="*/ 21107 w 21106"/>
                <a:gd name="csY15" fmla="*/ 15918 h 2348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106" h="23483">
                  <a:moveTo>
                    <a:pt x="21107" y="15883"/>
                  </a:moveTo>
                  <a:lnTo>
                    <a:pt x="21107" y="15883"/>
                  </a:lnTo>
                  <a:cubicBezTo>
                    <a:pt x="20232" y="18263"/>
                    <a:pt x="20512" y="21203"/>
                    <a:pt x="18447" y="23128"/>
                  </a:cubicBezTo>
                  <a:cubicBezTo>
                    <a:pt x="17572" y="24003"/>
                    <a:pt x="13547" y="22988"/>
                    <a:pt x="13547" y="22988"/>
                  </a:cubicBezTo>
                  <a:cubicBezTo>
                    <a:pt x="10747" y="21798"/>
                    <a:pt x="7491" y="20783"/>
                    <a:pt x="5706" y="18683"/>
                  </a:cubicBezTo>
                  <a:cubicBezTo>
                    <a:pt x="5111" y="18088"/>
                    <a:pt x="4971" y="17353"/>
                    <a:pt x="4516" y="16758"/>
                  </a:cubicBezTo>
                  <a:cubicBezTo>
                    <a:pt x="3921" y="16023"/>
                    <a:pt x="3186" y="15428"/>
                    <a:pt x="2591" y="14693"/>
                  </a:cubicBezTo>
                  <a:cubicBezTo>
                    <a:pt x="-209" y="9058"/>
                    <a:pt x="-804" y="10843"/>
                    <a:pt x="1121" y="6117"/>
                  </a:cubicBezTo>
                  <a:cubicBezTo>
                    <a:pt x="1401" y="5662"/>
                    <a:pt x="5566" y="1987"/>
                    <a:pt x="7036" y="937"/>
                  </a:cubicBezTo>
                  <a:cubicBezTo>
                    <a:pt x="8506" y="-113"/>
                    <a:pt x="8821" y="342"/>
                    <a:pt x="9696" y="62"/>
                  </a:cubicBezTo>
                  <a:cubicBezTo>
                    <a:pt x="10572" y="62"/>
                    <a:pt x="11307" y="-78"/>
                    <a:pt x="12217" y="62"/>
                  </a:cubicBezTo>
                  <a:cubicBezTo>
                    <a:pt x="13687" y="517"/>
                    <a:pt x="15332" y="1112"/>
                    <a:pt x="16662" y="1847"/>
                  </a:cubicBezTo>
                  <a:cubicBezTo>
                    <a:pt x="18447" y="3037"/>
                    <a:pt x="17852" y="6152"/>
                    <a:pt x="17852" y="7028"/>
                  </a:cubicBezTo>
                  <a:cubicBezTo>
                    <a:pt x="17397" y="7623"/>
                    <a:pt x="16382" y="7763"/>
                    <a:pt x="16522" y="8813"/>
                  </a:cubicBezTo>
                  <a:cubicBezTo>
                    <a:pt x="16522" y="9688"/>
                    <a:pt x="17117" y="12943"/>
                    <a:pt x="18307" y="12943"/>
                  </a:cubicBezTo>
                  <a:lnTo>
                    <a:pt x="21107" y="15918"/>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2" name="Freeform: Shape 1741">
              <a:extLst>
                <a:ext uri="{FF2B5EF4-FFF2-40B4-BE49-F238E27FC236}">
                  <a16:creationId xmlns:a16="http://schemas.microsoft.com/office/drawing/2014/main" id="{307050C4-49AC-0B8E-6EF5-FDCCFD9DF56B}"/>
                </a:ext>
              </a:extLst>
            </p:cNvPr>
            <p:cNvSpPr/>
            <p:nvPr/>
          </p:nvSpPr>
          <p:spPr>
            <a:xfrm>
              <a:off x="11029378" y="4215564"/>
              <a:ext cx="24769" cy="27227"/>
            </a:xfrm>
            <a:custGeom>
              <a:avLst/>
              <a:gdLst>
                <a:gd name="csX0" fmla="*/ 18701 w 24769"/>
                <a:gd name="csY0" fmla="*/ 27227 h 27227"/>
                <a:gd name="csX1" fmla="*/ 14921 w 24769"/>
                <a:gd name="csY1" fmla="*/ 26667 h 27227"/>
                <a:gd name="csX2" fmla="*/ 13276 w 24769"/>
                <a:gd name="csY2" fmla="*/ 26002 h 27227"/>
                <a:gd name="csX3" fmla="*/ 6135 w 24769"/>
                <a:gd name="csY3" fmla="*/ 21767 h 27227"/>
                <a:gd name="csX4" fmla="*/ 5155 w 24769"/>
                <a:gd name="csY4" fmla="*/ 20262 h 27227"/>
                <a:gd name="csX5" fmla="*/ 4875 w 24769"/>
                <a:gd name="csY5" fmla="*/ 19772 h 27227"/>
                <a:gd name="csX6" fmla="*/ 4070 w 24769"/>
                <a:gd name="csY6" fmla="*/ 18932 h 27227"/>
                <a:gd name="csX7" fmla="*/ 2985 w 24769"/>
                <a:gd name="csY7" fmla="*/ 17742 h 27227"/>
                <a:gd name="csX8" fmla="*/ 1130 w 24769"/>
                <a:gd name="csY8" fmla="*/ 14417 h 27227"/>
                <a:gd name="csX9" fmla="*/ 1130 w 24769"/>
                <a:gd name="csY9" fmla="*/ 7627 h 27227"/>
                <a:gd name="csX10" fmla="*/ 1410 w 24769"/>
                <a:gd name="csY10" fmla="*/ 6997 h 27227"/>
                <a:gd name="csX11" fmla="*/ 7815 w 24769"/>
                <a:gd name="csY11" fmla="*/ 1291 h 27227"/>
                <a:gd name="csX12" fmla="*/ 10651 w 24769"/>
                <a:gd name="csY12" fmla="*/ 206 h 27227"/>
                <a:gd name="csX13" fmla="*/ 11561 w 24769"/>
                <a:gd name="csY13" fmla="*/ 66 h 27227"/>
                <a:gd name="csX14" fmla="*/ 12296 w 24769"/>
                <a:gd name="csY14" fmla="*/ 66 h 27227"/>
                <a:gd name="csX15" fmla="*/ 14361 w 24769"/>
                <a:gd name="csY15" fmla="*/ 66 h 27227"/>
                <a:gd name="csX16" fmla="*/ 19401 w 24769"/>
                <a:gd name="csY16" fmla="*/ 2061 h 27227"/>
                <a:gd name="csX17" fmla="*/ 21571 w 24769"/>
                <a:gd name="csY17" fmla="*/ 8432 h 27227"/>
                <a:gd name="csX18" fmla="*/ 21151 w 24769"/>
                <a:gd name="csY18" fmla="*/ 10007 h 27227"/>
                <a:gd name="csX19" fmla="*/ 20206 w 24769"/>
                <a:gd name="csY19" fmla="*/ 10847 h 27227"/>
                <a:gd name="csX20" fmla="*/ 20766 w 24769"/>
                <a:gd name="csY20" fmla="*/ 13052 h 27227"/>
                <a:gd name="csX21" fmla="*/ 21466 w 24769"/>
                <a:gd name="csY21" fmla="*/ 13507 h 27227"/>
                <a:gd name="csX22" fmla="*/ 24266 w 24769"/>
                <a:gd name="csY22" fmla="*/ 16482 h 27227"/>
                <a:gd name="csX23" fmla="*/ 24651 w 24769"/>
                <a:gd name="csY23" fmla="*/ 18407 h 27227"/>
                <a:gd name="csX24" fmla="*/ 24126 w 24769"/>
                <a:gd name="csY24" fmla="*/ 20612 h 27227"/>
                <a:gd name="csX25" fmla="*/ 21536 w 24769"/>
                <a:gd name="csY25" fmla="*/ 26352 h 27227"/>
                <a:gd name="csX26" fmla="*/ 18736 w 24769"/>
                <a:gd name="csY26" fmla="*/ 27192 h 27227"/>
                <a:gd name="csX27" fmla="*/ 6065 w 24769"/>
                <a:gd name="csY27" fmla="*/ 15747 h 27227"/>
                <a:gd name="csX28" fmla="*/ 6660 w 24769"/>
                <a:gd name="csY28" fmla="*/ 16307 h 27227"/>
                <a:gd name="csX29" fmla="*/ 7745 w 24769"/>
                <a:gd name="csY29" fmla="*/ 17497 h 27227"/>
                <a:gd name="csX30" fmla="*/ 8410 w 24769"/>
                <a:gd name="csY30" fmla="*/ 18652 h 27227"/>
                <a:gd name="csX31" fmla="*/ 8796 w 24769"/>
                <a:gd name="csY31" fmla="*/ 19282 h 27227"/>
                <a:gd name="csX32" fmla="*/ 14606 w 24769"/>
                <a:gd name="csY32" fmla="*/ 22607 h 27227"/>
                <a:gd name="csX33" fmla="*/ 16041 w 24769"/>
                <a:gd name="csY33" fmla="*/ 23202 h 27227"/>
                <a:gd name="csX34" fmla="*/ 19226 w 24769"/>
                <a:gd name="csY34" fmla="*/ 23517 h 27227"/>
                <a:gd name="csX35" fmla="*/ 20416 w 24769"/>
                <a:gd name="csY35" fmla="*/ 19947 h 27227"/>
                <a:gd name="csX36" fmla="*/ 20766 w 24769"/>
                <a:gd name="csY36" fmla="*/ 18267 h 27227"/>
                <a:gd name="csX37" fmla="*/ 19051 w 24769"/>
                <a:gd name="csY37" fmla="*/ 16482 h 27227"/>
                <a:gd name="csX38" fmla="*/ 16391 w 24769"/>
                <a:gd name="csY38" fmla="*/ 10672 h 27227"/>
                <a:gd name="csX39" fmla="*/ 17791 w 24769"/>
                <a:gd name="csY39" fmla="*/ 8012 h 27227"/>
                <a:gd name="csX40" fmla="*/ 17371 w 24769"/>
                <a:gd name="csY40" fmla="*/ 5281 h 27227"/>
                <a:gd name="csX41" fmla="*/ 13416 w 24769"/>
                <a:gd name="csY41" fmla="*/ 3706 h 27227"/>
                <a:gd name="csX42" fmla="*/ 12401 w 24769"/>
                <a:gd name="csY42" fmla="*/ 3741 h 27227"/>
                <a:gd name="csX43" fmla="*/ 11701 w 24769"/>
                <a:gd name="csY43" fmla="*/ 3741 h 27227"/>
                <a:gd name="csX44" fmla="*/ 9811 w 24769"/>
                <a:gd name="csY44" fmla="*/ 4336 h 27227"/>
                <a:gd name="csX45" fmla="*/ 4420 w 24769"/>
                <a:gd name="csY45" fmla="*/ 8992 h 27227"/>
                <a:gd name="csX46" fmla="*/ 3580 w 24769"/>
                <a:gd name="csY46" fmla="*/ 11407 h 27227"/>
                <a:gd name="csX47" fmla="*/ 4175 w 24769"/>
                <a:gd name="csY47" fmla="*/ 12492 h 27227"/>
                <a:gd name="csX48" fmla="*/ 5995 w 24769"/>
                <a:gd name="csY48" fmla="*/ 15747 h 27227"/>
                <a:gd name="csX49" fmla="*/ 5995 w 24769"/>
                <a:gd name="csY49" fmla="*/ 15747 h 27227"/>
                <a:gd name="csX50" fmla="*/ 20171 w 24769"/>
                <a:gd name="csY50" fmla="*/ 10392 h 27227"/>
                <a:gd name="csX51" fmla="*/ 20171 w 24769"/>
                <a:gd name="csY51" fmla="*/ 10497 h 27227"/>
                <a:gd name="csX52" fmla="*/ 20171 w 24769"/>
                <a:gd name="csY52" fmla="*/ 10392 h 272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24769" h="27227">
                  <a:moveTo>
                    <a:pt x="18701" y="27227"/>
                  </a:moveTo>
                  <a:cubicBezTo>
                    <a:pt x="17651" y="27227"/>
                    <a:pt x="16391" y="27052"/>
                    <a:pt x="14921" y="26667"/>
                  </a:cubicBezTo>
                  <a:lnTo>
                    <a:pt x="13276" y="26002"/>
                  </a:lnTo>
                  <a:cubicBezTo>
                    <a:pt x="10651" y="24917"/>
                    <a:pt x="7920" y="23832"/>
                    <a:pt x="6135" y="21767"/>
                  </a:cubicBezTo>
                  <a:cubicBezTo>
                    <a:pt x="5680" y="21312"/>
                    <a:pt x="5365" y="20682"/>
                    <a:pt x="5155" y="20262"/>
                  </a:cubicBezTo>
                  <a:cubicBezTo>
                    <a:pt x="5085" y="20087"/>
                    <a:pt x="4980" y="19912"/>
                    <a:pt x="4875" y="19772"/>
                  </a:cubicBezTo>
                  <a:cubicBezTo>
                    <a:pt x="4665" y="19492"/>
                    <a:pt x="4385" y="19212"/>
                    <a:pt x="4070" y="18932"/>
                  </a:cubicBezTo>
                  <a:cubicBezTo>
                    <a:pt x="3685" y="18547"/>
                    <a:pt x="3335" y="18162"/>
                    <a:pt x="2985" y="17742"/>
                  </a:cubicBezTo>
                  <a:cubicBezTo>
                    <a:pt x="2075" y="16027"/>
                    <a:pt x="1515" y="15082"/>
                    <a:pt x="1130" y="14417"/>
                  </a:cubicBezTo>
                  <a:cubicBezTo>
                    <a:pt x="-480" y="11757"/>
                    <a:pt x="-270" y="11092"/>
                    <a:pt x="1130" y="7627"/>
                  </a:cubicBezTo>
                  <a:cubicBezTo>
                    <a:pt x="1165" y="7522"/>
                    <a:pt x="1375" y="7067"/>
                    <a:pt x="1410" y="6997"/>
                  </a:cubicBezTo>
                  <a:cubicBezTo>
                    <a:pt x="1970" y="6157"/>
                    <a:pt x="6485" y="2236"/>
                    <a:pt x="7815" y="1291"/>
                  </a:cubicBezTo>
                  <a:cubicBezTo>
                    <a:pt x="9111" y="381"/>
                    <a:pt x="9881" y="276"/>
                    <a:pt x="10651" y="206"/>
                  </a:cubicBezTo>
                  <a:cubicBezTo>
                    <a:pt x="10826" y="136"/>
                    <a:pt x="11351" y="66"/>
                    <a:pt x="11561" y="66"/>
                  </a:cubicBezTo>
                  <a:lnTo>
                    <a:pt x="12296" y="66"/>
                  </a:lnTo>
                  <a:cubicBezTo>
                    <a:pt x="12891" y="-4"/>
                    <a:pt x="13556" y="-39"/>
                    <a:pt x="14361" y="66"/>
                  </a:cubicBezTo>
                  <a:cubicBezTo>
                    <a:pt x="16531" y="696"/>
                    <a:pt x="18176" y="1361"/>
                    <a:pt x="19401" y="2061"/>
                  </a:cubicBezTo>
                  <a:cubicBezTo>
                    <a:pt x="21921" y="3741"/>
                    <a:pt x="21676" y="6892"/>
                    <a:pt x="21571" y="8432"/>
                  </a:cubicBezTo>
                  <a:cubicBezTo>
                    <a:pt x="21571" y="8852"/>
                    <a:pt x="21396" y="9692"/>
                    <a:pt x="21151" y="10007"/>
                  </a:cubicBezTo>
                  <a:cubicBezTo>
                    <a:pt x="20836" y="10427"/>
                    <a:pt x="20486" y="10672"/>
                    <a:pt x="20206" y="10847"/>
                  </a:cubicBezTo>
                  <a:cubicBezTo>
                    <a:pt x="20276" y="11617"/>
                    <a:pt x="20521" y="12597"/>
                    <a:pt x="20766" y="13052"/>
                  </a:cubicBezTo>
                  <a:cubicBezTo>
                    <a:pt x="21011" y="13157"/>
                    <a:pt x="21256" y="13297"/>
                    <a:pt x="21466" y="13507"/>
                  </a:cubicBezTo>
                  <a:lnTo>
                    <a:pt x="24266" y="16482"/>
                  </a:lnTo>
                  <a:cubicBezTo>
                    <a:pt x="24756" y="16972"/>
                    <a:pt x="24896" y="17742"/>
                    <a:pt x="24651" y="18407"/>
                  </a:cubicBezTo>
                  <a:cubicBezTo>
                    <a:pt x="24406" y="19107"/>
                    <a:pt x="24266" y="19842"/>
                    <a:pt x="24126" y="20612"/>
                  </a:cubicBezTo>
                  <a:cubicBezTo>
                    <a:pt x="23741" y="22502"/>
                    <a:pt x="23356" y="24672"/>
                    <a:pt x="21536" y="26352"/>
                  </a:cubicBezTo>
                  <a:cubicBezTo>
                    <a:pt x="20941" y="26912"/>
                    <a:pt x="20031" y="27192"/>
                    <a:pt x="18736" y="27192"/>
                  </a:cubicBezTo>
                  <a:close/>
                  <a:moveTo>
                    <a:pt x="6065" y="15747"/>
                  </a:moveTo>
                  <a:cubicBezTo>
                    <a:pt x="6065" y="15747"/>
                    <a:pt x="6380" y="16027"/>
                    <a:pt x="6660" y="16307"/>
                  </a:cubicBezTo>
                  <a:cubicBezTo>
                    <a:pt x="7045" y="16692"/>
                    <a:pt x="7395" y="17077"/>
                    <a:pt x="7745" y="17497"/>
                  </a:cubicBezTo>
                  <a:cubicBezTo>
                    <a:pt x="8025" y="17882"/>
                    <a:pt x="8235" y="18267"/>
                    <a:pt x="8410" y="18652"/>
                  </a:cubicBezTo>
                  <a:cubicBezTo>
                    <a:pt x="8550" y="18932"/>
                    <a:pt x="8655" y="19142"/>
                    <a:pt x="8796" y="19282"/>
                  </a:cubicBezTo>
                  <a:cubicBezTo>
                    <a:pt x="10056" y="20787"/>
                    <a:pt x="12366" y="21697"/>
                    <a:pt x="14606" y="22607"/>
                  </a:cubicBezTo>
                  <a:lnTo>
                    <a:pt x="16041" y="23202"/>
                  </a:lnTo>
                  <a:cubicBezTo>
                    <a:pt x="17126" y="23447"/>
                    <a:pt x="18771" y="23622"/>
                    <a:pt x="19226" y="23517"/>
                  </a:cubicBezTo>
                  <a:cubicBezTo>
                    <a:pt x="19891" y="22817"/>
                    <a:pt x="20136" y="21487"/>
                    <a:pt x="20416" y="19947"/>
                  </a:cubicBezTo>
                  <a:cubicBezTo>
                    <a:pt x="20521" y="19387"/>
                    <a:pt x="20626" y="18827"/>
                    <a:pt x="20766" y="18267"/>
                  </a:cubicBezTo>
                  <a:lnTo>
                    <a:pt x="19051" y="16482"/>
                  </a:lnTo>
                  <a:cubicBezTo>
                    <a:pt x="16636" y="15467"/>
                    <a:pt x="16391" y="10742"/>
                    <a:pt x="16391" y="10672"/>
                  </a:cubicBezTo>
                  <a:cubicBezTo>
                    <a:pt x="16181" y="9272"/>
                    <a:pt x="17231" y="8397"/>
                    <a:pt x="17791" y="8012"/>
                  </a:cubicBezTo>
                  <a:cubicBezTo>
                    <a:pt x="17826" y="7277"/>
                    <a:pt x="17896" y="5631"/>
                    <a:pt x="17371" y="5281"/>
                  </a:cubicBezTo>
                  <a:cubicBezTo>
                    <a:pt x="16461" y="4791"/>
                    <a:pt x="15096" y="4231"/>
                    <a:pt x="13416" y="3706"/>
                  </a:cubicBezTo>
                  <a:cubicBezTo>
                    <a:pt x="13346" y="3706"/>
                    <a:pt x="12891" y="3706"/>
                    <a:pt x="12401" y="3741"/>
                  </a:cubicBezTo>
                  <a:lnTo>
                    <a:pt x="11701" y="3741"/>
                  </a:lnTo>
                  <a:cubicBezTo>
                    <a:pt x="10861" y="3986"/>
                    <a:pt x="10826" y="3636"/>
                    <a:pt x="9811" y="4336"/>
                  </a:cubicBezTo>
                  <a:cubicBezTo>
                    <a:pt x="8586" y="5211"/>
                    <a:pt x="5260" y="8152"/>
                    <a:pt x="4420" y="8992"/>
                  </a:cubicBezTo>
                  <a:cubicBezTo>
                    <a:pt x="3930" y="10287"/>
                    <a:pt x="3545" y="11197"/>
                    <a:pt x="3580" y="11407"/>
                  </a:cubicBezTo>
                  <a:cubicBezTo>
                    <a:pt x="3580" y="11547"/>
                    <a:pt x="3895" y="12072"/>
                    <a:pt x="4175" y="12492"/>
                  </a:cubicBezTo>
                  <a:cubicBezTo>
                    <a:pt x="4630" y="13227"/>
                    <a:pt x="5225" y="14242"/>
                    <a:pt x="5995" y="15747"/>
                  </a:cubicBezTo>
                  <a:lnTo>
                    <a:pt x="5995" y="15747"/>
                  </a:lnTo>
                  <a:close/>
                  <a:moveTo>
                    <a:pt x="20171" y="10392"/>
                  </a:moveTo>
                  <a:lnTo>
                    <a:pt x="20171" y="10497"/>
                  </a:lnTo>
                  <a:lnTo>
                    <a:pt x="20171" y="10392"/>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3" name="Freeform: Shape 1742">
              <a:extLst>
                <a:ext uri="{FF2B5EF4-FFF2-40B4-BE49-F238E27FC236}">
                  <a16:creationId xmlns:a16="http://schemas.microsoft.com/office/drawing/2014/main" id="{7640E18F-B4B9-6E46-CCFF-8A76FD1F6666}"/>
                </a:ext>
              </a:extLst>
            </p:cNvPr>
            <p:cNvSpPr/>
            <p:nvPr/>
          </p:nvSpPr>
          <p:spPr>
            <a:xfrm>
              <a:off x="11041076" y="4302377"/>
              <a:ext cx="25090" cy="18595"/>
            </a:xfrm>
            <a:custGeom>
              <a:avLst/>
              <a:gdLst>
                <a:gd name="csX0" fmla="*/ 6618 w 25090"/>
                <a:gd name="csY0" fmla="*/ 18363 h 18595"/>
                <a:gd name="csX1" fmla="*/ 6618 w 25090"/>
                <a:gd name="csY1" fmla="*/ 18363 h 18595"/>
                <a:gd name="csX2" fmla="*/ 108 w 25090"/>
                <a:gd name="csY2" fmla="*/ 13778 h 18595"/>
                <a:gd name="csX3" fmla="*/ 1578 w 25090"/>
                <a:gd name="csY3" fmla="*/ 9192 h 18595"/>
                <a:gd name="csX4" fmla="*/ 7633 w 25090"/>
                <a:gd name="csY4" fmla="*/ 2822 h 18595"/>
                <a:gd name="csX5" fmla="*/ 9838 w 25090"/>
                <a:gd name="csY5" fmla="*/ 2367 h 18595"/>
                <a:gd name="csX6" fmla="*/ 12358 w 25090"/>
                <a:gd name="csY6" fmla="*/ 1037 h 18595"/>
                <a:gd name="csX7" fmla="*/ 20934 w 25090"/>
                <a:gd name="csY7" fmla="*/ 2087 h 18595"/>
                <a:gd name="csX8" fmla="*/ 24784 w 25090"/>
                <a:gd name="csY8" fmla="*/ 9192 h 18595"/>
                <a:gd name="csX9" fmla="*/ 24924 w 25090"/>
                <a:gd name="csY9" fmla="*/ 11992 h 18595"/>
                <a:gd name="csX10" fmla="*/ 24189 w 25090"/>
                <a:gd name="csY10" fmla="*/ 14198 h 18595"/>
                <a:gd name="csX11" fmla="*/ 21389 w 25090"/>
                <a:gd name="csY11" fmla="*/ 18048 h 18595"/>
                <a:gd name="csX12" fmla="*/ 16208 w 25090"/>
                <a:gd name="csY12" fmla="*/ 17593 h 18595"/>
                <a:gd name="csX13" fmla="*/ 14738 w 25090"/>
                <a:gd name="csY13" fmla="*/ 15983 h 18595"/>
                <a:gd name="csX14" fmla="*/ 10153 w 25090"/>
                <a:gd name="csY14" fmla="*/ 16438 h 18595"/>
                <a:gd name="csX15" fmla="*/ 6618 w 25090"/>
                <a:gd name="csY15" fmla="*/ 18363 h 1859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5090" h="18595">
                  <a:moveTo>
                    <a:pt x="6618" y="18363"/>
                  </a:moveTo>
                  <a:lnTo>
                    <a:pt x="6618" y="18363"/>
                  </a:lnTo>
                  <a:cubicBezTo>
                    <a:pt x="4413" y="16893"/>
                    <a:pt x="1578" y="16298"/>
                    <a:pt x="108" y="13778"/>
                  </a:cubicBezTo>
                  <a:cubicBezTo>
                    <a:pt x="-487" y="12727"/>
                    <a:pt x="1578" y="9192"/>
                    <a:pt x="1578" y="9192"/>
                  </a:cubicBezTo>
                  <a:cubicBezTo>
                    <a:pt x="3363" y="6987"/>
                    <a:pt x="5288" y="4012"/>
                    <a:pt x="7633" y="2822"/>
                  </a:cubicBezTo>
                  <a:cubicBezTo>
                    <a:pt x="8368" y="2542"/>
                    <a:pt x="9103" y="2542"/>
                    <a:pt x="9838" y="2367"/>
                  </a:cubicBezTo>
                  <a:cubicBezTo>
                    <a:pt x="10573" y="1912"/>
                    <a:pt x="11448" y="1492"/>
                    <a:pt x="12358" y="1037"/>
                  </a:cubicBezTo>
                  <a:cubicBezTo>
                    <a:pt x="18588" y="-13"/>
                    <a:pt x="16943" y="-1028"/>
                    <a:pt x="20934" y="2087"/>
                  </a:cubicBezTo>
                  <a:cubicBezTo>
                    <a:pt x="21529" y="2542"/>
                    <a:pt x="24049" y="7547"/>
                    <a:pt x="24784" y="9192"/>
                  </a:cubicBezTo>
                  <a:cubicBezTo>
                    <a:pt x="25379" y="10802"/>
                    <a:pt x="24924" y="11117"/>
                    <a:pt x="24924" y="11992"/>
                  </a:cubicBezTo>
                  <a:cubicBezTo>
                    <a:pt x="24644" y="12727"/>
                    <a:pt x="24644" y="13602"/>
                    <a:pt x="24189" y="14198"/>
                  </a:cubicBezTo>
                  <a:cubicBezTo>
                    <a:pt x="23454" y="15668"/>
                    <a:pt x="22579" y="16998"/>
                    <a:pt x="21389" y="18048"/>
                  </a:cubicBezTo>
                  <a:cubicBezTo>
                    <a:pt x="19919" y="19378"/>
                    <a:pt x="16943" y="17908"/>
                    <a:pt x="16208" y="17593"/>
                  </a:cubicBezTo>
                  <a:cubicBezTo>
                    <a:pt x="15613" y="16998"/>
                    <a:pt x="15753" y="16123"/>
                    <a:pt x="14738" y="15983"/>
                  </a:cubicBezTo>
                  <a:cubicBezTo>
                    <a:pt x="13688" y="15703"/>
                    <a:pt x="10433" y="15388"/>
                    <a:pt x="10153" y="16438"/>
                  </a:cubicBezTo>
                  <a:lnTo>
                    <a:pt x="6618" y="18363"/>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4" name="Freeform: Shape 1743">
              <a:extLst>
                <a:ext uri="{FF2B5EF4-FFF2-40B4-BE49-F238E27FC236}">
                  <a16:creationId xmlns:a16="http://schemas.microsoft.com/office/drawing/2014/main" id="{295A03E3-4422-2800-E354-952251EA6230}"/>
                </a:ext>
              </a:extLst>
            </p:cNvPr>
            <p:cNvSpPr/>
            <p:nvPr/>
          </p:nvSpPr>
          <p:spPr>
            <a:xfrm>
              <a:off x="11039245" y="4300536"/>
              <a:ext cx="28823" cy="22303"/>
            </a:xfrm>
            <a:custGeom>
              <a:avLst/>
              <a:gdLst>
                <a:gd name="csX0" fmla="*/ 21644 w 28823"/>
                <a:gd name="csY0" fmla="*/ 22304 h 22303"/>
                <a:gd name="csX1" fmla="*/ 17654 w 28823"/>
                <a:gd name="csY1" fmla="*/ 21323 h 22303"/>
                <a:gd name="csX2" fmla="*/ 16744 w 28823"/>
                <a:gd name="csY2" fmla="*/ 20798 h 22303"/>
                <a:gd name="csX3" fmla="*/ 15974 w 28823"/>
                <a:gd name="csY3" fmla="*/ 19608 h 22303"/>
                <a:gd name="csX4" fmla="*/ 13454 w 28823"/>
                <a:gd name="csY4" fmla="*/ 19468 h 22303"/>
                <a:gd name="csX5" fmla="*/ 12894 w 28823"/>
                <a:gd name="csY5" fmla="*/ 19923 h 22303"/>
                <a:gd name="csX6" fmla="*/ 9324 w 28823"/>
                <a:gd name="csY6" fmla="*/ 21849 h 22303"/>
                <a:gd name="csX7" fmla="*/ 7434 w 28823"/>
                <a:gd name="csY7" fmla="*/ 21744 h 22303"/>
                <a:gd name="csX8" fmla="*/ 5404 w 28823"/>
                <a:gd name="csY8" fmla="*/ 20658 h 22303"/>
                <a:gd name="csX9" fmla="*/ 363 w 28823"/>
                <a:gd name="csY9" fmla="*/ 16563 h 22303"/>
                <a:gd name="csX10" fmla="*/ 1868 w 28823"/>
                <a:gd name="csY10" fmla="*/ 10088 h 22303"/>
                <a:gd name="csX11" fmla="*/ 2954 w 28823"/>
                <a:gd name="csY11" fmla="*/ 8688 h 22303"/>
                <a:gd name="csX12" fmla="*/ 8694 w 28823"/>
                <a:gd name="csY12" fmla="*/ 3053 h 22303"/>
                <a:gd name="csX13" fmla="*/ 10794 w 28823"/>
                <a:gd name="csY13" fmla="*/ 2528 h 22303"/>
                <a:gd name="csX14" fmla="*/ 11109 w 28823"/>
                <a:gd name="csY14" fmla="*/ 2458 h 22303"/>
                <a:gd name="csX15" fmla="*/ 13454 w 28823"/>
                <a:gd name="csY15" fmla="*/ 1233 h 22303"/>
                <a:gd name="csX16" fmla="*/ 13944 w 28823"/>
                <a:gd name="csY16" fmla="*/ 1058 h 22303"/>
                <a:gd name="csX17" fmla="*/ 17304 w 28823"/>
                <a:gd name="csY17" fmla="*/ 358 h 22303"/>
                <a:gd name="csX18" fmla="*/ 23569 w 28823"/>
                <a:gd name="csY18" fmla="*/ 2143 h 22303"/>
                <a:gd name="csX19" fmla="*/ 23989 w 28823"/>
                <a:gd name="csY19" fmla="*/ 2458 h 22303"/>
                <a:gd name="csX20" fmla="*/ 28365 w 28823"/>
                <a:gd name="csY20" fmla="*/ 10263 h 22303"/>
                <a:gd name="csX21" fmla="*/ 28715 w 28823"/>
                <a:gd name="csY21" fmla="*/ 13483 h 22303"/>
                <a:gd name="csX22" fmla="*/ 28540 w 28823"/>
                <a:gd name="csY22" fmla="*/ 14568 h 22303"/>
                <a:gd name="csX23" fmla="*/ 28365 w 28823"/>
                <a:gd name="csY23" fmla="*/ 15198 h 22303"/>
                <a:gd name="csX24" fmla="*/ 27560 w 28823"/>
                <a:gd name="csY24" fmla="*/ 17193 h 22303"/>
                <a:gd name="csX25" fmla="*/ 24479 w 28823"/>
                <a:gd name="csY25" fmla="*/ 21323 h 22303"/>
                <a:gd name="csX26" fmla="*/ 21644 w 28823"/>
                <a:gd name="csY26" fmla="*/ 22304 h 22303"/>
                <a:gd name="csX27" fmla="*/ 16254 w 28823"/>
                <a:gd name="csY27" fmla="*/ 19643 h 22303"/>
                <a:gd name="csX28" fmla="*/ 16324 w 28823"/>
                <a:gd name="csY28" fmla="*/ 19643 h 22303"/>
                <a:gd name="csX29" fmla="*/ 16254 w 28823"/>
                <a:gd name="csY29" fmla="*/ 19643 h 22303"/>
                <a:gd name="csX30" fmla="*/ 19334 w 28823"/>
                <a:gd name="csY30" fmla="*/ 17998 h 22303"/>
                <a:gd name="csX31" fmla="*/ 22029 w 28823"/>
                <a:gd name="csY31" fmla="*/ 18558 h 22303"/>
                <a:gd name="csX32" fmla="*/ 24409 w 28823"/>
                <a:gd name="csY32" fmla="*/ 15268 h 22303"/>
                <a:gd name="csX33" fmla="*/ 24759 w 28823"/>
                <a:gd name="csY33" fmla="*/ 14393 h 22303"/>
                <a:gd name="csX34" fmla="*/ 25004 w 28823"/>
                <a:gd name="csY34" fmla="*/ 13518 h 22303"/>
                <a:gd name="csX35" fmla="*/ 25074 w 28823"/>
                <a:gd name="csY35" fmla="*/ 12853 h 22303"/>
                <a:gd name="csX36" fmla="*/ 24934 w 28823"/>
                <a:gd name="csY36" fmla="*/ 11698 h 22303"/>
                <a:gd name="csX37" fmla="*/ 21539 w 28823"/>
                <a:gd name="csY37" fmla="*/ 5258 h 22303"/>
                <a:gd name="csX38" fmla="*/ 21259 w 28823"/>
                <a:gd name="csY38" fmla="*/ 5083 h 22303"/>
                <a:gd name="csX39" fmla="*/ 19369 w 28823"/>
                <a:gd name="csY39" fmla="*/ 3753 h 22303"/>
                <a:gd name="csX40" fmla="*/ 18179 w 28823"/>
                <a:gd name="csY40" fmla="*/ 3998 h 22303"/>
                <a:gd name="csX41" fmla="*/ 14819 w 28823"/>
                <a:gd name="csY41" fmla="*/ 4733 h 22303"/>
                <a:gd name="csX42" fmla="*/ 12684 w 28823"/>
                <a:gd name="csY42" fmla="*/ 5853 h 22303"/>
                <a:gd name="csX43" fmla="*/ 12089 w 28823"/>
                <a:gd name="csY43" fmla="*/ 6098 h 22303"/>
                <a:gd name="csX44" fmla="*/ 11249 w 28823"/>
                <a:gd name="csY44" fmla="*/ 6238 h 22303"/>
                <a:gd name="csX45" fmla="*/ 10199 w 28823"/>
                <a:gd name="csY45" fmla="*/ 6448 h 22303"/>
                <a:gd name="csX46" fmla="*/ 5894 w 28823"/>
                <a:gd name="csY46" fmla="*/ 10963 h 22303"/>
                <a:gd name="csX47" fmla="*/ 4914 w 28823"/>
                <a:gd name="csY47" fmla="*/ 12223 h 22303"/>
                <a:gd name="csX48" fmla="*/ 3759 w 28823"/>
                <a:gd name="csY48" fmla="*/ 14988 h 22303"/>
                <a:gd name="csX49" fmla="*/ 7119 w 28823"/>
                <a:gd name="csY49" fmla="*/ 17368 h 22303"/>
                <a:gd name="csX50" fmla="*/ 8554 w 28823"/>
                <a:gd name="csY50" fmla="*/ 18103 h 22303"/>
                <a:gd name="csX51" fmla="*/ 10724 w 28823"/>
                <a:gd name="csY51" fmla="*/ 16913 h 22303"/>
                <a:gd name="csX52" fmla="*/ 14049 w 28823"/>
                <a:gd name="csY52" fmla="*/ 15723 h 22303"/>
                <a:gd name="csX53" fmla="*/ 17129 w 28823"/>
                <a:gd name="csY53" fmla="*/ 16073 h 22303"/>
                <a:gd name="csX54" fmla="*/ 19369 w 28823"/>
                <a:gd name="csY54" fmla="*/ 17998 h 223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28823" h="22303">
                  <a:moveTo>
                    <a:pt x="21644" y="22304"/>
                  </a:moveTo>
                  <a:cubicBezTo>
                    <a:pt x="20034" y="22304"/>
                    <a:pt x="18459" y="21639"/>
                    <a:pt x="17654" y="21323"/>
                  </a:cubicBezTo>
                  <a:cubicBezTo>
                    <a:pt x="17444" y="21253"/>
                    <a:pt x="16919" y="20973"/>
                    <a:pt x="16744" y="20798"/>
                  </a:cubicBezTo>
                  <a:cubicBezTo>
                    <a:pt x="16324" y="20378"/>
                    <a:pt x="16114" y="19923"/>
                    <a:pt x="15974" y="19608"/>
                  </a:cubicBezTo>
                  <a:cubicBezTo>
                    <a:pt x="15134" y="19433"/>
                    <a:pt x="14014" y="19398"/>
                    <a:pt x="13454" y="19468"/>
                  </a:cubicBezTo>
                  <a:cubicBezTo>
                    <a:pt x="13314" y="19643"/>
                    <a:pt x="13139" y="19818"/>
                    <a:pt x="12894" y="19923"/>
                  </a:cubicBezTo>
                  <a:lnTo>
                    <a:pt x="9324" y="21849"/>
                  </a:lnTo>
                  <a:cubicBezTo>
                    <a:pt x="8729" y="22164"/>
                    <a:pt x="7959" y="22164"/>
                    <a:pt x="7434" y="21744"/>
                  </a:cubicBezTo>
                  <a:cubicBezTo>
                    <a:pt x="6804" y="21323"/>
                    <a:pt x="6104" y="20973"/>
                    <a:pt x="5404" y="20658"/>
                  </a:cubicBezTo>
                  <a:cubicBezTo>
                    <a:pt x="3654" y="19748"/>
                    <a:pt x="1658" y="18768"/>
                    <a:pt x="363" y="16563"/>
                  </a:cubicBezTo>
                  <a:cubicBezTo>
                    <a:pt x="83" y="16073"/>
                    <a:pt x="-792" y="14603"/>
                    <a:pt x="1868" y="10088"/>
                  </a:cubicBezTo>
                  <a:lnTo>
                    <a:pt x="2954" y="8688"/>
                  </a:lnTo>
                  <a:cubicBezTo>
                    <a:pt x="4564" y="6588"/>
                    <a:pt x="6384" y="4208"/>
                    <a:pt x="8694" y="3053"/>
                  </a:cubicBezTo>
                  <a:cubicBezTo>
                    <a:pt x="9569" y="2703"/>
                    <a:pt x="10269" y="2598"/>
                    <a:pt x="10794" y="2528"/>
                  </a:cubicBezTo>
                  <a:lnTo>
                    <a:pt x="11109" y="2458"/>
                  </a:lnTo>
                  <a:cubicBezTo>
                    <a:pt x="11809" y="2038"/>
                    <a:pt x="12649" y="1653"/>
                    <a:pt x="13454" y="1233"/>
                  </a:cubicBezTo>
                  <a:cubicBezTo>
                    <a:pt x="13629" y="1163"/>
                    <a:pt x="13769" y="1093"/>
                    <a:pt x="13944" y="1058"/>
                  </a:cubicBezTo>
                  <a:cubicBezTo>
                    <a:pt x="15484" y="813"/>
                    <a:pt x="16534" y="533"/>
                    <a:pt x="17304" y="358"/>
                  </a:cubicBezTo>
                  <a:cubicBezTo>
                    <a:pt x="20209" y="-412"/>
                    <a:pt x="20839" y="8"/>
                    <a:pt x="23569" y="2143"/>
                  </a:cubicBezTo>
                  <a:lnTo>
                    <a:pt x="23989" y="2458"/>
                  </a:lnTo>
                  <a:cubicBezTo>
                    <a:pt x="25249" y="3403"/>
                    <a:pt x="28365" y="10193"/>
                    <a:pt x="28365" y="10263"/>
                  </a:cubicBezTo>
                  <a:cubicBezTo>
                    <a:pt x="28960" y="11873"/>
                    <a:pt x="28855" y="12713"/>
                    <a:pt x="28715" y="13483"/>
                  </a:cubicBezTo>
                  <a:cubicBezTo>
                    <a:pt x="28715" y="13728"/>
                    <a:pt x="28645" y="14323"/>
                    <a:pt x="28540" y="14568"/>
                  </a:cubicBezTo>
                  <a:cubicBezTo>
                    <a:pt x="28470" y="14778"/>
                    <a:pt x="28435" y="14988"/>
                    <a:pt x="28365" y="15198"/>
                  </a:cubicBezTo>
                  <a:cubicBezTo>
                    <a:pt x="28225" y="15793"/>
                    <a:pt x="28050" y="16528"/>
                    <a:pt x="27560" y="17193"/>
                  </a:cubicBezTo>
                  <a:cubicBezTo>
                    <a:pt x="26825" y="18803"/>
                    <a:pt x="25739" y="20238"/>
                    <a:pt x="24479" y="21323"/>
                  </a:cubicBezTo>
                  <a:cubicBezTo>
                    <a:pt x="23639" y="22059"/>
                    <a:pt x="22659" y="22304"/>
                    <a:pt x="21644" y="22304"/>
                  </a:cubicBezTo>
                  <a:close/>
                  <a:moveTo>
                    <a:pt x="16254" y="19643"/>
                  </a:moveTo>
                  <a:cubicBezTo>
                    <a:pt x="16254" y="19643"/>
                    <a:pt x="16324" y="19643"/>
                    <a:pt x="16324" y="19643"/>
                  </a:cubicBezTo>
                  <a:cubicBezTo>
                    <a:pt x="16324" y="19643"/>
                    <a:pt x="16289" y="19643"/>
                    <a:pt x="16254" y="19643"/>
                  </a:cubicBezTo>
                  <a:close/>
                  <a:moveTo>
                    <a:pt x="19334" y="17998"/>
                  </a:moveTo>
                  <a:cubicBezTo>
                    <a:pt x="21539" y="18838"/>
                    <a:pt x="21994" y="18593"/>
                    <a:pt x="22029" y="18558"/>
                  </a:cubicBezTo>
                  <a:cubicBezTo>
                    <a:pt x="22939" y="17753"/>
                    <a:pt x="23674" y="16738"/>
                    <a:pt x="24409" y="15268"/>
                  </a:cubicBezTo>
                  <a:cubicBezTo>
                    <a:pt x="24654" y="14918"/>
                    <a:pt x="24724" y="14603"/>
                    <a:pt x="24759" y="14393"/>
                  </a:cubicBezTo>
                  <a:cubicBezTo>
                    <a:pt x="24829" y="14078"/>
                    <a:pt x="24899" y="13798"/>
                    <a:pt x="25004" y="13518"/>
                  </a:cubicBezTo>
                  <a:cubicBezTo>
                    <a:pt x="25004" y="13273"/>
                    <a:pt x="25074" y="13063"/>
                    <a:pt x="25074" y="12853"/>
                  </a:cubicBezTo>
                  <a:cubicBezTo>
                    <a:pt x="25144" y="12538"/>
                    <a:pt x="25179" y="12363"/>
                    <a:pt x="24934" y="11698"/>
                  </a:cubicBezTo>
                  <a:cubicBezTo>
                    <a:pt x="24164" y="9983"/>
                    <a:pt x="22064" y="5888"/>
                    <a:pt x="21539" y="5258"/>
                  </a:cubicBezTo>
                  <a:lnTo>
                    <a:pt x="21259" y="5083"/>
                  </a:lnTo>
                  <a:cubicBezTo>
                    <a:pt x="20419" y="4418"/>
                    <a:pt x="19614" y="3788"/>
                    <a:pt x="19369" y="3753"/>
                  </a:cubicBezTo>
                  <a:cubicBezTo>
                    <a:pt x="19194" y="3753"/>
                    <a:pt x="18704" y="3858"/>
                    <a:pt x="18179" y="3998"/>
                  </a:cubicBezTo>
                  <a:cubicBezTo>
                    <a:pt x="17409" y="4173"/>
                    <a:pt x="16359" y="4453"/>
                    <a:pt x="14819" y="4733"/>
                  </a:cubicBezTo>
                  <a:cubicBezTo>
                    <a:pt x="14084" y="5118"/>
                    <a:pt x="13314" y="5468"/>
                    <a:pt x="12684" y="5853"/>
                  </a:cubicBezTo>
                  <a:cubicBezTo>
                    <a:pt x="12509" y="5958"/>
                    <a:pt x="12299" y="6063"/>
                    <a:pt x="12089" y="6098"/>
                  </a:cubicBezTo>
                  <a:cubicBezTo>
                    <a:pt x="11809" y="6133"/>
                    <a:pt x="11529" y="6168"/>
                    <a:pt x="11249" y="6238"/>
                  </a:cubicBezTo>
                  <a:cubicBezTo>
                    <a:pt x="10829" y="6273"/>
                    <a:pt x="10479" y="6343"/>
                    <a:pt x="10199" y="6448"/>
                  </a:cubicBezTo>
                  <a:cubicBezTo>
                    <a:pt x="8799" y="7183"/>
                    <a:pt x="7224" y="9178"/>
                    <a:pt x="5894" y="10963"/>
                  </a:cubicBezTo>
                  <a:lnTo>
                    <a:pt x="4914" y="12223"/>
                  </a:lnTo>
                  <a:cubicBezTo>
                    <a:pt x="4424" y="13098"/>
                    <a:pt x="3864" y="14393"/>
                    <a:pt x="3759" y="14988"/>
                  </a:cubicBezTo>
                  <a:cubicBezTo>
                    <a:pt x="4529" y="16073"/>
                    <a:pt x="5754" y="16668"/>
                    <a:pt x="7119" y="17368"/>
                  </a:cubicBezTo>
                  <a:cubicBezTo>
                    <a:pt x="7609" y="17613"/>
                    <a:pt x="8099" y="17858"/>
                    <a:pt x="8554" y="18103"/>
                  </a:cubicBezTo>
                  <a:lnTo>
                    <a:pt x="10724" y="16913"/>
                  </a:lnTo>
                  <a:cubicBezTo>
                    <a:pt x="11319" y="16178"/>
                    <a:pt x="12439" y="15758"/>
                    <a:pt x="14049" y="15723"/>
                  </a:cubicBezTo>
                  <a:cubicBezTo>
                    <a:pt x="15064" y="15723"/>
                    <a:pt x="16499" y="15898"/>
                    <a:pt x="17129" y="16073"/>
                  </a:cubicBezTo>
                  <a:cubicBezTo>
                    <a:pt x="18564" y="16248"/>
                    <a:pt x="19124" y="17473"/>
                    <a:pt x="19369" y="17998"/>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5" name="Freeform: Shape 1744">
              <a:extLst>
                <a:ext uri="{FF2B5EF4-FFF2-40B4-BE49-F238E27FC236}">
                  <a16:creationId xmlns:a16="http://schemas.microsoft.com/office/drawing/2014/main" id="{8DB01E83-A49B-98AD-4756-D86B9642A37B}"/>
                </a:ext>
              </a:extLst>
            </p:cNvPr>
            <p:cNvSpPr/>
            <p:nvPr/>
          </p:nvSpPr>
          <p:spPr>
            <a:xfrm>
              <a:off x="10995401" y="4266277"/>
              <a:ext cx="21106" cy="23456"/>
            </a:xfrm>
            <a:custGeom>
              <a:avLst/>
              <a:gdLst>
                <a:gd name="csX0" fmla="*/ 21107 w 21106"/>
                <a:gd name="csY0" fmla="*/ 15856 h 23456"/>
                <a:gd name="csX1" fmla="*/ 21107 w 21106"/>
                <a:gd name="csY1" fmla="*/ 15856 h 23456"/>
                <a:gd name="csX2" fmla="*/ 18447 w 21106"/>
                <a:gd name="csY2" fmla="*/ 23101 h 23456"/>
                <a:gd name="csX3" fmla="*/ 13547 w 21106"/>
                <a:gd name="csY3" fmla="*/ 22961 h 23456"/>
                <a:gd name="csX4" fmla="*/ 5566 w 21106"/>
                <a:gd name="csY4" fmla="*/ 18656 h 23456"/>
                <a:gd name="csX5" fmla="*/ 4516 w 21106"/>
                <a:gd name="csY5" fmla="*/ 16731 h 23456"/>
                <a:gd name="csX6" fmla="*/ 2591 w 21106"/>
                <a:gd name="csY6" fmla="*/ 14666 h 23456"/>
                <a:gd name="csX7" fmla="*/ 1121 w 21106"/>
                <a:gd name="csY7" fmla="*/ 6090 h 23456"/>
                <a:gd name="csX8" fmla="*/ 7036 w 21106"/>
                <a:gd name="csY8" fmla="*/ 910 h 23456"/>
                <a:gd name="csX9" fmla="*/ 9696 w 21106"/>
                <a:gd name="csY9" fmla="*/ 35 h 23456"/>
                <a:gd name="csX10" fmla="*/ 12217 w 21106"/>
                <a:gd name="csY10" fmla="*/ 175 h 23456"/>
                <a:gd name="csX11" fmla="*/ 16662 w 21106"/>
                <a:gd name="csY11" fmla="*/ 1785 h 23456"/>
                <a:gd name="csX12" fmla="*/ 17712 w 21106"/>
                <a:gd name="csY12" fmla="*/ 6965 h 23456"/>
                <a:gd name="csX13" fmla="*/ 16522 w 21106"/>
                <a:gd name="csY13" fmla="*/ 8750 h 23456"/>
                <a:gd name="csX14" fmla="*/ 18307 w 21106"/>
                <a:gd name="csY14" fmla="*/ 12881 h 23456"/>
                <a:gd name="csX15" fmla="*/ 21107 w 21106"/>
                <a:gd name="csY15" fmla="*/ 15856 h 234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106" h="23456">
                  <a:moveTo>
                    <a:pt x="21107" y="15856"/>
                  </a:moveTo>
                  <a:lnTo>
                    <a:pt x="21107" y="15856"/>
                  </a:lnTo>
                  <a:cubicBezTo>
                    <a:pt x="20232" y="18236"/>
                    <a:pt x="20512" y="21176"/>
                    <a:pt x="18447" y="23101"/>
                  </a:cubicBezTo>
                  <a:cubicBezTo>
                    <a:pt x="17572" y="23976"/>
                    <a:pt x="13547" y="22961"/>
                    <a:pt x="13547" y="22961"/>
                  </a:cubicBezTo>
                  <a:cubicBezTo>
                    <a:pt x="10747" y="21771"/>
                    <a:pt x="7491" y="20756"/>
                    <a:pt x="5566" y="18656"/>
                  </a:cubicBezTo>
                  <a:cubicBezTo>
                    <a:pt x="5111" y="18061"/>
                    <a:pt x="4971" y="17326"/>
                    <a:pt x="4516" y="16731"/>
                  </a:cubicBezTo>
                  <a:cubicBezTo>
                    <a:pt x="3921" y="15996"/>
                    <a:pt x="3186" y="15401"/>
                    <a:pt x="2591" y="14666"/>
                  </a:cubicBezTo>
                  <a:cubicBezTo>
                    <a:pt x="-209" y="9030"/>
                    <a:pt x="-804" y="10815"/>
                    <a:pt x="1121" y="6090"/>
                  </a:cubicBezTo>
                  <a:cubicBezTo>
                    <a:pt x="1401" y="5635"/>
                    <a:pt x="5566" y="1960"/>
                    <a:pt x="7036" y="910"/>
                  </a:cubicBezTo>
                  <a:cubicBezTo>
                    <a:pt x="8506" y="-140"/>
                    <a:pt x="8821" y="315"/>
                    <a:pt x="9696" y="35"/>
                  </a:cubicBezTo>
                  <a:cubicBezTo>
                    <a:pt x="10572" y="35"/>
                    <a:pt x="11307" y="-105"/>
                    <a:pt x="12217" y="175"/>
                  </a:cubicBezTo>
                  <a:cubicBezTo>
                    <a:pt x="13687" y="455"/>
                    <a:pt x="15332" y="1050"/>
                    <a:pt x="16662" y="1785"/>
                  </a:cubicBezTo>
                  <a:cubicBezTo>
                    <a:pt x="18447" y="2975"/>
                    <a:pt x="17712" y="6090"/>
                    <a:pt x="17712" y="6965"/>
                  </a:cubicBezTo>
                  <a:cubicBezTo>
                    <a:pt x="17257" y="7560"/>
                    <a:pt x="16382" y="7700"/>
                    <a:pt x="16522" y="8750"/>
                  </a:cubicBezTo>
                  <a:cubicBezTo>
                    <a:pt x="16522" y="9800"/>
                    <a:pt x="17117" y="12881"/>
                    <a:pt x="18307" y="12881"/>
                  </a:cubicBezTo>
                  <a:lnTo>
                    <a:pt x="21107" y="1585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6" name="Freeform: Shape 1745">
              <a:extLst>
                <a:ext uri="{FF2B5EF4-FFF2-40B4-BE49-F238E27FC236}">
                  <a16:creationId xmlns:a16="http://schemas.microsoft.com/office/drawing/2014/main" id="{B156B750-E3DA-680B-65A8-0B2C80AB90A2}"/>
                </a:ext>
              </a:extLst>
            </p:cNvPr>
            <p:cNvSpPr/>
            <p:nvPr/>
          </p:nvSpPr>
          <p:spPr>
            <a:xfrm>
              <a:off x="10993537" y="4264384"/>
              <a:ext cx="24804" cy="27198"/>
            </a:xfrm>
            <a:custGeom>
              <a:avLst/>
              <a:gdLst>
                <a:gd name="csX0" fmla="*/ 18736 w 24804"/>
                <a:gd name="csY0" fmla="*/ 27199 h 27198"/>
                <a:gd name="csX1" fmla="*/ 14956 w 24804"/>
                <a:gd name="csY1" fmla="*/ 26639 h 27198"/>
                <a:gd name="csX2" fmla="*/ 13276 w 24804"/>
                <a:gd name="csY2" fmla="*/ 25974 h 27198"/>
                <a:gd name="csX3" fmla="*/ 6065 w 24804"/>
                <a:gd name="csY3" fmla="*/ 21809 h 27198"/>
                <a:gd name="csX4" fmla="*/ 5225 w 24804"/>
                <a:gd name="csY4" fmla="*/ 20339 h 27198"/>
                <a:gd name="csX5" fmla="*/ 4910 w 24804"/>
                <a:gd name="csY5" fmla="*/ 19744 h 27198"/>
                <a:gd name="csX6" fmla="*/ 4070 w 24804"/>
                <a:gd name="csY6" fmla="*/ 18868 h 27198"/>
                <a:gd name="csX7" fmla="*/ 2985 w 24804"/>
                <a:gd name="csY7" fmla="*/ 17713 h 27198"/>
                <a:gd name="csX8" fmla="*/ 1130 w 24804"/>
                <a:gd name="csY8" fmla="*/ 14388 h 27198"/>
                <a:gd name="csX9" fmla="*/ 1130 w 24804"/>
                <a:gd name="csY9" fmla="*/ 7598 h 27198"/>
                <a:gd name="csX10" fmla="*/ 1445 w 24804"/>
                <a:gd name="csY10" fmla="*/ 6933 h 27198"/>
                <a:gd name="csX11" fmla="*/ 7815 w 24804"/>
                <a:gd name="csY11" fmla="*/ 1263 h 27198"/>
                <a:gd name="csX12" fmla="*/ 10686 w 24804"/>
                <a:gd name="csY12" fmla="*/ 178 h 27198"/>
                <a:gd name="csX13" fmla="*/ 11561 w 24804"/>
                <a:gd name="csY13" fmla="*/ 38 h 27198"/>
                <a:gd name="csX14" fmla="*/ 12156 w 24804"/>
                <a:gd name="csY14" fmla="*/ 38 h 27198"/>
                <a:gd name="csX15" fmla="*/ 14676 w 24804"/>
                <a:gd name="csY15" fmla="*/ 283 h 27198"/>
                <a:gd name="csX16" fmla="*/ 19401 w 24804"/>
                <a:gd name="csY16" fmla="*/ 2033 h 27198"/>
                <a:gd name="csX17" fmla="*/ 21431 w 24804"/>
                <a:gd name="csY17" fmla="*/ 8333 h 27198"/>
                <a:gd name="csX18" fmla="*/ 21431 w 24804"/>
                <a:gd name="csY18" fmla="*/ 8823 h 27198"/>
                <a:gd name="csX19" fmla="*/ 21011 w 24804"/>
                <a:gd name="csY19" fmla="*/ 9943 h 27198"/>
                <a:gd name="csX20" fmla="*/ 20206 w 24804"/>
                <a:gd name="csY20" fmla="*/ 10713 h 27198"/>
                <a:gd name="csX21" fmla="*/ 20766 w 24804"/>
                <a:gd name="csY21" fmla="*/ 12988 h 27198"/>
                <a:gd name="csX22" fmla="*/ 21501 w 24804"/>
                <a:gd name="csY22" fmla="*/ 13443 h 27198"/>
                <a:gd name="csX23" fmla="*/ 24301 w 24804"/>
                <a:gd name="csY23" fmla="*/ 16418 h 27198"/>
                <a:gd name="csX24" fmla="*/ 24686 w 24804"/>
                <a:gd name="csY24" fmla="*/ 18343 h 27198"/>
                <a:gd name="csX25" fmla="*/ 24161 w 24804"/>
                <a:gd name="csY25" fmla="*/ 20549 h 27198"/>
                <a:gd name="csX26" fmla="*/ 21571 w 24804"/>
                <a:gd name="csY26" fmla="*/ 26289 h 27198"/>
                <a:gd name="csX27" fmla="*/ 18771 w 24804"/>
                <a:gd name="csY27" fmla="*/ 27129 h 27198"/>
                <a:gd name="csX28" fmla="*/ 6135 w 24804"/>
                <a:gd name="csY28" fmla="*/ 15753 h 27198"/>
                <a:gd name="csX29" fmla="*/ 6730 w 24804"/>
                <a:gd name="csY29" fmla="*/ 16278 h 27198"/>
                <a:gd name="csX30" fmla="*/ 7850 w 24804"/>
                <a:gd name="csY30" fmla="*/ 17503 h 27198"/>
                <a:gd name="csX31" fmla="*/ 8585 w 24804"/>
                <a:gd name="csY31" fmla="*/ 18833 h 27198"/>
                <a:gd name="csX32" fmla="*/ 8901 w 24804"/>
                <a:gd name="csY32" fmla="*/ 19429 h 27198"/>
                <a:gd name="csX33" fmla="*/ 14641 w 24804"/>
                <a:gd name="csY33" fmla="*/ 22509 h 27198"/>
                <a:gd name="csX34" fmla="*/ 16146 w 24804"/>
                <a:gd name="csY34" fmla="*/ 23104 h 27198"/>
                <a:gd name="csX35" fmla="*/ 19331 w 24804"/>
                <a:gd name="csY35" fmla="*/ 23419 h 27198"/>
                <a:gd name="csX36" fmla="*/ 20521 w 24804"/>
                <a:gd name="csY36" fmla="*/ 19849 h 27198"/>
                <a:gd name="csX37" fmla="*/ 20871 w 24804"/>
                <a:gd name="csY37" fmla="*/ 18168 h 27198"/>
                <a:gd name="csX38" fmla="*/ 19191 w 24804"/>
                <a:gd name="csY38" fmla="*/ 16383 h 27198"/>
                <a:gd name="csX39" fmla="*/ 16531 w 24804"/>
                <a:gd name="csY39" fmla="*/ 10573 h 27198"/>
                <a:gd name="csX40" fmla="*/ 17791 w 24804"/>
                <a:gd name="csY40" fmla="*/ 7913 h 27198"/>
                <a:gd name="csX41" fmla="*/ 17511 w 24804"/>
                <a:gd name="csY41" fmla="*/ 5148 h 27198"/>
                <a:gd name="csX42" fmla="*/ 13731 w 24804"/>
                <a:gd name="csY42" fmla="*/ 3818 h 27198"/>
                <a:gd name="csX43" fmla="*/ 12331 w 24804"/>
                <a:gd name="csY43" fmla="*/ 3678 h 27198"/>
                <a:gd name="csX44" fmla="*/ 11876 w 24804"/>
                <a:gd name="csY44" fmla="*/ 3678 h 27198"/>
                <a:gd name="csX45" fmla="*/ 10966 w 24804"/>
                <a:gd name="csY45" fmla="*/ 3818 h 27198"/>
                <a:gd name="csX46" fmla="*/ 9986 w 24804"/>
                <a:gd name="csY46" fmla="*/ 4238 h 27198"/>
                <a:gd name="csX47" fmla="*/ 4595 w 24804"/>
                <a:gd name="csY47" fmla="*/ 8893 h 27198"/>
                <a:gd name="csX48" fmla="*/ 3755 w 24804"/>
                <a:gd name="csY48" fmla="*/ 11308 h 27198"/>
                <a:gd name="csX49" fmla="*/ 4350 w 24804"/>
                <a:gd name="csY49" fmla="*/ 12428 h 27198"/>
                <a:gd name="csX50" fmla="*/ 6170 w 24804"/>
                <a:gd name="csY50" fmla="*/ 15648 h 27198"/>
                <a:gd name="csX51" fmla="*/ 6170 w 24804"/>
                <a:gd name="csY51" fmla="*/ 15648 h 27198"/>
                <a:gd name="csX52" fmla="*/ 20206 w 24804"/>
                <a:gd name="csY52" fmla="*/ 10398 h 27198"/>
                <a:gd name="csX53" fmla="*/ 20206 w 24804"/>
                <a:gd name="csY53" fmla="*/ 10468 h 27198"/>
                <a:gd name="csX54" fmla="*/ 20206 w 24804"/>
                <a:gd name="csY54" fmla="*/ 10398 h 271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24804" h="27198">
                  <a:moveTo>
                    <a:pt x="18736" y="27199"/>
                  </a:moveTo>
                  <a:cubicBezTo>
                    <a:pt x="17686" y="27199"/>
                    <a:pt x="16426" y="27024"/>
                    <a:pt x="14956" y="26639"/>
                  </a:cubicBezTo>
                  <a:lnTo>
                    <a:pt x="13276" y="25974"/>
                  </a:lnTo>
                  <a:cubicBezTo>
                    <a:pt x="10651" y="24924"/>
                    <a:pt x="7955" y="23839"/>
                    <a:pt x="6065" y="21809"/>
                  </a:cubicBezTo>
                  <a:cubicBezTo>
                    <a:pt x="5610" y="21214"/>
                    <a:pt x="5400" y="20724"/>
                    <a:pt x="5225" y="20339"/>
                  </a:cubicBezTo>
                  <a:cubicBezTo>
                    <a:pt x="5120" y="20094"/>
                    <a:pt x="5015" y="19849"/>
                    <a:pt x="4910" y="19744"/>
                  </a:cubicBezTo>
                  <a:cubicBezTo>
                    <a:pt x="4665" y="19464"/>
                    <a:pt x="4385" y="19148"/>
                    <a:pt x="4070" y="18868"/>
                  </a:cubicBezTo>
                  <a:cubicBezTo>
                    <a:pt x="3685" y="18483"/>
                    <a:pt x="3335" y="18133"/>
                    <a:pt x="2985" y="17713"/>
                  </a:cubicBezTo>
                  <a:cubicBezTo>
                    <a:pt x="2075" y="15998"/>
                    <a:pt x="1515" y="15053"/>
                    <a:pt x="1130" y="14388"/>
                  </a:cubicBezTo>
                  <a:cubicBezTo>
                    <a:pt x="-480" y="11728"/>
                    <a:pt x="-270" y="11063"/>
                    <a:pt x="1130" y="7598"/>
                  </a:cubicBezTo>
                  <a:cubicBezTo>
                    <a:pt x="1165" y="7493"/>
                    <a:pt x="1375" y="7038"/>
                    <a:pt x="1445" y="6933"/>
                  </a:cubicBezTo>
                  <a:cubicBezTo>
                    <a:pt x="2005" y="6128"/>
                    <a:pt x="6555" y="2208"/>
                    <a:pt x="7815" y="1263"/>
                  </a:cubicBezTo>
                  <a:cubicBezTo>
                    <a:pt x="9146" y="353"/>
                    <a:pt x="9916" y="213"/>
                    <a:pt x="10686" y="178"/>
                  </a:cubicBezTo>
                  <a:cubicBezTo>
                    <a:pt x="10861" y="108"/>
                    <a:pt x="11386" y="38"/>
                    <a:pt x="11561" y="38"/>
                  </a:cubicBezTo>
                  <a:lnTo>
                    <a:pt x="12156" y="38"/>
                  </a:lnTo>
                  <a:cubicBezTo>
                    <a:pt x="12856" y="-32"/>
                    <a:pt x="13696" y="-32"/>
                    <a:pt x="14676" y="283"/>
                  </a:cubicBezTo>
                  <a:cubicBezTo>
                    <a:pt x="16111" y="528"/>
                    <a:pt x="17931" y="1193"/>
                    <a:pt x="19401" y="2033"/>
                  </a:cubicBezTo>
                  <a:cubicBezTo>
                    <a:pt x="21921" y="3713"/>
                    <a:pt x="21606" y="6828"/>
                    <a:pt x="21431" y="8333"/>
                  </a:cubicBezTo>
                  <a:lnTo>
                    <a:pt x="21431" y="8823"/>
                  </a:lnTo>
                  <a:cubicBezTo>
                    <a:pt x="21396" y="9208"/>
                    <a:pt x="21256" y="9628"/>
                    <a:pt x="21011" y="9943"/>
                  </a:cubicBezTo>
                  <a:cubicBezTo>
                    <a:pt x="20731" y="10293"/>
                    <a:pt x="20416" y="10538"/>
                    <a:pt x="20206" y="10713"/>
                  </a:cubicBezTo>
                  <a:cubicBezTo>
                    <a:pt x="20276" y="11553"/>
                    <a:pt x="20521" y="12533"/>
                    <a:pt x="20766" y="12988"/>
                  </a:cubicBezTo>
                  <a:cubicBezTo>
                    <a:pt x="21046" y="13058"/>
                    <a:pt x="21291" y="13233"/>
                    <a:pt x="21501" y="13443"/>
                  </a:cubicBezTo>
                  <a:lnTo>
                    <a:pt x="24301" y="16418"/>
                  </a:lnTo>
                  <a:cubicBezTo>
                    <a:pt x="24791" y="16908"/>
                    <a:pt x="24931" y="17678"/>
                    <a:pt x="24686" y="18343"/>
                  </a:cubicBezTo>
                  <a:cubicBezTo>
                    <a:pt x="24441" y="19043"/>
                    <a:pt x="24301" y="19779"/>
                    <a:pt x="24161" y="20549"/>
                  </a:cubicBezTo>
                  <a:cubicBezTo>
                    <a:pt x="23776" y="22439"/>
                    <a:pt x="23391" y="24609"/>
                    <a:pt x="21571" y="26289"/>
                  </a:cubicBezTo>
                  <a:cubicBezTo>
                    <a:pt x="20976" y="26849"/>
                    <a:pt x="20066" y="27129"/>
                    <a:pt x="18771" y="27129"/>
                  </a:cubicBezTo>
                  <a:close/>
                  <a:moveTo>
                    <a:pt x="6135" y="15753"/>
                  </a:moveTo>
                  <a:cubicBezTo>
                    <a:pt x="6135" y="15753"/>
                    <a:pt x="6450" y="15998"/>
                    <a:pt x="6730" y="16278"/>
                  </a:cubicBezTo>
                  <a:cubicBezTo>
                    <a:pt x="7115" y="16663"/>
                    <a:pt x="7500" y="17048"/>
                    <a:pt x="7850" y="17503"/>
                  </a:cubicBezTo>
                  <a:cubicBezTo>
                    <a:pt x="8200" y="17993"/>
                    <a:pt x="8445" y="18483"/>
                    <a:pt x="8585" y="18833"/>
                  </a:cubicBezTo>
                  <a:cubicBezTo>
                    <a:pt x="8690" y="19078"/>
                    <a:pt x="8796" y="19323"/>
                    <a:pt x="8901" y="19429"/>
                  </a:cubicBezTo>
                  <a:cubicBezTo>
                    <a:pt x="10091" y="20689"/>
                    <a:pt x="12401" y="21634"/>
                    <a:pt x="14641" y="22509"/>
                  </a:cubicBezTo>
                  <a:lnTo>
                    <a:pt x="16146" y="23104"/>
                  </a:lnTo>
                  <a:cubicBezTo>
                    <a:pt x="17231" y="23349"/>
                    <a:pt x="18876" y="23524"/>
                    <a:pt x="19331" y="23419"/>
                  </a:cubicBezTo>
                  <a:cubicBezTo>
                    <a:pt x="19996" y="22719"/>
                    <a:pt x="20241" y="21389"/>
                    <a:pt x="20521" y="19849"/>
                  </a:cubicBezTo>
                  <a:cubicBezTo>
                    <a:pt x="20626" y="19289"/>
                    <a:pt x="20731" y="18728"/>
                    <a:pt x="20871" y="18168"/>
                  </a:cubicBezTo>
                  <a:lnTo>
                    <a:pt x="19191" y="16383"/>
                  </a:lnTo>
                  <a:cubicBezTo>
                    <a:pt x="17021" y="15508"/>
                    <a:pt x="16531" y="11693"/>
                    <a:pt x="16531" y="10573"/>
                  </a:cubicBezTo>
                  <a:cubicBezTo>
                    <a:pt x="16286" y="9208"/>
                    <a:pt x="17266" y="8333"/>
                    <a:pt x="17791" y="7913"/>
                  </a:cubicBezTo>
                  <a:cubicBezTo>
                    <a:pt x="17861" y="7283"/>
                    <a:pt x="18036" y="5498"/>
                    <a:pt x="17511" y="5148"/>
                  </a:cubicBezTo>
                  <a:cubicBezTo>
                    <a:pt x="16496" y="4588"/>
                    <a:pt x="15026" y="4063"/>
                    <a:pt x="13731" y="3818"/>
                  </a:cubicBezTo>
                  <a:cubicBezTo>
                    <a:pt x="13171" y="3643"/>
                    <a:pt x="12856" y="3678"/>
                    <a:pt x="12331" y="3678"/>
                  </a:cubicBezTo>
                  <a:lnTo>
                    <a:pt x="11876" y="3678"/>
                  </a:lnTo>
                  <a:cubicBezTo>
                    <a:pt x="11491" y="3783"/>
                    <a:pt x="11176" y="3818"/>
                    <a:pt x="10966" y="3818"/>
                  </a:cubicBezTo>
                  <a:cubicBezTo>
                    <a:pt x="10686" y="3818"/>
                    <a:pt x="10546" y="3818"/>
                    <a:pt x="9986" y="4238"/>
                  </a:cubicBezTo>
                  <a:cubicBezTo>
                    <a:pt x="8760" y="5113"/>
                    <a:pt x="5435" y="8053"/>
                    <a:pt x="4595" y="8893"/>
                  </a:cubicBezTo>
                  <a:cubicBezTo>
                    <a:pt x="4070" y="10153"/>
                    <a:pt x="3720" y="11063"/>
                    <a:pt x="3755" y="11308"/>
                  </a:cubicBezTo>
                  <a:cubicBezTo>
                    <a:pt x="3755" y="11448"/>
                    <a:pt x="4070" y="11973"/>
                    <a:pt x="4350" y="12428"/>
                  </a:cubicBezTo>
                  <a:cubicBezTo>
                    <a:pt x="4805" y="13163"/>
                    <a:pt x="5400" y="14143"/>
                    <a:pt x="6170" y="15648"/>
                  </a:cubicBezTo>
                  <a:lnTo>
                    <a:pt x="6170" y="15648"/>
                  </a:lnTo>
                  <a:close/>
                  <a:moveTo>
                    <a:pt x="20206" y="10398"/>
                  </a:moveTo>
                  <a:lnTo>
                    <a:pt x="20206" y="10468"/>
                  </a:lnTo>
                  <a:lnTo>
                    <a:pt x="20206" y="10398"/>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7" name="Freeform: Shape 1746">
              <a:extLst>
                <a:ext uri="{FF2B5EF4-FFF2-40B4-BE49-F238E27FC236}">
                  <a16:creationId xmlns:a16="http://schemas.microsoft.com/office/drawing/2014/main" id="{67653971-EB13-3E15-7FA4-2A2378C0290E}"/>
                </a:ext>
              </a:extLst>
            </p:cNvPr>
            <p:cNvSpPr/>
            <p:nvPr/>
          </p:nvSpPr>
          <p:spPr>
            <a:xfrm>
              <a:off x="10918434" y="4327873"/>
              <a:ext cx="30593" cy="21824"/>
            </a:xfrm>
            <a:custGeom>
              <a:avLst/>
              <a:gdLst>
                <a:gd name="csX0" fmla="*/ 9135 w 30593"/>
                <a:gd name="csY0" fmla="*/ 20833 h 21824"/>
                <a:gd name="csX1" fmla="*/ 7665 w 30593"/>
                <a:gd name="csY1" fmla="*/ 19958 h 21824"/>
                <a:gd name="csX2" fmla="*/ 5600 w 30593"/>
                <a:gd name="csY2" fmla="*/ 19678 h 21824"/>
                <a:gd name="csX3" fmla="*/ 1610 w 30593"/>
                <a:gd name="csY3" fmla="*/ 19818 h 21824"/>
                <a:gd name="csX4" fmla="*/ 0 w 30593"/>
                <a:gd name="csY4" fmla="*/ 9772 h 21824"/>
                <a:gd name="csX5" fmla="*/ 455 w 30593"/>
                <a:gd name="csY5" fmla="*/ 8582 h 21824"/>
                <a:gd name="csX6" fmla="*/ 2240 w 30593"/>
                <a:gd name="csY6" fmla="*/ 7707 h 21824"/>
                <a:gd name="csX7" fmla="*/ 4025 w 30593"/>
                <a:gd name="csY7" fmla="*/ 6517 h 21824"/>
                <a:gd name="csX8" fmla="*/ 8330 w 30593"/>
                <a:gd name="csY8" fmla="*/ 5187 h 21824"/>
                <a:gd name="csX9" fmla="*/ 9380 w 30593"/>
                <a:gd name="csY9" fmla="*/ 3717 h 21824"/>
                <a:gd name="csX10" fmla="*/ 13091 w 30593"/>
                <a:gd name="csY10" fmla="*/ 2107 h 21824"/>
                <a:gd name="csX11" fmla="*/ 22261 w 30593"/>
                <a:gd name="csY11" fmla="*/ 917 h 21824"/>
                <a:gd name="csX12" fmla="*/ 30241 w 30593"/>
                <a:gd name="csY12" fmla="*/ 12153 h 21824"/>
                <a:gd name="csX13" fmla="*/ 28456 w 30593"/>
                <a:gd name="csY13" fmla="*/ 19713 h 21824"/>
                <a:gd name="csX14" fmla="*/ 26076 w 30593"/>
                <a:gd name="csY14" fmla="*/ 20763 h 21824"/>
                <a:gd name="csX15" fmla="*/ 24151 w 30593"/>
                <a:gd name="csY15" fmla="*/ 21498 h 21824"/>
                <a:gd name="csX16" fmla="*/ 19426 w 30593"/>
                <a:gd name="csY16" fmla="*/ 21498 h 21824"/>
                <a:gd name="csX17" fmla="*/ 18236 w 30593"/>
                <a:gd name="csY17" fmla="*/ 21638 h 21824"/>
                <a:gd name="csX18" fmla="*/ 8015 w 30593"/>
                <a:gd name="csY18" fmla="*/ 21638 h 218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30593" h="21824">
                  <a:moveTo>
                    <a:pt x="9135" y="20833"/>
                  </a:moveTo>
                  <a:cubicBezTo>
                    <a:pt x="7525" y="21288"/>
                    <a:pt x="8085" y="20238"/>
                    <a:pt x="7665" y="19958"/>
                  </a:cubicBezTo>
                  <a:cubicBezTo>
                    <a:pt x="6930" y="19958"/>
                    <a:pt x="6335" y="19678"/>
                    <a:pt x="5600" y="19678"/>
                  </a:cubicBezTo>
                  <a:cubicBezTo>
                    <a:pt x="4270" y="19678"/>
                    <a:pt x="1610" y="19818"/>
                    <a:pt x="1610" y="19818"/>
                  </a:cubicBezTo>
                  <a:cubicBezTo>
                    <a:pt x="1015" y="16423"/>
                    <a:pt x="280" y="13168"/>
                    <a:pt x="0" y="9772"/>
                  </a:cubicBezTo>
                  <a:cubicBezTo>
                    <a:pt x="0" y="9492"/>
                    <a:pt x="0" y="8897"/>
                    <a:pt x="455" y="8582"/>
                  </a:cubicBezTo>
                  <a:cubicBezTo>
                    <a:pt x="735" y="8127"/>
                    <a:pt x="1645" y="7987"/>
                    <a:pt x="2240" y="7707"/>
                  </a:cubicBezTo>
                  <a:cubicBezTo>
                    <a:pt x="2835" y="7427"/>
                    <a:pt x="3430" y="6972"/>
                    <a:pt x="4025" y="6517"/>
                  </a:cubicBezTo>
                  <a:cubicBezTo>
                    <a:pt x="5495" y="6062"/>
                    <a:pt x="7140" y="5782"/>
                    <a:pt x="8330" y="5187"/>
                  </a:cubicBezTo>
                  <a:cubicBezTo>
                    <a:pt x="9065" y="4732"/>
                    <a:pt x="8785" y="4137"/>
                    <a:pt x="9380" y="3717"/>
                  </a:cubicBezTo>
                  <a:cubicBezTo>
                    <a:pt x="10570" y="2982"/>
                    <a:pt x="13091" y="2107"/>
                    <a:pt x="13091" y="2107"/>
                  </a:cubicBezTo>
                  <a:cubicBezTo>
                    <a:pt x="24466" y="182"/>
                    <a:pt x="19461" y="-868"/>
                    <a:pt x="22261" y="917"/>
                  </a:cubicBezTo>
                  <a:cubicBezTo>
                    <a:pt x="25061" y="2527"/>
                    <a:pt x="29226" y="9037"/>
                    <a:pt x="30241" y="12153"/>
                  </a:cubicBezTo>
                  <a:cubicBezTo>
                    <a:pt x="31291" y="15408"/>
                    <a:pt x="29786" y="18068"/>
                    <a:pt x="28456" y="19713"/>
                  </a:cubicBezTo>
                  <a:cubicBezTo>
                    <a:pt x="27721" y="20168"/>
                    <a:pt x="26846" y="20448"/>
                    <a:pt x="26076" y="20763"/>
                  </a:cubicBezTo>
                  <a:cubicBezTo>
                    <a:pt x="25341" y="21043"/>
                    <a:pt x="24886" y="21358"/>
                    <a:pt x="24151" y="21498"/>
                  </a:cubicBezTo>
                  <a:cubicBezTo>
                    <a:pt x="20896" y="22233"/>
                    <a:pt x="22226" y="21498"/>
                    <a:pt x="19426" y="21498"/>
                  </a:cubicBezTo>
                  <a:cubicBezTo>
                    <a:pt x="18971" y="21358"/>
                    <a:pt x="20021" y="21638"/>
                    <a:pt x="18236" y="21638"/>
                  </a:cubicBezTo>
                  <a:cubicBezTo>
                    <a:pt x="16311" y="21778"/>
                    <a:pt x="11445" y="21638"/>
                    <a:pt x="8015" y="21638"/>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8" name="Freeform: Shape 1747">
              <a:extLst>
                <a:ext uri="{FF2B5EF4-FFF2-40B4-BE49-F238E27FC236}">
                  <a16:creationId xmlns:a16="http://schemas.microsoft.com/office/drawing/2014/main" id="{54E0C700-BFB4-C3EE-2B0A-DD6D2E2C9ECE}"/>
                </a:ext>
              </a:extLst>
            </p:cNvPr>
            <p:cNvSpPr/>
            <p:nvPr/>
          </p:nvSpPr>
          <p:spPr>
            <a:xfrm>
              <a:off x="10916509" y="4326072"/>
              <a:ext cx="34185" cy="25468"/>
            </a:xfrm>
            <a:custGeom>
              <a:avLst/>
              <a:gdLst>
                <a:gd name="csX0" fmla="*/ 23976 w 34185"/>
                <a:gd name="csY0" fmla="*/ 25434 h 25468"/>
                <a:gd name="csX1" fmla="*/ 22751 w 34185"/>
                <a:gd name="csY1" fmla="*/ 25259 h 25468"/>
                <a:gd name="csX2" fmla="*/ 21596 w 34185"/>
                <a:gd name="csY2" fmla="*/ 25084 h 25468"/>
                <a:gd name="csX3" fmla="*/ 20091 w 34185"/>
                <a:gd name="csY3" fmla="*/ 25224 h 25468"/>
                <a:gd name="csX4" fmla="*/ 13581 w 34185"/>
                <a:gd name="csY4" fmla="*/ 25224 h 25468"/>
                <a:gd name="csX5" fmla="*/ 9870 w 34185"/>
                <a:gd name="csY5" fmla="*/ 25224 h 25468"/>
                <a:gd name="csX6" fmla="*/ 9870 w 34185"/>
                <a:gd name="csY6" fmla="*/ 24559 h 25468"/>
                <a:gd name="csX7" fmla="*/ 9065 w 34185"/>
                <a:gd name="csY7" fmla="*/ 24279 h 25468"/>
                <a:gd name="csX8" fmla="*/ 8295 w 34185"/>
                <a:gd name="csY8" fmla="*/ 23474 h 25468"/>
                <a:gd name="csX9" fmla="*/ 8120 w 34185"/>
                <a:gd name="csY9" fmla="*/ 23474 h 25468"/>
                <a:gd name="csX10" fmla="*/ 7490 w 34185"/>
                <a:gd name="csY10" fmla="*/ 23334 h 25468"/>
                <a:gd name="csX11" fmla="*/ 3605 w 34185"/>
                <a:gd name="csY11" fmla="*/ 23509 h 25468"/>
                <a:gd name="csX12" fmla="*/ 3500 w 34185"/>
                <a:gd name="csY12" fmla="*/ 23509 h 25468"/>
                <a:gd name="csX13" fmla="*/ 1680 w 34185"/>
                <a:gd name="csY13" fmla="*/ 21968 h 25468"/>
                <a:gd name="csX14" fmla="*/ 1155 w 34185"/>
                <a:gd name="csY14" fmla="*/ 19168 h 25468"/>
                <a:gd name="csX15" fmla="*/ 0 w 34185"/>
                <a:gd name="csY15" fmla="*/ 11713 h 25468"/>
                <a:gd name="csX16" fmla="*/ 980 w 34185"/>
                <a:gd name="csY16" fmla="*/ 9053 h 25468"/>
                <a:gd name="csX17" fmla="*/ 2800 w 34185"/>
                <a:gd name="csY17" fmla="*/ 8003 h 25468"/>
                <a:gd name="csX18" fmla="*/ 3255 w 34185"/>
                <a:gd name="csY18" fmla="*/ 7828 h 25468"/>
                <a:gd name="csX19" fmla="*/ 4690 w 34185"/>
                <a:gd name="csY19" fmla="*/ 6848 h 25468"/>
                <a:gd name="csX20" fmla="*/ 5285 w 34185"/>
                <a:gd name="csY20" fmla="*/ 6533 h 25468"/>
                <a:gd name="csX21" fmla="*/ 6790 w 34185"/>
                <a:gd name="csY21" fmla="*/ 6113 h 25468"/>
                <a:gd name="csX22" fmla="*/ 8995 w 34185"/>
                <a:gd name="csY22" fmla="*/ 5448 h 25468"/>
                <a:gd name="csX23" fmla="*/ 10045 w 34185"/>
                <a:gd name="csY23" fmla="*/ 4013 h 25468"/>
                <a:gd name="csX24" fmla="*/ 14246 w 34185"/>
                <a:gd name="csY24" fmla="*/ 2123 h 25468"/>
                <a:gd name="csX25" fmla="*/ 21841 w 34185"/>
                <a:gd name="csY25" fmla="*/ 233 h 25468"/>
                <a:gd name="csX26" fmla="*/ 24431 w 34185"/>
                <a:gd name="csY26" fmla="*/ 688 h 25468"/>
                <a:gd name="csX27" fmla="*/ 24991 w 34185"/>
                <a:gd name="csY27" fmla="*/ 1143 h 25468"/>
                <a:gd name="csX28" fmla="*/ 33741 w 34185"/>
                <a:gd name="csY28" fmla="*/ 13358 h 25468"/>
                <a:gd name="csX29" fmla="*/ 31641 w 34185"/>
                <a:gd name="csY29" fmla="*/ 22668 h 25468"/>
                <a:gd name="csX30" fmla="*/ 31151 w 34185"/>
                <a:gd name="csY30" fmla="*/ 23089 h 25468"/>
                <a:gd name="csX31" fmla="*/ 29086 w 34185"/>
                <a:gd name="csY31" fmla="*/ 24034 h 25468"/>
                <a:gd name="csX32" fmla="*/ 27931 w 34185"/>
                <a:gd name="csY32" fmla="*/ 24524 h 25468"/>
                <a:gd name="csX33" fmla="*/ 26286 w 34185"/>
                <a:gd name="csY33" fmla="*/ 25119 h 25468"/>
                <a:gd name="csX34" fmla="*/ 23871 w 34185"/>
                <a:gd name="csY34" fmla="*/ 25469 h 25468"/>
                <a:gd name="csX35" fmla="*/ 21526 w 34185"/>
                <a:gd name="csY35" fmla="*/ 21373 h 25468"/>
                <a:gd name="csX36" fmla="*/ 23696 w 34185"/>
                <a:gd name="csY36" fmla="*/ 21653 h 25468"/>
                <a:gd name="csX37" fmla="*/ 25586 w 34185"/>
                <a:gd name="csY37" fmla="*/ 21408 h 25468"/>
                <a:gd name="csX38" fmla="*/ 26496 w 34185"/>
                <a:gd name="csY38" fmla="*/ 21093 h 25468"/>
                <a:gd name="csX39" fmla="*/ 27231 w 34185"/>
                <a:gd name="csY39" fmla="*/ 20778 h 25468"/>
                <a:gd name="csX40" fmla="*/ 27826 w 34185"/>
                <a:gd name="csY40" fmla="*/ 20533 h 25468"/>
                <a:gd name="csX41" fmla="*/ 29051 w 34185"/>
                <a:gd name="csY41" fmla="*/ 20043 h 25468"/>
                <a:gd name="csX42" fmla="*/ 30311 w 34185"/>
                <a:gd name="csY42" fmla="*/ 14478 h 25468"/>
                <a:gd name="csX43" fmla="*/ 23171 w 34185"/>
                <a:gd name="csY43" fmla="*/ 4293 h 25468"/>
                <a:gd name="csX44" fmla="*/ 22681 w 34185"/>
                <a:gd name="csY44" fmla="*/ 3943 h 25468"/>
                <a:gd name="csX45" fmla="*/ 15226 w 34185"/>
                <a:gd name="csY45" fmla="*/ 5693 h 25468"/>
                <a:gd name="csX46" fmla="*/ 12496 w 34185"/>
                <a:gd name="csY46" fmla="*/ 6883 h 25468"/>
                <a:gd name="csX47" fmla="*/ 11130 w 34185"/>
                <a:gd name="csY47" fmla="*/ 8563 h 25468"/>
                <a:gd name="csX48" fmla="*/ 7805 w 34185"/>
                <a:gd name="csY48" fmla="*/ 9718 h 25468"/>
                <a:gd name="csX49" fmla="*/ 6755 w 34185"/>
                <a:gd name="csY49" fmla="*/ 9998 h 25468"/>
                <a:gd name="csX50" fmla="*/ 4970 w 34185"/>
                <a:gd name="csY50" fmla="*/ 11153 h 25468"/>
                <a:gd name="csX51" fmla="*/ 4095 w 34185"/>
                <a:gd name="csY51" fmla="*/ 11503 h 25468"/>
                <a:gd name="csX52" fmla="*/ 3780 w 34185"/>
                <a:gd name="csY52" fmla="*/ 11608 h 25468"/>
                <a:gd name="csX53" fmla="*/ 4865 w 34185"/>
                <a:gd name="csY53" fmla="*/ 18468 h 25468"/>
                <a:gd name="csX54" fmla="*/ 5110 w 34185"/>
                <a:gd name="csY54" fmla="*/ 19693 h 25468"/>
                <a:gd name="csX55" fmla="*/ 8995 w 34185"/>
                <a:gd name="csY55" fmla="*/ 19833 h 25468"/>
                <a:gd name="csX56" fmla="*/ 10605 w 34185"/>
                <a:gd name="csY56" fmla="*/ 20218 h 25468"/>
                <a:gd name="csX57" fmla="*/ 11586 w 34185"/>
                <a:gd name="csY57" fmla="*/ 21548 h 25468"/>
                <a:gd name="csX58" fmla="*/ 13651 w 34185"/>
                <a:gd name="csY58" fmla="*/ 21548 h 25468"/>
                <a:gd name="csX59" fmla="*/ 19986 w 34185"/>
                <a:gd name="csY59" fmla="*/ 21548 h 25468"/>
                <a:gd name="csX60" fmla="*/ 20406 w 34185"/>
                <a:gd name="csY60" fmla="*/ 21548 h 25468"/>
                <a:gd name="csX61" fmla="*/ 21561 w 34185"/>
                <a:gd name="csY61" fmla="*/ 21408 h 25468"/>
                <a:gd name="csX62" fmla="*/ 10570 w 34185"/>
                <a:gd name="csY62" fmla="*/ 21513 h 25468"/>
                <a:gd name="csX63" fmla="*/ 11481 w 34185"/>
                <a:gd name="csY63" fmla="*/ 21513 h 25468"/>
                <a:gd name="csX64" fmla="*/ 10360 w 34185"/>
                <a:gd name="csY64" fmla="*/ 20883 h 25468"/>
                <a:gd name="csX65" fmla="*/ 10570 w 34185"/>
                <a:gd name="csY65" fmla="*/ 21513 h 25468"/>
                <a:gd name="csX66" fmla="*/ 3640 w 34185"/>
                <a:gd name="csY66" fmla="*/ 11643 h 25468"/>
                <a:gd name="csX67" fmla="*/ 3605 w 34185"/>
                <a:gd name="csY67" fmla="*/ 11643 h 25468"/>
                <a:gd name="csX68" fmla="*/ 3640 w 34185"/>
                <a:gd name="csY68" fmla="*/ 11643 h 254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34185" h="25468">
                  <a:moveTo>
                    <a:pt x="23976" y="25434"/>
                  </a:moveTo>
                  <a:cubicBezTo>
                    <a:pt x="23556" y="25434"/>
                    <a:pt x="23171" y="25364"/>
                    <a:pt x="22751" y="25259"/>
                  </a:cubicBezTo>
                  <a:cubicBezTo>
                    <a:pt x="22506" y="25189"/>
                    <a:pt x="22261" y="25119"/>
                    <a:pt x="21596" y="25084"/>
                  </a:cubicBezTo>
                  <a:cubicBezTo>
                    <a:pt x="21106" y="25224"/>
                    <a:pt x="20546" y="25224"/>
                    <a:pt x="20091" y="25224"/>
                  </a:cubicBezTo>
                  <a:cubicBezTo>
                    <a:pt x="18831" y="25329"/>
                    <a:pt x="16276" y="25294"/>
                    <a:pt x="13581" y="25224"/>
                  </a:cubicBezTo>
                  <a:cubicBezTo>
                    <a:pt x="12286" y="25224"/>
                    <a:pt x="11025" y="25224"/>
                    <a:pt x="9870" y="25224"/>
                  </a:cubicBezTo>
                  <a:lnTo>
                    <a:pt x="9870" y="24559"/>
                  </a:lnTo>
                  <a:cubicBezTo>
                    <a:pt x="9625" y="24524"/>
                    <a:pt x="9345" y="24419"/>
                    <a:pt x="9065" y="24279"/>
                  </a:cubicBezTo>
                  <a:cubicBezTo>
                    <a:pt x="8680" y="24034"/>
                    <a:pt x="8435" y="23754"/>
                    <a:pt x="8295" y="23474"/>
                  </a:cubicBezTo>
                  <a:lnTo>
                    <a:pt x="8120" y="23474"/>
                  </a:lnTo>
                  <a:cubicBezTo>
                    <a:pt x="7875" y="23369"/>
                    <a:pt x="7665" y="23334"/>
                    <a:pt x="7490" y="23334"/>
                  </a:cubicBezTo>
                  <a:cubicBezTo>
                    <a:pt x="6195" y="23334"/>
                    <a:pt x="3605" y="23509"/>
                    <a:pt x="3605" y="23509"/>
                  </a:cubicBezTo>
                  <a:lnTo>
                    <a:pt x="3500" y="23509"/>
                  </a:lnTo>
                  <a:cubicBezTo>
                    <a:pt x="2590" y="23509"/>
                    <a:pt x="1855" y="22878"/>
                    <a:pt x="1680" y="21968"/>
                  </a:cubicBezTo>
                  <a:lnTo>
                    <a:pt x="1155" y="19168"/>
                  </a:lnTo>
                  <a:cubicBezTo>
                    <a:pt x="700" y="16753"/>
                    <a:pt x="245" y="14268"/>
                    <a:pt x="0" y="11713"/>
                  </a:cubicBezTo>
                  <a:cubicBezTo>
                    <a:pt x="0" y="10453"/>
                    <a:pt x="315" y="9613"/>
                    <a:pt x="980" y="9053"/>
                  </a:cubicBezTo>
                  <a:cubicBezTo>
                    <a:pt x="1505" y="8458"/>
                    <a:pt x="2240" y="8213"/>
                    <a:pt x="2800" y="8003"/>
                  </a:cubicBezTo>
                  <a:cubicBezTo>
                    <a:pt x="2975" y="7933"/>
                    <a:pt x="3115" y="7898"/>
                    <a:pt x="3255" y="7828"/>
                  </a:cubicBezTo>
                  <a:cubicBezTo>
                    <a:pt x="3710" y="7583"/>
                    <a:pt x="4200" y="7233"/>
                    <a:pt x="4690" y="6848"/>
                  </a:cubicBezTo>
                  <a:cubicBezTo>
                    <a:pt x="4865" y="6708"/>
                    <a:pt x="5075" y="6603"/>
                    <a:pt x="5285" y="6533"/>
                  </a:cubicBezTo>
                  <a:cubicBezTo>
                    <a:pt x="5775" y="6393"/>
                    <a:pt x="6300" y="6253"/>
                    <a:pt x="6790" y="6113"/>
                  </a:cubicBezTo>
                  <a:cubicBezTo>
                    <a:pt x="7630" y="5903"/>
                    <a:pt x="8400" y="5693"/>
                    <a:pt x="8995" y="5448"/>
                  </a:cubicBezTo>
                  <a:cubicBezTo>
                    <a:pt x="9170" y="5028"/>
                    <a:pt x="9415" y="4468"/>
                    <a:pt x="10045" y="4013"/>
                  </a:cubicBezTo>
                  <a:cubicBezTo>
                    <a:pt x="11515" y="3103"/>
                    <a:pt x="13966" y="2228"/>
                    <a:pt x="14246" y="2123"/>
                  </a:cubicBezTo>
                  <a:cubicBezTo>
                    <a:pt x="18271" y="1423"/>
                    <a:pt x="20861" y="758"/>
                    <a:pt x="21841" y="233"/>
                  </a:cubicBezTo>
                  <a:cubicBezTo>
                    <a:pt x="22681" y="-223"/>
                    <a:pt x="23871" y="23"/>
                    <a:pt x="24431" y="688"/>
                  </a:cubicBezTo>
                  <a:cubicBezTo>
                    <a:pt x="24501" y="793"/>
                    <a:pt x="24711" y="933"/>
                    <a:pt x="24991" y="1143"/>
                  </a:cubicBezTo>
                  <a:cubicBezTo>
                    <a:pt x="28351" y="3068"/>
                    <a:pt x="32691" y="10243"/>
                    <a:pt x="33741" y="13358"/>
                  </a:cubicBezTo>
                  <a:cubicBezTo>
                    <a:pt x="34756" y="16543"/>
                    <a:pt x="34021" y="19763"/>
                    <a:pt x="31641" y="22668"/>
                  </a:cubicBezTo>
                  <a:cubicBezTo>
                    <a:pt x="31501" y="22843"/>
                    <a:pt x="31361" y="22984"/>
                    <a:pt x="31151" y="23089"/>
                  </a:cubicBezTo>
                  <a:cubicBezTo>
                    <a:pt x="30521" y="23474"/>
                    <a:pt x="29786" y="23789"/>
                    <a:pt x="29086" y="24034"/>
                  </a:cubicBezTo>
                  <a:lnTo>
                    <a:pt x="27931" y="24524"/>
                  </a:lnTo>
                  <a:cubicBezTo>
                    <a:pt x="27476" y="24734"/>
                    <a:pt x="26951" y="24979"/>
                    <a:pt x="26286" y="25119"/>
                  </a:cubicBezTo>
                  <a:cubicBezTo>
                    <a:pt x="25166" y="25364"/>
                    <a:pt x="24466" y="25469"/>
                    <a:pt x="23871" y="25469"/>
                  </a:cubicBezTo>
                  <a:close/>
                  <a:moveTo>
                    <a:pt x="21526" y="21373"/>
                  </a:moveTo>
                  <a:cubicBezTo>
                    <a:pt x="22611" y="21373"/>
                    <a:pt x="23206" y="21513"/>
                    <a:pt x="23696" y="21653"/>
                  </a:cubicBezTo>
                  <a:cubicBezTo>
                    <a:pt x="23906" y="21723"/>
                    <a:pt x="24116" y="21758"/>
                    <a:pt x="25586" y="21408"/>
                  </a:cubicBezTo>
                  <a:cubicBezTo>
                    <a:pt x="25901" y="21338"/>
                    <a:pt x="26076" y="21268"/>
                    <a:pt x="26496" y="21093"/>
                  </a:cubicBezTo>
                  <a:cubicBezTo>
                    <a:pt x="26741" y="20988"/>
                    <a:pt x="26986" y="20883"/>
                    <a:pt x="27231" y="20778"/>
                  </a:cubicBezTo>
                  <a:lnTo>
                    <a:pt x="27826" y="20533"/>
                  </a:lnTo>
                  <a:cubicBezTo>
                    <a:pt x="28246" y="20393"/>
                    <a:pt x="28666" y="20218"/>
                    <a:pt x="29051" y="20043"/>
                  </a:cubicBezTo>
                  <a:cubicBezTo>
                    <a:pt x="30451" y="18223"/>
                    <a:pt x="30871" y="16333"/>
                    <a:pt x="30311" y="14478"/>
                  </a:cubicBezTo>
                  <a:cubicBezTo>
                    <a:pt x="29296" y="11433"/>
                    <a:pt x="25341" y="5518"/>
                    <a:pt x="23171" y="4293"/>
                  </a:cubicBezTo>
                  <a:cubicBezTo>
                    <a:pt x="22996" y="4188"/>
                    <a:pt x="22821" y="4048"/>
                    <a:pt x="22681" y="3943"/>
                  </a:cubicBezTo>
                  <a:cubicBezTo>
                    <a:pt x="21561" y="4363"/>
                    <a:pt x="19461" y="4993"/>
                    <a:pt x="15226" y="5693"/>
                  </a:cubicBezTo>
                  <a:cubicBezTo>
                    <a:pt x="14701" y="5903"/>
                    <a:pt x="13336" y="6463"/>
                    <a:pt x="12496" y="6883"/>
                  </a:cubicBezTo>
                  <a:cubicBezTo>
                    <a:pt x="12321" y="7373"/>
                    <a:pt x="11971" y="8038"/>
                    <a:pt x="11130" y="8563"/>
                  </a:cubicBezTo>
                  <a:cubicBezTo>
                    <a:pt x="10045" y="9123"/>
                    <a:pt x="8890" y="9403"/>
                    <a:pt x="7805" y="9718"/>
                  </a:cubicBezTo>
                  <a:cubicBezTo>
                    <a:pt x="7455" y="9788"/>
                    <a:pt x="7105" y="9893"/>
                    <a:pt x="6755" y="9998"/>
                  </a:cubicBezTo>
                  <a:cubicBezTo>
                    <a:pt x="6160" y="10453"/>
                    <a:pt x="5565" y="10838"/>
                    <a:pt x="4970" y="11153"/>
                  </a:cubicBezTo>
                  <a:cubicBezTo>
                    <a:pt x="4690" y="11293"/>
                    <a:pt x="4410" y="11398"/>
                    <a:pt x="4095" y="11503"/>
                  </a:cubicBezTo>
                  <a:cubicBezTo>
                    <a:pt x="3990" y="11538"/>
                    <a:pt x="3885" y="11573"/>
                    <a:pt x="3780" y="11608"/>
                  </a:cubicBezTo>
                  <a:cubicBezTo>
                    <a:pt x="3990" y="13918"/>
                    <a:pt x="4410" y="16123"/>
                    <a:pt x="4865" y="18468"/>
                  </a:cubicBezTo>
                  <a:lnTo>
                    <a:pt x="5110" y="19693"/>
                  </a:lnTo>
                  <a:cubicBezTo>
                    <a:pt x="6685" y="19658"/>
                    <a:pt x="8190" y="19658"/>
                    <a:pt x="8995" y="19833"/>
                  </a:cubicBezTo>
                  <a:cubicBezTo>
                    <a:pt x="9800" y="20008"/>
                    <a:pt x="10185" y="19938"/>
                    <a:pt x="10605" y="20218"/>
                  </a:cubicBezTo>
                  <a:cubicBezTo>
                    <a:pt x="11235" y="20638"/>
                    <a:pt x="11445" y="21198"/>
                    <a:pt x="11586" y="21548"/>
                  </a:cubicBezTo>
                  <a:cubicBezTo>
                    <a:pt x="12251" y="21548"/>
                    <a:pt x="12986" y="21548"/>
                    <a:pt x="13651" y="21548"/>
                  </a:cubicBezTo>
                  <a:cubicBezTo>
                    <a:pt x="16171" y="21618"/>
                    <a:pt x="18761" y="21653"/>
                    <a:pt x="19986" y="21548"/>
                  </a:cubicBezTo>
                  <a:lnTo>
                    <a:pt x="20406" y="21548"/>
                  </a:lnTo>
                  <a:cubicBezTo>
                    <a:pt x="20756" y="21373"/>
                    <a:pt x="21176" y="21303"/>
                    <a:pt x="21561" y="21408"/>
                  </a:cubicBezTo>
                  <a:close/>
                  <a:moveTo>
                    <a:pt x="10570" y="21513"/>
                  </a:moveTo>
                  <a:cubicBezTo>
                    <a:pt x="10885" y="21513"/>
                    <a:pt x="11165" y="21513"/>
                    <a:pt x="11481" y="21513"/>
                  </a:cubicBezTo>
                  <a:cubicBezTo>
                    <a:pt x="11235" y="21128"/>
                    <a:pt x="10745" y="20953"/>
                    <a:pt x="10360" y="20883"/>
                  </a:cubicBezTo>
                  <a:lnTo>
                    <a:pt x="10570" y="21513"/>
                  </a:lnTo>
                  <a:close/>
                  <a:moveTo>
                    <a:pt x="3640" y="11643"/>
                  </a:moveTo>
                  <a:cubicBezTo>
                    <a:pt x="3640" y="11643"/>
                    <a:pt x="3605" y="11643"/>
                    <a:pt x="3605" y="11643"/>
                  </a:cubicBezTo>
                  <a:cubicBezTo>
                    <a:pt x="3605" y="11643"/>
                    <a:pt x="3605" y="11643"/>
                    <a:pt x="3640" y="11643"/>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49" name="Freeform: Shape 1748">
              <a:extLst>
                <a:ext uri="{FF2B5EF4-FFF2-40B4-BE49-F238E27FC236}">
                  <a16:creationId xmlns:a16="http://schemas.microsoft.com/office/drawing/2014/main" id="{38420BDC-B431-0DFC-C480-F8346DD29FB7}"/>
                </a:ext>
              </a:extLst>
            </p:cNvPr>
            <p:cNvSpPr/>
            <p:nvPr/>
          </p:nvSpPr>
          <p:spPr>
            <a:xfrm>
              <a:off x="10907268" y="4292493"/>
              <a:ext cx="28214" cy="27686"/>
            </a:xfrm>
            <a:custGeom>
              <a:avLst/>
              <a:gdLst>
                <a:gd name="csX0" fmla="*/ 4760 w 28214"/>
                <a:gd name="csY0" fmla="*/ 14946 h 27686"/>
                <a:gd name="csX1" fmla="*/ 4165 w 28214"/>
                <a:gd name="csY1" fmla="*/ 13336 h 27686"/>
                <a:gd name="csX2" fmla="*/ 2975 w 28214"/>
                <a:gd name="csY2" fmla="*/ 11551 h 27686"/>
                <a:gd name="csX3" fmla="*/ 0 w 28214"/>
                <a:gd name="csY3" fmla="*/ 8890 h 27686"/>
                <a:gd name="csX4" fmla="*/ 5915 w 28214"/>
                <a:gd name="csY4" fmla="*/ 595 h 27686"/>
                <a:gd name="csX5" fmla="*/ 7105 w 28214"/>
                <a:gd name="csY5" fmla="*/ 0 h 27686"/>
                <a:gd name="csX6" fmla="*/ 8890 w 28214"/>
                <a:gd name="csY6" fmla="*/ 595 h 27686"/>
                <a:gd name="csX7" fmla="*/ 10955 w 28214"/>
                <a:gd name="csY7" fmla="*/ 1050 h 27686"/>
                <a:gd name="csX8" fmla="*/ 15086 w 28214"/>
                <a:gd name="csY8" fmla="*/ 3115 h 27686"/>
                <a:gd name="csX9" fmla="*/ 16871 w 28214"/>
                <a:gd name="csY9" fmla="*/ 2835 h 27686"/>
                <a:gd name="csX10" fmla="*/ 20581 w 28214"/>
                <a:gd name="csY10" fmla="*/ 4305 h 27686"/>
                <a:gd name="csX11" fmla="*/ 27966 w 28214"/>
                <a:gd name="csY11" fmla="*/ 9765 h 27686"/>
                <a:gd name="csX12" fmla="*/ 25761 w 28214"/>
                <a:gd name="csY12" fmla="*/ 23381 h 27686"/>
                <a:gd name="csX13" fmla="*/ 19251 w 28214"/>
                <a:gd name="csY13" fmla="*/ 27686 h 27686"/>
                <a:gd name="csX14" fmla="*/ 16871 w 28214"/>
                <a:gd name="csY14" fmla="*/ 26636 h 27686"/>
                <a:gd name="csX15" fmla="*/ 14946 w 28214"/>
                <a:gd name="csY15" fmla="*/ 25901 h 27686"/>
                <a:gd name="csX16" fmla="*/ 11691 w 28214"/>
                <a:gd name="csY16" fmla="*/ 22506 h 27686"/>
                <a:gd name="csX17" fmla="*/ 10500 w 28214"/>
                <a:gd name="csY17" fmla="*/ 21771 h 27686"/>
                <a:gd name="csX18" fmla="*/ 3395 w 28214"/>
                <a:gd name="csY18" fmla="*/ 14666 h 276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8214" h="27686">
                  <a:moveTo>
                    <a:pt x="4760" y="14946"/>
                  </a:moveTo>
                  <a:cubicBezTo>
                    <a:pt x="3290" y="14071"/>
                    <a:pt x="4480" y="13896"/>
                    <a:pt x="4165" y="13336"/>
                  </a:cubicBezTo>
                  <a:cubicBezTo>
                    <a:pt x="3885" y="12741"/>
                    <a:pt x="3430" y="12146"/>
                    <a:pt x="2975" y="11551"/>
                  </a:cubicBezTo>
                  <a:cubicBezTo>
                    <a:pt x="2100" y="10675"/>
                    <a:pt x="0" y="8890"/>
                    <a:pt x="0" y="8890"/>
                  </a:cubicBezTo>
                  <a:cubicBezTo>
                    <a:pt x="1925" y="6090"/>
                    <a:pt x="3710" y="3255"/>
                    <a:pt x="5915" y="595"/>
                  </a:cubicBezTo>
                  <a:cubicBezTo>
                    <a:pt x="6055" y="315"/>
                    <a:pt x="6510" y="0"/>
                    <a:pt x="7105" y="0"/>
                  </a:cubicBezTo>
                  <a:cubicBezTo>
                    <a:pt x="7560" y="0"/>
                    <a:pt x="8295" y="455"/>
                    <a:pt x="8890" y="595"/>
                  </a:cubicBezTo>
                  <a:cubicBezTo>
                    <a:pt x="9625" y="875"/>
                    <a:pt x="10360" y="875"/>
                    <a:pt x="10955" y="1050"/>
                  </a:cubicBezTo>
                  <a:cubicBezTo>
                    <a:pt x="12426" y="1785"/>
                    <a:pt x="13756" y="2660"/>
                    <a:pt x="15086" y="3115"/>
                  </a:cubicBezTo>
                  <a:cubicBezTo>
                    <a:pt x="15821" y="3395"/>
                    <a:pt x="16136" y="2660"/>
                    <a:pt x="16871" y="2835"/>
                  </a:cubicBezTo>
                  <a:cubicBezTo>
                    <a:pt x="18061" y="3115"/>
                    <a:pt x="20581" y="4305"/>
                    <a:pt x="20581" y="4305"/>
                  </a:cubicBezTo>
                  <a:cubicBezTo>
                    <a:pt x="30066" y="10815"/>
                    <a:pt x="27231" y="6510"/>
                    <a:pt x="27966" y="9765"/>
                  </a:cubicBezTo>
                  <a:cubicBezTo>
                    <a:pt x="28841" y="12881"/>
                    <a:pt x="27231" y="20406"/>
                    <a:pt x="25761" y="23381"/>
                  </a:cubicBezTo>
                  <a:cubicBezTo>
                    <a:pt x="24291" y="26356"/>
                    <a:pt x="21316" y="27371"/>
                    <a:pt x="19251" y="27686"/>
                  </a:cubicBezTo>
                  <a:cubicBezTo>
                    <a:pt x="18516" y="27231"/>
                    <a:pt x="17641" y="26951"/>
                    <a:pt x="16871" y="26636"/>
                  </a:cubicBezTo>
                  <a:cubicBezTo>
                    <a:pt x="16101" y="26321"/>
                    <a:pt x="15541" y="26181"/>
                    <a:pt x="14946" y="25901"/>
                  </a:cubicBezTo>
                  <a:cubicBezTo>
                    <a:pt x="12146" y="24116"/>
                    <a:pt x="13616" y="24431"/>
                    <a:pt x="11691" y="22506"/>
                  </a:cubicBezTo>
                  <a:cubicBezTo>
                    <a:pt x="11410" y="22226"/>
                    <a:pt x="11831" y="23101"/>
                    <a:pt x="10500" y="21771"/>
                  </a:cubicBezTo>
                  <a:cubicBezTo>
                    <a:pt x="9170" y="20441"/>
                    <a:pt x="5775" y="17046"/>
                    <a:pt x="3395" y="14666"/>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0" name="Freeform: Shape 1749">
              <a:extLst>
                <a:ext uri="{FF2B5EF4-FFF2-40B4-BE49-F238E27FC236}">
                  <a16:creationId xmlns:a16="http://schemas.microsoft.com/office/drawing/2014/main" id="{58B4DAC0-B93B-C2D6-667E-4BCFFD1E1626}"/>
                </a:ext>
              </a:extLst>
            </p:cNvPr>
            <p:cNvSpPr/>
            <p:nvPr/>
          </p:nvSpPr>
          <p:spPr>
            <a:xfrm>
              <a:off x="10905455" y="4290796"/>
              <a:ext cx="31948" cy="31238"/>
            </a:xfrm>
            <a:custGeom>
              <a:avLst/>
              <a:gdLst>
                <a:gd name="csX0" fmla="*/ 21064 w 31948"/>
                <a:gd name="csY0" fmla="*/ 31204 h 31238"/>
                <a:gd name="csX1" fmla="*/ 20119 w 31948"/>
                <a:gd name="csY1" fmla="*/ 30924 h 31238"/>
                <a:gd name="csX2" fmla="*/ 18579 w 31948"/>
                <a:gd name="csY2" fmla="*/ 30259 h 31238"/>
                <a:gd name="csX3" fmla="*/ 17319 w 31948"/>
                <a:gd name="csY3" fmla="*/ 29769 h 31238"/>
                <a:gd name="csX4" fmla="*/ 15989 w 31948"/>
                <a:gd name="csY4" fmla="*/ 29244 h 31238"/>
                <a:gd name="csX5" fmla="*/ 13084 w 31948"/>
                <a:gd name="csY5" fmla="*/ 26584 h 31238"/>
                <a:gd name="csX6" fmla="*/ 12664 w 31948"/>
                <a:gd name="csY6" fmla="*/ 25954 h 31238"/>
                <a:gd name="csX7" fmla="*/ 11054 w 31948"/>
                <a:gd name="csY7" fmla="*/ 24764 h 31238"/>
                <a:gd name="csX8" fmla="*/ 3948 w 31948"/>
                <a:gd name="csY8" fmla="*/ 17658 h 31238"/>
                <a:gd name="csX9" fmla="*/ 4438 w 31948"/>
                <a:gd name="csY9" fmla="*/ 17203 h 31238"/>
                <a:gd name="csX10" fmla="*/ 4053 w 31948"/>
                <a:gd name="csY10" fmla="*/ 15348 h 31238"/>
                <a:gd name="csX11" fmla="*/ 3353 w 31948"/>
                <a:gd name="csY11" fmla="*/ 14368 h 31238"/>
                <a:gd name="csX12" fmla="*/ 658 w 31948"/>
                <a:gd name="csY12" fmla="*/ 11988 h 31238"/>
                <a:gd name="csX13" fmla="*/ 343 w 31948"/>
                <a:gd name="csY13" fmla="*/ 9538 h 31238"/>
                <a:gd name="csX14" fmla="*/ 1603 w 31948"/>
                <a:gd name="csY14" fmla="*/ 7718 h 31238"/>
                <a:gd name="csX15" fmla="*/ 6293 w 31948"/>
                <a:gd name="csY15" fmla="*/ 1243 h 31238"/>
                <a:gd name="csX16" fmla="*/ 10668 w 31948"/>
                <a:gd name="csY16" fmla="*/ 332 h 31238"/>
                <a:gd name="csX17" fmla="*/ 11194 w 31948"/>
                <a:gd name="csY17" fmla="*/ 542 h 31238"/>
                <a:gd name="csX18" fmla="*/ 12384 w 31948"/>
                <a:gd name="csY18" fmla="*/ 822 h 31238"/>
                <a:gd name="csX19" fmla="*/ 13329 w 31948"/>
                <a:gd name="csY19" fmla="*/ 997 h 31238"/>
                <a:gd name="csX20" fmla="*/ 15219 w 31948"/>
                <a:gd name="csY20" fmla="*/ 1943 h 31238"/>
                <a:gd name="csX21" fmla="*/ 17284 w 31948"/>
                <a:gd name="csY21" fmla="*/ 2993 h 31238"/>
                <a:gd name="csX22" fmla="*/ 19139 w 31948"/>
                <a:gd name="csY22" fmla="*/ 2748 h 31238"/>
                <a:gd name="csX23" fmla="*/ 23234 w 31948"/>
                <a:gd name="csY23" fmla="*/ 4358 h 31238"/>
                <a:gd name="csX24" fmla="*/ 29954 w 31948"/>
                <a:gd name="csY24" fmla="*/ 8243 h 31238"/>
                <a:gd name="csX25" fmla="*/ 31529 w 31948"/>
                <a:gd name="csY25" fmla="*/ 10378 h 31238"/>
                <a:gd name="csX26" fmla="*/ 31634 w 31948"/>
                <a:gd name="csY26" fmla="*/ 11113 h 31238"/>
                <a:gd name="csX27" fmla="*/ 29289 w 31948"/>
                <a:gd name="csY27" fmla="*/ 25954 h 31238"/>
                <a:gd name="csX28" fmla="*/ 21379 w 31948"/>
                <a:gd name="csY28" fmla="*/ 31239 h 31238"/>
                <a:gd name="csX29" fmla="*/ 21134 w 31948"/>
                <a:gd name="csY29" fmla="*/ 31239 h 31238"/>
                <a:gd name="csX30" fmla="*/ 13854 w 31948"/>
                <a:gd name="csY30" fmla="*/ 22313 h 31238"/>
                <a:gd name="csX31" fmla="*/ 14834 w 31948"/>
                <a:gd name="csY31" fmla="*/ 22838 h 31238"/>
                <a:gd name="csX32" fmla="*/ 16374 w 31948"/>
                <a:gd name="csY32" fmla="*/ 24904 h 31238"/>
                <a:gd name="csX33" fmla="*/ 17809 w 31948"/>
                <a:gd name="csY33" fmla="*/ 26059 h 31238"/>
                <a:gd name="csX34" fmla="*/ 18544 w 31948"/>
                <a:gd name="csY34" fmla="*/ 26304 h 31238"/>
                <a:gd name="csX35" fmla="*/ 19909 w 31948"/>
                <a:gd name="csY35" fmla="*/ 26829 h 31238"/>
                <a:gd name="csX36" fmla="*/ 21379 w 31948"/>
                <a:gd name="csY36" fmla="*/ 27459 h 31238"/>
                <a:gd name="csX37" fmla="*/ 25929 w 31948"/>
                <a:gd name="csY37" fmla="*/ 24274 h 31238"/>
                <a:gd name="csX38" fmla="*/ 27994 w 31948"/>
                <a:gd name="csY38" fmla="*/ 11988 h 31238"/>
                <a:gd name="csX39" fmla="*/ 27889 w 31948"/>
                <a:gd name="csY39" fmla="*/ 11393 h 31238"/>
                <a:gd name="csX40" fmla="*/ 21344 w 31948"/>
                <a:gd name="csY40" fmla="*/ 7508 h 31238"/>
                <a:gd name="csX41" fmla="*/ 18579 w 31948"/>
                <a:gd name="csY41" fmla="*/ 6423 h 31238"/>
                <a:gd name="csX42" fmla="*/ 16234 w 31948"/>
                <a:gd name="csY42" fmla="*/ 6528 h 31238"/>
                <a:gd name="csX43" fmla="*/ 13364 w 31948"/>
                <a:gd name="csY43" fmla="*/ 5128 h 31238"/>
                <a:gd name="csX44" fmla="*/ 11999 w 31948"/>
                <a:gd name="csY44" fmla="*/ 4393 h 31238"/>
                <a:gd name="csX45" fmla="*/ 11754 w 31948"/>
                <a:gd name="csY45" fmla="*/ 4393 h 31238"/>
                <a:gd name="csX46" fmla="*/ 10038 w 31948"/>
                <a:gd name="csY46" fmla="*/ 3973 h 31238"/>
                <a:gd name="csX47" fmla="*/ 9163 w 31948"/>
                <a:gd name="csY47" fmla="*/ 3658 h 31238"/>
                <a:gd name="csX48" fmla="*/ 9023 w 31948"/>
                <a:gd name="csY48" fmla="*/ 3588 h 31238"/>
                <a:gd name="csX49" fmla="*/ 4578 w 31948"/>
                <a:gd name="csY49" fmla="*/ 9713 h 31238"/>
                <a:gd name="csX50" fmla="*/ 4263 w 31948"/>
                <a:gd name="csY50" fmla="*/ 10203 h 31238"/>
                <a:gd name="csX51" fmla="*/ 6083 w 31948"/>
                <a:gd name="csY51" fmla="*/ 11883 h 31238"/>
                <a:gd name="csX52" fmla="*/ 7588 w 31948"/>
                <a:gd name="csY52" fmla="*/ 14123 h 31238"/>
                <a:gd name="csX53" fmla="*/ 7623 w 31948"/>
                <a:gd name="csY53" fmla="*/ 16118 h 31238"/>
                <a:gd name="csX54" fmla="*/ 13609 w 31948"/>
                <a:gd name="csY54" fmla="*/ 22068 h 31238"/>
                <a:gd name="csX55" fmla="*/ 13784 w 31948"/>
                <a:gd name="csY55" fmla="*/ 22243 h 31238"/>
                <a:gd name="csX56" fmla="*/ 6993 w 31948"/>
                <a:gd name="csY56" fmla="*/ 15488 h 31238"/>
                <a:gd name="csX57" fmla="*/ 7658 w 31948"/>
                <a:gd name="csY57" fmla="*/ 16153 h 31238"/>
                <a:gd name="csX58" fmla="*/ 7308 w 31948"/>
                <a:gd name="csY58" fmla="*/ 14928 h 31238"/>
                <a:gd name="csX59" fmla="*/ 6993 w 31948"/>
                <a:gd name="csY59" fmla="*/ 15523 h 31238"/>
                <a:gd name="csX60" fmla="*/ 9443 w 31948"/>
                <a:gd name="csY60" fmla="*/ 3098 h 31238"/>
                <a:gd name="csX61" fmla="*/ 9443 w 31948"/>
                <a:gd name="csY61" fmla="*/ 3098 h 31238"/>
                <a:gd name="csX62" fmla="*/ 9443 w 31948"/>
                <a:gd name="csY62" fmla="*/ 3098 h 31238"/>
                <a:gd name="csX63" fmla="*/ 17494 w 31948"/>
                <a:gd name="csY63" fmla="*/ 3028 h 31238"/>
                <a:gd name="csX64" fmla="*/ 17529 w 31948"/>
                <a:gd name="csY64" fmla="*/ 3028 h 31238"/>
                <a:gd name="csX65" fmla="*/ 17494 w 31948"/>
                <a:gd name="csY65" fmla="*/ 3028 h 312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Lst>
              <a:rect l="l" t="t" r="r" b="b"/>
              <a:pathLst>
                <a:path w="31948" h="31238">
                  <a:moveTo>
                    <a:pt x="21064" y="31204"/>
                  </a:moveTo>
                  <a:cubicBezTo>
                    <a:pt x="20749" y="31204"/>
                    <a:pt x="20399" y="31134"/>
                    <a:pt x="20119" y="30924"/>
                  </a:cubicBezTo>
                  <a:cubicBezTo>
                    <a:pt x="19629" y="30644"/>
                    <a:pt x="19104" y="30434"/>
                    <a:pt x="18579" y="30259"/>
                  </a:cubicBezTo>
                  <a:lnTo>
                    <a:pt x="17319" y="29769"/>
                  </a:lnTo>
                  <a:cubicBezTo>
                    <a:pt x="16864" y="29594"/>
                    <a:pt x="16409" y="29454"/>
                    <a:pt x="15989" y="29244"/>
                  </a:cubicBezTo>
                  <a:cubicBezTo>
                    <a:pt x="14029" y="28019"/>
                    <a:pt x="13539" y="27459"/>
                    <a:pt x="13084" y="26584"/>
                  </a:cubicBezTo>
                  <a:cubicBezTo>
                    <a:pt x="13014" y="26409"/>
                    <a:pt x="12909" y="26234"/>
                    <a:pt x="12664" y="25954"/>
                  </a:cubicBezTo>
                  <a:cubicBezTo>
                    <a:pt x="12069" y="25744"/>
                    <a:pt x="11579" y="25289"/>
                    <a:pt x="11054" y="24764"/>
                  </a:cubicBezTo>
                  <a:lnTo>
                    <a:pt x="3948" y="17658"/>
                  </a:lnTo>
                  <a:lnTo>
                    <a:pt x="4438" y="17203"/>
                  </a:lnTo>
                  <a:cubicBezTo>
                    <a:pt x="3948" y="16538"/>
                    <a:pt x="3913" y="15873"/>
                    <a:pt x="4053" y="15348"/>
                  </a:cubicBezTo>
                  <a:cubicBezTo>
                    <a:pt x="3843" y="15033"/>
                    <a:pt x="3598" y="14718"/>
                    <a:pt x="3353" y="14368"/>
                  </a:cubicBezTo>
                  <a:cubicBezTo>
                    <a:pt x="2653" y="13703"/>
                    <a:pt x="658" y="11988"/>
                    <a:pt x="658" y="11988"/>
                  </a:cubicBezTo>
                  <a:cubicBezTo>
                    <a:pt x="-77" y="11358"/>
                    <a:pt x="-217" y="10308"/>
                    <a:pt x="343" y="9538"/>
                  </a:cubicBezTo>
                  <a:lnTo>
                    <a:pt x="1603" y="7718"/>
                  </a:lnTo>
                  <a:cubicBezTo>
                    <a:pt x="3038" y="5548"/>
                    <a:pt x="4543" y="3343"/>
                    <a:pt x="6293" y="1243"/>
                  </a:cubicBezTo>
                  <a:cubicBezTo>
                    <a:pt x="7133" y="-53"/>
                    <a:pt x="9233" y="-298"/>
                    <a:pt x="10668" y="332"/>
                  </a:cubicBezTo>
                  <a:cubicBezTo>
                    <a:pt x="10844" y="402"/>
                    <a:pt x="11019" y="507"/>
                    <a:pt x="11194" y="542"/>
                  </a:cubicBezTo>
                  <a:cubicBezTo>
                    <a:pt x="11684" y="717"/>
                    <a:pt x="12034" y="752"/>
                    <a:pt x="12384" y="822"/>
                  </a:cubicBezTo>
                  <a:cubicBezTo>
                    <a:pt x="12699" y="857"/>
                    <a:pt x="13049" y="927"/>
                    <a:pt x="13329" y="997"/>
                  </a:cubicBezTo>
                  <a:cubicBezTo>
                    <a:pt x="14204" y="1417"/>
                    <a:pt x="14729" y="1663"/>
                    <a:pt x="15219" y="1943"/>
                  </a:cubicBezTo>
                  <a:cubicBezTo>
                    <a:pt x="15919" y="2328"/>
                    <a:pt x="16619" y="2713"/>
                    <a:pt x="17284" y="2993"/>
                  </a:cubicBezTo>
                  <a:cubicBezTo>
                    <a:pt x="17739" y="2783"/>
                    <a:pt x="18369" y="2573"/>
                    <a:pt x="19139" y="2748"/>
                  </a:cubicBezTo>
                  <a:cubicBezTo>
                    <a:pt x="20504" y="3063"/>
                    <a:pt x="22954" y="4218"/>
                    <a:pt x="23234" y="4358"/>
                  </a:cubicBezTo>
                  <a:cubicBezTo>
                    <a:pt x="26559" y="6633"/>
                    <a:pt x="28939" y="7998"/>
                    <a:pt x="29954" y="8243"/>
                  </a:cubicBezTo>
                  <a:cubicBezTo>
                    <a:pt x="30829" y="8453"/>
                    <a:pt x="31599" y="9468"/>
                    <a:pt x="31529" y="10378"/>
                  </a:cubicBezTo>
                  <a:cubicBezTo>
                    <a:pt x="31529" y="10448"/>
                    <a:pt x="31529" y="10623"/>
                    <a:pt x="31634" y="11113"/>
                  </a:cubicBezTo>
                  <a:cubicBezTo>
                    <a:pt x="32719" y="14823"/>
                    <a:pt x="30759" y="22978"/>
                    <a:pt x="29289" y="25954"/>
                  </a:cubicBezTo>
                  <a:cubicBezTo>
                    <a:pt x="27329" y="29839"/>
                    <a:pt x="23479" y="30924"/>
                    <a:pt x="21379" y="31239"/>
                  </a:cubicBezTo>
                  <a:cubicBezTo>
                    <a:pt x="21309" y="31239"/>
                    <a:pt x="21204" y="31239"/>
                    <a:pt x="21134" y="31239"/>
                  </a:cubicBezTo>
                  <a:close/>
                  <a:moveTo>
                    <a:pt x="13854" y="22313"/>
                  </a:moveTo>
                  <a:cubicBezTo>
                    <a:pt x="14134" y="22383"/>
                    <a:pt x="14484" y="22523"/>
                    <a:pt x="14834" y="22838"/>
                  </a:cubicBezTo>
                  <a:cubicBezTo>
                    <a:pt x="15779" y="23818"/>
                    <a:pt x="16129" y="24379"/>
                    <a:pt x="16374" y="24904"/>
                  </a:cubicBezTo>
                  <a:cubicBezTo>
                    <a:pt x="16479" y="25114"/>
                    <a:pt x="16584" y="25254"/>
                    <a:pt x="17809" y="26059"/>
                  </a:cubicBezTo>
                  <a:cubicBezTo>
                    <a:pt x="17914" y="26094"/>
                    <a:pt x="18229" y="26199"/>
                    <a:pt x="18544" y="26304"/>
                  </a:cubicBezTo>
                  <a:lnTo>
                    <a:pt x="19909" y="26829"/>
                  </a:lnTo>
                  <a:cubicBezTo>
                    <a:pt x="20399" y="27004"/>
                    <a:pt x="20889" y="27214"/>
                    <a:pt x="21379" y="27459"/>
                  </a:cubicBezTo>
                  <a:cubicBezTo>
                    <a:pt x="22814" y="27144"/>
                    <a:pt x="24879" y="26374"/>
                    <a:pt x="25929" y="24274"/>
                  </a:cubicBezTo>
                  <a:cubicBezTo>
                    <a:pt x="27364" y="21368"/>
                    <a:pt x="28694" y="14403"/>
                    <a:pt x="27994" y="11988"/>
                  </a:cubicBezTo>
                  <a:cubicBezTo>
                    <a:pt x="27959" y="11778"/>
                    <a:pt x="27924" y="11568"/>
                    <a:pt x="27889" y="11393"/>
                  </a:cubicBezTo>
                  <a:cubicBezTo>
                    <a:pt x="26769" y="10938"/>
                    <a:pt x="24844" y="9923"/>
                    <a:pt x="21344" y="7508"/>
                  </a:cubicBezTo>
                  <a:cubicBezTo>
                    <a:pt x="20784" y="7263"/>
                    <a:pt x="19384" y="6668"/>
                    <a:pt x="18579" y="6423"/>
                  </a:cubicBezTo>
                  <a:cubicBezTo>
                    <a:pt x="18089" y="6633"/>
                    <a:pt x="17284" y="6913"/>
                    <a:pt x="16234" y="6528"/>
                  </a:cubicBezTo>
                  <a:cubicBezTo>
                    <a:pt x="15359" y="6248"/>
                    <a:pt x="14379" y="5688"/>
                    <a:pt x="13364" y="5128"/>
                  </a:cubicBezTo>
                  <a:cubicBezTo>
                    <a:pt x="12944" y="4883"/>
                    <a:pt x="12454" y="4638"/>
                    <a:pt x="11999" y="4393"/>
                  </a:cubicBezTo>
                  <a:cubicBezTo>
                    <a:pt x="12104" y="4463"/>
                    <a:pt x="11999" y="4463"/>
                    <a:pt x="11754" y="4393"/>
                  </a:cubicBezTo>
                  <a:cubicBezTo>
                    <a:pt x="11264" y="4323"/>
                    <a:pt x="10668" y="4218"/>
                    <a:pt x="10038" y="3973"/>
                  </a:cubicBezTo>
                  <a:cubicBezTo>
                    <a:pt x="9933" y="3973"/>
                    <a:pt x="9548" y="3798"/>
                    <a:pt x="9163" y="3658"/>
                  </a:cubicBezTo>
                  <a:cubicBezTo>
                    <a:pt x="9128" y="3658"/>
                    <a:pt x="9093" y="3623"/>
                    <a:pt x="9023" y="3588"/>
                  </a:cubicBezTo>
                  <a:cubicBezTo>
                    <a:pt x="7413" y="5548"/>
                    <a:pt x="6048" y="7578"/>
                    <a:pt x="4578" y="9713"/>
                  </a:cubicBezTo>
                  <a:lnTo>
                    <a:pt x="4263" y="10203"/>
                  </a:lnTo>
                  <a:cubicBezTo>
                    <a:pt x="4928" y="10763"/>
                    <a:pt x="5628" y="11428"/>
                    <a:pt x="6083" y="11883"/>
                  </a:cubicBezTo>
                  <a:cubicBezTo>
                    <a:pt x="6748" y="12758"/>
                    <a:pt x="7238" y="13458"/>
                    <a:pt x="7588" y="14123"/>
                  </a:cubicBezTo>
                  <a:cubicBezTo>
                    <a:pt x="7903" y="14788"/>
                    <a:pt x="7903" y="15453"/>
                    <a:pt x="7623" y="16118"/>
                  </a:cubicBezTo>
                  <a:lnTo>
                    <a:pt x="13609" y="22068"/>
                  </a:lnTo>
                  <a:cubicBezTo>
                    <a:pt x="13609" y="22068"/>
                    <a:pt x="13714" y="22208"/>
                    <a:pt x="13784" y="22243"/>
                  </a:cubicBezTo>
                  <a:close/>
                  <a:moveTo>
                    <a:pt x="6993" y="15488"/>
                  </a:moveTo>
                  <a:lnTo>
                    <a:pt x="7658" y="16153"/>
                  </a:lnTo>
                  <a:cubicBezTo>
                    <a:pt x="7728" y="15698"/>
                    <a:pt x="7588" y="15138"/>
                    <a:pt x="7308" y="14928"/>
                  </a:cubicBezTo>
                  <a:lnTo>
                    <a:pt x="6993" y="15523"/>
                  </a:lnTo>
                  <a:close/>
                  <a:moveTo>
                    <a:pt x="9443" y="3098"/>
                  </a:moveTo>
                  <a:cubicBezTo>
                    <a:pt x="9443" y="3098"/>
                    <a:pt x="9443" y="3098"/>
                    <a:pt x="9443" y="3098"/>
                  </a:cubicBezTo>
                  <a:cubicBezTo>
                    <a:pt x="9443" y="3098"/>
                    <a:pt x="9443" y="3098"/>
                    <a:pt x="9443" y="3098"/>
                  </a:cubicBezTo>
                  <a:close/>
                  <a:moveTo>
                    <a:pt x="17494" y="3028"/>
                  </a:moveTo>
                  <a:cubicBezTo>
                    <a:pt x="17494" y="3028"/>
                    <a:pt x="17494" y="3028"/>
                    <a:pt x="17529" y="3028"/>
                  </a:cubicBezTo>
                  <a:cubicBezTo>
                    <a:pt x="17529" y="3028"/>
                    <a:pt x="17529" y="3028"/>
                    <a:pt x="17494" y="3028"/>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1" name="Freeform: Shape 1750">
              <a:extLst>
                <a:ext uri="{FF2B5EF4-FFF2-40B4-BE49-F238E27FC236}">
                  <a16:creationId xmlns:a16="http://schemas.microsoft.com/office/drawing/2014/main" id="{E22109F1-8FA8-5F92-0B3E-6C1C6A22B9E0}"/>
                </a:ext>
              </a:extLst>
            </p:cNvPr>
            <p:cNvSpPr/>
            <p:nvPr/>
          </p:nvSpPr>
          <p:spPr>
            <a:xfrm>
              <a:off x="11064105" y="4227880"/>
              <a:ext cx="22376" cy="29176"/>
            </a:xfrm>
            <a:custGeom>
              <a:avLst/>
              <a:gdLst>
                <a:gd name="csX0" fmla="*/ 2700 w 22376"/>
                <a:gd name="csY0" fmla="*/ 7665 h 29176"/>
                <a:gd name="csX1" fmla="*/ 3750 w 22376"/>
                <a:gd name="csY1" fmla="*/ 6195 h 29176"/>
                <a:gd name="csX2" fmla="*/ 4345 w 22376"/>
                <a:gd name="csY2" fmla="*/ 4270 h 29176"/>
                <a:gd name="csX3" fmla="*/ 4800 w 22376"/>
                <a:gd name="csY3" fmla="*/ 280 h 29176"/>
                <a:gd name="csX4" fmla="*/ 15161 w 22376"/>
                <a:gd name="csY4" fmla="*/ 0 h 29176"/>
                <a:gd name="csX5" fmla="*/ 16351 w 22376"/>
                <a:gd name="csY5" fmla="*/ 595 h 29176"/>
                <a:gd name="csX6" fmla="*/ 16946 w 22376"/>
                <a:gd name="csY6" fmla="*/ 2380 h 29176"/>
                <a:gd name="csX7" fmla="*/ 17996 w 22376"/>
                <a:gd name="csY7" fmla="*/ 4305 h 29176"/>
                <a:gd name="csX8" fmla="*/ 18731 w 22376"/>
                <a:gd name="csY8" fmla="*/ 8750 h 29176"/>
                <a:gd name="csX9" fmla="*/ 20061 w 22376"/>
                <a:gd name="csY9" fmla="*/ 9940 h 29176"/>
                <a:gd name="csX10" fmla="*/ 21251 w 22376"/>
                <a:gd name="csY10" fmla="*/ 13651 h 29176"/>
                <a:gd name="csX11" fmla="*/ 21391 w 22376"/>
                <a:gd name="csY11" fmla="*/ 22681 h 29176"/>
                <a:gd name="csX12" fmla="*/ 8826 w 22376"/>
                <a:gd name="csY12" fmla="*/ 29051 h 29176"/>
                <a:gd name="csX13" fmla="*/ 1265 w 22376"/>
                <a:gd name="csY13" fmla="*/ 26531 h 29176"/>
                <a:gd name="csX14" fmla="*/ 670 w 22376"/>
                <a:gd name="csY14" fmla="*/ 24011 h 29176"/>
                <a:gd name="csX15" fmla="*/ 75 w 22376"/>
                <a:gd name="csY15" fmla="*/ 22086 h 29176"/>
                <a:gd name="csX16" fmla="*/ 810 w 22376"/>
                <a:gd name="csY16" fmla="*/ 17501 h 29176"/>
                <a:gd name="csX17" fmla="*/ 670 w 22376"/>
                <a:gd name="csY17" fmla="*/ 16311 h 29176"/>
                <a:gd name="csX18" fmla="*/ 2140 w 22376"/>
                <a:gd name="csY18" fmla="*/ 6405 h 291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2376" h="29176">
                  <a:moveTo>
                    <a:pt x="2700" y="7665"/>
                  </a:moveTo>
                  <a:cubicBezTo>
                    <a:pt x="2560" y="5880"/>
                    <a:pt x="3435" y="6790"/>
                    <a:pt x="3750" y="6195"/>
                  </a:cubicBezTo>
                  <a:cubicBezTo>
                    <a:pt x="3890" y="5600"/>
                    <a:pt x="4205" y="5005"/>
                    <a:pt x="4345" y="4270"/>
                  </a:cubicBezTo>
                  <a:cubicBezTo>
                    <a:pt x="4625" y="2940"/>
                    <a:pt x="4800" y="280"/>
                    <a:pt x="4800" y="280"/>
                  </a:cubicBezTo>
                  <a:cubicBezTo>
                    <a:pt x="8195" y="280"/>
                    <a:pt x="11766" y="0"/>
                    <a:pt x="15161" y="0"/>
                  </a:cubicBezTo>
                  <a:cubicBezTo>
                    <a:pt x="15616" y="0"/>
                    <a:pt x="16036" y="140"/>
                    <a:pt x="16351" y="595"/>
                  </a:cubicBezTo>
                  <a:cubicBezTo>
                    <a:pt x="16806" y="1050"/>
                    <a:pt x="16806" y="1785"/>
                    <a:pt x="16946" y="2380"/>
                  </a:cubicBezTo>
                  <a:cubicBezTo>
                    <a:pt x="17226" y="3115"/>
                    <a:pt x="17681" y="3710"/>
                    <a:pt x="17996" y="4305"/>
                  </a:cubicBezTo>
                  <a:cubicBezTo>
                    <a:pt x="18276" y="5775"/>
                    <a:pt x="18276" y="7420"/>
                    <a:pt x="18731" y="8750"/>
                  </a:cubicBezTo>
                  <a:cubicBezTo>
                    <a:pt x="19011" y="9345"/>
                    <a:pt x="19781" y="9205"/>
                    <a:pt x="20061" y="9940"/>
                  </a:cubicBezTo>
                  <a:cubicBezTo>
                    <a:pt x="20656" y="10990"/>
                    <a:pt x="21251" y="13651"/>
                    <a:pt x="21251" y="13651"/>
                  </a:cubicBezTo>
                  <a:cubicBezTo>
                    <a:pt x="21706" y="25026"/>
                    <a:pt x="23456" y="20161"/>
                    <a:pt x="21391" y="22681"/>
                  </a:cubicBezTo>
                  <a:cubicBezTo>
                    <a:pt x="19186" y="25201"/>
                    <a:pt x="12081" y="28456"/>
                    <a:pt x="8826" y="29051"/>
                  </a:cubicBezTo>
                  <a:cubicBezTo>
                    <a:pt x="5430" y="29646"/>
                    <a:pt x="2910" y="28001"/>
                    <a:pt x="1265" y="26531"/>
                  </a:cubicBezTo>
                  <a:cubicBezTo>
                    <a:pt x="1125" y="25656"/>
                    <a:pt x="810" y="24921"/>
                    <a:pt x="670" y="24011"/>
                  </a:cubicBezTo>
                  <a:cubicBezTo>
                    <a:pt x="530" y="23416"/>
                    <a:pt x="75" y="22821"/>
                    <a:pt x="75" y="22086"/>
                  </a:cubicBezTo>
                  <a:cubicBezTo>
                    <a:pt x="-205" y="18831"/>
                    <a:pt x="355" y="20161"/>
                    <a:pt x="810" y="17501"/>
                  </a:cubicBezTo>
                  <a:cubicBezTo>
                    <a:pt x="950" y="17221"/>
                    <a:pt x="530" y="18096"/>
                    <a:pt x="670" y="16311"/>
                  </a:cubicBezTo>
                  <a:cubicBezTo>
                    <a:pt x="950" y="14386"/>
                    <a:pt x="1720" y="9800"/>
                    <a:pt x="2140" y="6405"/>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2" name="Freeform: Shape 1751">
              <a:extLst>
                <a:ext uri="{FF2B5EF4-FFF2-40B4-BE49-F238E27FC236}">
                  <a16:creationId xmlns:a16="http://schemas.microsoft.com/office/drawing/2014/main" id="{78E9FAD0-107A-7471-E532-D6A9303BE54E}"/>
                </a:ext>
              </a:extLst>
            </p:cNvPr>
            <p:cNvSpPr/>
            <p:nvPr/>
          </p:nvSpPr>
          <p:spPr>
            <a:xfrm>
              <a:off x="11062175" y="4225990"/>
              <a:ext cx="26049" cy="32831"/>
            </a:xfrm>
            <a:custGeom>
              <a:avLst/>
              <a:gdLst>
                <a:gd name="csX0" fmla="*/ 9285 w 26049"/>
                <a:gd name="csY0" fmla="*/ 32831 h 32831"/>
                <a:gd name="csX1" fmla="*/ 1900 w 26049"/>
                <a:gd name="csY1" fmla="*/ 29716 h 32831"/>
                <a:gd name="csX2" fmla="*/ 1305 w 26049"/>
                <a:gd name="csY2" fmla="*/ 28631 h 32831"/>
                <a:gd name="csX3" fmla="*/ 1025 w 26049"/>
                <a:gd name="csY3" fmla="*/ 27511 h 32831"/>
                <a:gd name="csX4" fmla="*/ 710 w 26049"/>
                <a:gd name="csY4" fmla="*/ 26146 h 32831"/>
                <a:gd name="csX5" fmla="*/ 80 w 26049"/>
                <a:gd name="csY5" fmla="*/ 23906 h 32831"/>
                <a:gd name="csX6" fmla="*/ 465 w 26049"/>
                <a:gd name="csY6" fmla="*/ 20336 h 32831"/>
                <a:gd name="csX7" fmla="*/ 710 w 26049"/>
                <a:gd name="csY7" fmla="*/ 19601 h 32831"/>
                <a:gd name="csX8" fmla="*/ 640 w 26049"/>
                <a:gd name="csY8" fmla="*/ 17991 h 32831"/>
                <a:gd name="csX9" fmla="*/ 815 w 26049"/>
                <a:gd name="csY9" fmla="*/ 16941 h 32831"/>
                <a:gd name="csX10" fmla="*/ 2145 w 26049"/>
                <a:gd name="csY10" fmla="*/ 7980 h 32831"/>
                <a:gd name="csX11" fmla="*/ 2880 w 26049"/>
                <a:gd name="csY11" fmla="*/ 8085 h 32831"/>
                <a:gd name="csX12" fmla="*/ 4105 w 26049"/>
                <a:gd name="csY12" fmla="*/ 6720 h 32831"/>
                <a:gd name="csX13" fmla="*/ 4385 w 26049"/>
                <a:gd name="csY13" fmla="*/ 5810 h 32831"/>
                <a:gd name="csX14" fmla="*/ 4805 w 26049"/>
                <a:gd name="csY14" fmla="*/ 2065 h 32831"/>
                <a:gd name="csX15" fmla="*/ 6660 w 26049"/>
                <a:gd name="csY15" fmla="*/ 315 h 32831"/>
                <a:gd name="csX16" fmla="*/ 11771 w 26049"/>
                <a:gd name="csY16" fmla="*/ 175 h 32831"/>
                <a:gd name="csX17" fmla="*/ 17021 w 26049"/>
                <a:gd name="csY17" fmla="*/ 0 h 32831"/>
                <a:gd name="csX18" fmla="*/ 19751 w 26049"/>
                <a:gd name="csY18" fmla="*/ 1400 h 32831"/>
                <a:gd name="csX19" fmla="*/ 20556 w 26049"/>
                <a:gd name="csY19" fmla="*/ 3430 h 32831"/>
                <a:gd name="csX20" fmla="*/ 21046 w 26049"/>
                <a:gd name="csY20" fmla="*/ 4480 h 32831"/>
                <a:gd name="csX21" fmla="*/ 21501 w 26049"/>
                <a:gd name="csY21" fmla="*/ 5320 h 32831"/>
                <a:gd name="csX22" fmla="*/ 21641 w 26049"/>
                <a:gd name="csY22" fmla="*/ 5740 h 32831"/>
                <a:gd name="csX23" fmla="*/ 21956 w 26049"/>
                <a:gd name="csY23" fmla="*/ 7735 h 32831"/>
                <a:gd name="csX24" fmla="*/ 22236 w 26049"/>
                <a:gd name="csY24" fmla="*/ 9520 h 32831"/>
                <a:gd name="csX25" fmla="*/ 23636 w 26049"/>
                <a:gd name="csY25" fmla="*/ 11025 h 32831"/>
                <a:gd name="csX26" fmla="*/ 24931 w 26049"/>
                <a:gd name="csY26" fmla="*/ 15016 h 32831"/>
                <a:gd name="csX27" fmla="*/ 25841 w 26049"/>
                <a:gd name="csY27" fmla="*/ 22541 h 32831"/>
                <a:gd name="csX28" fmla="*/ 25141 w 26049"/>
                <a:gd name="csY28" fmla="*/ 25166 h 32831"/>
                <a:gd name="csX29" fmla="*/ 24686 w 26049"/>
                <a:gd name="csY29" fmla="*/ 25621 h 32831"/>
                <a:gd name="csX30" fmla="*/ 11000 w 26049"/>
                <a:gd name="csY30" fmla="*/ 32621 h 32831"/>
                <a:gd name="csX31" fmla="*/ 9250 w 26049"/>
                <a:gd name="csY31" fmla="*/ 32796 h 32831"/>
                <a:gd name="csX32" fmla="*/ 4840 w 26049"/>
                <a:gd name="csY32" fmla="*/ 27336 h 32831"/>
                <a:gd name="csX33" fmla="*/ 10405 w 26049"/>
                <a:gd name="csY33" fmla="*/ 29016 h 32831"/>
                <a:gd name="csX34" fmla="*/ 21921 w 26049"/>
                <a:gd name="csY34" fmla="*/ 23241 h 32831"/>
                <a:gd name="csX35" fmla="*/ 22131 w 26049"/>
                <a:gd name="csY35" fmla="*/ 22996 h 32831"/>
                <a:gd name="csX36" fmla="*/ 21326 w 26049"/>
                <a:gd name="csY36" fmla="*/ 15506 h 32831"/>
                <a:gd name="csX37" fmla="*/ 20381 w 26049"/>
                <a:gd name="csY37" fmla="*/ 12636 h 32831"/>
                <a:gd name="csX38" fmla="*/ 18981 w 26049"/>
                <a:gd name="csY38" fmla="*/ 11340 h 32831"/>
                <a:gd name="csX39" fmla="*/ 18316 w 26049"/>
                <a:gd name="csY39" fmla="*/ 8120 h 32831"/>
                <a:gd name="csX40" fmla="*/ 18141 w 26049"/>
                <a:gd name="csY40" fmla="*/ 6720 h 32831"/>
                <a:gd name="csX41" fmla="*/ 17931 w 26049"/>
                <a:gd name="csY41" fmla="*/ 6335 h 32831"/>
                <a:gd name="csX42" fmla="*/ 17161 w 26049"/>
                <a:gd name="csY42" fmla="*/ 4865 h 32831"/>
                <a:gd name="csX43" fmla="*/ 16951 w 26049"/>
                <a:gd name="csY43" fmla="*/ 4025 h 32831"/>
                <a:gd name="csX44" fmla="*/ 16881 w 26049"/>
                <a:gd name="csY44" fmla="*/ 3570 h 32831"/>
                <a:gd name="csX45" fmla="*/ 12016 w 26049"/>
                <a:gd name="csY45" fmla="*/ 3815 h 32831"/>
                <a:gd name="csX46" fmla="*/ 8480 w 26049"/>
                <a:gd name="csY46" fmla="*/ 3955 h 32831"/>
                <a:gd name="csX47" fmla="*/ 8130 w 26049"/>
                <a:gd name="csY47" fmla="*/ 6510 h 32831"/>
                <a:gd name="csX48" fmla="*/ 7710 w 26049"/>
                <a:gd name="csY48" fmla="*/ 7910 h 32831"/>
                <a:gd name="csX49" fmla="*/ 7535 w 26049"/>
                <a:gd name="csY49" fmla="*/ 8505 h 32831"/>
                <a:gd name="csX50" fmla="*/ 5715 w 26049"/>
                <a:gd name="csY50" fmla="*/ 10080 h 32831"/>
                <a:gd name="csX51" fmla="*/ 4595 w 26049"/>
                <a:gd name="csY51" fmla="*/ 17466 h 32831"/>
                <a:gd name="csX52" fmla="*/ 4455 w 26049"/>
                <a:gd name="csY52" fmla="*/ 18376 h 32831"/>
                <a:gd name="csX53" fmla="*/ 4595 w 26049"/>
                <a:gd name="csY53" fmla="*/ 19671 h 32831"/>
                <a:gd name="csX54" fmla="*/ 3930 w 26049"/>
                <a:gd name="csY54" fmla="*/ 21911 h 32831"/>
                <a:gd name="csX55" fmla="*/ 3930 w 26049"/>
                <a:gd name="csY55" fmla="*/ 23731 h 32831"/>
                <a:gd name="csX56" fmla="*/ 4105 w 26049"/>
                <a:gd name="csY56" fmla="*/ 24396 h 32831"/>
                <a:gd name="csX57" fmla="*/ 4455 w 26049"/>
                <a:gd name="csY57" fmla="*/ 25376 h 32831"/>
                <a:gd name="csX58" fmla="*/ 4735 w 26049"/>
                <a:gd name="csY58" fmla="*/ 26531 h 32831"/>
                <a:gd name="csX59" fmla="*/ 4945 w 26049"/>
                <a:gd name="csY59" fmla="*/ 27336 h 32831"/>
                <a:gd name="csX60" fmla="*/ 5750 w 26049"/>
                <a:gd name="csY60" fmla="*/ 9240 h 32831"/>
                <a:gd name="csX61" fmla="*/ 5610 w 26049"/>
                <a:gd name="csY61" fmla="*/ 10115 h 32831"/>
                <a:gd name="csX62" fmla="*/ 6450 w 26049"/>
                <a:gd name="csY62" fmla="*/ 9135 h 32831"/>
                <a:gd name="csX63" fmla="*/ 5750 w 26049"/>
                <a:gd name="csY63" fmla="*/ 9240 h 328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26049" h="32831">
                  <a:moveTo>
                    <a:pt x="9285" y="32831"/>
                  </a:moveTo>
                  <a:cubicBezTo>
                    <a:pt x="6660" y="32831"/>
                    <a:pt x="4210" y="31781"/>
                    <a:pt x="1900" y="29716"/>
                  </a:cubicBezTo>
                  <a:cubicBezTo>
                    <a:pt x="1585" y="29436"/>
                    <a:pt x="1375" y="29051"/>
                    <a:pt x="1305" y="28631"/>
                  </a:cubicBezTo>
                  <a:cubicBezTo>
                    <a:pt x="1235" y="28211"/>
                    <a:pt x="1130" y="27861"/>
                    <a:pt x="1025" y="27511"/>
                  </a:cubicBezTo>
                  <a:cubicBezTo>
                    <a:pt x="920" y="27056"/>
                    <a:pt x="780" y="26636"/>
                    <a:pt x="710" y="26146"/>
                  </a:cubicBezTo>
                  <a:cubicBezTo>
                    <a:pt x="395" y="25411"/>
                    <a:pt x="80" y="24746"/>
                    <a:pt x="80" y="23906"/>
                  </a:cubicBezTo>
                  <a:cubicBezTo>
                    <a:pt x="-95" y="21981"/>
                    <a:pt x="10" y="21281"/>
                    <a:pt x="465" y="20336"/>
                  </a:cubicBezTo>
                  <a:cubicBezTo>
                    <a:pt x="535" y="20161"/>
                    <a:pt x="640" y="19986"/>
                    <a:pt x="710" y="19601"/>
                  </a:cubicBezTo>
                  <a:cubicBezTo>
                    <a:pt x="570" y="19006"/>
                    <a:pt x="640" y="18411"/>
                    <a:pt x="640" y="17991"/>
                  </a:cubicBezTo>
                  <a:lnTo>
                    <a:pt x="815" y="16941"/>
                  </a:lnTo>
                  <a:cubicBezTo>
                    <a:pt x="1165" y="14701"/>
                    <a:pt x="1760" y="10920"/>
                    <a:pt x="2145" y="7980"/>
                  </a:cubicBezTo>
                  <a:lnTo>
                    <a:pt x="2880" y="8085"/>
                  </a:lnTo>
                  <a:cubicBezTo>
                    <a:pt x="3125" y="7350"/>
                    <a:pt x="3615" y="6930"/>
                    <a:pt x="4105" y="6720"/>
                  </a:cubicBezTo>
                  <a:cubicBezTo>
                    <a:pt x="4210" y="6440"/>
                    <a:pt x="4315" y="6125"/>
                    <a:pt x="4385" y="5810"/>
                  </a:cubicBezTo>
                  <a:cubicBezTo>
                    <a:pt x="4630" y="4795"/>
                    <a:pt x="4770" y="2765"/>
                    <a:pt x="4805" y="2065"/>
                  </a:cubicBezTo>
                  <a:cubicBezTo>
                    <a:pt x="4875" y="1085"/>
                    <a:pt x="5680" y="315"/>
                    <a:pt x="6660" y="315"/>
                  </a:cubicBezTo>
                  <a:cubicBezTo>
                    <a:pt x="8340" y="315"/>
                    <a:pt x="10055" y="245"/>
                    <a:pt x="11771" y="175"/>
                  </a:cubicBezTo>
                  <a:cubicBezTo>
                    <a:pt x="13521" y="105"/>
                    <a:pt x="15306" y="0"/>
                    <a:pt x="17021" y="0"/>
                  </a:cubicBezTo>
                  <a:cubicBezTo>
                    <a:pt x="18176" y="0"/>
                    <a:pt x="19121" y="490"/>
                    <a:pt x="19751" y="1400"/>
                  </a:cubicBezTo>
                  <a:cubicBezTo>
                    <a:pt x="20276" y="1890"/>
                    <a:pt x="20416" y="2800"/>
                    <a:pt x="20556" y="3430"/>
                  </a:cubicBezTo>
                  <a:cubicBezTo>
                    <a:pt x="20696" y="3885"/>
                    <a:pt x="20871" y="4165"/>
                    <a:pt x="21046" y="4480"/>
                  </a:cubicBezTo>
                  <a:cubicBezTo>
                    <a:pt x="21221" y="4760"/>
                    <a:pt x="21361" y="5040"/>
                    <a:pt x="21501" y="5320"/>
                  </a:cubicBezTo>
                  <a:cubicBezTo>
                    <a:pt x="21571" y="5460"/>
                    <a:pt x="21606" y="5600"/>
                    <a:pt x="21641" y="5740"/>
                  </a:cubicBezTo>
                  <a:cubicBezTo>
                    <a:pt x="21781" y="6370"/>
                    <a:pt x="21851" y="7070"/>
                    <a:pt x="21956" y="7735"/>
                  </a:cubicBezTo>
                  <a:cubicBezTo>
                    <a:pt x="22026" y="8365"/>
                    <a:pt x="22096" y="8995"/>
                    <a:pt x="22236" y="9520"/>
                  </a:cubicBezTo>
                  <a:cubicBezTo>
                    <a:pt x="22691" y="9765"/>
                    <a:pt x="23286" y="10185"/>
                    <a:pt x="23636" y="11025"/>
                  </a:cubicBezTo>
                  <a:cubicBezTo>
                    <a:pt x="24231" y="12041"/>
                    <a:pt x="24791" y="14526"/>
                    <a:pt x="24931" y="15016"/>
                  </a:cubicBezTo>
                  <a:cubicBezTo>
                    <a:pt x="25176" y="21071"/>
                    <a:pt x="25736" y="22331"/>
                    <a:pt x="25841" y="22541"/>
                  </a:cubicBezTo>
                  <a:cubicBezTo>
                    <a:pt x="26296" y="23416"/>
                    <a:pt x="25981" y="24641"/>
                    <a:pt x="25141" y="25166"/>
                  </a:cubicBezTo>
                  <a:cubicBezTo>
                    <a:pt x="25071" y="25236"/>
                    <a:pt x="24896" y="25411"/>
                    <a:pt x="24686" y="25621"/>
                  </a:cubicBezTo>
                  <a:cubicBezTo>
                    <a:pt x="22026" y="28596"/>
                    <a:pt x="14536" y="31991"/>
                    <a:pt x="11000" y="32621"/>
                  </a:cubicBezTo>
                  <a:cubicBezTo>
                    <a:pt x="10405" y="32726"/>
                    <a:pt x="9845" y="32796"/>
                    <a:pt x="9250" y="32796"/>
                  </a:cubicBezTo>
                  <a:close/>
                  <a:moveTo>
                    <a:pt x="4840" y="27336"/>
                  </a:moveTo>
                  <a:cubicBezTo>
                    <a:pt x="6660" y="28841"/>
                    <a:pt x="8410" y="29331"/>
                    <a:pt x="10405" y="29016"/>
                  </a:cubicBezTo>
                  <a:cubicBezTo>
                    <a:pt x="13486" y="28456"/>
                    <a:pt x="20066" y="25306"/>
                    <a:pt x="21921" y="23241"/>
                  </a:cubicBezTo>
                  <a:cubicBezTo>
                    <a:pt x="21991" y="23171"/>
                    <a:pt x="22061" y="23066"/>
                    <a:pt x="22131" y="22996"/>
                  </a:cubicBezTo>
                  <a:cubicBezTo>
                    <a:pt x="21816" y="21841"/>
                    <a:pt x="21466" y="19671"/>
                    <a:pt x="21326" y="15506"/>
                  </a:cubicBezTo>
                  <a:cubicBezTo>
                    <a:pt x="21116" y="14666"/>
                    <a:pt x="20661" y="13126"/>
                    <a:pt x="20381" y="12636"/>
                  </a:cubicBezTo>
                  <a:cubicBezTo>
                    <a:pt x="20101" y="12531"/>
                    <a:pt x="19401" y="12181"/>
                    <a:pt x="18981" y="11340"/>
                  </a:cubicBezTo>
                  <a:cubicBezTo>
                    <a:pt x="18561" y="10150"/>
                    <a:pt x="18421" y="9100"/>
                    <a:pt x="18316" y="8120"/>
                  </a:cubicBezTo>
                  <a:cubicBezTo>
                    <a:pt x="18246" y="7630"/>
                    <a:pt x="18211" y="7175"/>
                    <a:pt x="18141" y="6720"/>
                  </a:cubicBezTo>
                  <a:lnTo>
                    <a:pt x="17931" y="6335"/>
                  </a:lnTo>
                  <a:cubicBezTo>
                    <a:pt x="17651" y="5880"/>
                    <a:pt x="17371" y="5390"/>
                    <a:pt x="17161" y="4865"/>
                  </a:cubicBezTo>
                  <a:lnTo>
                    <a:pt x="16951" y="4025"/>
                  </a:lnTo>
                  <a:cubicBezTo>
                    <a:pt x="16951" y="4025"/>
                    <a:pt x="16881" y="3640"/>
                    <a:pt x="16881" y="3570"/>
                  </a:cubicBezTo>
                  <a:cubicBezTo>
                    <a:pt x="15446" y="3675"/>
                    <a:pt x="13731" y="3745"/>
                    <a:pt x="12016" y="3815"/>
                  </a:cubicBezTo>
                  <a:cubicBezTo>
                    <a:pt x="10825" y="3885"/>
                    <a:pt x="9635" y="3920"/>
                    <a:pt x="8480" y="3955"/>
                  </a:cubicBezTo>
                  <a:cubicBezTo>
                    <a:pt x="8410" y="4830"/>
                    <a:pt x="8270" y="5810"/>
                    <a:pt x="8130" y="6510"/>
                  </a:cubicBezTo>
                  <a:cubicBezTo>
                    <a:pt x="8025" y="7000"/>
                    <a:pt x="7885" y="7490"/>
                    <a:pt x="7710" y="7910"/>
                  </a:cubicBezTo>
                  <a:cubicBezTo>
                    <a:pt x="7640" y="8120"/>
                    <a:pt x="7570" y="8295"/>
                    <a:pt x="7535" y="8505"/>
                  </a:cubicBezTo>
                  <a:cubicBezTo>
                    <a:pt x="7080" y="9485"/>
                    <a:pt x="6520" y="9940"/>
                    <a:pt x="5715" y="10080"/>
                  </a:cubicBezTo>
                  <a:cubicBezTo>
                    <a:pt x="5330" y="12706"/>
                    <a:pt x="4875" y="15646"/>
                    <a:pt x="4595" y="17466"/>
                  </a:cubicBezTo>
                  <a:lnTo>
                    <a:pt x="4455" y="18376"/>
                  </a:lnTo>
                  <a:cubicBezTo>
                    <a:pt x="4630" y="18761"/>
                    <a:pt x="4700" y="19216"/>
                    <a:pt x="4595" y="19671"/>
                  </a:cubicBezTo>
                  <a:cubicBezTo>
                    <a:pt x="4385" y="20826"/>
                    <a:pt x="4140" y="21421"/>
                    <a:pt x="3930" y="21911"/>
                  </a:cubicBezTo>
                  <a:cubicBezTo>
                    <a:pt x="3825" y="22121"/>
                    <a:pt x="3755" y="22261"/>
                    <a:pt x="3930" y="23731"/>
                  </a:cubicBezTo>
                  <a:cubicBezTo>
                    <a:pt x="3930" y="23976"/>
                    <a:pt x="4035" y="24221"/>
                    <a:pt x="4105" y="24396"/>
                  </a:cubicBezTo>
                  <a:cubicBezTo>
                    <a:pt x="4245" y="24711"/>
                    <a:pt x="4385" y="25061"/>
                    <a:pt x="4455" y="25376"/>
                  </a:cubicBezTo>
                  <a:cubicBezTo>
                    <a:pt x="4560" y="25866"/>
                    <a:pt x="4630" y="26181"/>
                    <a:pt x="4735" y="26531"/>
                  </a:cubicBezTo>
                  <a:cubicBezTo>
                    <a:pt x="4805" y="26776"/>
                    <a:pt x="4875" y="27056"/>
                    <a:pt x="4945" y="27336"/>
                  </a:cubicBezTo>
                  <a:close/>
                  <a:moveTo>
                    <a:pt x="5750" y="9240"/>
                  </a:moveTo>
                  <a:cubicBezTo>
                    <a:pt x="5715" y="9520"/>
                    <a:pt x="5680" y="9800"/>
                    <a:pt x="5610" y="10115"/>
                  </a:cubicBezTo>
                  <a:cubicBezTo>
                    <a:pt x="6030" y="9940"/>
                    <a:pt x="6415" y="9485"/>
                    <a:pt x="6450" y="9135"/>
                  </a:cubicBezTo>
                  <a:lnTo>
                    <a:pt x="5750" y="9240"/>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3" name="Freeform: Shape 1752">
              <a:extLst>
                <a:ext uri="{FF2B5EF4-FFF2-40B4-BE49-F238E27FC236}">
                  <a16:creationId xmlns:a16="http://schemas.microsoft.com/office/drawing/2014/main" id="{2399AA05-C5D4-AB0A-421C-823DE47CF7FC}"/>
                </a:ext>
              </a:extLst>
            </p:cNvPr>
            <p:cNvSpPr/>
            <p:nvPr/>
          </p:nvSpPr>
          <p:spPr>
            <a:xfrm>
              <a:off x="10890495" y="4231281"/>
              <a:ext cx="27308" cy="29745"/>
            </a:xfrm>
            <a:custGeom>
              <a:avLst/>
              <a:gdLst>
                <a:gd name="csX0" fmla="*/ 23914 w 27308"/>
                <a:gd name="csY0" fmla="*/ 15500 h 29745"/>
                <a:gd name="csX1" fmla="*/ 24054 w 27308"/>
                <a:gd name="csY1" fmla="*/ 17285 h 29745"/>
                <a:gd name="csX2" fmla="*/ 24929 w 27308"/>
                <a:gd name="csY2" fmla="*/ 19211 h 29745"/>
                <a:gd name="csX3" fmla="*/ 27309 w 27308"/>
                <a:gd name="csY3" fmla="*/ 22466 h 29745"/>
                <a:gd name="csX4" fmla="*/ 19749 w 27308"/>
                <a:gd name="csY4" fmla="*/ 29256 h 29745"/>
                <a:gd name="csX5" fmla="*/ 18419 w 27308"/>
                <a:gd name="csY5" fmla="*/ 29711 h 29745"/>
                <a:gd name="csX6" fmla="*/ 16808 w 27308"/>
                <a:gd name="csY6" fmla="*/ 28661 h 29745"/>
                <a:gd name="csX7" fmla="*/ 14883 w 27308"/>
                <a:gd name="csY7" fmla="*/ 27786 h 29745"/>
                <a:gd name="csX8" fmla="*/ 11173 w 27308"/>
                <a:gd name="csY8" fmla="*/ 24811 h 29745"/>
                <a:gd name="csX9" fmla="*/ 9563 w 27308"/>
                <a:gd name="csY9" fmla="*/ 24811 h 29745"/>
                <a:gd name="csX10" fmla="*/ 6168 w 27308"/>
                <a:gd name="csY10" fmla="*/ 22606 h 29745"/>
                <a:gd name="csX11" fmla="*/ 113 w 27308"/>
                <a:gd name="csY11" fmla="*/ 15640 h 29745"/>
                <a:gd name="csX12" fmla="*/ 5293 w 27308"/>
                <a:gd name="csY12" fmla="*/ 2760 h 29745"/>
                <a:gd name="csX13" fmla="*/ 12398 w 27308"/>
                <a:gd name="csY13" fmla="*/ 100 h 29745"/>
                <a:gd name="csX14" fmla="*/ 14603 w 27308"/>
                <a:gd name="csY14" fmla="*/ 1570 h 29745"/>
                <a:gd name="csX15" fmla="*/ 16248 w 27308"/>
                <a:gd name="csY15" fmla="*/ 2620 h 29745"/>
                <a:gd name="csX16" fmla="*/ 18769 w 27308"/>
                <a:gd name="csY16" fmla="*/ 6750 h 29745"/>
                <a:gd name="csX17" fmla="*/ 19819 w 27308"/>
                <a:gd name="csY17" fmla="*/ 7625 h 29745"/>
                <a:gd name="csX18" fmla="*/ 25279 w 27308"/>
                <a:gd name="csY18" fmla="*/ 16060 h 297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7308" h="29745">
                  <a:moveTo>
                    <a:pt x="23914" y="15500"/>
                  </a:moveTo>
                  <a:cubicBezTo>
                    <a:pt x="25244" y="16690"/>
                    <a:pt x="24054" y="16690"/>
                    <a:pt x="24054" y="17285"/>
                  </a:cubicBezTo>
                  <a:cubicBezTo>
                    <a:pt x="24334" y="17880"/>
                    <a:pt x="24509" y="18616"/>
                    <a:pt x="24929" y="19211"/>
                  </a:cubicBezTo>
                  <a:cubicBezTo>
                    <a:pt x="25664" y="20401"/>
                    <a:pt x="27309" y="22466"/>
                    <a:pt x="27309" y="22466"/>
                  </a:cubicBezTo>
                  <a:cubicBezTo>
                    <a:pt x="24789" y="24846"/>
                    <a:pt x="22409" y="27191"/>
                    <a:pt x="19749" y="29256"/>
                  </a:cubicBezTo>
                  <a:cubicBezTo>
                    <a:pt x="19469" y="29536"/>
                    <a:pt x="19014" y="29851"/>
                    <a:pt x="18419" y="29711"/>
                  </a:cubicBezTo>
                  <a:cubicBezTo>
                    <a:pt x="17823" y="29571"/>
                    <a:pt x="17368" y="28976"/>
                    <a:pt x="16808" y="28661"/>
                  </a:cubicBezTo>
                  <a:cubicBezTo>
                    <a:pt x="16073" y="28206"/>
                    <a:pt x="15478" y="28066"/>
                    <a:pt x="14883" y="27786"/>
                  </a:cubicBezTo>
                  <a:cubicBezTo>
                    <a:pt x="13693" y="26736"/>
                    <a:pt x="12503" y="25581"/>
                    <a:pt x="11173" y="24811"/>
                  </a:cubicBezTo>
                  <a:cubicBezTo>
                    <a:pt x="10578" y="24531"/>
                    <a:pt x="10123" y="25091"/>
                    <a:pt x="9563" y="24811"/>
                  </a:cubicBezTo>
                  <a:cubicBezTo>
                    <a:pt x="8373" y="24216"/>
                    <a:pt x="6168" y="22606"/>
                    <a:pt x="6168" y="22606"/>
                  </a:cubicBezTo>
                  <a:cubicBezTo>
                    <a:pt x="-1672" y="14170"/>
                    <a:pt x="253" y="18896"/>
                    <a:pt x="113" y="15640"/>
                  </a:cubicBezTo>
                  <a:cubicBezTo>
                    <a:pt x="-27" y="12385"/>
                    <a:pt x="3228" y="5420"/>
                    <a:pt x="5293" y="2760"/>
                  </a:cubicBezTo>
                  <a:cubicBezTo>
                    <a:pt x="7358" y="100"/>
                    <a:pt x="10333" y="-215"/>
                    <a:pt x="12398" y="100"/>
                  </a:cubicBezTo>
                  <a:cubicBezTo>
                    <a:pt x="13133" y="555"/>
                    <a:pt x="13868" y="1150"/>
                    <a:pt x="14603" y="1570"/>
                  </a:cubicBezTo>
                  <a:cubicBezTo>
                    <a:pt x="15198" y="2025"/>
                    <a:pt x="15793" y="2165"/>
                    <a:pt x="16248" y="2620"/>
                  </a:cubicBezTo>
                  <a:cubicBezTo>
                    <a:pt x="18769" y="5000"/>
                    <a:pt x="17298" y="4405"/>
                    <a:pt x="18769" y="6750"/>
                  </a:cubicBezTo>
                  <a:cubicBezTo>
                    <a:pt x="19049" y="7030"/>
                    <a:pt x="18629" y="6015"/>
                    <a:pt x="19819" y="7625"/>
                  </a:cubicBezTo>
                  <a:cubicBezTo>
                    <a:pt x="20869" y="9095"/>
                    <a:pt x="23354" y="13260"/>
                    <a:pt x="25279" y="16060"/>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4" name="Freeform: Shape 1753">
              <a:extLst>
                <a:ext uri="{FF2B5EF4-FFF2-40B4-BE49-F238E27FC236}">
                  <a16:creationId xmlns:a16="http://schemas.microsoft.com/office/drawing/2014/main" id="{A97E009B-BCDB-BF1C-D7A9-5B30B782036D}"/>
                </a:ext>
              </a:extLst>
            </p:cNvPr>
            <p:cNvSpPr/>
            <p:nvPr/>
          </p:nvSpPr>
          <p:spPr>
            <a:xfrm>
              <a:off x="10888671" y="4229464"/>
              <a:ext cx="30935" cy="33418"/>
            </a:xfrm>
            <a:custGeom>
              <a:avLst/>
              <a:gdLst>
                <a:gd name="csX0" fmla="*/ 20627 w 30935"/>
                <a:gd name="csY0" fmla="*/ 33418 h 33418"/>
                <a:gd name="csX1" fmla="*/ 19822 w 30935"/>
                <a:gd name="csY1" fmla="*/ 33313 h 33418"/>
                <a:gd name="csX2" fmla="*/ 18177 w 30935"/>
                <a:gd name="csY2" fmla="*/ 32403 h 33418"/>
                <a:gd name="csX3" fmla="*/ 17792 w 30935"/>
                <a:gd name="csY3" fmla="*/ 32123 h 33418"/>
                <a:gd name="csX4" fmla="*/ 16707 w 30935"/>
                <a:gd name="csY4" fmla="*/ 31598 h 33418"/>
                <a:gd name="csX5" fmla="*/ 15902 w 30935"/>
                <a:gd name="csY5" fmla="*/ 31248 h 33418"/>
                <a:gd name="csX6" fmla="*/ 15482 w 30935"/>
                <a:gd name="csY6" fmla="*/ 30968 h 33418"/>
                <a:gd name="csX7" fmla="*/ 14747 w 30935"/>
                <a:gd name="csY7" fmla="*/ 30303 h 33418"/>
                <a:gd name="csX8" fmla="*/ 12472 w 30935"/>
                <a:gd name="csY8" fmla="*/ 28448 h 33418"/>
                <a:gd name="csX9" fmla="*/ 10582 w 30935"/>
                <a:gd name="csY9" fmla="*/ 28273 h 33418"/>
                <a:gd name="csX10" fmla="*/ 6907 w 30935"/>
                <a:gd name="csY10" fmla="*/ 25858 h 33418"/>
                <a:gd name="csX11" fmla="*/ 1132 w 30935"/>
                <a:gd name="csY11" fmla="*/ 20538 h 33418"/>
                <a:gd name="csX12" fmla="*/ 47 w 30935"/>
                <a:gd name="csY12" fmla="*/ 18228 h 33418"/>
                <a:gd name="csX13" fmla="*/ 47 w 30935"/>
                <a:gd name="csY13" fmla="*/ 17527 h 33418"/>
                <a:gd name="csX14" fmla="*/ 5612 w 30935"/>
                <a:gd name="csY14" fmla="*/ 3457 h 33418"/>
                <a:gd name="csX15" fmla="*/ 14432 w 30935"/>
                <a:gd name="csY15" fmla="*/ 97 h 33418"/>
                <a:gd name="csX16" fmla="*/ 15132 w 30935"/>
                <a:gd name="csY16" fmla="*/ 342 h 33418"/>
                <a:gd name="csX17" fmla="*/ 16287 w 30935"/>
                <a:gd name="csY17" fmla="*/ 1112 h 33418"/>
                <a:gd name="csX18" fmla="*/ 17337 w 30935"/>
                <a:gd name="csY18" fmla="*/ 1812 h 33418"/>
                <a:gd name="csX19" fmla="*/ 18037 w 30935"/>
                <a:gd name="csY19" fmla="*/ 2232 h 33418"/>
                <a:gd name="csX20" fmla="*/ 19332 w 30935"/>
                <a:gd name="csY20" fmla="*/ 3142 h 33418"/>
                <a:gd name="csX21" fmla="*/ 21537 w 30935"/>
                <a:gd name="csY21" fmla="*/ 6362 h 33418"/>
                <a:gd name="csX22" fmla="*/ 21747 w 30935"/>
                <a:gd name="csY22" fmla="*/ 6957 h 33418"/>
                <a:gd name="csX23" fmla="*/ 23078 w 30935"/>
                <a:gd name="csY23" fmla="*/ 8392 h 33418"/>
                <a:gd name="csX24" fmla="*/ 25178 w 30935"/>
                <a:gd name="csY24" fmla="*/ 11647 h 33418"/>
                <a:gd name="csX25" fmla="*/ 28573 w 30935"/>
                <a:gd name="csY25" fmla="*/ 16862 h 33418"/>
                <a:gd name="csX26" fmla="*/ 27978 w 30935"/>
                <a:gd name="csY26" fmla="*/ 17247 h 33418"/>
                <a:gd name="csX27" fmla="*/ 28188 w 30935"/>
                <a:gd name="csY27" fmla="*/ 18123 h 33418"/>
                <a:gd name="csX28" fmla="*/ 27908 w 30935"/>
                <a:gd name="csY28" fmla="*/ 19278 h 33418"/>
                <a:gd name="csX29" fmla="*/ 28188 w 30935"/>
                <a:gd name="csY29" fmla="*/ 19908 h 33418"/>
                <a:gd name="csX30" fmla="*/ 30533 w 30935"/>
                <a:gd name="csY30" fmla="*/ 23128 h 33418"/>
                <a:gd name="csX31" fmla="*/ 30358 w 30935"/>
                <a:gd name="csY31" fmla="*/ 25613 h 33418"/>
                <a:gd name="csX32" fmla="*/ 28923 w 30935"/>
                <a:gd name="csY32" fmla="*/ 26978 h 33418"/>
                <a:gd name="csX33" fmla="*/ 22693 w 30935"/>
                <a:gd name="csY33" fmla="*/ 32543 h 33418"/>
                <a:gd name="csX34" fmla="*/ 20592 w 30935"/>
                <a:gd name="csY34" fmla="*/ 33418 h 33418"/>
                <a:gd name="csX35" fmla="*/ 17722 w 30935"/>
                <a:gd name="csY35" fmla="*/ 28028 h 33418"/>
                <a:gd name="csX36" fmla="*/ 18037 w 30935"/>
                <a:gd name="csY36" fmla="*/ 28168 h 33418"/>
                <a:gd name="csX37" fmla="*/ 19577 w 30935"/>
                <a:gd name="csY37" fmla="*/ 28903 h 33418"/>
                <a:gd name="csX38" fmla="*/ 20452 w 30935"/>
                <a:gd name="csY38" fmla="*/ 29498 h 33418"/>
                <a:gd name="csX39" fmla="*/ 26403 w 30935"/>
                <a:gd name="csY39" fmla="*/ 24283 h 33418"/>
                <a:gd name="csX40" fmla="*/ 26648 w 30935"/>
                <a:gd name="csY40" fmla="*/ 24038 h 33418"/>
                <a:gd name="csX41" fmla="*/ 25178 w 30935"/>
                <a:gd name="csY41" fmla="*/ 21973 h 33418"/>
                <a:gd name="csX42" fmla="*/ 24408 w 30935"/>
                <a:gd name="csY42" fmla="*/ 20398 h 33418"/>
                <a:gd name="csX43" fmla="*/ 24198 w 30935"/>
                <a:gd name="csY43" fmla="*/ 19908 h 33418"/>
                <a:gd name="csX44" fmla="*/ 24023 w 30935"/>
                <a:gd name="csY44" fmla="*/ 19103 h 33418"/>
                <a:gd name="csX45" fmla="*/ 24618 w 30935"/>
                <a:gd name="csY45" fmla="*/ 17562 h 33418"/>
                <a:gd name="csX46" fmla="*/ 22062 w 30935"/>
                <a:gd name="csY46" fmla="*/ 13607 h 33418"/>
                <a:gd name="csX47" fmla="*/ 20067 w 30935"/>
                <a:gd name="csY47" fmla="*/ 10527 h 33418"/>
                <a:gd name="csX48" fmla="*/ 19927 w 30935"/>
                <a:gd name="csY48" fmla="*/ 10352 h 33418"/>
                <a:gd name="csX49" fmla="*/ 19262 w 30935"/>
                <a:gd name="csY49" fmla="*/ 9932 h 33418"/>
                <a:gd name="csX50" fmla="*/ 18947 w 30935"/>
                <a:gd name="csY50" fmla="*/ 9582 h 33418"/>
                <a:gd name="csX51" fmla="*/ 17932 w 30935"/>
                <a:gd name="csY51" fmla="*/ 7202 h 33418"/>
                <a:gd name="csX52" fmla="*/ 16742 w 30935"/>
                <a:gd name="csY52" fmla="*/ 5802 h 33418"/>
                <a:gd name="csX53" fmla="*/ 16287 w 30935"/>
                <a:gd name="csY53" fmla="*/ 5522 h 33418"/>
                <a:gd name="csX54" fmla="*/ 15272 w 30935"/>
                <a:gd name="csY54" fmla="*/ 4892 h 33418"/>
                <a:gd name="csX55" fmla="*/ 14152 w 30935"/>
                <a:gd name="csY55" fmla="*/ 4157 h 33418"/>
                <a:gd name="csX56" fmla="*/ 13522 w 30935"/>
                <a:gd name="csY56" fmla="*/ 3737 h 33418"/>
                <a:gd name="csX57" fmla="*/ 8517 w 30935"/>
                <a:gd name="csY57" fmla="*/ 5732 h 33418"/>
                <a:gd name="csX58" fmla="*/ 3722 w 30935"/>
                <a:gd name="csY58" fmla="*/ 17387 h 33418"/>
                <a:gd name="csX59" fmla="*/ 3722 w 30935"/>
                <a:gd name="csY59" fmla="*/ 17913 h 33418"/>
                <a:gd name="csX60" fmla="*/ 9287 w 30935"/>
                <a:gd name="csY60" fmla="*/ 23163 h 33418"/>
                <a:gd name="csX61" fmla="*/ 11807 w 30935"/>
                <a:gd name="csY61" fmla="*/ 24808 h 33418"/>
                <a:gd name="csX62" fmla="*/ 13802 w 30935"/>
                <a:gd name="csY62" fmla="*/ 24983 h 33418"/>
                <a:gd name="csX63" fmla="*/ 17197 w 30935"/>
                <a:gd name="csY63" fmla="*/ 27573 h 33418"/>
                <a:gd name="csX64" fmla="*/ 17687 w 30935"/>
                <a:gd name="csY64" fmla="*/ 27993 h 33418"/>
                <a:gd name="csX65" fmla="*/ 24653 w 30935"/>
                <a:gd name="csY65" fmla="*/ 17598 h 33418"/>
                <a:gd name="csX66" fmla="*/ 24723 w 30935"/>
                <a:gd name="csY66" fmla="*/ 18893 h 33418"/>
                <a:gd name="csX67" fmla="*/ 25143 w 30935"/>
                <a:gd name="csY67" fmla="*/ 18333 h 33418"/>
                <a:gd name="csX68" fmla="*/ 24653 w 30935"/>
                <a:gd name="csY68" fmla="*/ 17598 h 334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30935" h="33418">
                  <a:moveTo>
                    <a:pt x="20627" y="33418"/>
                  </a:moveTo>
                  <a:cubicBezTo>
                    <a:pt x="20312" y="33418"/>
                    <a:pt x="20032" y="33383"/>
                    <a:pt x="19822" y="33313"/>
                  </a:cubicBezTo>
                  <a:cubicBezTo>
                    <a:pt x="19087" y="33138"/>
                    <a:pt x="18562" y="32718"/>
                    <a:pt x="18177" y="32403"/>
                  </a:cubicBezTo>
                  <a:cubicBezTo>
                    <a:pt x="18037" y="32298"/>
                    <a:pt x="17932" y="32193"/>
                    <a:pt x="17792" y="32123"/>
                  </a:cubicBezTo>
                  <a:cubicBezTo>
                    <a:pt x="17302" y="31843"/>
                    <a:pt x="16987" y="31703"/>
                    <a:pt x="16707" y="31598"/>
                  </a:cubicBezTo>
                  <a:cubicBezTo>
                    <a:pt x="16427" y="31493"/>
                    <a:pt x="16182" y="31388"/>
                    <a:pt x="15902" y="31248"/>
                  </a:cubicBezTo>
                  <a:cubicBezTo>
                    <a:pt x="15762" y="31178"/>
                    <a:pt x="15622" y="31073"/>
                    <a:pt x="15482" y="30968"/>
                  </a:cubicBezTo>
                  <a:lnTo>
                    <a:pt x="14747" y="30303"/>
                  </a:lnTo>
                  <a:cubicBezTo>
                    <a:pt x="13977" y="29603"/>
                    <a:pt x="13207" y="28903"/>
                    <a:pt x="12472" y="28448"/>
                  </a:cubicBezTo>
                  <a:cubicBezTo>
                    <a:pt x="11982" y="28518"/>
                    <a:pt x="11317" y="28658"/>
                    <a:pt x="10582" y="28273"/>
                  </a:cubicBezTo>
                  <a:cubicBezTo>
                    <a:pt x="9252" y="27608"/>
                    <a:pt x="7152" y="26033"/>
                    <a:pt x="6907" y="25858"/>
                  </a:cubicBezTo>
                  <a:cubicBezTo>
                    <a:pt x="4072" y="22848"/>
                    <a:pt x="2112" y="21063"/>
                    <a:pt x="1132" y="20538"/>
                  </a:cubicBezTo>
                  <a:cubicBezTo>
                    <a:pt x="362" y="20153"/>
                    <a:pt x="-163" y="19033"/>
                    <a:pt x="47" y="18228"/>
                  </a:cubicBezTo>
                  <a:cubicBezTo>
                    <a:pt x="47" y="18158"/>
                    <a:pt x="117" y="18018"/>
                    <a:pt x="47" y="17527"/>
                  </a:cubicBezTo>
                  <a:cubicBezTo>
                    <a:pt x="-128" y="13467"/>
                    <a:pt x="3547" y="6082"/>
                    <a:pt x="5612" y="3457"/>
                  </a:cubicBezTo>
                  <a:cubicBezTo>
                    <a:pt x="7677" y="797"/>
                    <a:pt x="11002" y="-358"/>
                    <a:pt x="14432" y="97"/>
                  </a:cubicBezTo>
                  <a:cubicBezTo>
                    <a:pt x="14677" y="132"/>
                    <a:pt x="14922" y="237"/>
                    <a:pt x="15132" y="342"/>
                  </a:cubicBezTo>
                  <a:cubicBezTo>
                    <a:pt x="15517" y="587"/>
                    <a:pt x="15902" y="832"/>
                    <a:pt x="16287" y="1112"/>
                  </a:cubicBezTo>
                  <a:cubicBezTo>
                    <a:pt x="16637" y="1357"/>
                    <a:pt x="16987" y="1602"/>
                    <a:pt x="17337" y="1812"/>
                  </a:cubicBezTo>
                  <a:cubicBezTo>
                    <a:pt x="17687" y="2057"/>
                    <a:pt x="17862" y="2127"/>
                    <a:pt x="18037" y="2232"/>
                  </a:cubicBezTo>
                  <a:cubicBezTo>
                    <a:pt x="18422" y="2442"/>
                    <a:pt x="18877" y="2687"/>
                    <a:pt x="19332" y="3142"/>
                  </a:cubicBezTo>
                  <a:cubicBezTo>
                    <a:pt x="20907" y="4647"/>
                    <a:pt x="21257" y="5277"/>
                    <a:pt x="21537" y="6362"/>
                  </a:cubicBezTo>
                  <a:cubicBezTo>
                    <a:pt x="21572" y="6537"/>
                    <a:pt x="21607" y="6712"/>
                    <a:pt x="21747" y="6957"/>
                  </a:cubicBezTo>
                  <a:cubicBezTo>
                    <a:pt x="22272" y="7272"/>
                    <a:pt x="22693" y="7832"/>
                    <a:pt x="23078" y="8392"/>
                  </a:cubicBezTo>
                  <a:cubicBezTo>
                    <a:pt x="23568" y="9092"/>
                    <a:pt x="24303" y="10282"/>
                    <a:pt x="25178" y="11647"/>
                  </a:cubicBezTo>
                  <a:cubicBezTo>
                    <a:pt x="26263" y="13327"/>
                    <a:pt x="27523" y="15287"/>
                    <a:pt x="28573" y="16862"/>
                  </a:cubicBezTo>
                  <a:lnTo>
                    <a:pt x="27978" y="17247"/>
                  </a:lnTo>
                  <a:cubicBezTo>
                    <a:pt x="28083" y="17492"/>
                    <a:pt x="28153" y="17808"/>
                    <a:pt x="28188" y="18123"/>
                  </a:cubicBezTo>
                  <a:cubicBezTo>
                    <a:pt x="28188" y="18613"/>
                    <a:pt x="28083" y="18998"/>
                    <a:pt x="27908" y="19278"/>
                  </a:cubicBezTo>
                  <a:cubicBezTo>
                    <a:pt x="28013" y="19523"/>
                    <a:pt x="28083" y="19768"/>
                    <a:pt x="28188" y="19908"/>
                  </a:cubicBezTo>
                  <a:cubicBezTo>
                    <a:pt x="28993" y="21168"/>
                    <a:pt x="30533" y="23128"/>
                    <a:pt x="30533" y="23128"/>
                  </a:cubicBezTo>
                  <a:cubicBezTo>
                    <a:pt x="31128" y="23863"/>
                    <a:pt x="31058" y="24948"/>
                    <a:pt x="30358" y="25613"/>
                  </a:cubicBezTo>
                  <a:lnTo>
                    <a:pt x="28923" y="26978"/>
                  </a:lnTo>
                  <a:cubicBezTo>
                    <a:pt x="26928" y="28868"/>
                    <a:pt x="24898" y="30828"/>
                    <a:pt x="22693" y="32543"/>
                  </a:cubicBezTo>
                  <a:cubicBezTo>
                    <a:pt x="22027" y="33243"/>
                    <a:pt x="21222" y="33418"/>
                    <a:pt x="20592" y="33418"/>
                  </a:cubicBezTo>
                  <a:close/>
                  <a:moveTo>
                    <a:pt x="17722" y="28028"/>
                  </a:moveTo>
                  <a:lnTo>
                    <a:pt x="18037" y="28168"/>
                  </a:lnTo>
                  <a:cubicBezTo>
                    <a:pt x="18527" y="28343"/>
                    <a:pt x="19017" y="28553"/>
                    <a:pt x="19577" y="28903"/>
                  </a:cubicBezTo>
                  <a:cubicBezTo>
                    <a:pt x="19822" y="29008"/>
                    <a:pt x="20172" y="29253"/>
                    <a:pt x="20452" y="29498"/>
                  </a:cubicBezTo>
                  <a:cubicBezTo>
                    <a:pt x="22518" y="27993"/>
                    <a:pt x="24408" y="26173"/>
                    <a:pt x="26403" y="24283"/>
                  </a:cubicBezTo>
                  <a:lnTo>
                    <a:pt x="26648" y="24038"/>
                  </a:lnTo>
                  <a:cubicBezTo>
                    <a:pt x="26158" y="23373"/>
                    <a:pt x="25563" y="22568"/>
                    <a:pt x="25178" y="21973"/>
                  </a:cubicBezTo>
                  <a:cubicBezTo>
                    <a:pt x="24828" y="21518"/>
                    <a:pt x="24583" y="20888"/>
                    <a:pt x="24408" y="20398"/>
                  </a:cubicBezTo>
                  <a:cubicBezTo>
                    <a:pt x="24338" y="20223"/>
                    <a:pt x="24268" y="20048"/>
                    <a:pt x="24198" y="19908"/>
                  </a:cubicBezTo>
                  <a:cubicBezTo>
                    <a:pt x="24058" y="19663"/>
                    <a:pt x="24023" y="19383"/>
                    <a:pt x="24023" y="19103"/>
                  </a:cubicBezTo>
                  <a:cubicBezTo>
                    <a:pt x="24023" y="18368"/>
                    <a:pt x="24338" y="17877"/>
                    <a:pt x="24618" y="17562"/>
                  </a:cubicBezTo>
                  <a:cubicBezTo>
                    <a:pt x="23778" y="16267"/>
                    <a:pt x="22868" y="14867"/>
                    <a:pt x="22062" y="13607"/>
                  </a:cubicBezTo>
                  <a:cubicBezTo>
                    <a:pt x="21222" y="12277"/>
                    <a:pt x="20487" y="11157"/>
                    <a:pt x="20067" y="10527"/>
                  </a:cubicBezTo>
                  <a:cubicBezTo>
                    <a:pt x="19997" y="10457"/>
                    <a:pt x="19962" y="10387"/>
                    <a:pt x="19927" y="10352"/>
                  </a:cubicBezTo>
                  <a:cubicBezTo>
                    <a:pt x="19682" y="10282"/>
                    <a:pt x="19437" y="10107"/>
                    <a:pt x="19262" y="9932"/>
                  </a:cubicBezTo>
                  <a:cubicBezTo>
                    <a:pt x="19157" y="9827"/>
                    <a:pt x="19052" y="9687"/>
                    <a:pt x="18947" y="9582"/>
                  </a:cubicBezTo>
                  <a:cubicBezTo>
                    <a:pt x="18247" y="8462"/>
                    <a:pt x="18072" y="7797"/>
                    <a:pt x="17932" y="7202"/>
                  </a:cubicBezTo>
                  <a:cubicBezTo>
                    <a:pt x="17897" y="6992"/>
                    <a:pt x="17862" y="6817"/>
                    <a:pt x="16742" y="5802"/>
                  </a:cubicBezTo>
                  <a:cubicBezTo>
                    <a:pt x="16672" y="5732"/>
                    <a:pt x="16462" y="5627"/>
                    <a:pt x="16287" y="5522"/>
                  </a:cubicBezTo>
                  <a:cubicBezTo>
                    <a:pt x="15972" y="5347"/>
                    <a:pt x="15622" y="5137"/>
                    <a:pt x="15272" y="4892"/>
                  </a:cubicBezTo>
                  <a:cubicBezTo>
                    <a:pt x="15027" y="4752"/>
                    <a:pt x="14607" y="4472"/>
                    <a:pt x="14152" y="4157"/>
                  </a:cubicBezTo>
                  <a:cubicBezTo>
                    <a:pt x="13942" y="3982"/>
                    <a:pt x="13732" y="3842"/>
                    <a:pt x="13522" y="3737"/>
                  </a:cubicBezTo>
                  <a:cubicBezTo>
                    <a:pt x="12262" y="3562"/>
                    <a:pt x="10057" y="3737"/>
                    <a:pt x="8517" y="5732"/>
                  </a:cubicBezTo>
                  <a:cubicBezTo>
                    <a:pt x="6452" y="8392"/>
                    <a:pt x="3617" y="14902"/>
                    <a:pt x="3722" y="17387"/>
                  </a:cubicBezTo>
                  <a:cubicBezTo>
                    <a:pt x="3722" y="17562"/>
                    <a:pt x="3722" y="17737"/>
                    <a:pt x="3722" y="17913"/>
                  </a:cubicBezTo>
                  <a:cubicBezTo>
                    <a:pt x="4667" y="18578"/>
                    <a:pt x="6347" y="20013"/>
                    <a:pt x="9287" y="23163"/>
                  </a:cubicBezTo>
                  <a:cubicBezTo>
                    <a:pt x="9567" y="23338"/>
                    <a:pt x="10932" y="24283"/>
                    <a:pt x="11807" y="24808"/>
                  </a:cubicBezTo>
                  <a:cubicBezTo>
                    <a:pt x="12297" y="24668"/>
                    <a:pt x="13032" y="24598"/>
                    <a:pt x="13802" y="24983"/>
                  </a:cubicBezTo>
                  <a:cubicBezTo>
                    <a:pt x="15097" y="25718"/>
                    <a:pt x="16182" y="26663"/>
                    <a:pt x="17197" y="27573"/>
                  </a:cubicBezTo>
                  <a:lnTo>
                    <a:pt x="17687" y="27993"/>
                  </a:lnTo>
                  <a:close/>
                  <a:moveTo>
                    <a:pt x="24653" y="17598"/>
                  </a:moveTo>
                  <a:cubicBezTo>
                    <a:pt x="24478" y="18018"/>
                    <a:pt x="24478" y="18578"/>
                    <a:pt x="24723" y="18893"/>
                  </a:cubicBezTo>
                  <a:lnTo>
                    <a:pt x="25143" y="18333"/>
                  </a:lnTo>
                  <a:cubicBezTo>
                    <a:pt x="24968" y="18088"/>
                    <a:pt x="24828" y="17843"/>
                    <a:pt x="24653" y="17598"/>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5" name="Freeform: Shape 1754">
              <a:extLst>
                <a:ext uri="{FF2B5EF4-FFF2-40B4-BE49-F238E27FC236}">
                  <a16:creationId xmlns:a16="http://schemas.microsoft.com/office/drawing/2014/main" id="{65341A71-F98E-033C-75D6-580CD464F3F3}"/>
                </a:ext>
              </a:extLst>
            </p:cNvPr>
            <p:cNvSpPr/>
            <p:nvPr/>
          </p:nvSpPr>
          <p:spPr>
            <a:xfrm>
              <a:off x="10855127" y="4221381"/>
              <a:ext cx="18808" cy="23674"/>
            </a:xfrm>
            <a:custGeom>
              <a:avLst/>
              <a:gdLst>
                <a:gd name="csX0" fmla="*/ 11330 w 18808"/>
                <a:gd name="csY0" fmla="*/ 23615 h 23674"/>
                <a:gd name="csX1" fmla="*/ 14445 w 18808"/>
                <a:gd name="csY1" fmla="*/ 21830 h 23674"/>
                <a:gd name="csX2" fmla="*/ 18750 w 18808"/>
                <a:gd name="csY2" fmla="*/ 5554 h 23674"/>
                <a:gd name="csX3" fmla="*/ 16965 w 18808"/>
                <a:gd name="csY3" fmla="*/ 2579 h 23674"/>
                <a:gd name="csX4" fmla="*/ 7339 w 18808"/>
                <a:gd name="csY4" fmla="*/ 59 h 23674"/>
                <a:gd name="csX5" fmla="*/ 4364 w 18808"/>
                <a:gd name="csY5" fmla="*/ 1844 h 23674"/>
                <a:gd name="csX6" fmla="*/ 59 w 18808"/>
                <a:gd name="csY6" fmla="*/ 17980 h 23674"/>
                <a:gd name="csX7" fmla="*/ 1844 w 18808"/>
                <a:gd name="csY7" fmla="*/ 21095 h 23674"/>
                <a:gd name="csX8" fmla="*/ 11330 w 18808"/>
                <a:gd name="csY8" fmla="*/ 23615 h 236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808" h="23674">
                  <a:moveTo>
                    <a:pt x="11330" y="23615"/>
                  </a:moveTo>
                  <a:cubicBezTo>
                    <a:pt x="12660" y="23895"/>
                    <a:pt x="13990" y="23160"/>
                    <a:pt x="14445" y="21830"/>
                  </a:cubicBezTo>
                  <a:lnTo>
                    <a:pt x="18750" y="5554"/>
                  </a:lnTo>
                  <a:cubicBezTo>
                    <a:pt x="19030" y="4224"/>
                    <a:pt x="18295" y="2894"/>
                    <a:pt x="16965" y="2579"/>
                  </a:cubicBezTo>
                  <a:lnTo>
                    <a:pt x="7339" y="59"/>
                  </a:lnTo>
                  <a:cubicBezTo>
                    <a:pt x="6009" y="-221"/>
                    <a:pt x="4679" y="514"/>
                    <a:pt x="4364" y="1844"/>
                  </a:cubicBezTo>
                  <a:lnTo>
                    <a:pt x="59" y="17980"/>
                  </a:lnTo>
                  <a:cubicBezTo>
                    <a:pt x="-221" y="19310"/>
                    <a:pt x="514" y="20640"/>
                    <a:pt x="1844" y="21095"/>
                  </a:cubicBezTo>
                  <a:lnTo>
                    <a:pt x="11330" y="2361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6" name="Freeform: Shape 1755">
              <a:extLst>
                <a:ext uri="{FF2B5EF4-FFF2-40B4-BE49-F238E27FC236}">
                  <a16:creationId xmlns:a16="http://schemas.microsoft.com/office/drawing/2014/main" id="{CB733C41-794F-AFA9-679C-80B027DB742C}"/>
                </a:ext>
              </a:extLst>
            </p:cNvPr>
            <p:cNvSpPr/>
            <p:nvPr/>
          </p:nvSpPr>
          <p:spPr>
            <a:xfrm>
              <a:off x="10853320" y="4219575"/>
              <a:ext cx="22520" cy="27345"/>
            </a:xfrm>
            <a:custGeom>
              <a:avLst/>
              <a:gdLst>
                <a:gd name="csX0" fmla="*/ 13697 w 22520"/>
                <a:gd name="csY0" fmla="*/ 27346 h 27345"/>
                <a:gd name="csX1" fmla="*/ 12752 w 22520"/>
                <a:gd name="csY1" fmla="*/ 27241 h 27345"/>
                <a:gd name="csX2" fmla="*/ 12682 w 22520"/>
                <a:gd name="csY2" fmla="*/ 27241 h 27345"/>
                <a:gd name="csX3" fmla="*/ 3196 w 22520"/>
                <a:gd name="csY3" fmla="*/ 24721 h 27345"/>
                <a:gd name="csX4" fmla="*/ 116 w 22520"/>
                <a:gd name="csY4" fmla="*/ 19436 h 27345"/>
                <a:gd name="csX5" fmla="*/ 4421 w 22520"/>
                <a:gd name="csY5" fmla="*/ 3230 h 27345"/>
                <a:gd name="csX6" fmla="*/ 6381 w 22520"/>
                <a:gd name="csY6" fmla="*/ 605 h 27345"/>
                <a:gd name="csX7" fmla="*/ 9602 w 22520"/>
                <a:gd name="csY7" fmla="*/ 115 h 27345"/>
                <a:gd name="csX8" fmla="*/ 19297 w 22520"/>
                <a:gd name="csY8" fmla="*/ 2635 h 27345"/>
                <a:gd name="csX9" fmla="*/ 21922 w 22520"/>
                <a:gd name="csY9" fmla="*/ 4595 h 27345"/>
                <a:gd name="csX10" fmla="*/ 22412 w 22520"/>
                <a:gd name="csY10" fmla="*/ 7780 h 27345"/>
                <a:gd name="csX11" fmla="*/ 18107 w 22520"/>
                <a:gd name="csY11" fmla="*/ 24126 h 27345"/>
                <a:gd name="csX12" fmla="*/ 13767 w 22520"/>
                <a:gd name="csY12" fmla="*/ 27346 h 27345"/>
                <a:gd name="csX13" fmla="*/ 13557 w 22520"/>
                <a:gd name="csY13" fmla="*/ 23636 h 27345"/>
                <a:gd name="csX14" fmla="*/ 14502 w 22520"/>
                <a:gd name="csY14" fmla="*/ 23076 h 27345"/>
                <a:gd name="csX15" fmla="*/ 18737 w 22520"/>
                <a:gd name="csY15" fmla="*/ 6905 h 27345"/>
                <a:gd name="csX16" fmla="*/ 18352 w 22520"/>
                <a:gd name="csY16" fmla="*/ 6240 h 27345"/>
                <a:gd name="csX17" fmla="*/ 8656 w 22520"/>
                <a:gd name="csY17" fmla="*/ 3720 h 27345"/>
                <a:gd name="csX18" fmla="*/ 7956 w 22520"/>
                <a:gd name="csY18" fmla="*/ 4105 h 27345"/>
                <a:gd name="csX19" fmla="*/ 3651 w 22520"/>
                <a:gd name="csY19" fmla="*/ 20311 h 27345"/>
                <a:gd name="csX20" fmla="*/ 4211 w 22520"/>
                <a:gd name="csY20" fmla="*/ 21186 h 27345"/>
                <a:gd name="csX21" fmla="*/ 13522 w 22520"/>
                <a:gd name="csY21" fmla="*/ 23636 h 273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22520" h="27345">
                  <a:moveTo>
                    <a:pt x="13697" y="27346"/>
                  </a:moveTo>
                  <a:cubicBezTo>
                    <a:pt x="13382" y="27346"/>
                    <a:pt x="13067" y="27346"/>
                    <a:pt x="12752" y="27241"/>
                  </a:cubicBezTo>
                  <a:cubicBezTo>
                    <a:pt x="12752" y="27241"/>
                    <a:pt x="12682" y="27241"/>
                    <a:pt x="12682" y="27241"/>
                  </a:cubicBezTo>
                  <a:lnTo>
                    <a:pt x="3196" y="24721"/>
                  </a:lnTo>
                  <a:cubicBezTo>
                    <a:pt x="886" y="23951"/>
                    <a:pt x="-409" y="21676"/>
                    <a:pt x="116" y="19436"/>
                  </a:cubicBezTo>
                  <a:lnTo>
                    <a:pt x="4421" y="3230"/>
                  </a:lnTo>
                  <a:cubicBezTo>
                    <a:pt x="4666" y="2145"/>
                    <a:pt x="5366" y="1200"/>
                    <a:pt x="6381" y="605"/>
                  </a:cubicBezTo>
                  <a:cubicBezTo>
                    <a:pt x="7326" y="10"/>
                    <a:pt x="8446" y="-130"/>
                    <a:pt x="9602" y="115"/>
                  </a:cubicBezTo>
                  <a:lnTo>
                    <a:pt x="19297" y="2635"/>
                  </a:lnTo>
                  <a:cubicBezTo>
                    <a:pt x="20382" y="2880"/>
                    <a:pt x="21327" y="3545"/>
                    <a:pt x="21922" y="4595"/>
                  </a:cubicBezTo>
                  <a:cubicBezTo>
                    <a:pt x="22482" y="5540"/>
                    <a:pt x="22657" y="6695"/>
                    <a:pt x="22412" y="7780"/>
                  </a:cubicBezTo>
                  <a:lnTo>
                    <a:pt x="18107" y="24126"/>
                  </a:lnTo>
                  <a:cubicBezTo>
                    <a:pt x="17442" y="26121"/>
                    <a:pt x="15692" y="27346"/>
                    <a:pt x="13767" y="27346"/>
                  </a:cubicBezTo>
                  <a:close/>
                  <a:moveTo>
                    <a:pt x="13557" y="23636"/>
                  </a:moveTo>
                  <a:cubicBezTo>
                    <a:pt x="13942" y="23776"/>
                    <a:pt x="14327" y="23496"/>
                    <a:pt x="14502" y="23076"/>
                  </a:cubicBezTo>
                  <a:lnTo>
                    <a:pt x="18737" y="6905"/>
                  </a:lnTo>
                  <a:cubicBezTo>
                    <a:pt x="18772" y="6730"/>
                    <a:pt x="18632" y="6275"/>
                    <a:pt x="18352" y="6240"/>
                  </a:cubicBezTo>
                  <a:lnTo>
                    <a:pt x="8656" y="3720"/>
                  </a:lnTo>
                  <a:cubicBezTo>
                    <a:pt x="8411" y="3545"/>
                    <a:pt x="8026" y="3860"/>
                    <a:pt x="7956" y="4105"/>
                  </a:cubicBezTo>
                  <a:lnTo>
                    <a:pt x="3651" y="20311"/>
                  </a:lnTo>
                  <a:cubicBezTo>
                    <a:pt x="3581" y="20661"/>
                    <a:pt x="3791" y="21046"/>
                    <a:pt x="4211" y="21186"/>
                  </a:cubicBezTo>
                  <a:lnTo>
                    <a:pt x="13522" y="2363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7" name="Freeform: Shape 1756">
              <a:extLst>
                <a:ext uri="{FF2B5EF4-FFF2-40B4-BE49-F238E27FC236}">
                  <a16:creationId xmlns:a16="http://schemas.microsoft.com/office/drawing/2014/main" id="{5409412E-CC0C-F7A4-8896-E8B62F8A2A54}"/>
                </a:ext>
              </a:extLst>
            </p:cNvPr>
            <p:cNvSpPr/>
            <p:nvPr/>
          </p:nvSpPr>
          <p:spPr>
            <a:xfrm>
              <a:off x="10937181" y="4266498"/>
              <a:ext cx="18787" cy="23674"/>
            </a:xfrm>
            <a:custGeom>
              <a:avLst/>
              <a:gdLst>
                <a:gd name="csX0" fmla="*/ 11389 w 18787"/>
                <a:gd name="csY0" fmla="*/ 23615 h 23674"/>
                <a:gd name="csX1" fmla="*/ 14364 w 18787"/>
                <a:gd name="csY1" fmla="*/ 21830 h 23674"/>
                <a:gd name="csX2" fmla="*/ 18669 w 18787"/>
                <a:gd name="csY2" fmla="*/ 5694 h 23674"/>
                <a:gd name="csX3" fmla="*/ 16884 w 18787"/>
                <a:gd name="csY3" fmla="*/ 2579 h 23674"/>
                <a:gd name="csX4" fmla="*/ 7399 w 18787"/>
                <a:gd name="csY4" fmla="*/ 59 h 23674"/>
                <a:gd name="csX5" fmla="*/ 4424 w 18787"/>
                <a:gd name="csY5" fmla="*/ 1844 h 23674"/>
                <a:gd name="csX6" fmla="*/ 119 w 18787"/>
                <a:gd name="csY6" fmla="*/ 18120 h 23674"/>
                <a:gd name="csX7" fmla="*/ 1904 w 18787"/>
                <a:gd name="csY7" fmla="*/ 21095 h 23674"/>
                <a:gd name="csX8" fmla="*/ 11389 w 18787"/>
                <a:gd name="csY8" fmla="*/ 23615 h 236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787" h="23674">
                  <a:moveTo>
                    <a:pt x="11389" y="23615"/>
                  </a:moveTo>
                  <a:cubicBezTo>
                    <a:pt x="12719" y="23895"/>
                    <a:pt x="14049" y="23160"/>
                    <a:pt x="14364" y="21830"/>
                  </a:cubicBezTo>
                  <a:lnTo>
                    <a:pt x="18669" y="5694"/>
                  </a:lnTo>
                  <a:cubicBezTo>
                    <a:pt x="19124" y="4364"/>
                    <a:pt x="18214" y="3034"/>
                    <a:pt x="16884" y="2579"/>
                  </a:cubicBezTo>
                  <a:lnTo>
                    <a:pt x="7399" y="59"/>
                  </a:lnTo>
                  <a:cubicBezTo>
                    <a:pt x="6069" y="-221"/>
                    <a:pt x="4739" y="514"/>
                    <a:pt x="4424" y="1844"/>
                  </a:cubicBezTo>
                  <a:lnTo>
                    <a:pt x="119" y="18120"/>
                  </a:lnTo>
                  <a:cubicBezTo>
                    <a:pt x="-336" y="19450"/>
                    <a:pt x="574" y="20780"/>
                    <a:pt x="1904" y="21095"/>
                  </a:cubicBezTo>
                  <a:lnTo>
                    <a:pt x="11389" y="2361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8" name="Freeform: Shape 1757">
              <a:extLst>
                <a:ext uri="{FF2B5EF4-FFF2-40B4-BE49-F238E27FC236}">
                  <a16:creationId xmlns:a16="http://schemas.microsoft.com/office/drawing/2014/main" id="{49D4CB97-B1C8-4A2F-CB5D-CBA8A943D02B}"/>
                </a:ext>
              </a:extLst>
            </p:cNvPr>
            <p:cNvSpPr/>
            <p:nvPr/>
          </p:nvSpPr>
          <p:spPr>
            <a:xfrm>
              <a:off x="10935392" y="4264670"/>
              <a:ext cx="22396" cy="27368"/>
            </a:xfrm>
            <a:custGeom>
              <a:avLst/>
              <a:gdLst>
                <a:gd name="csX0" fmla="*/ 13772 w 22396"/>
                <a:gd name="csY0" fmla="*/ 27368 h 27368"/>
                <a:gd name="csX1" fmla="*/ 12792 w 22396"/>
                <a:gd name="csY1" fmla="*/ 27263 h 27368"/>
                <a:gd name="csX2" fmla="*/ 12722 w 22396"/>
                <a:gd name="csY2" fmla="*/ 27263 h 27368"/>
                <a:gd name="csX3" fmla="*/ 3272 w 22396"/>
                <a:gd name="csY3" fmla="*/ 24743 h 27368"/>
                <a:gd name="csX4" fmla="*/ 542 w 22396"/>
                <a:gd name="csY4" fmla="*/ 22713 h 27368"/>
                <a:gd name="csX5" fmla="*/ 227 w 22396"/>
                <a:gd name="csY5" fmla="*/ 19388 h 27368"/>
                <a:gd name="csX6" fmla="*/ 4462 w 22396"/>
                <a:gd name="csY6" fmla="*/ 3217 h 27368"/>
                <a:gd name="csX7" fmla="*/ 6387 w 22396"/>
                <a:gd name="csY7" fmla="*/ 592 h 27368"/>
                <a:gd name="csX8" fmla="*/ 9572 w 22396"/>
                <a:gd name="csY8" fmla="*/ 102 h 27368"/>
                <a:gd name="csX9" fmla="*/ 19128 w 22396"/>
                <a:gd name="csY9" fmla="*/ 2622 h 27368"/>
                <a:gd name="csX10" fmla="*/ 22208 w 22396"/>
                <a:gd name="csY10" fmla="*/ 8082 h 27368"/>
                <a:gd name="csX11" fmla="*/ 17938 w 22396"/>
                <a:gd name="csY11" fmla="*/ 24113 h 27368"/>
                <a:gd name="csX12" fmla="*/ 13772 w 22396"/>
                <a:gd name="csY12" fmla="*/ 27333 h 27368"/>
                <a:gd name="csX13" fmla="*/ 13632 w 22396"/>
                <a:gd name="csY13" fmla="*/ 23658 h 27368"/>
                <a:gd name="csX14" fmla="*/ 14367 w 22396"/>
                <a:gd name="csY14" fmla="*/ 23273 h 27368"/>
                <a:gd name="csX15" fmla="*/ 18673 w 22396"/>
                <a:gd name="csY15" fmla="*/ 7067 h 27368"/>
                <a:gd name="csX16" fmla="*/ 18078 w 22396"/>
                <a:gd name="csY16" fmla="*/ 6192 h 27368"/>
                <a:gd name="csX17" fmla="*/ 8732 w 22396"/>
                <a:gd name="csY17" fmla="*/ 3707 h 27368"/>
                <a:gd name="csX18" fmla="*/ 8067 w 22396"/>
                <a:gd name="csY18" fmla="*/ 4092 h 27368"/>
                <a:gd name="csX19" fmla="*/ 3762 w 22396"/>
                <a:gd name="csY19" fmla="*/ 20438 h 27368"/>
                <a:gd name="csX20" fmla="*/ 4147 w 22396"/>
                <a:gd name="csY20" fmla="*/ 21103 h 27368"/>
                <a:gd name="csX21" fmla="*/ 13667 w 22396"/>
                <a:gd name="csY21" fmla="*/ 23623 h 273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22396" h="27368">
                  <a:moveTo>
                    <a:pt x="13772" y="27368"/>
                  </a:moveTo>
                  <a:cubicBezTo>
                    <a:pt x="13457" y="27368"/>
                    <a:pt x="13107" y="27333"/>
                    <a:pt x="12792" y="27263"/>
                  </a:cubicBezTo>
                  <a:cubicBezTo>
                    <a:pt x="12792" y="27263"/>
                    <a:pt x="12757" y="27263"/>
                    <a:pt x="12722" y="27263"/>
                  </a:cubicBezTo>
                  <a:lnTo>
                    <a:pt x="3272" y="24743"/>
                  </a:lnTo>
                  <a:cubicBezTo>
                    <a:pt x="2152" y="24498"/>
                    <a:pt x="1137" y="23763"/>
                    <a:pt x="542" y="22713"/>
                  </a:cubicBezTo>
                  <a:cubicBezTo>
                    <a:pt x="-53" y="21698"/>
                    <a:pt x="-158" y="20508"/>
                    <a:pt x="227" y="19388"/>
                  </a:cubicBezTo>
                  <a:lnTo>
                    <a:pt x="4462" y="3217"/>
                  </a:lnTo>
                  <a:cubicBezTo>
                    <a:pt x="4707" y="2167"/>
                    <a:pt x="5372" y="1187"/>
                    <a:pt x="6387" y="592"/>
                  </a:cubicBezTo>
                  <a:cubicBezTo>
                    <a:pt x="7367" y="67"/>
                    <a:pt x="8487" y="-143"/>
                    <a:pt x="9572" y="102"/>
                  </a:cubicBezTo>
                  <a:lnTo>
                    <a:pt x="19128" y="2622"/>
                  </a:lnTo>
                  <a:cubicBezTo>
                    <a:pt x="21613" y="3462"/>
                    <a:pt x="22908" y="5842"/>
                    <a:pt x="22208" y="8082"/>
                  </a:cubicBezTo>
                  <a:lnTo>
                    <a:pt x="17938" y="24113"/>
                  </a:lnTo>
                  <a:cubicBezTo>
                    <a:pt x="17518" y="26003"/>
                    <a:pt x="15733" y="27333"/>
                    <a:pt x="13772" y="27333"/>
                  </a:cubicBezTo>
                  <a:close/>
                  <a:moveTo>
                    <a:pt x="13632" y="23658"/>
                  </a:moveTo>
                  <a:cubicBezTo>
                    <a:pt x="13807" y="23658"/>
                    <a:pt x="14297" y="23553"/>
                    <a:pt x="14367" y="23273"/>
                  </a:cubicBezTo>
                  <a:lnTo>
                    <a:pt x="18673" y="7067"/>
                  </a:lnTo>
                  <a:cubicBezTo>
                    <a:pt x="18813" y="6647"/>
                    <a:pt x="18463" y="6332"/>
                    <a:pt x="18078" y="6192"/>
                  </a:cubicBezTo>
                  <a:lnTo>
                    <a:pt x="8732" y="3707"/>
                  </a:lnTo>
                  <a:cubicBezTo>
                    <a:pt x="8452" y="3532"/>
                    <a:pt x="8137" y="3812"/>
                    <a:pt x="8067" y="4092"/>
                  </a:cubicBezTo>
                  <a:lnTo>
                    <a:pt x="3762" y="20438"/>
                  </a:lnTo>
                  <a:cubicBezTo>
                    <a:pt x="3832" y="20963"/>
                    <a:pt x="3972" y="21068"/>
                    <a:pt x="4147" y="21103"/>
                  </a:cubicBezTo>
                  <a:lnTo>
                    <a:pt x="13667" y="23623"/>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59" name="Freeform: Shape 1758">
              <a:extLst>
                <a:ext uri="{FF2B5EF4-FFF2-40B4-BE49-F238E27FC236}">
                  <a16:creationId xmlns:a16="http://schemas.microsoft.com/office/drawing/2014/main" id="{17072B92-5DEF-D811-DE97-84910D4FA98B}"/>
                </a:ext>
              </a:extLst>
            </p:cNvPr>
            <p:cNvSpPr/>
            <p:nvPr/>
          </p:nvSpPr>
          <p:spPr>
            <a:xfrm>
              <a:off x="10993943" y="4353261"/>
              <a:ext cx="18808" cy="23669"/>
            </a:xfrm>
            <a:custGeom>
              <a:avLst/>
              <a:gdLst>
                <a:gd name="csX0" fmla="*/ 11470 w 18808"/>
                <a:gd name="csY0" fmla="*/ 23551 h 23669"/>
                <a:gd name="csX1" fmla="*/ 14445 w 18808"/>
                <a:gd name="csY1" fmla="*/ 21766 h 23669"/>
                <a:gd name="csX2" fmla="*/ 18750 w 18808"/>
                <a:gd name="csY2" fmla="*/ 5630 h 23669"/>
                <a:gd name="csX3" fmla="*/ 16965 w 18808"/>
                <a:gd name="csY3" fmla="*/ 2655 h 23669"/>
                <a:gd name="csX4" fmla="*/ 7479 w 18808"/>
                <a:gd name="csY4" fmla="*/ 135 h 23669"/>
                <a:gd name="csX5" fmla="*/ 4364 w 18808"/>
                <a:gd name="csY5" fmla="*/ 1745 h 23669"/>
                <a:gd name="csX6" fmla="*/ 59 w 18808"/>
                <a:gd name="csY6" fmla="*/ 18021 h 23669"/>
                <a:gd name="csX7" fmla="*/ 1844 w 18808"/>
                <a:gd name="csY7" fmla="*/ 20996 h 23669"/>
                <a:gd name="csX8" fmla="*/ 11470 w 18808"/>
                <a:gd name="csY8" fmla="*/ 23516 h 236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808" h="23669">
                  <a:moveTo>
                    <a:pt x="11470" y="23551"/>
                  </a:moveTo>
                  <a:cubicBezTo>
                    <a:pt x="12800" y="24006"/>
                    <a:pt x="14130" y="23096"/>
                    <a:pt x="14445" y="21766"/>
                  </a:cubicBezTo>
                  <a:lnTo>
                    <a:pt x="18750" y="5630"/>
                  </a:lnTo>
                  <a:cubicBezTo>
                    <a:pt x="19030" y="4300"/>
                    <a:pt x="18295" y="2970"/>
                    <a:pt x="16965" y="2655"/>
                  </a:cubicBezTo>
                  <a:lnTo>
                    <a:pt x="7479" y="135"/>
                  </a:lnTo>
                  <a:cubicBezTo>
                    <a:pt x="6149" y="-320"/>
                    <a:pt x="4819" y="415"/>
                    <a:pt x="4364" y="1745"/>
                  </a:cubicBezTo>
                  <a:lnTo>
                    <a:pt x="59" y="18021"/>
                  </a:lnTo>
                  <a:cubicBezTo>
                    <a:pt x="-221" y="19351"/>
                    <a:pt x="514" y="20681"/>
                    <a:pt x="1844" y="20996"/>
                  </a:cubicBezTo>
                  <a:lnTo>
                    <a:pt x="11470" y="2351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0" name="Freeform: Shape 1759">
              <a:extLst>
                <a:ext uri="{FF2B5EF4-FFF2-40B4-BE49-F238E27FC236}">
                  <a16:creationId xmlns:a16="http://schemas.microsoft.com/office/drawing/2014/main" id="{54A1CD33-35D3-022D-2C62-BB7D2F363DD2}"/>
                </a:ext>
              </a:extLst>
            </p:cNvPr>
            <p:cNvSpPr/>
            <p:nvPr/>
          </p:nvSpPr>
          <p:spPr>
            <a:xfrm>
              <a:off x="10992110" y="4351492"/>
              <a:ext cx="22440" cy="27350"/>
            </a:xfrm>
            <a:custGeom>
              <a:avLst/>
              <a:gdLst>
                <a:gd name="csX0" fmla="*/ 14002 w 22440"/>
                <a:gd name="csY0" fmla="*/ 27315 h 27350"/>
                <a:gd name="csX1" fmla="*/ 12777 w 22440"/>
                <a:gd name="csY1" fmla="*/ 27140 h 27350"/>
                <a:gd name="csX2" fmla="*/ 3221 w 22440"/>
                <a:gd name="csY2" fmla="*/ 24655 h 27350"/>
                <a:gd name="csX3" fmla="*/ 666 w 22440"/>
                <a:gd name="csY3" fmla="*/ 22835 h 27350"/>
                <a:gd name="csX4" fmla="*/ 106 w 22440"/>
                <a:gd name="csY4" fmla="*/ 19510 h 27350"/>
                <a:gd name="csX5" fmla="*/ 4412 w 22440"/>
                <a:gd name="csY5" fmla="*/ 3164 h 27350"/>
                <a:gd name="csX6" fmla="*/ 6617 w 22440"/>
                <a:gd name="csY6" fmla="*/ 469 h 27350"/>
                <a:gd name="csX7" fmla="*/ 9872 w 22440"/>
                <a:gd name="csY7" fmla="*/ 259 h 27350"/>
                <a:gd name="csX8" fmla="*/ 19217 w 22440"/>
                <a:gd name="csY8" fmla="*/ 2744 h 27350"/>
                <a:gd name="csX9" fmla="*/ 21842 w 22440"/>
                <a:gd name="csY9" fmla="*/ 4704 h 27350"/>
                <a:gd name="csX10" fmla="*/ 22332 w 22440"/>
                <a:gd name="csY10" fmla="*/ 7890 h 27350"/>
                <a:gd name="csX11" fmla="*/ 18027 w 22440"/>
                <a:gd name="csY11" fmla="*/ 24095 h 27350"/>
                <a:gd name="csX12" fmla="*/ 15962 w 22440"/>
                <a:gd name="csY12" fmla="*/ 26825 h 27350"/>
                <a:gd name="csX13" fmla="*/ 14002 w 22440"/>
                <a:gd name="csY13" fmla="*/ 27350 h 27350"/>
                <a:gd name="csX14" fmla="*/ 8297 w 22440"/>
                <a:gd name="csY14" fmla="*/ 3724 h 27350"/>
                <a:gd name="csX15" fmla="*/ 7982 w 22440"/>
                <a:gd name="csY15" fmla="*/ 4144 h 27350"/>
                <a:gd name="csX16" fmla="*/ 3712 w 22440"/>
                <a:gd name="csY16" fmla="*/ 20315 h 27350"/>
                <a:gd name="csX17" fmla="*/ 3781 w 22440"/>
                <a:gd name="csY17" fmla="*/ 20770 h 27350"/>
                <a:gd name="csX18" fmla="*/ 13757 w 22440"/>
                <a:gd name="csY18" fmla="*/ 23500 h 27350"/>
                <a:gd name="csX19" fmla="*/ 14002 w 22440"/>
                <a:gd name="csY19" fmla="*/ 23570 h 27350"/>
                <a:gd name="csX20" fmla="*/ 14177 w 22440"/>
                <a:gd name="csY20" fmla="*/ 23535 h 27350"/>
                <a:gd name="csX21" fmla="*/ 14457 w 22440"/>
                <a:gd name="csY21" fmla="*/ 23115 h 27350"/>
                <a:gd name="csX22" fmla="*/ 18762 w 22440"/>
                <a:gd name="csY22" fmla="*/ 6909 h 27350"/>
                <a:gd name="csX23" fmla="*/ 18377 w 22440"/>
                <a:gd name="csY23" fmla="*/ 6244 h 27350"/>
                <a:gd name="csX24" fmla="*/ 8297 w 22440"/>
                <a:gd name="csY24" fmla="*/ 3689 h 273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22440" h="27350">
                  <a:moveTo>
                    <a:pt x="14002" y="27315"/>
                  </a:moveTo>
                  <a:cubicBezTo>
                    <a:pt x="13582" y="27315"/>
                    <a:pt x="13162" y="27245"/>
                    <a:pt x="12777" y="27140"/>
                  </a:cubicBezTo>
                  <a:lnTo>
                    <a:pt x="3221" y="24655"/>
                  </a:lnTo>
                  <a:cubicBezTo>
                    <a:pt x="2171" y="24410"/>
                    <a:pt x="1226" y="23745"/>
                    <a:pt x="666" y="22835"/>
                  </a:cubicBezTo>
                  <a:cubicBezTo>
                    <a:pt x="36" y="21855"/>
                    <a:pt x="-139" y="20665"/>
                    <a:pt x="106" y="19510"/>
                  </a:cubicBezTo>
                  <a:lnTo>
                    <a:pt x="4412" y="3164"/>
                  </a:lnTo>
                  <a:cubicBezTo>
                    <a:pt x="4832" y="1904"/>
                    <a:pt x="5567" y="994"/>
                    <a:pt x="6617" y="469"/>
                  </a:cubicBezTo>
                  <a:cubicBezTo>
                    <a:pt x="7632" y="-56"/>
                    <a:pt x="8787" y="-161"/>
                    <a:pt x="9872" y="259"/>
                  </a:cubicBezTo>
                  <a:lnTo>
                    <a:pt x="19217" y="2744"/>
                  </a:lnTo>
                  <a:cubicBezTo>
                    <a:pt x="20302" y="2989"/>
                    <a:pt x="21247" y="3654"/>
                    <a:pt x="21842" y="4704"/>
                  </a:cubicBezTo>
                  <a:cubicBezTo>
                    <a:pt x="22402" y="5649"/>
                    <a:pt x="22577" y="6804"/>
                    <a:pt x="22332" y="7890"/>
                  </a:cubicBezTo>
                  <a:lnTo>
                    <a:pt x="18027" y="24095"/>
                  </a:lnTo>
                  <a:cubicBezTo>
                    <a:pt x="17782" y="25215"/>
                    <a:pt x="17012" y="26265"/>
                    <a:pt x="15962" y="26825"/>
                  </a:cubicBezTo>
                  <a:cubicBezTo>
                    <a:pt x="15367" y="27175"/>
                    <a:pt x="14667" y="27350"/>
                    <a:pt x="14002" y="27350"/>
                  </a:cubicBezTo>
                  <a:close/>
                  <a:moveTo>
                    <a:pt x="8297" y="3724"/>
                  </a:moveTo>
                  <a:cubicBezTo>
                    <a:pt x="8297" y="3724"/>
                    <a:pt x="8017" y="3934"/>
                    <a:pt x="7982" y="4144"/>
                  </a:cubicBezTo>
                  <a:lnTo>
                    <a:pt x="3712" y="20315"/>
                  </a:lnTo>
                  <a:cubicBezTo>
                    <a:pt x="3712" y="20315"/>
                    <a:pt x="3712" y="20630"/>
                    <a:pt x="3781" y="20770"/>
                  </a:cubicBezTo>
                  <a:lnTo>
                    <a:pt x="13757" y="23500"/>
                  </a:lnTo>
                  <a:cubicBezTo>
                    <a:pt x="13757" y="23500"/>
                    <a:pt x="13932" y="23535"/>
                    <a:pt x="14002" y="23570"/>
                  </a:cubicBezTo>
                  <a:cubicBezTo>
                    <a:pt x="14072" y="23570"/>
                    <a:pt x="14107" y="23570"/>
                    <a:pt x="14177" y="23535"/>
                  </a:cubicBezTo>
                  <a:cubicBezTo>
                    <a:pt x="14317" y="23465"/>
                    <a:pt x="14422" y="23290"/>
                    <a:pt x="14457" y="23115"/>
                  </a:cubicBezTo>
                  <a:lnTo>
                    <a:pt x="18762" y="6909"/>
                  </a:lnTo>
                  <a:cubicBezTo>
                    <a:pt x="18797" y="6734"/>
                    <a:pt x="18657" y="6279"/>
                    <a:pt x="18377" y="6244"/>
                  </a:cubicBezTo>
                  <a:lnTo>
                    <a:pt x="8297" y="3689"/>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1" name="Freeform: Shape 1760">
              <a:extLst>
                <a:ext uri="{FF2B5EF4-FFF2-40B4-BE49-F238E27FC236}">
                  <a16:creationId xmlns:a16="http://schemas.microsoft.com/office/drawing/2014/main" id="{2B693DD3-E385-3D94-8447-F337203625F1}"/>
                </a:ext>
              </a:extLst>
            </p:cNvPr>
            <p:cNvSpPr/>
            <p:nvPr/>
          </p:nvSpPr>
          <p:spPr>
            <a:xfrm>
              <a:off x="10990733" y="4226106"/>
              <a:ext cx="18787" cy="23674"/>
            </a:xfrm>
            <a:custGeom>
              <a:avLst/>
              <a:gdLst>
                <a:gd name="csX0" fmla="*/ 11389 w 18787"/>
                <a:gd name="csY0" fmla="*/ 23615 h 23674"/>
                <a:gd name="csX1" fmla="*/ 14364 w 18787"/>
                <a:gd name="csY1" fmla="*/ 21830 h 23674"/>
                <a:gd name="csX2" fmla="*/ 18669 w 18787"/>
                <a:gd name="csY2" fmla="*/ 5554 h 23674"/>
                <a:gd name="csX3" fmla="*/ 16884 w 18787"/>
                <a:gd name="csY3" fmla="*/ 2579 h 23674"/>
                <a:gd name="csX4" fmla="*/ 7399 w 18787"/>
                <a:gd name="csY4" fmla="*/ 59 h 23674"/>
                <a:gd name="csX5" fmla="*/ 4424 w 18787"/>
                <a:gd name="csY5" fmla="*/ 1844 h 23674"/>
                <a:gd name="csX6" fmla="*/ 119 w 18787"/>
                <a:gd name="csY6" fmla="*/ 17980 h 23674"/>
                <a:gd name="csX7" fmla="*/ 1904 w 18787"/>
                <a:gd name="csY7" fmla="*/ 21095 h 23674"/>
                <a:gd name="csX8" fmla="*/ 11389 w 18787"/>
                <a:gd name="csY8" fmla="*/ 23615 h 236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787" h="23674">
                  <a:moveTo>
                    <a:pt x="11389" y="23615"/>
                  </a:moveTo>
                  <a:cubicBezTo>
                    <a:pt x="12719" y="23895"/>
                    <a:pt x="14049" y="23160"/>
                    <a:pt x="14364" y="21830"/>
                  </a:cubicBezTo>
                  <a:lnTo>
                    <a:pt x="18669" y="5554"/>
                  </a:lnTo>
                  <a:cubicBezTo>
                    <a:pt x="19124" y="4364"/>
                    <a:pt x="18214" y="2894"/>
                    <a:pt x="16884" y="2579"/>
                  </a:cubicBezTo>
                  <a:lnTo>
                    <a:pt x="7399" y="59"/>
                  </a:lnTo>
                  <a:cubicBezTo>
                    <a:pt x="6069" y="-221"/>
                    <a:pt x="4739" y="514"/>
                    <a:pt x="4424" y="1844"/>
                  </a:cubicBezTo>
                  <a:lnTo>
                    <a:pt x="119" y="17980"/>
                  </a:lnTo>
                  <a:cubicBezTo>
                    <a:pt x="-336" y="19310"/>
                    <a:pt x="574" y="20640"/>
                    <a:pt x="1904" y="21095"/>
                  </a:cubicBezTo>
                  <a:lnTo>
                    <a:pt x="11389" y="2361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2" name="Freeform: Shape 1761">
              <a:extLst>
                <a:ext uri="{FF2B5EF4-FFF2-40B4-BE49-F238E27FC236}">
                  <a16:creationId xmlns:a16="http://schemas.microsoft.com/office/drawing/2014/main" id="{6E95F13A-6671-F850-9742-1F46298F72B2}"/>
                </a:ext>
              </a:extLst>
            </p:cNvPr>
            <p:cNvSpPr/>
            <p:nvPr/>
          </p:nvSpPr>
          <p:spPr>
            <a:xfrm>
              <a:off x="10988923" y="4224272"/>
              <a:ext cx="22353" cy="27409"/>
            </a:xfrm>
            <a:custGeom>
              <a:avLst/>
              <a:gdLst>
                <a:gd name="csX0" fmla="*/ 13794 w 22353"/>
                <a:gd name="csY0" fmla="*/ 27374 h 27409"/>
                <a:gd name="csX1" fmla="*/ 12814 w 22353"/>
                <a:gd name="csY1" fmla="*/ 27269 h 27409"/>
                <a:gd name="csX2" fmla="*/ 12744 w 22353"/>
                <a:gd name="csY2" fmla="*/ 27269 h 27409"/>
                <a:gd name="csX3" fmla="*/ 3259 w 22353"/>
                <a:gd name="csY3" fmla="*/ 24749 h 27409"/>
                <a:gd name="csX4" fmla="*/ 599 w 22353"/>
                <a:gd name="csY4" fmla="*/ 22684 h 27409"/>
                <a:gd name="csX5" fmla="*/ 214 w 22353"/>
                <a:gd name="csY5" fmla="*/ 19254 h 27409"/>
                <a:gd name="csX6" fmla="*/ 4449 w 22353"/>
                <a:gd name="csY6" fmla="*/ 3223 h 27409"/>
                <a:gd name="csX7" fmla="*/ 6374 w 22353"/>
                <a:gd name="csY7" fmla="*/ 598 h 27409"/>
                <a:gd name="csX8" fmla="*/ 9559 w 22353"/>
                <a:gd name="csY8" fmla="*/ 108 h 27409"/>
                <a:gd name="csX9" fmla="*/ 19114 w 22353"/>
                <a:gd name="csY9" fmla="*/ 2663 h 27409"/>
                <a:gd name="csX10" fmla="*/ 21844 w 22353"/>
                <a:gd name="csY10" fmla="*/ 4798 h 27409"/>
                <a:gd name="csX11" fmla="*/ 22124 w 22353"/>
                <a:gd name="csY11" fmla="*/ 8053 h 27409"/>
                <a:gd name="csX12" fmla="*/ 17889 w 22353"/>
                <a:gd name="csY12" fmla="*/ 24189 h 27409"/>
                <a:gd name="csX13" fmla="*/ 13724 w 22353"/>
                <a:gd name="csY13" fmla="*/ 27409 h 27409"/>
                <a:gd name="csX14" fmla="*/ 13654 w 22353"/>
                <a:gd name="csY14" fmla="*/ 23664 h 27409"/>
                <a:gd name="csX15" fmla="*/ 14389 w 22353"/>
                <a:gd name="csY15" fmla="*/ 23279 h 27409"/>
                <a:gd name="csX16" fmla="*/ 18694 w 22353"/>
                <a:gd name="csY16" fmla="*/ 6933 h 27409"/>
                <a:gd name="csX17" fmla="*/ 18309 w 22353"/>
                <a:gd name="csY17" fmla="*/ 6268 h 27409"/>
                <a:gd name="csX18" fmla="*/ 8754 w 22353"/>
                <a:gd name="csY18" fmla="*/ 3713 h 27409"/>
                <a:gd name="csX19" fmla="*/ 8089 w 22353"/>
                <a:gd name="csY19" fmla="*/ 4098 h 27409"/>
                <a:gd name="csX20" fmla="*/ 3784 w 22353"/>
                <a:gd name="csY20" fmla="*/ 20339 h 27409"/>
                <a:gd name="csX21" fmla="*/ 4344 w 22353"/>
                <a:gd name="csY21" fmla="*/ 21214 h 27409"/>
                <a:gd name="csX22" fmla="*/ 13654 w 22353"/>
                <a:gd name="csY22" fmla="*/ 23664 h 274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22353" h="27409">
                  <a:moveTo>
                    <a:pt x="13794" y="27374"/>
                  </a:moveTo>
                  <a:cubicBezTo>
                    <a:pt x="13479" y="27374"/>
                    <a:pt x="13129" y="27374"/>
                    <a:pt x="12814" y="27269"/>
                  </a:cubicBezTo>
                  <a:cubicBezTo>
                    <a:pt x="12814" y="27269"/>
                    <a:pt x="12744" y="27269"/>
                    <a:pt x="12744" y="27269"/>
                  </a:cubicBezTo>
                  <a:lnTo>
                    <a:pt x="3259" y="24749"/>
                  </a:lnTo>
                  <a:cubicBezTo>
                    <a:pt x="2069" y="24329"/>
                    <a:pt x="1159" y="23629"/>
                    <a:pt x="599" y="22684"/>
                  </a:cubicBezTo>
                  <a:cubicBezTo>
                    <a:pt x="-31" y="21634"/>
                    <a:pt x="-172" y="20409"/>
                    <a:pt x="214" y="19254"/>
                  </a:cubicBezTo>
                  <a:lnTo>
                    <a:pt x="4449" y="3223"/>
                  </a:lnTo>
                  <a:cubicBezTo>
                    <a:pt x="4694" y="2173"/>
                    <a:pt x="5359" y="1193"/>
                    <a:pt x="6374" y="598"/>
                  </a:cubicBezTo>
                  <a:cubicBezTo>
                    <a:pt x="7319" y="38"/>
                    <a:pt x="8474" y="-137"/>
                    <a:pt x="9559" y="108"/>
                  </a:cubicBezTo>
                  <a:lnTo>
                    <a:pt x="19114" y="2663"/>
                  </a:lnTo>
                  <a:cubicBezTo>
                    <a:pt x="20234" y="2908"/>
                    <a:pt x="21249" y="3678"/>
                    <a:pt x="21844" y="4798"/>
                  </a:cubicBezTo>
                  <a:cubicBezTo>
                    <a:pt x="22404" y="5813"/>
                    <a:pt x="22509" y="7003"/>
                    <a:pt x="22124" y="8053"/>
                  </a:cubicBezTo>
                  <a:lnTo>
                    <a:pt x="17889" y="24189"/>
                  </a:lnTo>
                  <a:cubicBezTo>
                    <a:pt x="17434" y="26114"/>
                    <a:pt x="15719" y="27409"/>
                    <a:pt x="13724" y="27409"/>
                  </a:cubicBezTo>
                  <a:close/>
                  <a:moveTo>
                    <a:pt x="13654" y="23664"/>
                  </a:moveTo>
                  <a:cubicBezTo>
                    <a:pt x="14004" y="23734"/>
                    <a:pt x="14319" y="23664"/>
                    <a:pt x="14389" y="23279"/>
                  </a:cubicBezTo>
                  <a:lnTo>
                    <a:pt x="18694" y="6933"/>
                  </a:lnTo>
                  <a:cubicBezTo>
                    <a:pt x="18764" y="6688"/>
                    <a:pt x="18589" y="6338"/>
                    <a:pt x="18309" y="6268"/>
                  </a:cubicBezTo>
                  <a:lnTo>
                    <a:pt x="8754" y="3713"/>
                  </a:lnTo>
                  <a:cubicBezTo>
                    <a:pt x="8544" y="3468"/>
                    <a:pt x="8159" y="3818"/>
                    <a:pt x="8089" y="4098"/>
                  </a:cubicBezTo>
                  <a:lnTo>
                    <a:pt x="3784" y="20339"/>
                  </a:lnTo>
                  <a:cubicBezTo>
                    <a:pt x="3644" y="20759"/>
                    <a:pt x="4029" y="21109"/>
                    <a:pt x="4344" y="21214"/>
                  </a:cubicBezTo>
                  <a:lnTo>
                    <a:pt x="13654" y="23664"/>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3" name="Freeform: Shape 1762">
              <a:extLst>
                <a:ext uri="{FF2B5EF4-FFF2-40B4-BE49-F238E27FC236}">
                  <a16:creationId xmlns:a16="http://schemas.microsoft.com/office/drawing/2014/main" id="{47E7FED7-0684-DCC7-6A4A-2B3A8CB30DD6}"/>
                </a:ext>
              </a:extLst>
            </p:cNvPr>
            <p:cNvSpPr/>
            <p:nvPr/>
          </p:nvSpPr>
          <p:spPr>
            <a:xfrm>
              <a:off x="10867247" y="4269549"/>
              <a:ext cx="18808" cy="23620"/>
            </a:xfrm>
            <a:custGeom>
              <a:avLst/>
              <a:gdLst>
                <a:gd name="csX0" fmla="*/ 11470 w 18808"/>
                <a:gd name="csY0" fmla="*/ 23501 h 23620"/>
                <a:gd name="csX1" fmla="*/ 14445 w 18808"/>
                <a:gd name="csY1" fmla="*/ 21890 h 23620"/>
                <a:gd name="csX2" fmla="*/ 18750 w 18808"/>
                <a:gd name="csY2" fmla="*/ 5615 h 23620"/>
                <a:gd name="csX3" fmla="*/ 16965 w 18808"/>
                <a:gd name="csY3" fmla="*/ 2640 h 23620"/>
                <a:gd name="csX4" fmla="*/ 7339 w 18808"/>
                <a:gd name="csY4" fmla="*/ 120 h 23620"/>
                <a:gd name="csX5" fmla="*/ 4364 w 18808"/>
                <a:gd name="csY5" fmla="*/ 1730 h 23620"/>
                <a:gd name="csX6" fmla="*/ 59 w 18808"/>
                <a:gd name="csY6" fmla="*/ 18005 h 23620"/>
                <a:gd name="csX7" fmla="*/ 1844 w 18808"/>
                <a:gd name="csY7" fmla="*/ 20980 h 23620"/>
                <a:gd name="csX8" fmla="*/ 11470 w 18808"/>
                <a:gd name="csY8" fmla="*/ 23501 h 236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808" h="23620">
                  <a:moveTo>
                    <a:pt x="11470" y="23501"/>
                  </a:moveTo>
                  <a:cubicBezTo>
                    <a:pt x="12660" y="23956"/>
                    <a:pt x="14130" y="23046"/>
                    <a:pt x="14445" y="21890"/>
                  </a:cubicBezTo>
                  <a:lnTo>
                    <a:pt x="18750" y="5615"/>
                  </a:lnTo>
                  <a:cubicBezTo>
                    <a:pt x="19030" y="4285"/>
                    <a:pt x="18295" y="2955"/>
                    <a:pt x="16965" y="2640"/>
                  </a:cubicBezTo>
                  <a:lnTo>
                    <a:pt x="7339" y="120"/>
                  </a:lnTo>
                  <a:cubicBezTo>
                    <a:pt x="6149" y="-335"/>
                    <a:pt x="4679" y="575"/>
                    <a:pt x="4364" y="1730"/>
                  </a:cubicBezTo>
                  <a:lnTo>
                    <a:pt x="59" y="18005"/>
                  </a:lnTo>
                  <a:cubicBezTo>
                    <a:pt x="-221" y="19335"/>
                    <a:pt x="514" y="20665"/>
                    <a:pt x="1844" y="20980"/>
                  </a:cubicBezTo>
                  <a:lnTo>
                    <a:pt x="11470" y="23501"/>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5" name="Freeform: Shape 1764">
              <a:extLst>
                <a:ext uri="{FF2B5EF4-FFF2-40B4-BE49-F238E27FC236}">
                  <a16:creationId xmlns:a16="http://schemas.microsoft.com/office/drawing/2014/main" id="{F288A46C-6167-1A69-1F2A-5A51343D94B1}"/>
                </a:ext>
              </a:extLst>
            </p:cNvPr>
            <p:cNvSpPr/>
            <p:nvPr/>
          </p:nvSpPr>
          <p:spPr>
            <a:xfrm>
              <a:off x="11070616" y="4210800"/>
              <a:ext cx="24820" cy="18955"/>
            </a:xfrm>
            <a:custGeom>
              <a:avLst/>
              <a:gdLst>
                <a:gd name="csX0" fmla="*/ 4310 w 24820"/>
                <a:gd name="csY0" fmla="*/ 14981 h 18955"/>
                <a:gd name="csX1" fmla="*/ 4310 w 24820"/>
                <a:gd name="csY1" fmla="*/ 14981 h 18955"/>
                <a:gd name="csX2" fmla="*/ 4 w 24820"/>
                <a:gd name="csY2" fmla="*/ 8750 h 18955"/>
                <a:gd name="csX3" fmla="*/ 3120 w 24820"/>
                <a:gd name="csY3" fmla="*/ 4900 h 18955"/>
                <a:gd name="csX4" fmla="*/ 11240 w 24820"/>
                <a:gd name="csY4" fmla="*/ 455 h 18955"/>
                <a:gd name="csX5" fmla="*/ 13445 w 24820"/>
                <a:gd name="csY5" fmla="*/ 595 h 18955"/>
                <a:gd name="csX6" fmla="*/ 16245 w 24820"/>
                <a:gd name="csY6" fmla="*/ 0 h 18955"/>
                <a:gd name="csX7" fmla="*/ 23945 w 24820"/>
                <a:gd name="csY7" fmla="*/ 3395 h 18955"/>
                <a:gd name="csX8" fmla="*/ 24820 w 24820"/>
                <a:gd name="csY8" fmla="*/ 11235 h 18955"/>
                <a:gd name="csX9" fmla="*/ 23945 w 24820"/>
                <a:gd name="csY9" fmla="*/ 13896 h 18955"/>
                <a:gd name="csX10" fmla="*/ 22335 w 24820"/>
                <a:gd name="csY10" fmla="*/ 15961 h 18955"/>
                <a:gd name="csX11" fmla="*/ 18345 w 24820"/>
                <a:gd name="csY11" fmla="*/ 18761 h 18955"/>
                <a:gd name="csX12" fmla="*/ 13445 w 24820"/>
                <a:gd name="csY12" fmla="*/ 16976 h 18955"/>
                <a:gd name="csX13" fmla="*/ 12850 w 24820"/>
                <a:gd name="csY13" fmla="*/ 14911 h 18955"/>
                <a:gd name="csX14" fmla="*/ 8265 w 24820"/>
                <a:gd name="csY14" fmla="*/ 14176 h 18955"/>
                <a:gd name="csX15" fmla="*/ 4275 w 24820"/>
                <a:gd name="csY15" fmla="*/ 14911 h 189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4820" h="18955">
                  <a:moveTo>
                    <a:pt x="4310" y="14981"/>
                  </a:moveTo>
                  <a:lnTo>
                    <a:pt x="4310" y="14981"/>
                  </a:lnTo>
                  <a:cubicBezTo>
                    <a:pt x="2840" y="12916"/>
                    <a:pt x="319" y="11585"/>
                    <a:pt x="4" y="8750"/>
                  </a:cubicBezTo>
                  <a:cubicBezTo>
                    <a:pt x="-136" y="7700"/>
                    <a:pt x="3120" y="4900"/>
                    <a:pt x="3120" y="4900"/>
                  </a:cubicBezTo>
                  <a:cubicBezTo>
                    <a:pt x="5640" y="3115"/>
                    <a:pt x="8440" y="910"/>
                    <a:pt x="11240" y="455"/>
                  </a:cubicBezTo>
                  <a:cubicBezTo>
                    <a:pt x="11975" y="315"/>
                    <a:pt x="12570" y="595"/>
                    <a:pt x="13445" y="595"/>
                  </a:cubicBezTo>
                  <a:cubicBezTo>
                    <a:pt x="14320" y="455"/>
                    <a:pt x="15230" y="140"/>
                    <a:pt x="16245" y="0"/>
                  </a:cubicBezTo>
                  <a:cubicBezTo>
                    <a:pt x="22475" y="735"/>
                    <a:pt x="21285" y="-595"/>
                    <a:pt x="23945" y="3395"/>
                  </a:cubicBezTo>
                  <a:cubicBezTo>
                    <a:pt x="24225" y="3990"/>
                    <a:pt x="24820" y="9450"/>
                    <a:pt x="24820" y="11235"/>
                  </a:cubicBezTo>
                  <a:cubicBezTo>
                    <a:pt x="24820" y="13021"/>
                    <a:pt x="24225" y="13021"/>
                    <a:pt x="23945" y="13896"/>
                  </a:cubicBezTo>
                  <a:cubicBezTo>
                    <a:pt x="23350" y="14631"/>
                    <a:pt x="23070" y="15366"/>
                    <a:pt x="22335" y="15961"/>
                  </a:cubicBezTo>
                  <a:cubicBezTo>
                    <a:pt x="21145" y="17011"/>
                    <a:pt x="19815" y="18166"/>
                    <a:pt x="18345" y="18761"/>
                  </a:cubicBezTo>
                  <a:cubicBezTo>
                    <a:pt x="16280" y="19636"/>
                    <a:pt x="14215" y="17291"/>
                    <a:pt x="13445" y="16976"/>
                  </a:cubicBezTo>
                  <a:cubicBezTo>
                    <a:pt x="13305" y="16241"/>
                    <a:pt x="13725" y="15366"/>
                    <a:pt x="12850" y="14911"/>
                  </a:cubicBezTo>
                  <a:cubicBezTo>
                    <a:pt x="11975" y="14456"/>
                    <a:pt x="9140" y="13126"/>
                    <a:pt x="8265" y="14176"/>
                  </a:cubicBezTo>
                  <a:lnTo>
                    <a:pt x="4275" y="14911"/>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6" name="Freeform: Shape 1765">
              <a:extLst>
                <a:ext uri="{FF2B5EF4-FFF2-40B4-BE49-F238E27FC236}">
                  <a16:creationId xmlns:a16="http://schemas.microsoft.com/office/drawing/2014/main" id="{F1AE6DE4-8B2B-24E1-8E6E-7EAABFA1041F}"/>
                </a:ext>
              </a:extLst>
            </p:cNvPr>
            <p:cNvSpPr/>
            <p:nvPr/>
          </p:nvSpPr>
          <p:spPr>
            <a:xfrm>
              <a:off x="11068809" y="4208980"/>
              <a:ext cx="28587" cy="22680"/>
            </a:xfrm>
            <a:custGeom>
              <a:avLst/>
              <a:gdLst>
                <a:gd name="csX0" fmla="*/ 19242 w 28587"/>
                <a:gd name="csY0" fmla="*/ 22681 h 22680"/>
                <a:gd name="csX1" fmla="*/ 14937 w 28587"/>
                <a:gd name="csY1" fmla="*/ 20826 h 22680"/>
                <a:gd name="csX2" fmla="*/ 14517 w 28587"/>
                <a:gd name="csY2" fmla="*/ 20511 h 22680"/>
                <a:gd name="csX3" fmla="*/ 13502 w 28587"/>
                <a:gd name="csY3" fmla="*/ 19216 h 22680"/>
                <a:gd name="csX4" fmla="*/ 13432 w 28587"/>
                <a:gd name="csY4" fmla="*/ 18236 h 22680"/>
                <a:gd name="csX5" fmla="*/ 11262 w 28587"/>
                <a:gd name="csY5" fmla="*/ 17536 h 22680"/>
                <a:gd name="csX6" fmla="*/ 10457 w 28587"/>
                <a:gd name="csY6" fmla="*/ 17886 h 22680"/>
                <a:gd name="csX7" fmla="*/ 6467 w 28587"/>
                <a:gd name="csY7" fmla="*/ 18621 h 22680"/>
                <a:gd name="csX8" fmla="*/ 4647 w 28587"/>
                <a:gd name="csY8" fmla="*/ 17886 h 22680"/>
                <a:gd name="csX9" fmla="*/ 3177 w 28587"/>
                <a:gd name="csY9" fmla="*/ 16241 h 22680"/>
                <a:gd name="csX10" fmla="*/ 26 w 28587"/>
                <a:gd name="csY10" fmla="*/ 10780 h 22680"/>
                <a:gd name="csX11" fmla="*/ 3772 w 28587"/>
                <a:gd name="csY11" fmla="*/ 5320 h 22680"/>
                <a:gd name="csX12" fmla="*/ 4857 w 28587"/>
                <a:gd name="csY12" fmla="*/ 4550 h 22680"/>
                <a:gd name="csX13" fmla="*/ 12837 w 28587"/>
                <a:gd name="csY13" fmla="*/ 455 h 22680"/>
                <a:gd name="csX14" fmla="*/ 14622 w 28587"/>
                <a:gd name="csY14" fmla="*/ 490 h 22680"/>
                <a:gd name="csX15" fmla="*/ 15357 w 28587"/>
                <a:gd name="csY15" fmla="*/ 560 h 22680"/>
                <a:gd name="csX16" fmla="*/ 16127 w 28587"/>
                <a:gd name="csY16" fmla="*/ 350 h 22680"/>
                <a:gd name="csX17" fmla="*/ 17877 w 28587"/>
                <a:gd name="csY17" fmla="*/ 0 h 22680"/>
                <a:gd name="csX18" fmla="*/ 18367 w 28587"/>
                <a:gd name="csY18" fmla="*/ 0 h 22680"/>
                <a:gd name="csX19" fmla="*/ 21692 w 28587"/>
                <a:gd name="csY19" fmla="*/ 280 h 22680"/>
                <a:gd name="csX20" fmla="*/ 27048 w 28587"/>
                <a:gd name="csY20" fmla="*/ 3675 h 22680"/>
                <a:gd name="csX21" fmla="*/ 27398 w 28587"/>
                <a:gd name="csY21" fmla="*/ 4200 h 22680"/>
                <a:gd name="csX22" fmla="*/ 28588 w 28587"/>
                <a:gd name="csY22" fmla="*/ 13056 h 22680"/>
                <a:gd name="csX23" fmla="*/ 27748 w 28587"/>
                <a:gd name="csY23" fmla="*/ 16031 h 22680"/>
                <a:gd name="csX24" fmla="*/ 27293 w 28587"/>
                <a:gd name="csY24" fmla="*/ 16871 h 22680"/>
                <a:gd name="csX25" fmla="*/ 26838 w 28587"/>
                <a:gd name="csY25" fmla="*/ 17501 h 22680"/>
                <a:gd name="csX26" fmla="*/ 25368 w 28587"/>
                <a:gd name="csY26" fmla="*/ 19216 h 22680"/>
                <a:gd name="csX27" fmla="*/ 20922 w 28587"/>
                <a:gd name="csY27" fmla="*/ 22296 h 22680"/>
                <a:gd name="csX28" fmla="*/ 19277 w 28587"/>
                <a:gd name="csY28" fmla="*/ 22611 h 22680"/>
                <a:gd name="csX29" fmla="*/ 17142 w 28587"/>
                <a:gd name="csY29" fmla="*/ 17851 h 22680"/>
                <a:gd name="csX30" fmla="*/ 17177 w 28587"/>
                <a:gd name="csY30" fmla="*/ 17851 h 22680"/>
                <a:gd name="csX31" fmla="*/ 19452 w 28587"/>
                <a:gd name="csY31" fmla="*/ 18901 h 22680"/>
                <a:gd name="csX32" fmla="*/ 22847 w 28587"/>
                <a:gd name="csY32" fmla="*/ 16486 h 22680"/>
                <a:gd name="csX33" fmla="*/ 23687 w 28587"/>
                <a:gd name="csY33" fmla="*/ 15506 h 22680"/>
                <a:gd name="csX34" fmla="*/ 24142 w 28587"/>
                <a:gd name="csY34" fmla="*/ 14841 h 22680"/>
                <a:gd name="csX35" fmla="*/ 24597 w 28587"/>
                <a:gd name="csY35" fmla="*/ 14036 h 22680"/>
                <a:gd name="csX36" fmla="*/ 24807 w 28587"/>
                <a:gd name="csY36" fmla="*/ 13091 h 22680"/>
                <a:gd name="csX37" fmla="*/ 24072 w 28587"/>
                <a:gd name="csY37" fmla="*/ 5880 h 22680"/>
                <a:gd name="csX38" fmla="*/ 23897 w 28587"/>
                <a:gd name="csY38" fmla="*/ 5705 h 22680"/>
                <a:gd name="csX39" fmla="*/ 22707 w 28587"/>
                <a:gd name="csY39" fmla="*/ 4060 h 22680"/>
                <a:gd name="csX40" fmla="*/ 21447 w 28587"/>
                <a:gd name="csY40" fmla="*/ 3955 h 22680"/>
                <a:gd name="csX41" fmla="*/ 18122 w 28587"/>
                <a:gd name="csY41" fmla="*/ 3710 h 22680"/>
                <a:gd name="csX42" fmla="*/ 16897 w 28587"/>
                <a:gd name="csY42" fmla="*/ 3955 h 22680"/>
                <a:gd name="csX43" fmla="*/ 15567 w 28587"/>
                <a:gd name="csY43" fmla="*/ 4235 h 22680"/>
                <a:gd name="csX44" fmla="*/ 13957 w 28587"/>
                <a:gd name="csY44" fmla="*/ 4130 h 22680"/>
                <a:gd name="csX45" fmla="*/ 13397 w 28587"/>
                <a:gd name="csY45" fmla="*/ 4095 h 22680"/>
                <a:gd name="csX46" fmla="*/ 6922 w 28587"/>
                <a:gd name="csY46" fmla="*/ 7560 h 22680"/>
                <a:gd name="csX47" fmla="*/ 5977 w 28587"/>
                <a:gd name="csY47" fmla="*/ 8225 h 22680"/>
                <a:gd name="csX48" fmla="*/ 3702 w 28587"/>
                <a:gd name="csY48" fmla="*/ 10640 h 22680"/>
                <a:gd name="csX49" fmla="*/ 5732 w 28587"/>
                <a:gd name="csY49" fmla="*/ 13581 h 22680"/>
                <a:gd name="csX50" fmla="*/ 6852 w 28587"/>
                <a:gd name="csY50" fmla="*/ 14736 h 22680"/>
                <a:gd name="csX51" fmla="*/ 9267 w 28587"/>
                <a:gd name="csY51" fmla="*/ 14281 h 22680"/>
                <a:gd name="csX52" fmla="*/ 15497 w 28587"/>
                <a:gd name="csY52" fmla="*/ 15121 h 22680"/>
                <a:gd name="csX53" fmla="*/ 17107 w 28587"/>
                <a:gd name="csY53" fmla="*/ 17851 h 22680"/>
                <a:gd name="csX54" fmla="*/ 13887 w 28587"/>
                <a:gd name="csY54" fmla="*/ 18446 h 22680"/>
                <a:gd name="csX55" fmla="*/ 13887 w 28587"/>
                <a:gd name="csY55" fmla="*/ 18446 h 22680"/>
                <a:gd name="csX56" fmla="*/ 13887 w 28587"/>
                <a:gd name="csY56" fmla="*/ 18446 h 22680"/>
                <a:gd name="csX57" fmla="*/ 3667 w 28587"/>
                <a:gd name="csY57" fmla="*/ 10325 h 22680"/>
                <a:gd name="csX58" fmla="*/ 3667 w 28587"/>
                <a:gd name="csY58" fmla="*/ 10395 h 22680"/>
                <a:gd name="csX59" fmla="*/ 3667 w 28587"/>
                <a:gd name="csY59" fmla="*/ 10325 h 226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Lst>
              <a:rect l="l" t="t" r="r" b="b"/>
              <a:pathLst>
                <a:path w="28587" h="22680">
                  <a:moveTo>
                    <a:pt x="19242" y="22681"/>
                  </a:moveTo>
                  <a:cubicBezTo>
                    <a:pt x="17387" y="22681"/>
                    <a:pt x="15812" y="21491"/>
                    <a:pt x="14937" y="20826"/>
                  </a:cubicBezTo>
                  <a:cubicBezTo>
                    <a:pt x="14762" y="20686"/>
                    <a:pt x="14622" y="20581"/>
                    <a:pt x="14517" y="20511"/>
                  </a:cubicBezTo>
                  <a:cubicBezTo>
                    <a:pt x="13922" y="20266"/>
                    <a:pt x="13607" y="19811"/>
                    <a:pt x="13502" y="19216"/>
                  </a:cubicBezTo>
                  <a:cubicBezTo>
                    <a:pt x="13432" y="18831"/>
                    <a:pt x="13432" y="18481"/>
                    <a:pt x="13432" y="18236"/>
                  </a:cubicBezTo>
                  <a:cubicBezTo>
                    <a:pt x="12277" y="17711"/>
                    <a:pt x="11542" y="17536"/>
                    <a:pt x="11262" y="17536"/>
                  </a:cubicBezTo>
                  <a:cubicBezTo>
                    <a:pt x="11017" y="17711"/>
                    <a:pt x="10772" y="17851"/>
                    <a:pt x="10457" y="17886"/>
                  </a:cubicBezTo>
                  <a:lnTo>
                    <a:pt x="6467" y="18621"/>
                  </a:lnTo>
                  <a:cubicBezTo>
                    <a:pt x="5767" y="18691"/>
                    <a:pt x="5032" y="18446"/>
                    <a:pt x="4647" y="17886"/>
                  </a:cubicBezTo>
                  <a:cubicBezTo>
                    <a:pt x="4227" y="17291"/>
                    <a:pt x="3702" y="16766"/>
                    <a:pt x="3177" y="16241"/>
                  </a:cubicBezTo>
                  <a:cubicBezTo>
                    <a:pt x="1882" y="14946"/>
                    <a:pt x="271" y="13336"/>
                    <a:pt x="26" y="10780"/>
                  </a:cubicBezTo>
                  <a:cubicBezTo>
                    <a:pt x="-44" y="10290"/>
                    <a:pt x="-254" y="8820"/>
                    <a:pt x="3772" y="5320"/>
                  </a:cubicBezTo>
                  <a:lnTo>
                    <a:pt x="4857" y="4550"/>
                  </a:lnTo>
                  <a:cubicBezTo>
                    <a:pt x="7272" y="2835"/>
                    <a:pt x="9967" y="910"/>
                    <a:pt x="12837" y="455"/>
                  </a:cubicBezTo>
                  <a:cubicBezTo>
                    <a:pt x="13502" y="315"/>
                    <a:pt x="14132" y="420"/>
                    <a:pt x="14622" y="490"/>
                  </a:cubicBezTo>
                  <a:cubicBezTo>
                    <a:pt x="14832" y="490"/>
                    <a:pt x="15077" y="560"/>
                    <a:pt x="15357" y="560"/>
                  </a:cubicBezTo>
                  <a:cubicBezTo>
                    <a:pt x="15427" y="560"/>
                    <a:pt x="15777" y="455"/>
                    <a:pt x="16127" y="350"/>
                  </a:cubicBezTo>
                  <a:cubicBezTo>
                    <a:pt x="16687" y="210"/>
                    <a:pt x="17282" y="70"/>
                    <a:pt x="17877" y="0"/>
                  </a:cubicBezTo>
                  <a:cubicBezTo>
                    <a:pt x="18052" y="0"/>
                    <a:pt x="18192" y="0"/>
                    <a:pt x="18367" y="0"/>
                  </a:cubicBezTo>
                  <a:cubicBezTo>
                    <a:pt x="19872" y="175"/>
                    <a:pt x="20887" y="245"/>
                    <a:pt x="21692" y="280"/>
                  </a:cubicBezTo>
                  <a:cubicBezTo>
                    <a:pt x="24702" y="420"/>
                    <a:pt x="25158" y="840"/>
                    <a:pt x="27048" y="3675"/>
                  </a:cubicBezTo>
                  <a:lnTo>
                    <a:pt x="27398" y="4200"/>
                  </a:lnTo>
                  <a:cubicBezTo>
                    <a:pt x="28098" y="5600"/>
                    <a:pt x="28588" y="11831"/>
                    <a:pt x="28588" y="13056"/>
                  </a:cubicBezTo>
                  <a:cubicBezTo>
                    <a:pt x="28588" y="14666"/>
                    <a:pt x="28168" y="15401"/>
                    <a:pt x="27748" y="16031"/>
                  </a:cubicBezTo>
                  <a:cubicBezTo>
                    <a:pt x="27678" y="16241"/>
                    <a:pt x="27433" y="16696"/>
                    <a:pt x="27293" y="16871"/>
                  </a:cubicBezTo>
                  <a:cubicBezTo>
                    <a:pt x="27118" y="17081"/>
                    <a:pt x="26978" y="17291"/>
                    <a:pt x="26838" y="17501"/>
                  </a:cubicBezTo>
                  <a:cubicBezTo>
                    <a:pt x="26488" y="18061"/>
                    <a:pt x="26103" y="18656"/>
                    <a:pt x="25368" y="19216"/>
                  </a:cubicBezTo>
                  <a:cubicBezTo>
                    <a:pt x="24072" y="20336"/>
                    <a:pt x="22637" y="21631"/>
                    <a:pt x="20922" y="22296"/>
                  </a:cubicBezTo>
                  <a:cubicBezTo>
                    <a:pt x="20362" y="22541"/>
                    <a:pt x="19802" y="22611"/>
                    <a:pt x="19277" y="22611"/>
                  </a:cubicBezTo>
                  <a:close/>
                  <a:moveTo>
                    <a:pt x="17142" y="17851"/>
                  </a:moveTo>
                  <a:cubicBezTo>
                    <a:pt x="17142" y="17851"/>
                    <a:pt x="17142" y="17851"/>
                    <a:pt x="17177" y="17851"/>
                  </a:cubicBezTo>
                  <a:cubicBezTo>
                    <a:pt x="17807" y="18341"/>
                    <a:pt x="18857" y="19111"/>
                    <a:pt x="19452" y="18901"/>
                  </a:cubicBezTo>
                  <a:cubicBezTo>
                    <a:pt x="20642" y="18411"/>
                    <a:pt x="21797" y="17396"/>
                    <a:pt x="22847" y="16486"/>
                  </a:cubicBezTo>
                  <a:cubicBezTo>
                    <a:pt x="23232" y="16171"/>
                    <a:pt x="23407" y="15891"/>
                    <a:pt x="23687" y="15506"/>
                  </a:cubicBezTo>
                  <a:cubicBezTo>
                    <a:pt x="23827" y="15261"/>
                    <a:pt x="24002" y="15051"/>
                    <a:pt x="24142" y="14841"/>
                  </a:cubicBezTo>
                  <a:cubicBezTo>
                    <a:pt x="24317" y="14491"/>
                    <a:pt x="24457" y="14211"/>
                    <a:pt x="24597" y="14036"/>
                  </a:cubicBezTo>
                  <a:cubicBezTo>
                    <a:pt x="24773" y="13791"/>
                    <a:pt x="24807" y="13721"/>
                    <a:pt x="24807" y="13091"/>
                  </a:cubicBezTo>
                  <a:cubicBezTo>
                    <a:pt x="24807" y="11446"/>
                    <a:pt x="24282" y="6650"/>
                    <a:pt x="24072" y="5880"/>
                  </a:cubicBezTo>
                  <a:lnTo>
                    <a:pt x="23897" y="5705"/>
                  </a:lnTo>
                  <a:cubicBezTo>
                    <a:pt x="23372" y="4935"/>
                    <a:pt x="22882" y="4200"/>
                    <a:pt x="22707" y="4060"/>
                  </a:cubicBezTo>
                  <a:cubicBezTo>
                    <a:pt x="22567" y="3990"/>
                    <a:pt x="21972" y="3990"/>
                    <a:pt x="21447" y="3955"/>
                  </a:cubicBezTo>
                  <a:cubicBezTo>
                    <a:pt x="20642" y="3920"/>
                    <a:pt x="19627" y="3885"/>
                    <a:pt x="18122" y="3710"/>
                  </a:cubicBezTo>
                  <a:cubicBezTo>
                    <a:pt x="17702" y="3780"/>
                    <a:pt x="17282" y="3885"/>
                    <a:pt x="16897" y="3955"/>
                  </a:cubicBezTo>
                  <a:cubicBezTo>
                    <a:pt x="16442" y="4060"/>
                    <a:pt x="16022" y="4165"/>
                    <a:pt x="15567" y="4235"/>
                  </a:cubicBezTo>
                  <a:cubicBezTo>
                    <a:pt x="14657" y="4340"/>
                    <a:pt x="14342" y="4200"/>
                    <a:pt x="13957" y="4130"/>
                  </a:cubicBezTo>
                  <a:cubicBezTo>
                    <a:pt x="13712" y="4130"/>
                    <a:pt x="13467" y="3990"/>
                    <a:pt x="13397" y="4095"/>
                  </a:cubicBezTo>
                  <a:cubicBezTo>
                    <a:pt x="11297" y="4410"/>
                    <a:pt x="8952" y="6090"/>
                    <a:pt x="6922" y="7560"/>
                  </a:cubicBezTo>
                  <a:lnTo>
                    <a:pt x="5977" y="8225"/>
                  </a:lnTo>
                  <a:cubicBezTo>
                    <a:pt x="5102" y="8995"/>
                    <a:pt x="4052" y="10115"/>
                    <a:pt x="3702" y="10640"/>
                  </a:cubicBezTo>
                  <a:cubicBezTo>
                    <a:pt x="3912" y="11691"/>
                    <a:pt x="4647" y="12461"/>
                    <a:pt x="5732" y="13581"/>
                  </a:cubicBezTo>
                  <a:cubicBezTo>
                    <a:pt x="6117" y="13966"/>
                    <a:pt x="6467" y="14351"/>
                    <a:pt x="6852" y="14736"/>
                  </a:cubicBezTo>
                  <a:lnTo>
                    <a:pt x="9267" y="14281"/>
                  </a:lnTo>
                  <a:cubicBezTo>
                    <a:pt x="11262" y="13021"/>
                    <a:pt x="14412" y="14526"/>
                    <a:pt x="15497" y="15121"/>
                  </a:cubicBezTo>
                  <a:cubicBezTo>
                    <a:pt x="16897" y="15821"/>
                    <a:pt x="17072" y="17081"/>
                    <a:pt x="17107" y="17851"/>
                  </a:cubicBezTo>
                  <a:close/>
                  <a:moveTo>
                    <a:pt x="13887" y="18446"/>
                  </a:moveTo>
                  <a:lnTo>
                    <a:pt x="13887" y="18446"/>
                  </a:lnTo>
                  <a:lnTo>
                    <a:pt x="13887" y="18446"/>
                  </a:lnTo>
                  <a:close/>
                  <a:moveTo>
                    <a:pt x="3667" y="10325"/>
                  </a:moveTo>
                  <a:lnTo>
                    <a:pt x="3667" y="10395"/>
                  </a:lnTo>
                  <a:lnTo>
                    <a:pt x="3667" y="1032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7" name="Freeform: Shape 1766">
              <a:extLst>
                <a:ext uri="{FF2B5EF4-FFF2-40B4-BE49-F238E27FC236}">
                  <a16:creationId xmlns:a16="http://schemas.microsoft.com/office/drawing/2014/main" id="{4FDBE35C-BFB8-44BF-6867-134774997455}"/>
                </a:ext>
              </a:extLst>
            </p:cNvPr>
            <p:cNvSpPr/>
            <p:nvPr/>
          </p:nvSpPr>
          <p:spPr>
            <a:xfrm>
              <a:off x="11056952" y="4382146"/>
              <a:ext cx="23888" cy="20005"/>
            </a:xfrm>
            <a:custGeom>
              <a:avLst/>
              <a:gdLst>
                <a:gd name="csX0" fmla="*/ 1103 w 23888"/>
                <a:gd name="csY0" fmla="*/ 9786 h 20005"/>
                <a:gd name="csX1" fmla="*/ 1103 w 23888"/>
                <a:gd name="csY1" fmla="*/ 9786 h 20005"/>
                <a:gd name="csX2" fmla="*/ 368 w 23888"/>
                <a:gd name="csY2" fmla="*/ 2226 h 20005"/>
                <a:gd name="csX3" fmla="*/ 5093 w 23888"/>
                <a:gd name="csY3" fmla="*/ 301 h 20005"/>
                <a:gd name="csX4" fmla="*/ 14263 w 23888"/>
                <a:gd name="csY4" fmla="*/ 581 h 20005"/>
                <a:gd name="csX5" fmla="*/ 16188 w 23888"/>
                <a:gd name="csY5" fmla="*/ 1631 h 20005"/>
                <a:gd name="csX6" fmla="*/ 18848 w 23888"/>
                <a:gd name="csY6" fmla="*/ 2681 h 20005"/>
                <a:gd name="csX7" fmla="*/ 23889 w 23888"/>
                <a:gd name="csY7" fmla="*/ 9471 h 20005"/>
                <a:gd name="csX8" fmla="*/ 20773 w 23888"/>
                <a:gd name="csY8" fmla="*/ 16576 h 20005"/>
                <a:gd name="csX9" fmla="*/ 18568 w 23888"/>
                <a:gd name="csY9" fmla="*/ 18641 h 20005"/>
                <a:gd name="csX10" fmla="*/ 16363 w 23888"/>
                <a:gd name="csY10" fmla="*/ 19516 h 20005"/>
                <a:gd name="csX11" fmla="*/ 11323 w 23888"/>
                <a:gd name="csY11" fmla="*/ 19971 h 20005"/>
                <a:gd name="csX12" fmla="*/ 8068 w 23888"/>
                <a:gd name="csY12" fmla="*/ 15981 h 20005"/>
                <a:gd name="csX13" fmla="*/ 8523 w 23888"/>
                <a:gd name="csY13" fmla="*/ 13916 h 20005"/>
                <a:gd name="csX14" fmla="*/ 4988 w 23888"/>
                <a:gd name="csY14" fmla="*/ 11116 h 20005"/>
                <a:gd name="csX15" fmla="*/ 1138 w 23888"/>
                <a:gd name="csY15" fmla="*/ 9786 h 200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3888" h="20005">
                  <a:moveTo>
                    <a:pt x="1103" y="9786"/>
                  </a:moveTo>
                  <a:lnTo>
                    <a:pt x="1103" y="9786"/>
                  </a:lnTo>
                  <a:cubicBezTo>
                    <a:pt x="823" y="7266"/>
                    <a:pt x="-682" y="4746"/>
                    <a:pt x="368" y="2226"/>
                  </a:cubicBezTo>
                  <a:cubicBezTo>
                    <a:pt x="823" y="1176"/>
                    <a:pt x="5093" y="301"/>
                    <a:pt x="5093" y="301"/>
                  </a:cubicBezTo>
                  <a:cubicBezTo>
                    <a:pt x="8068" y="161"/>
                    <a:pt x="11603" y="-434"/>
                    <a:pt x="14263" y="581"/>
                  </a:cubicBezTo>
                  <a:cubicBezTo>
                    <a:pt x="14998" y="861"/>
                    <a:pt x="15453" y="1316"/>
                    <a:pt x="16188" y="1631"/>
                  </a:cubicBezTo>
                  <a:cubicBezTo>
                    <a:pt x="16923" y="2086"/>
                    <a:pt x="17973" y="2366"/>
                    <a:pt x="18848" y="2681"/>
                  </a:cubicBezTo>
                  <a:cubicBezTo>
                    <a:pt x="23889" y="6391"/>
                    <a:pt x="23574" y="4606"/>
                    <a:pt x="23889" y="9471"/>
                  </a:cubicBezTo>
                  <a:cubicBezTo>
                    <a:pt x="23889" y="10066"/>
                    <a:pt x="21683" y="15106"/>
                    <a:pt x="20773" y="16576"/>
                  </a:cubicBezTo>
                  <a:cubicBezTo>
                    <a:pt x="19898" y="18186"/>
                    <a:pt x="19303" y="17906"/>
                    <a:pt x="18568" y="18641"/>
                  </a:cubicBezTo>
                  <a:cubicBezTo>
                    <a:pt x="17833" y="18921"/>
                    <a:pt x="17098" y="19376"/>
                    <a:pt x="16363" y="19516"/>
                  </a:cubicBezTo>
                  <a:cubicBezTo>
                    <a:pt x="14753" y="19796"/>
                    <a:pt x="12968" y="20112"/>
                    <a:pt x="11323" y="19971"/>
                  </a:cubicBezTo>
                  <a:cubicBezTo>
                    <a:pt x="9258" y="19831"/>
                    <a:pt x="8523" y="16716"/>
                    <a:pt x="8068" y="15981"/>
                  </a:cubicBezTo>
                  <a:cubicBezTo>
                    <a:pt x="8208" y="15386"/>
                    <a:pt x="9118" y="14791"/>
                    <a:pt x="8523" y="13916"/>
                  </a:cubicBezTo>
                  <a:cubicBezTo>
                    <a:pt x="8068" y="13041"/>
                    <a:pt x="6143" y="10521"/>
                    <a:pt x="4988" y="11116"/>
                  </a:cubicBezTo>
                  <a:lnTo>
                    <a:pt x="1138" y="978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8" name="Freeform: Shape 1767">
              <a:extLst>
                <a:ext uri="{FF2B5EF4-FFF2-40B4-BE49-F238E27FC236}">
                  <a16:creationId xmlns:a16="http://schemas.microsoft.com/office/drawing/2014/main" id="{24FEE521-8726-76EA-5244-4A7B9061080C}"/>
                </a:ext>
              </a:extLst>
            </p:cNvPr>
            <p:cNvSpPr/>
            <p:nvPr/>
          </p:nvSpPr>
          <p:spPr>
            <a:xfrm>
              <a:off x="11055131" y="4380325"/>
              <a:ext cx="27530" cy="23717"/>
            </a:xfrm>
            <a:custGeom>
              <a:avLst/>
              <a:gdLst>
                <a:gd name="csX0" fmla="*/ 14054 w 27530"/>
                <a:gd name="csY0" fmla="*/ 23683 h 23717"/>
                <a:gd name="csX1" fmla="*/ 12969 w 27530"/>
                <a:gd name="csY1" fmla="*/ 23648 h 23717"/>
                <a:gd name="csX2" fmla="*/ 8489 w 27530"/>
                <a:gd name="csY2" fmla="*/ 19237 h 23717"/>
                <a:gd name="csX3" fmla="*/ 8279 w 27530"/>
                <a:gd name="csY3" fmla="*/ 18747 h 23717"/>
                <a:gd name="csX4" fmla="*/ 8104 w 27530"/>
                <a:gd name="csY4" fmla="*/ 17382 h 23717"/>
                <a:gd name="csX5" fmla="*/ 8559 w 27530"/>
                <a:gd name="csY5" fmla="*/ 16367 h 23717"/>
                <a:gd name="csX6" fmla="*/ 7159 w 27530"/>
                <a:gd name="csY6" fmla="*/ 14757 h 23717"/>
                <a:gd name="csX7" fmla="*/ 6214 w 27530"/>
                <a:gd name="csY7" fmla="*/ 14687 h 23717"/>
                <a:gd name="csX8" fmla="*/ 2364 w 27530"/>
                <a:gd name="csY8" fmla="*/ 13357 h 23717"/>
                <a:gd name="csX9" fmla="*/ 1139 w 27530"/>
                <a:gd name="csY9" fmla="*/ 11817 h 23717"/>
                <a:gd name="csX10" fmla="*/ 649 w 27530"/>
                <a:gd name="csY10" fmla="*/ 9682 h 23717"/>
                <a:gd name="csX11" fmla="*/ 474 w 27530"/>
                <a:gd name="csY11" fmla="*/ 3382 h 23717"/>
                <a:gd name="csX12" fmla="*/ 6564 w 27530"/>
                <a:gd name="csY12" fmla="*/ 337 h 23717"/>
                <a:gd name="csX13" fmla="*/ 8699 w 27530"/>
                <a:gd name="csY13" fmla="*/ 162 h 23717"/>
                <a:gd name="csX14" fmla="*/ 16785 w 27530"/>
                <a:gd name="csY14" fmla="*/ 722 h 23717"/>
                <a:gd name="csX15" fmla="*/ 18045 w 27530"/>
                <a:gd name="csY15" fmla="*/ 1387 h 23717"/>
                <a:gd name="csX16" fmla="*/ 18710 w 27530"/>
                <a:gd name="csY16" fmla="*/ 1772 h 23717"/>
                <a:gd name="csX17" fmla="*/ 20705 w 27530"/>
                <a:gd name="csY17" fmla="*/ 2612 h 23717"/>
                <a:gd name="csX18" fmla="*/ 21300 w 27530"/>
                <a:gd name="csY18" fmla="*/ 2787 h 23717"/>
                <a:gd name="csX19" fmla="*/ 21790 w 27530"/>
                <a:gd name="csY19" fmla="*/ 3032 h 23717"/>
                <a:gd name="csX20" fmla="*/ 24555 w 27530"/>
                <a:gd name="csY20" fmla="*/ 4922 h 23717"/>
                <a:gd name="csX21" fmla="*/ 27530 w 27530"/>
                <a:gd name="csY21" fmla="*/ 10697 h 23717"/>
                <a:gd name="csX22" fmla="*/ 27530 w 27530"/>
                <a:gd name="csY22" fmla="*/ 11222 h 23717"/>
                <a:gd name="csX23" fmla="*/ 24170 w 27530"/>
                <a:gd name="csY23" fmla="*/ 19377 h 23717"/>
                <a:gd name="csX24" fmla="*/ 22035 w 27530"/>
                <a:gd name="csY24" fmla="*/ 21583 h 23717"/>
                <a:gd name="csX25" fmla="*/ 21055 w 27530"/>
                <a:gd name="csY25" fmla="*/ 22213 h 23717"/>
                <a:gd name="csX26" fmla="*/ 20390 w 27530"/>
                <a:gd name="csY26" fmla="*/ 22493 h 23717"/>
                <a:gd name="csX27" fmla="*/ 18500 w 27530"/>
                <a:gd name="csY27" fmla="*/ 23193 h 23717"/>
                <a:gd name="csX28" fmla="*/ 14019 w 27530"/>
                <a:gd name="csY28" fmla="*/ 23718 h 23717"/>
                <a:gd name="csX29" fmla="*/ 11954 w 27530"/>
                <a:gd name="csY29" fmla="*/ 17872 h 23717"/>
                <a:gd name="csX30" fmla="*/ 13284 w 27530"/>
                <a:gd name="csY30" fmla="*/ 19937 h 23717"/>
                <a:gd name="csX31" fmla="*/ 17835 w 27530"/>
                <a:gd name="csY31" fmla="*/ 19517 h 23717"/>
                <a:gd name="csX32" fmla="*/ 18885 w 27530"/>
                <a:gd name="csY32" fmla="*/ 19097 h 23717"/>
                <a:gd name="csX33" fmla="*/ 19410 w 27530"/>
                <a:gd name="csY33" fmla="*/ 18852 h 23717"/>
                <a:gd name="csX34" fmla="*/ 20285 w 27530"/>
                <a:gd name="csY34" fmla="*/ 18292 h 23717"/>
                <a:gd name="csX35" fmla="*/ 21020 w 27530"/>
                <a:gd name="csY35" fmla="*/ 17487 h 23717"/>
                <a:gd name="csX36" fmla="*/ 23960 w 27530"/>
                <a:gd name="csY36" fmla="*/ 11012 h 23717"/>
                <a:gd name="csX37" fmla="*/ 23890 w 27530"/>
                <a:gd name="csY37" fmla="*/ 10837 h 23717"/>
                <a:gd name="csX38" fmla="*/ 23680 w 27530"/>
                <a:gd name="csY38" fmla="*/ 8667 h 23717"/>
                <a:gd name="csX39" fmla="*/ 22630 w 27530"/>
                <a:gd name="csY39" fmla="*/ 7967 h 23717"/>
                <a:gd name="csX40" fmla="*/ 19865 w 27530"/>
                <a:gd name="csY40" fmla="*/ 6112 h 23717"/>
                <a:gd name="csX41" fmla="*/ 19585 w 27530"/>
                <a:gd name="csY41" fmla="*/ 6042 h 23717"/>
                <a:gd name="csX42" fmla="*/ 17100 w 27530"/>
                <a:gd name="csY42" fmla="*/ 4992 h 23717"/>
                <a:gd name="csX43" fmla="*/ 16084 w 27530"/>
                <a:gd name="csY43" fmla="*/ 4467 h 23717"/>
                <a:gd name="csX44" fmla="*/ 15419 w 27530"/>
                <a:gd name="csY44" fmla="*/ 4082 h 23717"/>
                <a:gd name="csX45" fmla="*/ 8979 w 27530"/>
                <a:gd name="csY45" fmla="*/ 3802 h 23717"/>
                <a:gd name="csX46" fmla="*/ 7019 w 27530"/>
                <a:gd name="csY46" fmla="*/ 3942 h 23717"/>
                <a:gd name="csX47" fmla="*/ 3659 w 27530"/>
                <a:gd name="csY47" fmla="*/ 5097 h 23717"/>
                <a:gd name="csX48" fmla="*/ 4219 w 27530"/>
                <a:gd name="csY48" fmla="*/ 8667 h 23717"/>
                <a:gd name="csX49" fmla="*/ 4604 w 27530"/>
                <a:gd name="csY49" fmla="*/ 10172 h 23717"/>
                <a:gd name="csX50" fmla="*/ 6879 w 27530"/>
                <a:gd name="csY50" fmla="*/ 10942 h 23717"/>
                <a:gd name="csX51" fmla="*/ 7194 w 27530"/>
                <a:gd name="csY51" fmla="*/ 10942 h 23717"/>
                <a:gd name="csX52" fmla="*/ 11989 w 27530"/>
                <a:gd name="csY52" fmla="*/ 14862 h 23717"/>
                <a:gd name="csX53" fmla="*/ 11989 w 27530"/>
                <a:gd name="csY53" fmla="*/ 17837 h 23717"/>
                <a:gd name="csX54" fmla="*/ 8734 w 27530"/>
                <a:gd name="csY54" fmla="*/ 16682 h 23717"/>
                <a:gd name="csX55" fmla="*/ 8804 w 27530"/>
                <a:gd name="csY55" fmla="*/ 16752 h 23717"/>
                <a:gd name="csX56" fmla="*/ 8734 w 27530"/>
                <a:gd name="csY56" fmla="*/ 16682 h 237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Lst>
              <a:rect l="l" t="t" r="r" b="b"/>
              <a:pathLst>
                <a:path w="27530" h="23717">
                  <a:moveTo>
                    <a:pt x="14054" y="23683"/>
                  </a:moveTo>
                  <a:cubicBezTo>
                    <a:pt x="13704" y="23683"/>
                    <a:pt x="13319" y="23683"/>
                    <a:pt x="12969" y="23648"/>
                  </a:cubicBezTo>
                  <a:cubicBezTo>
                    <a:pt x="10239" y="23438"/>
                    <a:pt x="9049" y="20603"/>
                    <a:pt x="8489" y="19237"/>
                  </a:cubicBezTo>
                  <a:cubicBezTo>
                    <a:pt x="8419" y="19027"/>
                    <a:pt x="8349" y="18852"/>
                    <a:pt x="8279" y="18747"/>
                  </a:cubicBezTo>
                  <a:cubicBezTo>
                    <a:pt x="8069" y="18327"/>
                    <a:pt x="7964" y="17802"/>
                    <a:pt x="8104" y="17382"/>
                  </a:cubicBezTo>
                  <a:cubicBezTo>
                    <a:pt x="8209" y="16962"/>
                    <a:pt x="8384" y="16612"/>
                    <a:pt x="8559" y="16367"/>
                  </a:cubicBezTo>
                  <a:cubicBezTo>
                    <a:pt x="8139" y="15737"/>
                    <a:pt x="7544" y="15037"/>
                    <a:pt x="7159" y="14757"/>
                  </a:cubicBezTo>
                  <a:cubicBezTo>
                    <a:pt x="6844" y="14792"/>
                    <a:pt x="6529" y="14792"/>
                    <a:pt x="6214" y="14687"/>
                  </a:cubicBezTo>
                  <a:lnTo>
                    <a:pt x="2364" y="13357"/>
                  </a:lnTo>
                  <a:cubicBezTo>
                    <a:pt x="1699" y="13112"/>
                    <a:pt x="1209" y="12517"/>
                    <a:pt x="1139" y="11817"/>
                  </a:cubicBezTo>
                  <a:cubicBezTo>
                    <a:pt x="1069" y="11117"/>
                    <a:pt x="859" y="10382"/>
                    <a:pt x="649" y="9682"/>
                  </a:cubicBezTo>
                  <a:cubicBezTo>
                    <a:pt x="159" y="7792"/>
                    <a:pt x="-436" y="5657"/>
                    <a:pt x="474" y="3382"/>
                  </a:cubicBezTo>
                  <a:cubicBezTo>
                    <a:pt x="719" y="2822"/>
                    <a:pt x="1314" y="1422"/>
                    <a:pt x="6564" y="337"/>
                  </a:cubicBezTo>
                  <a:cubicBezTo>
                    <a:pt x="7439" y="267"/>
                    <a:pt x="8069" y="232"/>
                    <a:pt x="8699" y="162"/>
                  </a:cubicBezTo>
                  <a:cubicBezTo>
                    <a:pt x="11359" y="-13"/>
                    <a:pt x="14299" y="-258"/>
                    <a:pt x="16785" y="722"/>
                  </a:cubicBezTo>
                  <a:cubicBezTo>
                    <a:pt x="17275" y="932"/>
                    <a:pt x="17660" y="1142"/>
                    <a:pt x="18045" y="1387"/>
                  </a:cubicBezTo>
                  <a:cubicBezTo>
                    <a:pt x="18255" y="1527"/>
                    <a:pt x="18465" y="1667"/>
                    <a:pt x="18710" y="1772"/>
                  </a:cubicBezTo>
                  <a:cubicBezTo>
                    <a:pt x="19375" y="2157"/>
                    <a:pt x="20075" y="2367"/>
                    <a:pt x="20705" y="2612"/>
                  </a:cubicBezTo>
                  <a:lnTo>
                    <a:pt x="21300" y="2787"/>
                  </a:lnTo>
                  <a:cubicBezTo>
                    <a:pt x="21300" y="2787"/>
                    <a:pt x="21615" y="2927"/>
                    <a:pt x="21790" y="3032"/>
                  </a:cubicBezTo>
                  <a:cubicBezTo>
                    <a:pt x="23015" y="3942"/>
                    <a:pt x="23925" y="4502"/>
                    <a:pt x="24555" y="4922"/>
                  </a:cubicBezTo>
                  <a:cubicBezTo>
                    <a:pt x="27110" y="6532"/>
                    <a:pt x="27320" y="7127"/>
                    <a:pt x="27530" y="10697"/>
                  </a:cubicBezTo>
                  <a:lnTo>
                    <a:pt x="27530" y="11222"/>
                  </a:lnTo>
                  <a:cubicBezTo>
                    <a:pt x="27565" y="12727"/>
                    <a:pt x="24730" y="18537"/>
                    <a:pt x="24170" y="19377"/>
                  </a:cubicBezTo>
                  <a:cubicBezTo>
                    <a:pt x="23470" y="20708"/>
                    <a:pt x="22735" y="21198"/>
                    <a:pt x="22035" y="21583"/>
                  </a:cubicBezTo>
                  <a:cubicBezTo>
                    <a:pt x="21860" y="21758"/>
                    <a:pt x="21300" y="22143"/>
                    <a:pt x="21055" y="22213"/>
                  </a:cubicBezTo>
                  <a:lnTo>
                    <a:pt x="20390" y="22493"/>
                  </a:lnTo>
                  <a:cubicBezTo>
                    <a:pt x="19830" y="22738"/>
                    <a:pt x="19200" y="23053"/>
                    <a:pt x="18500" y="23193"/>
                  </a:cubicBezTo>
                  <a:cubicBezTo>
                    <a:pt x="17100" y="23438"/>
                    <a:pt x="15559" y="23718"/>
                    <a:pt x="14019" y="23718"/>
                  </a:cubicBezTo>
                  <a:close/>
                  <a:moveTo>
                    <a:pt x="11954" y="17872"/>
                  </a:moveTo>
                  <a:cubicBezTo>
                    <a:pt x="12514" y="19237"/>
                    <a:pt x="12934" y="19937"/>
                    <a:pt x="13284" y="19937"/>
                  </a:cubicBezTo>
                  <a:cubicBezTo>
                    <a:pt x="14719" y="20113"/>
                    <a:pt x="16399" y="19798"/>
                    <a:pt x="17835" y="19517"/>
                  </a:cubicBezTo>
                  <a:cubicBezTo>
                    <a:pt x="18080" y="19482"/>
                    <a:pt x="18500" y="19272"/>
                    <a:pt x="18885" y="19097"/>
                  </a:cubicBezTo>
                  <a:cubicBezTo>
                    <a:pt x="19060" y="19027"/>
                    <a:pt x="19235" y="18922"/>
                    <a:pt x="19410" y="18852"/>
                  </a:cubicBezTo>
                  <a:cubicBezTo>
                    <a:pt x="19725" y="18572"/>
                    <a:pt x="20075" y="18397"/>
                    <a:pt x="20285" y="18292"/>
                  </a:cubicBezTo>
                  <a:cubicBezTo>
                    <a:pt x="20600" y="18117"/>
                    <a:pt x="20705" y="18047"/>
                    <a:pt x="21020" y="17487"/>
                  </a:cubicBezTo>
                  <a:cubicBezTo>
                    <a:pt x="21895" y="16052"/>
                    <a:pt x="23785" y="11712"/>
                    <a:pt x="23960" y="11012"/>
                  </a:cubicBezTo>
                  <a:lnTo>
                    <a:pt x="23890" y="10837"/>
                  </a:lnTo>
                  <a:cubicBezTo>
                    <a:pt x="23820" y="9857"/>
                    <a:pt x="23785" y="8912"/>
                    <a:pt x="23680" y="8667"/>
                  </a:cubicBezTo>
                  <a:cubicBezTo>
                    <a:pt x="23610" y="8562"/>
                    <a:pt x="23085" y="8247"/>
                    <a:pt x="22630" y="7967"/>
                  </a:cubicBezTo>
                  <a:cubicBezTo>
                    <a:pt x="21965" y="7547"/>
                    <a:pt x="21055" y="6987"/>
                    <a:pt x="19865" y="6112"/>
                  </a:cubicBezTo>
                  <a:lnTo>
                    <a:pt x="19585" y="6042"/>
                  </a:lnTo>
                  <a:cubicBezTo>
                    <a:pt x="18780" y="5762"/>
                    <a:pt x="17870" y="5482"/>
                    <a:pt x="17100" y="4992"/>
                  </a:cubicBezTo>
                  <a:cubicBezTo>
                    <a:pt x="16890" y="4957"/>
                    <a:pt x="16504" y="4712"/>
                    <a:pt x="16084" y="4467"/>
                  </a:cubicBezTo>
                  <a:cubicBezTo>
                    <a:pt x="15874" y="4327"/>
                    <a:pt x="15664" y="4222"/>
                    <a:pt x="15419" y="4082"/>
                  </a:cubicBezTo>
                  <a:cubicBezTo>
                    <a:pt x="13739" y="3452"/>
                    <a:pt x="11324" y="3627"/>
                    <a:pt x="8979" y="3802"/>
                  </a:cubicBezTo>
                  <a:cubicBezTo>
                    <a:pt x="8314" y="3837"/>
                    <a:pt x="7649" y="3907"/>
                    <a:pt x="7019" y="3942"/>
                  </a:cubicBezTo>
                  <a:cubicBezTo>
                    <a:pt x="5759" y="4222"/>
                    <a:pt x="4044" y="4782"/>
                    <a:pt x="3659" y="5097"/>
                  </a:cubicBezTo>
                  <a:cubicBezTo>
                    <a:pt x="3449" y="5832"/>
                    <a:pt x="3799" y="7162"/>
                    <a:pt x="4219" y="8667"/>
                  </a:cubicBezTo>
                  <a:cubicBezTo>
                    <a:pt x="4359" y="9157"/>
                    <a:pt x="4464" y="9647"/>
                    <a:pt x="4604" y="10172"/>
                  </a:cubicBezTo>
                  <a:lnTo>
                    <a:pt x="6879" y="10942"/>
                  </a:lnTo>
                  <a:cubicBezTo>
                    <a:pt x="6879" y="10942"/>
                    <a:pt x="7089" y="10942"/>
                    <a:pt x="7194" y="10942"/>
                  </a:cubicBezTo>
                  <a:cubicBezTo>
                    <a:pt x="9504" y="10942"/>
                    <a:pt x="11534" y="13917"/>
                    <a:pt x="11989" y="14862"/>
                  </a:cubicBezTo>
                  <a:cubicBezTo>
                    <a:pt x="12794" y="16017"/>
                    <a:pt x="12304" y="17172"/>
                    <a:pt x="11989" y="17837"/>
                  </a:cubicBezTo>
                  <a:close/>
                  <a:moveTo>
                    <a:pt x="8734" y="16682"/>
                  </a:moveTo>
                  <a:cubicBezTo>
                    <a:pt x="8734" y="16682"/>
                    <a:pt x="8769" y="16752"/>
                    <a:pt x="8804" y="16752"/>
                  </a:cubicBezTo>
                  <a:cubicBezTo>
                    <a:pt x="8804" y="16752"/>
                    <a:pt x="8804" y="16682"/>
                    <a:pt x="8734" y="16682"/>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69" name="Freeform: Shape 1768">
              <a:extLst>
                <a:ext uri="{FF2B5EF4-FFF2-40B4-BE49-F238E27FC236}">
                  <a16:creationId xmlns:a16="http://schemas.microsoft.com/office/drawing/2014/main" id="{EF97E973-C77E-A521-0469-B5353D9C69F0}"/>
                </a:ext>
              </a:extLst>
            </p:cNvPr>
            <p:cNvSpPr/>
            <p:nvPr/>
          </p:nvSpPr>
          <p:spPr>
            <a:xfrm>
              <a:off x="11031476" y="4301204"/>
              <a:ext cx="20081" cy="24085"/>
            </a:xfrm>
            <a:custGeom>
              <a:avLst/>
              <a:gdLst>
                <a:gd name="csX0" fmla="*/ 6768 w 20081"/>
                <a:gd name="csY0" fmla="*/ 3855 h 24085"/>
                <a:gd name="csX1" fmla="*/ 6768 w 20081"/>
                <a:gd name="csY1" fmla="*/ 3855 h 24085"/>
                <a:gd name="csX2" fmla="*/ 13873 w 20081"/>
                <a:gd name="csY2" fmla="*/ 4 h 24085"/>
                <a:gd name="csX3" fmla="*/ 17268 w 20081"/>
                <a:gd name="csY3" fmla="*/ 3120 h 24085"/>
                <a:gd name="csX4" fmla="*/ 20068 w 20081"/>
                <a:gd name="csY4" fmla="*/ 11240 h 24085"/>
                <a:gd name="csX5" fmla="*/ 19613 w 20081"/>
                <a:gd name="csY5" fmla="*/ 13305 h 24085"/>
                <a:gd name="csX6" fmla="*/ 19473 w 20081"/>
                <a:gd name="csY6" fmla="*/ 16105 h 24085"/>
                <a:gd name="csX7" fmla="*/ 14433 w 20081"/>
                <a:gd name="csY7" fmla="*/ 23490 h 24085"/>
                <a:gd name="csX8" fmla="*/ 6453 w 20081"/>
                <a:gd name="csY8" fmla="*/ 24085 h 24085"/>
                <a:gd name="csX9" fmla="*/ 3793 w 20081"/>
                <a:gd name="csY9" fmla="*/ 23035 h 24085"/>
                <a:gd name="csX10" fmla="*/ 2148 w 20081"/>
                <a:gd name="csY10" fmla="*/ 21425 h 24085"/>
                <a:gd name="csX11" fmla="*/ 82 w 20081"/>
                <a:gd name="csY11" fmla="*/ 17435 h 24085"/>
                <a:gd name="csX12" fmla="*/ 2883 w 20081"/>
                <a:gd name="csY12" fmla="*/ 12850 h 24085"/>
                <a:gd name="csX13" fmla="*/ 5088 w 20081"/>
                <a:gd name="csY13" fmla="*/ 12255 h 24085"/>
                <a:gd name="csX14" fmla="*/ 6698 w 20081"/>
                <a:gd name="csY14" fmla="*/ 7950 h 24085"/>
                <a:gd name="csX15" fmla="*/ 6698 w 20081"/>
                <a:gd name="csY15" fmla="*/ 3820 h 240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0081" h="24085">
                  <a:moveTo>
                    <a:pt x="6768" y="3855"/>
                  </a:moveTo>
                  <a:lnTo>
                    <a:pt x="6768" y="3855"/>
                  </a:lnTo>
                  <a:cubicBezTo>
                    <a:pt x="9148" y="2665"/>
                    <a:pt x="11073" y="144"/>
                    <a:pt x="13873" y="4"/>
                  </a:cubicBezTo>
                  <a:cubicBezTo>
                    <a:pt x="15203" y="-136"/>
                    <a:pt x="17268" y="3120"/>
                    <a:pt x="17268" y="3120"/>
                  </a:cubicBezTo>
                  <a:cubicBezTo>
                    <a:pt x="18598" y="5640"/>
                    <a:pt x="20243" y="8580"/>
                    <a:pt x="20068" y="11240"/>
                  </a:cubicBezTo>
                  <a:cubicBezTo>
                    <a:pt x="20068" y="11975"/>
                    <a:pt x="19788" y="12570"/>
                    <a:pt x="19613" y="13305"/>
                  </a:cubicBezTo>
                  <a:cubicBezTo>
                    <a:pt x="19473" y="14355"/>
                    <a:pt x="19613" y="15230"/>
                    <a:pt x="19473" y="16105"/>
                  </a:cubicBezTo>
                  <a:cubicBezTo>
                    <a:pt x="17548" y="22160"/>
                    <a:pt x="19193" y="21145"/>
                    <a:pt x="14433" y="23490"/>
                  </a:cubicBezTo>
                  <a:cubicBezTo>
                    <a:pt x="13838" y="23770"/>
                    <a:pt x="8203" y="24085"/>
                    <a:pt x="6453" y="24085"/>
                  </a:cubicBezTo>
                  <a:cubicBezTo>
                    <a:pt x="4668" y="23945"/>
                    <a:pt x="4668" y="23350"/>
                    <a:pt x="3793" y="23035"/>
                  </a:cubicBezTo>
                  <a:cubicBezTo>
                    <a:pt x="3198" y="22440"/>
                    <a:pt x="2603" y="22160"/>
                    <a:pt x="2148" y="21425"/>
                  </a:cubicBezTo>
                  <a:cubicBezTo>
                    <a:pt x="1272" y="20235"/>
                    <a:pt x="362" y="18905"/>
                    <a:pt x="82" y="17435"/>
                  </a:cubicBezTo>
                  <a:cubicBezTo>
                    <a:pt x="-513" y="15510"/>
                    <a:pt x="2288" y="13445"/>
                    <a:pt x="2883" y="12850"/>
                  </a:cubicBezTo>
                  <a:cubicBezTo>
                    <a:pt x="3618" y="12710"/>
                    <a:pt x="4353" y="12990"/>
                    <a:pt x="5088" y="12255"/>
                  </a:cubicBezTo>
                  <a:cubicBezTo>
                    <a:pt x="5683" y="11380"/>
                    <a:pt x="7608" y="8720"/>
                    <a:pt x="6698" y="7950"/>
                  </a:cubicBezTo>
                  <a:lnTo>
                    <a:pt x="6698" y="3820"/>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0" name="Freeform: Shape 1769">
              <a:extLst>
                <a:ext uri="{FF2B5EF4-FFF2-40B4-BE49-F238E27FC236}">
                  <a16:creationId xmlns:a16="http://schemas.microsoft.com/office/drawing/2014/main" id="{0748F4B1-925A-5904-4ACE-46AFFE2CFE94}"/>
                </a:ext>
              </a:extLst>
            </p:cNvPr>
            <p:cNvSpPr/>
            <p:nvPr/>
          </p:nvSpPr>
          <p:spPr>
            <a:xfrm>
              <a:off x="11029626" y="4299389"/>
              <a:ext cx="23785" cy="27896"/>
            </a:xfrm>
            <a:custGeom>
              <a:avLst/>
              <a:gdLst>
                <a:gd name="csX0" fmla="*/ 8303 w 23785"/>
                <a:gd name="csY0" fmla="*/ 27791 h 27896"/>
                <a:gd name="csX1" fmla="*/ 5328 w 23785"/>
                <a:gd name="csY1" fmla="*/ 26811 h 27896"/>
                <a:gd name="csX2" fmla="*/ 4348 w 23785"/>
                <a:gd name="csY2" fmla="*/ 26216 h 27896"/>
                <a:gd name="csX3" fmla="*/ 3858 w 23785"/>
                <a:gd name="csY3" fmla="*/ 25796 h 27896"/>
                <a:gd name="csX4" fmla="*/ 2458 w 23785"/>
                <a:gd name="csY4" fmla="*/ 24221 h 27896"/>
                <a:gd name="csX5" fmla="*/ 148 w 23785"/>
                <a:gd name="csY5" fmla="*/ 19601 h 27896"/>
                <a:gd name="csX6" fmla="*/ 3158 w 23785"/>
                <a:gd name="csY6" fmla="*/ 13651 h 27896"/>
                <a:gd name="csX7" fmla="*/ 4418 w 23785"/>
                <a:gd name="csY7" fmla="*/ 12881 h 27896"/>
                <a:gd name="csX8" fmla="*/ 5398 w 23785"/>
                <a:gd name="csY8" fmla="*/ 12811 h 27896"/>
                <a:gd name="csX9" fmla="*/ 6938 w 23785"/>
                <a:gd name="csY9" fmla="*/ 10605 h 27896"/>
                <a:gd name="csX10" fmla="*/ 6763 w 23785"/>
                <a:gd name="csY10" fmla="*/ 9835 h 27896"/>
                <a:gd name="csX11" fmla="*/ 6763 w 23785"/>
                <a:gd name="csY11" fmla="*/ 5705 h 27896"/>
                <a:gd name="csX12" fmla="*/ 7778 w 23785"/>
                <a:gd name="csY12" fmla="*/ 4060 h 27896"/>
                <a:gd name="csX13" fmla="*/ 9913 w 23785"/>
                <a:gd name="csY13" fmla="*/ 2625 h 27896"/>
                <a:gd name="csX14" fmla="*/ 15618 w 23785"/>
                <a:gd name="csY14" fmla="*/ 0 h 27896"/>
                <a:gd name="csX15" fmla="*/ 15863 w 23785"/>
                <a:gd name="csY15" fmla="*/ 0 h 27896"/>
                <a:gd name="csX16" fmla="*/ 20659 w 23785"/>
                <a:gd name="csY16" fmla="*/ 3990 h 27896"/>
                <a:gd name="csX17" fmla="*/ 23774 w 23785"/>
                <a:gd name="csY17" fmla="*/ 13231 h 27896"/>
                <a:gd name="csX18" fmla="*/ 23459 w 23785"/>
                <a:gd name="csY18" fmla="*/ 15016 h 27896"/>
                <a:gd name="csX19" fmla="*/ 23284 w 23785"/>
                <a:gd name="csY19" fmla="*/ 15611 h 27896"/>
                <a:gd name="csX20" fmla="*/ 23284 w 23785"/>
                <a:gd name="csY20" fmla="*/ 16696 h 27896"/>
                <a:gd name="csX21" fmla="*/ 23179 w 23785"/>
                <a:gd name="csY21" fmla="*/ 18341 h 27896"/>
                <a:gd name="csX22" fmla="*/ 22234 w 23785"/>
                <a:gd name="csY22" fmla="*/ 21841 h 27896"/>
                <a:gd name="csX23" fmla="*/ 17754 w 23785"/>
                <a:gd name="csY23" fmla="*/ 26811 h 27896"/>
                <a:gd name="csX24" fmla="*/ 17158 w 23785"/>
                <a:gd name="csY24" fmla="*/ 27091 h 27896"/>
                <a:gd name="csX25" fmla="*/ 8338 w 23785"/>
                <a:gd name="csY25" fmla="*/ 27896 h 27896"/>
                <a:gd name="csX26" fmla="*/ 6658 w 23785"/>
                <a:gd name="csY26" fmla="*/ 23346 h 27896"/>
                <a:gd name="csX27" fmla="*/ 7428 w 23785"/>
                <a:gd name="csY27" fmla="*/ 23801 h 27896"/>
                <a:gd name="csX28" fmla="*/ 8443 w 23785"/>
                <a:gd name="csY28" fmla="*/ 24116 h 27896"/>
                <a:gd name="csX29" fmla="*/ 15653 w 23785"/>
                <a:gd name="csY29" fmla="*/ 23626 h 27896"/>
                <a:gd name="csX30" fmla="*/ 16038 w 23785"/>
                <a:gd name="csY30" fmla="*/ 23416 h 27896"/>
                <a:gd name="csX31" fmla="*/ 18594 w 23785"/>
                <a:gd name="csY31" fmla="*/ 20896 h 27896"/>
                <a:gd name="csX32" fmla="*/ 19574 w 23785"/>
                <a:gd name="csY32" fmla="*/ 17396 h 27896"/>
                <a:gd name="csX33" fmla="*/ 19574 w 23785"/>
                <a:gd name="csY33" fmla="*/ 16626 h 27896"/>
                <a:gd name="csX34" fmla="*/ 19644 w 23785"/>
                <a:gd name="csY34" fmla="*/ 14911 h 27896"/>
                <a:gd name="csX35" fmla="*/ 19889 w 23785"/>
                <a:gd name="csY35" fmla="*/ 13931 h 27896"/>
                <a:gd name="csX36" fmla="*/ 20064 w 23785"/>
                <a:gd name="csY36" fmla="*/ 13091 h 27896"/>
                <a:gd name="csX37" fmla="*/ 17544 w 23785"/>
                <a:gd name="csY37" fmla="*/ 5985 h 27896"/>
                <a:gd name="csX38" fmla="*/ 15513 w 23785"/>
                <a:gd name="csY38" fmla="*/ 3640 h 27896"/>
                <a:gd name="csX39" fmla="*/ 12083 w 23785"/>
                <a:gd name="csY39" fmla="*/ 5565 h 27896"/>
                <a:gd name="csX40" fmla="*/ 10438 w 23785"/>
                <a:gd name="csY40" fmla="*/ 6755 h 27896"/>
                <a:gd name="csX41" fmla="*/ 10438 w 23785"/>
                <a:gd name="csY41" fmla="*/ 9240 h 27896"/>
                <a:gd name="csX42" fmla="*/ 8618 w 23785"/>
                <a:gd name="csY42" fmla="*/ 14946 h 27896"/>
                <a:gd name="csX43" fmla="*/ 8268 w 23785"/>
                <a:gd name="csY43" fmla="*/ 15436 h 27896"/>
                <a:gd name="csX44" fmla="*/ 5503 w 23785"/>
                <a:gd name="csY44" fmla="*/ 16521 h 27896"/>
                <a:gd name="csX45" fmla="*/ 3683 w 23785"/>
                <a:gd name="csY45" fmla="*/ 18761 h 27896"/>
                <a:gd name="csX46" fmla="*/ 5468 w 23785"/>
                <a:gd name="csY46" fmla="*/ 22226 h 27896"/>
                <a:gd name="csX47" fmla="*/ 6203 w 23785"/>
                <a:gd name="csY47" fmla="*/ 22996 h 27896"/>
                <a:gd name="csX48" fmla="*/ 6623 w 23785"/>
                <a:gd name="csY48" fmla="*/ 23346 h 278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23785" h="27896">
                  <a:moveTo>
                    <a:pt x="8303" y="27791"/>
                  </a:moveTo>
                  <a:cubicBezTo>
                    <a:pt x="6623" y="27651"/>
                    <a:pt x="5923" y="27231"/>
                    <a:pt x="5328" y="26811"/>
                  </a:cubicBezTo>
                  <a:cubicBezTo>
                    <a:pt x="5048" y="26741"/>
                    <a:pt x="4558" y="26426"/>
                    <a:pt x="4348" y="26216"/>
                  </a:cubicBezTo>
                  <a:cubicBezTo>
                    <a:pt x="4173" y="26041"/>
                    <a:pt x="4033" y="25901"/>
                    <a:pt x="3858" y="25796"/>
                  </a:cubicBezTo>
                  <a:cubicBezTo>
                    <a:pt x="3438" y="25446"/>
                    <a:pt x="2878" y="24991"/>
                    <a:pt x="2458" y="24221"/>
                  </a:cubicBezTo>
                  <a:cubicBezTo>
                    <a:pt x="1513" y="22961"/>
                    <a:pt x="498" y="21421"/>
                    <a:pt x="148" y="19601"/>
                  </a:cubicBezTo>
                  <a:cubicBezTo>
                    <a:pt x="-657" y="17011"/>
                    <a:pt x="2038" y="14631"/>
                    <a:pt x="3158" y="13651"/>
                  </a:cubicBezTo>
                  <a:cubicBezTo>
                    <a:pt x="3403" y="13406"/>
                    <a:pt x="4033" y="12951"/>
                    <a:pt x="4418" y="12881"/>
                  </a:cubicBezTo>
                  <a:cubicBezTo>
                    <a:pt x="4733" y="12811"/>
                    <a:pt x="5083" y="12811"/>
                    <a:pt x="5398" y="12811"/>
                  </a:cubicBezTo>
                  <a:cubicBezTo>
                    <a:pt x="6413" y="11620"/>
                    <a:pt x="6798" y="10955"/>
                    <a:pt x="6938" y="10605"/>
                  </a:cubicBezTo>
                  <a:cubicBezTo>
                    <a:pt x="6833" y="10360"/>
                    <a:pt x="6763" y="10115"/>
                    <a:pt x="6763" y="9835"/>
                  </a:cubicBezTo>
                  <a:lnTo>
                    <a:pt x="6763" y="5705"/>
                  </a:lnTo>
                  <a:cubicBezTo>
                    <a:pt x="6763" y="5005"/>
                    <a:pt x="7148" y="4375"/>
                    <a:pt x="7778" y="4060"/>
                  </a:cubicBezTo>
                  <a:cubicBezTo>
                    <a:pt x="8513" y="3675"/>
                    <a:pt x="9213" y="3150"/>
                    <a:pt x="9913" y="2625"/>
                  </a:cubicBezTo>
                  <a:cubicBezTo>
                    <a:pt x="11488" y="1470"/>
                    <a:pt x="13238" y="140"/>
                    <a:pt x="15618" y="0"/>
                  </a:cubicBezTo>
                  <a:cubicBezTo>
                    <a:pt x="15688" y="0"/>
                    <a:pt x="15793" y="0"/>
                    <a:pt x="15863" y="0"/>
                  </a:cubicBezTo>
                  <a:cubicBezTo>
                    <a:pt x="17719" y="0"/>
                    <a:pt x="19504" y="2135"/>
                    <a:pt x="20659" y="3990"/>
                  </a:cubicBezTo>
                  <a:cubicBezTo>
                    <a:pt x="22199" y="6895"/>
                    <a:pt x="23949" y="10115"/>
                    <a:pt x="23774" y="13231"/>
                  </a:cubicBezTo>
                  <a:cubicBezTo>
                    <a:pt x="23774" y="13896"/>
                    <a:pt x="23599" y="14526"/>
                    <a:pt x="23459" y="15016"/>
                  </a:cubicBezTo>
                  <a:lnTo>
                    <a:pt x="23284" y="15611"/>
                  </a:lnTo>
                  <a:cubicBezTo>
                    <a:pt x="23284" y="15891"/>
                    <a:pt x="23284" y="16276"/>
                    <a:pt x="23284" y="16696"/>
                  </a:cubicBezTo>
                  <a:cubicBezTo>
                    <a:pt x="23284" y="17256"/>
                    <a:pt x="23284" y="17781"/>
                    <a:pt x="23179" y="18341"/>
                  </a:cubicBezTo>
                  <a:cubicBezTo>
                    <a:pt x="22654" y="20056"/>
                    <a:pt x="22409" y="21071"/>
                    <a:pt x="22234" y="21841"/>
                  </a:cubicBezTo>
                  <a:cubicBezTo>
                    <a:pt x="21499" y="24851"/>
                    <a:pt x="20974" y="25201"/>
                    <a:pt x="17754" y="26811"/>
                  </a:cubicBezTo>
                  <a:lnTo>
                    <a:pt x="17158" y="27091"/>
                  </a:lnTo>
                  <a:cubicBezTo>
                    <a:pt x="15863" y="27756"/>
                    <a:pt x="8408" y="27896"/>
                    <a:pt x="8338" y="27896"/>
                  </a:cubicBezTo>
                  <a:close/>
                  <a:moveTo>
                    <a:pt x="6658" y="23346"/>
                  </a:moveTo>
                  <a:cubicBezTo>
                    <a:pt x="6973" y="23521"/>
                    <a:pt x="7253" y="23661"/>
                    <a:pt x="7428" y="23801"/>
                  </a:cubicBezTo>
                  <a:cubicBezTo>
                    <a:pt x="7673" y="23976"/>
                    <a:pt x="7813" y="24046"/>
                    <a:pt x="8443" y="24116"/>
                  </a:cubicBezTo>
                  <a:cubicBezTo>
                    <a:pt x="10263" y="24116"/>
                    <a:pt x="14918" y="23836"/>
                    <a:pt x="15653" y="23626"/>
                  </a:cubicBezTo>
                  <a:lnTo>
                    <a:pt x="16038" y="23416"/>
                  </a:lnTo>
                  <a:cubicBezTo>
                    <a:pt x="17508" y="22670"/>
                    <a:pt x="18360" y="21830"/>
                    <a:pt x="18594" y="20896"/>
                  </a:cubicBezTo>
                  <a:cubicBezTo>
                    <a:pt x="18804" y="20091"/>
                    <a:pt x="19084" y="18971"/>
                    <a:pt x="19574" y="17396"/>
                  </a:cubicBezTo>
                  <a:cubicBezTo>
                    <a:pt x="19574" y="17326"/>
                    <a:pt x="19574" y="16976"/>
                    <a:pt x="19574" y="16626"/>
                  </a:cubicBezTo>
                  <a:cubicBezTo>
                    <a:pt x="19574" y="16066"/>
                    <a:pt x="19574" y="15506"/>
                    <a:pt x="19644" y="14911"/>
                  </a:cubicBezTo>
                  <a:cubicBezTo>
                    <a:pt x="19714" y="14491"/>
                    <a:pt x="19819" y="14211"/>
                    <a:pt x="19889" y="13931"/>
                  </a:cubicBezTo>
                  <a:cubicBezTo>
                    <a:pt x="19994" y="13546"/>
                    <a:pt x="20064" y="13301"/>
                    <a:pt x="20064" y="13091"/>
                  </a:cubicBezTo>
                  <a:cubicBezTo>
                    <a:pt x="20169" y="10920"/>
                    <a:pt x="18769" y="8295"/>
                    <a:pt x="17544" y="5985"/>
                  </a:cubicBezTo>
                  <a:cubicBezTo>
                    <a:pt x="16878" y="4935"/>
                    <a:pt x="15898" y="3815"/>
                    <a:pt x="15513" y="3640"/>
                  </a:cubicBezTo>
                  <a:cubicBezTo>
                    <a:pt x="14533" y="3745"/>
                    <a:pt x="13413" y="4585"/>
                    <a:pt x="12083" y="5565"/>
                  </a:cubicBezTo>
                  <a:cubicBezTo>
                    <a:pt x="11523" y="5985"/>
                    <a:pt x="10998" y="6405"/>
                    <a:pt x="10438" y="6755"/>
                  </a:cubicBezTo>
                  <a:lnTo>
                    <a:pt x="10438" y="9240"/>
                  </a:lnTo>
                  <a:cubicBezTo>
                    <a:pt x="11313" y="11025"/>
                    <a:pt x="9598" y="13546"/>
                    <a:pt x="8618" y="14946"/>
                  </a:cubicBezTo>
                  <a:cubicBezTo>
                    <a:pt x="8548" y="15051"/>
                    <a:pt x="8338" y="15331"/>
                    <a:pt x="8268" y="15436"/>
                  </a:cubicBezTo>
                  <a:cubicBezTo>
                    <a:pt x="7253" y="16416"/>
                    <a:pt x="6133" y="16486"/>
                    <a:pt x="5503" y="16521"/>
                  </a:cubicBezTo>
                  <a:cubicBezTo>
                    <a:pt x="3753" y="18096"/>
                    <a:pt x="3683" y="18621"/>
                    <a:pt x="3683" y="18761"/>
                  </a:cubicBezTo>
                  <a:cubicBezTo>
                    <a:pt x="3963" y="20091"/>
                    <a:pt x="4768" y="21246"/>
                    <a:pt x="5468" y="22226"/>
                  </a:cubicBezTo>
                  <a:cubicBezTo>
                    <a:pt x="5678" y="22576"/>
                    <a:pt x="5853" y="22716"/>
                    <a:pt x="6203" y="22996"/>
                  </a:cubicBezTo>
                  <a:cubicBezTo>
                    <a:pt x="6343" y="23101"/>
                    <a:pt x="6483" y="23241"/>
                    <a:pt x="6623" y="23346"/>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1" name="Freeform: Shape 1770">
              <a:extLst>
                <a:ext uri="{FF2B5EF4-FFF2-40B4-BE49-F238E27FC236}">
                  <a16:creationId xmlns:a16="http://schemas.microsoft.com/office/drawing/2014/main" id="{1984BC06-6813-3FD4-71B8-E43E60380A7A}"/>
                </a:ext>
              </a:extLst>
            </p:cNvPr>
            <p:cNvSpPr/>
            <p:nvPr/>
          </p:nvSpPr>
          <p:spPr>
            <a:xfrm>
              <a:off x="11132205" y="4227075"/>
              <a:ext cx="27493" cy="27077"/>
            </a:xfrm>
            <a:custGeom>
              <a:avLst/>
              <a:gdLst>
                <a:gd name="csX0" fmla="*/ 22909 w 27493"/>
                <a:gd name="csY0" fmla="*/ 11551 h 27077"/>
                <a:gd name="csX1" fmla="*/ 23364 w 27493"/>
                <a:gd name="csY1" fmla="*/ 13161 h 27077"/>
                <a:gd name="csX2" fmla="*/ 24694 w 27493"/>
                <a:gd name="csY2" fmla="*/ 14771 h 27077"/>
                <a:gd name="csX3" fmla="*/ 27494 w 27493"/>
                <a:gd name="csY3" fmla="*/ 17291 h 27077"/>
                <a:gd name="csX4" fmla="*/ 21859 w 27493"/>
                <a:gd name="csY4" fmla="*/ 26321 h 27077"/>
                <a:gd name="csX5" fmla="*/ 20669 w 27493"/>
                <a:gd name="csY5" fmla="*/ 27056 h 27077"/>
                <a:gd name="csX6" fmla="*/ 18884 w 27493"/>
                <a:gd name="csY6" fmla="*/ 26601 h 27077"/>
                <a:gd name="csX7" fmla="*/ 16818 w 27493"/>
                <a:gd name="csY7" fmla="*/ 26461 h 27077"/>
                <a:gd name="csX8" fmla="*/ 12828 w 27493"/>
                <a:gd name="csY8" fmla="*/ 24676 h 27077"/>
                <a:gd name="csX9" fmla="*/ 11043 w 27493"/>
                <a:gd name="csY9" fmla="*/ 25131 h 27077"/>
                <a:gd name="csX10" fmla="*/ 7508 w 27493"/>
                <a:gd name="csY10" fmla="*/ 24081 h 27077"/>
                <a:gd name="csX11" fmla="*/ 263 w 27493"/>
                <a:gd name="csY11" fmla="*/ 19216 h 27077"/>
                <a:gd name="csX12" fmla="*/ 2328 w 27493"/>
                <a:gd name="csY12" fmla="*/ 4865 h 27077"/>
                <a:gd name="csX13" fmla="*/ 8558 w 27493"/>
                <a:gd name="csY13" fmla="*/ 0 h 27077"/>
                <a:gd name="csX14" fmla="*/ 10938 w 27493"/>
                <a:gd name="csY14" fmla="*/ 735 h 27077"/>
                <a:gd name="csX15" fmla="*/ 12863 w 27493"/>
                <a:gd name="csY15" fmla="*/ 1330 h 27077"/>
                <a:gd name="csX16" fmla="*/ 16118 w 27493"/>
                <a:gd name="csY16" fmla="*/ 4445 h 27077"/>
                <a:gd name="csX17" fmla="*/ 17168 w 27493"/>
                <a:gd name="csY17" fmla="*/ 5040 h 27077"/>
                <a:gd name="csX18" fmla="*/ 24134 w 27493"/>
                <a:gd name="csY18" fmla="*/ 11691 h 270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7493" h="27077">
                  <a:moveTo>
                    <a:pt x="22909" y="11551"/>
                  </a:moveTo>
                  <a:cubicBezTo>
                    <a:pt x="24379" y="12286"/>
                    <a:pt x="23189" y="12601"/>
                    <a:pt x="23364" y="13161"/>
                  </a:cubicBezTo>
                  <a:cubicBezTo>
                    <a:pt x="23819" y="13756"/>
                    <a:pt x="24099" y="14211"/>
                    <a:pt x="24694" y="14771"/>
                  </a:cubicBezTo>
                  <a:cubicBezTo>
                    <a:pt x="25569" y="15646"/>
                    <a:pt x="27494" y="17291"/>
                    <a:pt x="27494" y="17291"/>
                  </a:cubicBezTo>
                  <a:cubicBezTo>
                    <a:pt x="25569" y="20266"/>
                    <a:pt x="23959" y="23346"/>
                    <a:pt x="21859" y="26321"/>
                  </a:cubicBezTo>
                  <a:cubicBezTo>
                    <a:pt x="21579" y="26601"/>
                    <a:pt x="21264" y="27056"/>
                    <a:pt x="20669" y="27056"/>
                  </a:cubicBezTo>
                  <a:cubicBezTo>
                    <a:pt x="20074" y="27196"/>
                    <a:pt x="19479" y="26601"/>
                    <a:pt x="18884" y="26601"/>
                  </a:cubicBezTo>
                  <a:cubicBezTo>
                    <a:pt x="18148" y="26461"/>
                    <a:pt x="17553" y="26461"/>
                    <a:pt x="16818" y="26461"/>
                  </a:cubicBezTo>
                  <a:cubicBezTo>
                    <a:pt x="15488" y="25866"/>
                    <a:pt x="14158" y="24991"/>
                    <a:pt x="12828" y="24676"/>
                  </a:cubicBezTo>
                  <a:cubicBezTo>
                    <a:pt x="12093" y="24536"/>
                    <a:pt x="11778" y="25271"/>
                    <a:pt x="11043" y="25131"/>
                  </a:cubicBezTo>
                  <a:cubicBezTo>
                    <a:pt x="9853" y="24991"/>
                    <a:pt x="7508" y="24081"/>
                    <a:pt x="7508" y="24081"/>
                  </a:cubicBezTo>
                  <a:cubicBezTo>
                    <a:pt x="-1802" y="18306"/>
                    <a:pt x="998" y="22296"/>
                    <a:pt x="263" y="19216"/>
                  </a:cubicBezTo>
                  <a:cubicBezTo>
                    <a:pt x="-612" y="15961"/>
                    <a:pt x="858" y="8120"/>
                    <a:pt x="2328" y="4865"/>
                  </a:cubicBezTo>
                  <a:cubicBezTo>
                    <a:pt x="3658" y="1750"/>
                    <a:pt x="6458" y="420"/>
                    <a:pt x="8558" y="0"/>
                  </a:cubicBezTo>
                  <a:cubicBezTo>
                    <a:pt x="9433" y="280"/>
                    <a:pt x="10168" y="595"/>
                    <a:pt x="10938" y="735"/>
                  </a:cubicBezTo>
                  <a:cubicBezTo>
                    <a:pt x="11533" y="1015"/>
                    <a:pt x="12268" y="1015"/>
                    <a:pt x="12863" y="1330"/>
                  </a:cubicBezTo>
                  <a:cubicBezTo>
                    <a:pt x="15663" y="2800"/>
                    <a:pt x="14193" y="2660"/>
                    <a:pt x="16118" y="4445"/>
                  </a:cubicBezTo>
                  <a:cubicBezTo>
                    <a:pt x="16398" y="4725"/>
                    <a:pt x="15838" y="3850"/>
                    <a:pt x="17168" y="5040"/>
                  </a:cubicBezTo>
                  <a:cubicBezTo>
                    <a:pt x="18499" y="6370"/>
                    <a:pt x="21894" y="9485"/>
                    <a:pt x="24134" y="11691"/>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2" name="Freeform: Shape 1771">
              <a:extLst>
                <a:ext uri="{FF2B5EF4-FFF2-40B4-BE49-F238E27FC236}">
                  <a16:creationId xmlns:a16="http://schemas.microsoft.com/office/drawing/2014/main" id="{489B6762-64E0-DD43-B0E8-5EEA7B6F9552}"/>
                </a:ext>
              </a:extLst>
            </p:cNvPr>
            <p:cNvSpPr/>
            <p:nvPr/>
          </p:nvSpPr>
          <p:spPr>
            <a:xfrm>
              <a:off x="11130370" y="4225217"/>
              <a:ext cx="31229" cy="30839"/>
            </a:xfrm>
            <a:custGeom>
              <a:avLst/>
              <a:gdLst>
                <a:gd name="csX0" fmla="*/ 22224 w 31229"/>
                <a:gd name="csY0" fmla="*/ 30839 h 30839"/>
                <a:gd name="csX1" fmla="*/ 20789 w 31229"/>
                <a:gd name="csY1" fmla="*/ 30419 h 30839"/>
                <a:gd name="csX2" fmla="*/ 18689 w 31229"/>
                <a:gd name="csY2" fmla="*/ 30209 h 30839"/>
                <a:gd name="csX3" fmla="*/ 17954 w 31229"/>
                <a:gd name="csY3" fmla="*/ 30034 h 30839"/>
                <a:gd name="csX4" fmla="*/ 16519 w 31229"/>
                <a:gd name="csY4" fmla="*/ 29334 h 30839"/>
                <a:gd name="csX5" fmla="*/ 14629 w 31229"/>
                <a:gd name="csY5" fmla="*/ 28459 h 30839"/>
                <a:gd name="csX6" fmla="*/ 12563 w 31229"/>
                <a:gd name="csY6" fmla="*/ 28844 h 30839"/>
                <a:gd name="csX7" fmla="*/ 8713 w 31229"/>
                <a:gd name="csY7" fmla="*/ 27724 h 30839"/>
                <a:gd name="csX8" fmla="*/ 2098 w 31229"/>
                <a:gd name="csY8" fmla="*/ 24329 h 30839"/>
                <a:gd name="csX9" fmla="*/ 418 w 31229"/>
                <a:gd name="csY9" fmla="*/ 22159 h 30839"/>
                <a:gd name="csX10" fmla="*/ 313 w 31229"/>
                <a:gd name="csY10" fmla="*/ 21494 h 30839"/>
                <a:gd name="csX11" fmla="*/ 2518 w 31229"/>
                <a:gd name="csY11" fmla="*/ 5953 h 30839"/>
                <a:gd name="csX12" fmla="*/ 10008 w 31229"/>
                <a:gd name="csY12" fmla="*/ 38 h 30839"/>
                <a:gd name="csX13" fmla="*/ 10988 w 31229"/>
                <a:gd name="csY13" fmla="*/ 73 h 30839"/>
                <a:gd name="csX14" fmla="*/ 11723 w 31229"/>
                <a:gd name="csY14" fmla="*/ 318 h 30839"/>
                <a:gd name="csX15" fmla="*/ 13123 w 31229"/>
                <a:gd name="csY15" fmla="*/ 738 h 30839"/>
                <a:gd name="csX16" fmla="*/ 13614 w 31229"/>
                <a:gd name="csY16" fmla="*/ 913 h 30839"/>
                <a:gd name="csX17" fmla="*/ 14174 w 31229"/>
                <a:gd name="csY17" fmla="*/ 1053 h 30839"/>
                <a:gd name="csX18" fmla="*/ 15504 w 31229"/>
                <a:gd name="csY18" fmla="*/ 1473 h 30839"/>
                <a:gd name="csX19" fmla="*/ 18409 w 31229"/>
                <a:gd name="csY19" fmla="*/ 3888 h 30839"/>
                <a:gd name="csX20" fmla="*/ 18794 w 31229"/>
                <a:gd name="csY20" fmla="*/ 4448 h 30839"/>
                <a:gd name="csX21" fmla="*/ 20229 w 31229"/>
                <a:gd name="csY21" fmla="*/ 5428 h 30839"/>
                <a:gd name="csX22" fmla="*/ 22924 w 31229"/>
                <a:gd name="csY22" fmla="*/ 7983 h 30839"/>
                <a:gd name="csX23" fmla="*/ 27264 w 31229"/>
                <a:gd name="csY23" fmla="*/ 12149 h 30839"/>
                <a:gd name="csX24" fmla="*/ 26844 w 31229"/>
                <a:gd name="csY24" fmla="*/ 12569 h 30839"/>
                <a:gd name="csX25" fmla="*/ 27299 w 31229"/>
                <a:gd name="csY25" fmla="*/ 13409 h 30839"/>
                <a:gd name="csX26" fmla="*/ 27299 w 31229"/>
                <a:gd name="csY26" fmla="*/ 14599 h 30839"/>
                <a:gd name="csX27" fmla="*/ 27894 w 31229"/>
                <a:gd name="csY27" fmla="*/ 15229 h 30839"/>
                <a:gd name="csX28" fmla="*/ 30589 w 31229"/>
                <a:gd name="csY28" fmla="*/ 17644 h 30839"/>
                <a:gd name="csX29" fmla="*/ 30939 w 31229"/>
                <a:gd name="csY29" fmla="*/ 20059 h 30839"/>
                <a:gd name="csX30" fmla="*/ 28699 w 31229"/>
                <a:gd name="csY30" fmla="*/ 23734 h 30839"/>
                <a:gd name="csX31" fmla="*/ 25304 w 31229"/>
                <a:gd name="csY31" fmla="*/ 29159 h 30839"/>
                <a:gd name="csX32" fmla="*/ 22609 w 31229"/>
                <a:gd name="csY32" fmla="*/ 30664 h 30839"/>
                <a:gd name="csX33" fmla="*/ 22294 w 31229"/>
                <a:gd name="csY33" fmla="*/ 30699 h 30839"/>
                <a:gd name="csX34" fmla="*/ 21174 w 31229"/>
                <a:gd name="csY34" fmla="*/ 26709 h 30839"/>
                <a:gd name="csX35" fmla="*/ 22259 w 31229"/>
                <a:gd name="csY35" fmla="*/ 27059 h 30839"/>
                <a:gd name="csX36" fmla="*/ 25479 w 31229"/>
                <a:gd name="csY36" fmla="*/ 22019 h 30839"/>
                <a:gd name="csX37" fmla="*/ 26949 w 31229"/>
                <a:gd name="csY37" fmla="*/ 19569 h 30839"/>
                <a:gd name="csX38" fmla="*/ 25234 w 31229"/>
                <a:gd name="csY38" fmla="*/ 17994 h 30839"/>
                <a:gd name="csX39" fmla="*/ 23869 w 31229"/>
                <a:gd name="csY39" fmla="*/ 16349 h 30839"/>
                <a:gd name="csX40" fmla="*/ 23414 w 31229"/>
                <a:gd name="csY40" fmla="*/ 15509 h 30839"/>
                <a:gd name="csX41" fmla="*/ 23589 w 31229"/>
                <a:gd name="csY41" fmla="*/ 13864 h 30839"/>
                <a:gd name="csX42" fmla="*/ 20369 w 31229"/>
                <a:gd name="csY42" fmla="*/ 10784 h 30839"/>
                <a:gd name="csX43" fmla="*/ 17674 w 31229"/>
                <a:gd name="csY43" fmla="*/ 8228 h 30839"/>
                <a:gd name="csX44" fmla="*/ 17604 w 31229"/>
                <a:gd name="csY44" fmla="*/ 8159 h 30839"/>
                <a:gd name="csX45" fmla="*/ 16589 w 31229"/>
                <a:gd name="csY45" fmla="*/ 7563 h 30839"/>
                <a:gd name="csX46" fmla="*/ 15119 w 31229"/>
                <a:gd name="csY46" fmla="*/ 5708 h 30839"/>
                <a:gd name="csX47" fmla="*/ 13789 w 31229"/>
                <a:gd name="csY47" fmla="*/ 4833 h 30839"/>
                <a:gd name="csX48" fmla="*/ 13299 w 31229"/>
                <a:gd name="csY48" fmla="*/ 4728 h 30839"/>
                <a:gd name="csX49" fmla="*/ 12143 w 31229"/>
                <a:gd name="csY49" fmla="*/ 4378 h 30839"/>
                <a:gd name="csX50" fmla="*/ 10463 w 31229"/>
                <a:gd name="csY50" fmla="*/ 3888 h 30839"/>
                <a:gd name="csX51" fmla="*/ 10253 w 31229"/>
                <a:gd name="csY51" fmla="*/ 3818 h 30839"/>
                <a:gd name="csX52" fmla="*/ 5843 w 31229"/>
                <a:gd name="csY52" fmla="*/ 7493 h 30839"/>
                <a:gd name="csX53" fmla="*/ 3848 w 31229"/>
                <a:gd name="csY53" fmla="*/ 20654 h 30839"/>
                <a:gd name="csX54" fmla="*/ 3918 w 31229"/>
                <a:gd name="csY54" fmla="*/ 21074 h 30839"/>
                <a:gd name="csX55" fmla="*/ 10253 w 31229"/>
                <a:gd name="csY55" fmla="*/ 24434 h 30839"/>
                <a:gd name="csX56" fmla="*/ 12878 w 31229"/>
                <a:gd name="csY56" fmla="*/ 25169 h 30839"/>
                <a:gd name="csX57" fmla="*/ 14979 w 31229"/>
                <a:gd name="csY57" fmla="*/ 24749 h 30839"/>
                <a:gd name="csX58" fmla="*/ 18129 w 31229"/>
                <a:gd name="csY58" fmla="*/ 26044 h 30839"/>
                <a:gd name="csX59" fmla="*/ 19039 w 31229"/>
                <a:gd name="csY59" fmla="*/ 26499 h 30839"/>
                <a:gd name="csX60" fmla="*/ 21034 w 31229"/>
                <a:gd name="csY60" fmla="*/ 26674 h 30839"/>
                <a:gd name="csX61" fmla="*/ 21104 w 31229"/>
                <a:gd name="csY61" fmla="*/ 26674 h 30839"/>
                <a:gd name="csX62" fmla="*/ 13123 w 31229"/>
                <a:gd name="csY62" fmla="*/ 25204 h 30839"/>
                <a:gd name="csX63" fmla="*/ 13123 w 31229"/>
                <a:gd name="csY63" fmla="*/ 25204 h 30839"/>
                <a:gd name="csX64" fmla="*/ 13123 w 31229"/>
                <a:gd name="csY64" fmla="*/ 25204 h 30839"/>
                <a:gd name="csX65" fmla="*/ 23659 w 31229"/>
                <a:gd name="csY65" fmla="*/ 13934 h 30839"/>
                <a:gd name="csX66" fmla="*/ 24114 w 31229"/>
                <a:gd name="csY66" fmla="*/ 15194 h 30839"/>
                <a:gd name="csX67" fmla="*/ 24359 w 31229"/>
                <a:gd name="csY67" fmla="*/ 14599 h 30839"/>
                <a:gd name="csX68" fmla="*/ 23659 w 31229"/>
                <a:gd name="csY68" fmla="*/ 13934 h 308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31229" h="30839">
                  <a:moveTo>
                    <a:pt x="22224" y="30839"/>
                  </a:moveTo>
                  <a:cubicBezTo>
                    <a:pt x="21734" y="30839"/>
                    <a:pt x="21174" y="30594"/>
                    <a:pt x="20789" y="30419"/>
                  </a:cubicBezTo>
                  <a:cubicBezTo>
                    <a:pt x="19809" y="30209"/>
                    <a:pt x="19389" y="30244"/>
                    <a:pt x="18689" y="30209"/>
                  </a:cubicBezTo>
                  <a:cubicBezTo>
                    <a:pt x="18444" y="30209"/>
                    <a:pt x="18164" y="30139"/>
                    <a:pt x="17954" y="30034"/>
                  </a:cubicBezTo>
                  <a:cubicBezTo>
                    <a:pt x="17464" y="29824"/>
                    <a:pt x="17009" y="29579"/>
                    <a:pt x="16519" y="29334"/>
                  </a:cubicBezTo>
                  <a:cubicBezTo>
                    <a:pt x="15854" y="28984"/>
                    <a:pt x="15189" y="28634"/>
                    <a:pt x="14629" y="28459"/>
                  </a:cubicBezTo>
                  <a:cubicBezTo>
                    <a:pt x="14139" y="28704"/>
                    <a:pt x="13544" y="28984"/>
                    <a:pt x="12563" y="28844"/>
                  </a:cubicBezTo>
                  <a:cubicBezTo>
                    <a:pt x="11303" y="28669"/>
                    <a:pt x="8993" y="27829"/>
                    <a:pt x="8713" y="27724"/>
                  </a:cubicBezTo>
                  <a:cubicBezTo>
                    <a:pt x="5388" y="25694"/>
                    <a:pt x="3078" y="24539"/>
                    <a:pt x="2098" y="24329"/>
                  </a:cubicBezTo>
                  <a:cubicBezTo>
                    <a:pt x="1153" y="24154"/>
                    <a:pt x="348" y="23139"/>
                    <a:pt x="418" y="22159"/>
                  </a:cubicBezTo>
                  <a:cubicBezTo>
                    <a:pt x="418" y="22019"/>
                    <a:pt x="418" y="21809"/>
                    <a:pt x="313" y="21494"/>
                  </a:cubicBezTo>
                  <a:cubicBezTo>
                    <a:pt x="-702" y="17679"/>
                    <a:pt x="943" y="9384"/>
                    <a:pt x="2518" y="5953"/>
                  </a:cubicBezTo>
                  <a:cubicBezTo>
                    <a:pt x="4338" y="1683"/>
                    <a:pt x="8363" y="388"/>
                    <a:pt x="10008" y="38"/>
                  </a:cubicBezTo>
                  <a:cubicBezTo>
                    <a:pt x="10323" y="-32"/>
                    <a:pt x="10673" y="3"/>
                    <a:pt x="10988" y="73"/>
                  </a:cubicBezTo>
                  <a:lnTo>
                    <a:pt x="11723" y="318"/>
                  </a:lnTo>
                  <a:cubicBezTo>
                    <a:pt x="12213" y="493"/>
                    <a:pt x="12668" y="633"/>
                    <a:pt x="13123" y="738"/>
                  </a:cubicBezTo>
                  <a:cubicBezTo>
                    <a:pt x="13299" y="773"/>
                    <a:pt x="13474" y="843"/>
                    <a:pt x="13614" y="913"/>
                  </a:cubicBezTo>
                  <a:cubicBezTo>
                    <a:pt x="13719" y="948"/>
                    <a:pt x="13964" y="1018"/>
                    <a:pt x="14174" y="1053"/>
                  </a:cubicBezTo>
                  <a:cubicBezTo>
                    <a:pt x="14559" y="1123"/>
                    <a:pt x="15049" y="1263"/>
                    <a:pt x="15504" y="1473"/>
                  </a:cubicBezTo>
                  <a:cubicBezTo>
                    <a:pt x="17394" y="2453"/>
                    <a:pt x="17919" y="3013"/>
                    <a:pt x="18409" y="3888"/>
                  </a:cubicBezTo>
                  <a:cubicBezTo>
                    <a:pt x="18479" y="4063"/>
                    <a:pt x="18584" y="4203"/>
                    <a:pt x="18794" y="4448"/>
                  </a:cubicBezTo>
                  <a:cubicBezTo>
                    <a:pt x="19354" y="4658"/>
                    <a:pt x="19809" y="5078"/>
                    <a:pt x="20229" y="5428"/>
                  </a:cubicBezTo>
                  <a:cubicBezTo>
                    <a:pt x="20894" y="6093"/>
                    <a:pt x="21839" y="7003"/>
                    <a:pt x="22924" y="7983"/>
                  </a:cubicBezTo>
                  <a:cubicBezTo>
                    <a:pt x="24359" y="9349"/>
                    <a:pt x="26004" y="10889"/>
                    <a:pt x="27264" y="12149"/>
                  </a:cubicBezTo>
                  <a:lnTo>
                    <a:pt x="26844" y="12569"/>
                  </a:lnTo>
                  <a:cubicBezTo>
                    <a:pt x="27019" y="12814"/>
                    <a:pt x="27194" y="13059"/>
                    <a:pt x="27299" y="13409"/>
                  </a:cubicBezTo>
                  <a:cubicBezTo>
                    <a:pt x="27439" y="13864"/>
                    <a:pt x="27404" y="14249"/>
                    <a:pt x="27299" y="14599"/>
                  </a:cubicBezTo>
                  <a:cubicBezTo>
                    <a:pt x="27474" y="14844"/>
                    <a:pt x="27649" y="15019"/>
                    <a:pt x="27894" y="15229"/>
                  </a:cubicBezTo>
                  <a:cubicBezTo>
                    <a:pt x="28734" y="16069"/>
                    <a:pt x="30554" y="17644"/>
                    <a:pt x="30589" y="17644"/>
                  </a:cubicBezTo>
                  <a:cubicBezTo>
                    <a:pt x="31289" y="18239"/>
                    <a:pt x="31429" y="19289"/>
                    <a:pt x="30939" y="20059"/>
                  </a:cubicBezTo>
                  <a:cubicBezTo>
                    <a:pt x="30169" y="21249"/>
                    <a:pt x="29434" y="22509"/>
                    <a:pt x="28699" y="23734"/>
                  </a:cubicBezTo>
                  <a:cubicBezTo>
                    <a:pt x="27614" y="25554"/>
                    <a:pt x="26529" y="27374"/>
                    <a:pt x="25304" y="29159"/>
                  </a:cubicBezTo>
                  <a:cubicBezTo>
                    <a:pt x="24674" y="29859"/>
                    <a:pt x="23904" y="30664"/>
                    <a:pt x="22609" y="30664"/>
                  </a:cubicBezTo>
                  <a:cubicBezTo>
                    <a:pt x="22504" y="30664"/>
                    <a:pt x="22399" y="30699"/>
                    <a:pt x="22294" y="30699"/>
                  </a:cubicBezTo>
                  <a:close/>
                  <a:moveTo>
                    <a:pt x="21174" y="26709"/>
                  </a:moveTo>
                  <a:cubicBezTo>
                    <a:pt x="21489" y="26709"/>
                    <a:pt x="21909" y="26919"/>
                    <a:pt x="22259" y="27059"/>
                  </a:cubicBezTo>
                  <a:cubicBezTo>
                    <a:pt x="23519" y="25344"/>
                    <a:pt x="24499" y="23664"/>
                    <a:pt x="25479" y="22019"/>
                  </a:cubicBezTo>
                  <a:cubicBezTo>
                    <a:pt x="25969" y="21179"/>
                    <a:pt x="26459" y="20374"/>
                    <a:pt x="26949" y="19569"/>
                  </a:cubicBezTo>
                  <a:cubicBezTo>
                    <a:pt x="26354" y="19044"/>
                    <a:pt x="25689" y="18414"/>
                    <a:pt x="25234" y="17994"/>
                  </a:cubicBezTo>
                  <a:cubicBezTo>
                    <a:pt x="24639" y="17399"/>
                    <a:pt x="24289" y="16909"/>
                    <a:pt x="23869" y="16349"/>
                  </a:cubicBezTo>
                  <a:cubicBezTo>
                    <a:pt x="23729" y="16174"/>
                    <a:pt x="23484" y="15754"/>
                    <a:pt x="23414" y="15509"/>
                  </a:cubicBezTo>
                  <a:cubicBezTo>
                    <a:pt x="23239" y="14809"/>
                    <a:pt x="23414" y="14214"/>
                    <a:pt x="23589" y="13864"/>
                  </a:cubicBezTo>
                  <a:cubicBezTo>
                    <a:pt x="22539" y="12884"/>
                    <a:pt x="21384" y="11764"/>
                    <a:pt x="20369" y="10784"/>
                  </a:cubicBezTo>
                  <a:cubicBezTo>
                    <a:pt x="19249" y="9734"/>
                    <a:pt x="18269" y="8789"/>
                    <a:pt x="17674" y="8228"/>
                  </a:cubicBezTo>
                  <a:cubicBezTo>
                    <a:pt x="17674" y="8228"/>
                    <a:pt x="17674" y="8194"/>
                    <a:pt x="17604" y="8159"/>
                  </a:cubicBezTo>
                  <a:cubicBezTo>
                    <a:pt x="17219" y="8054"/>
                    <a:pt x="16869" y="7844"/>
                    <a:pt x="16589" y="7563"/>
                  </a:cubicBezTo>
                  <a:cubicBezTo>
                    <a:pt x="15749" y="6793"/>
                    <a:pt x="15399" y="6233"/>
                    <a:pt x="15119" y="5708"/>
                  </a:cubicBezTo>
                  <a:cubicBezTo>
                    <a:pt x="15014" y="5533"/>
                    <a:pt x="14804" y="5358"/>
                    <a:pt x="13789" y="4833"/>
                  </a:cubicBezTo>
                  <a:cubicBezTo>
                    <a:pt x="13754" y="4833"/>
                    <a:pt x="13509" y="4763"/>
                    <a:pt x="13299" y="4728"/>
                  </a:cubicBezTo>
                  <a:cubicBezTo>
                    <a:pt x="12983" y="4658"/>
                    <a:pt x="12563" y="4553"/>
                    <a:pt x="12143" y="4378"/>
                  </a:cubicBezTo>
                  <a:cubicBezTo>
                    <a:pt x="11583" y="4273"/>
                    <a:pt x="11058" y="4063"/>
                    <a:pt x="10463" y="3888"/>
                  </a:cubicBezTo>
                  <a:lnTo>
                    <a:pt x="10253" y="3818"/>
                  </a:lnTo>
                  <a:cubicBezTo>
                    <a:pt x="8993" y="4168"/>
                    <a:pt x="6858" y="5113"/>
                    <a:pt x="5843" y="7493"/>
                  </a:cubicBezTo>
                  <a:cubicBezTo>
                    <a:pt x="4373" y="10679"/>
                    <a:pt x="3113" y="17959"/>
                    <a:pt x="3848" y="20654"/>
                  </a:cubicBezTo>
                  <a:lnTo>
                    <a:pt x="3918" y="21074"/>
                  </a:lnTo>
                  <a:cubicBezTo>
                    <a:pt x="5038" y="21494"/>
                    <a:pt x="6928" y="22369"/>
                    <a:pt x="10253" y="24434"/>
                  </a:cubicBezTo>
                  <a:cubicBezTo>
                    <a:pt x="10743" y="24574"/>
                    <a:pt x="12073" y="25029"/>
                    <a:pt x="12878" y="25169"/>
                  </a:cubicBezTo>
                  <a:cubicBezTo>
                    <a:pt x="13368" y="24889"/>
                    <a:pt x="14069" y="24609"/>
                    <a:pt x="14979" y="24749"/>
                  </a:cubicBezTo>
                  <a:cubicBezTo>
                    <a:pt x="16134" y="24994"/>
                    <a:pt x="17149" y="25519"/>
                    <a:pt x="18129" y="26044"/>
                  </a:cubicBezTo>
                  <a:cubicBezTo>
                    <a:pt x="18444" y="26219"/>
                    <a:pt x="18724" y="26359"/>
                    <a:pt x="19039" y="26499"/>
                  </a:cubicBezTo>
                  <a:cubicBezTo>
                    <a:pt x="19704" y="26499"/>
                    <a:pt x="20299" y="26534"/>
                    <a:pt x="21034" y="26674"/>
                  </a:cubicBezTo>
                  <a:lnTo>
                    <a:pt x="21104" y="26674"/>
                  </a:lnTo>
                  <a:close/>
                  <a:moveTo>
                    <a:pt x="13123" y="25204"/>
                  </a:moveTo>
                  <a:lnTo>
                    <a:pt x="13123" y="25204"/>
                  </a:lnTo>
                  <a:lnTo>
                    <a:pt x="13123" y="25204"/>
                  </a:lnTo>
                  <a:close/>
                  <a:moveTo>
                    <a:pt x="23659" y="13934"/>
                  </a:moveTo>
                  <a:cubicBezTo>
                    <a:pt x="23589" y="14424"/>
                    <a:pt x="23799" y="14984"/>
                    <a:pt x="24114" y="15194"/>
                  </a:cubicBezTo>
                  <a:lnTo>
                    <a:pt x="24359" y="14599"/>
                  </a:lnTo>
                  <a:cubicBezTo>
                    <a:pt x="24149" y="14389"/>
                    <a:pt x="23904" y="14144"/>
                    <a:pt x="23659" y="13934"/>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3" name="Freeform: Shape 1772">
              <a:extLst>
                <a:ext uri="{FF2B5EF4-FFF2-40B4-BE49-F238E27FC236}">
                  <a16:creationId xmlns:a16="http://schemas.microsoft.com/office/drawing/2014/main" id="{23243B8F-9C11-4F9B-BD78-8D6C3BB30A18}"/>
                </a:ext>
              </a:extLst>
            </p:cNvPr>
            <p:cNvSpPr/>
            <p:nvPr/>
          </p:nvSpPr>
          <p:spPr>
            <a:xfrm>
              <a:off x="11115519" y="4260436"/>
              <a:ext cx="23179" cy="29537"/>
            </a:xfrm>
            <a:custGeom>
              <a:avLst/>
              <a:gdLst>
                <a:gd name="csX0" fmla="*/ 22444 w 23179"/>
                <a:gd name="csY0" fmla="*/ 19632 h 29537"/>
                <a:gd name="csX1" fmla="*/ 21709 w 23179"/>
                <a:gd name="csY1" fmla="*/ 21102 h 29537"/>
                <a:gd name="csX2" fmla="*/ 21429 w 23179"/>
                <a:gd name="csY2" fmla="*/ 23167 h 29537"/>
                <a:gd name="csX3" fmla="*/ 21709 w 23179"/>
                <a:gd name="csY3" fmla="*/ 27017 h 29537"/>
                <a:gd name="csX4" fmla="*/ 11349 w 23179"/>
                <a:gd name="csY4" fmla="*/ 29537 h 29537"/>
                <a:gd name="csX5" fmla="*/ 10019 w 23179"/>
                <a:gd name="csY5" fmla="*/ 29257 h 29537"/>
                <a:gd name="csX6" fmla="*/ 8969 w 23179"/>
                <a:gd name="csY6" fmla="*/ 27647 h 29537"/>
                <a:gd name="csX7" fmla="*/ 7779 w 23179"/>
                <a:gd name="csY7" fmla="*/ 26037 h 29537"/>
                <a:gd name="csX8" fmla="*/ 5994 w 23179"/>
                <a:gd name="csY8" fmla="*/ 22047 h 29537"/>
                <a:gd name="csX9" fmla="*/ 4524 w 23179"/>
                <a:gd name="csY9" fmla="*/ 21172 h 29537"/>
                <a:gd name="csX10" fmla="*/ 2599 w 23179"/>
                <a:gd name="csY10" fmla="*/ 17917 h 29537"/>
                <a:gd name="csX11" fmla="*/ 814 w 23179"/>
                <a:gd name="csY11" fmla="*/ 9342 h 29537"/>
                <a:gd name="csX12" fmla="*/ 12364 w 23179"/>
                <a:gd name="csY12" fmla="*/ 626 h 29537"/>
                <a:gd name="csX13" fmla="*/ 20344 w 23179"/>
                <a:gd name="csY13" fmla="*/ 1361 h 29537"/>
                <a:gd name="csX14" fmla="*/ 21394 w 23179"/>
                <a:gd name="csY14" fmla="*/ 3741 h 29537"/>
                <a:gd name="csX15" fmla="*/ 22444 w 23179"/>
                <a:gd name="csY15" fmla="*/ 5351 h 29537"/>
                <a:gd name="csX16" fmla="*/ 22444 w 23179"/>
                <a:gd name="csY16" fmla="*/ 9937 h 29537"/>
                <a:gd name="csX17" fmla="*/ 22899 w 23179"/>
                <a:gd name="csY17" fmla="*/ 11127 h 29537"/>
                <a:gd name="csX18" fmla="*/ 23180 w 23179"/>
                <a:gd name="csY18" fmla="*/ 20752 h 295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3179" h="29537">
                  <a:moveTo>
                    <a:pt x="22444" y="19632"/>
                  </a:moveTo>
                  <a:cubicBezTo>
                    <a:pt x="22899" y="21102"/>
                    <a:pt x="21989" y="20682"/>
                    <a:pt x="21709" y="21102"/>
                  </a:cubicBezTo>
                  <a:cubicBezTo>
                    <a:pt x="21569" y="21837"/>
                    <a:pt x="21429" y="22432"/>
                    <a:pt x="21429" y="23167"/>
                  </a:cubicBezTo>
                  <a:cubicBezTo>
                    <a:pt x="21429" y="24357"/>
                    <a:pt x="21709" y="27017"/>
                    <a:pt x="21709" y="27017"/>
                  </a:cubicBezTo>
                  <a:cubicBezTo>
                    <a:pt x="18314" y="27752"/>
                    <a:pt x="14919" y="28802"/>
                    <a:pt x="11349" y="29537"/>
                  </a:cubicBezTo>
                  <a:cubicBezTo>
                    <a:pt x="10894" y="29537"/>
                    <a:pt x="10474" y="29537"/>
                    <a:pt x="10019" y="29257"/>
                  </a:cubicBezTo>
                  <a:cubicBezTo>
                    <a:pt x="9564" y="28977"/>
                    <a:pt x="9424" y="28067"/>
                    <a:pt x="8969" y="27647"/>
                  </a:cubicBezTo>
                  <a:cubicBezTo>
                    <a:pt x="8689" y="27052"/>
                    <a:pt x="8234" y="26597"/>
                    <a:pt x="7779" y="26037"/>
                  </a:cubicBezTo>
                  <a:cubicBezTo>
                    <a:pt x="7184" y="24707"/>
                    <a:pt x="6729" y="23237"/>
                    <a:pt x="5994" y="22047"/>
                  </a:cubicBezTo>
                  <a:cubicBezTo>
                    <a:pt x="5714" y="21452"/>
                    <a:pt x="4944" y="21767"/>
                    <a:pt x="4524" y="21172"/>
                  </a:cubicBezTo>
                  <a:cubicBezTo>
                    <a:pt x="3789" y="20297"/>
                    <a:pt x="2599" y="17917"/>
                    <a:pt x="2599" y="17917"/>
                  </a:cubicBezTo>
                  <a:cubicBezTo>
                    <a:pt x="79" y="7276"/>
                    <a:pt x="-797" y="12142"/>
                    <a:pt x="814" y="9342"/>
                  </a:cubicBezTo>
                  <a:cubicBezTo>
                    <a:pt x="2424" y="6366"/>
                    <a:pt x="9109" y="1956"/>
                    <a:pt x="12364" y="626"/>
                  </a:cubicBezTo>
                  <a:cubicBezTo>
                    <a:pt x="15619" y="-704"/>
                    <a:pt x="18594" y="346"/>
                    <a:pt x="20344" y="1361"/>
                  </a:cubicBezTo>
                  <a:cubicBezTo>
                    <a:pt x="20624" y="2236"/>
                    <a:pt x="21079" y="2971"/>
                    <a:pt x="21394" y="3741"/>
                  </a:cubicBezTo>
                  <a:cubicBezTo>
                    <a:pt x="21674" y="4336"/>
                    <a:pt x="22129" y="4791"/>
                    <a:pt x="22444" y="5351"/>
                  </a:cubicBezTo>
                  <a:cubicBezTo>
                    <a:pt x="23320" y="8467"/>
                    <a:pt x="22444" y="7276"/>
                    <a:pt x="22444" y="9937"/>
                  </a:cubicBezTo>
                  <a:cubicBezTo>
                    <a:pt x="22584" y="10217"/>
                    <a:pt x="22724" y="9202"/>
                    <a:pt x="22899" y="11127"/>
                  </a:cubicBezTo>
                  <a:cubicBezTo>
                    <a:pt x="23040" y="12912"/>
                    <a:pt x="23180" y="17497"/>
                    <a:pt x="23180" y="20752"/>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4" name="Freeform: Shape 1773">
              <a:extLst>
                <a:ext uri="{FF2B5EF4-FFF2-40B4-BE49-F238E27FC236}">
                  <a16:creationId xmlns:a16="http://schemas.microsoft.com/office/drawing/2014/main" id="{5028A1AB-A9D9-DF37-9D08-3F62B585848A}"/>
                </a:ext>
              </a:extLst>
            </p:cNvPr>
            <p:cNvSpPr/>
            <p:nvPr/>
          </p:nvSpPr>
          <p:spPr>
            <a:xfrm>
              <a:off x="11113701" y="4258483"/>
              <a:ext cx="26781" cy="33309"/>
            </a:xfrm>
            <a:custGeom>
              <a:avLst/>
              <a:gdLst>
                <a:gd name="csX0" fmla="*/ 12991 w 26781"/>
                <a:gd name="csY0" fmla="*/ 33310 h 33309"/>
                <a:gd name="csX1" fmla="*/ 10786 w 26781"/>
                <a:gd name="csY1" fmla="*/ 32715 h 33309"/>
                <a:gd name="csX2" fmla="*/ 9596 w 26781"/>
                <a:gd name="csY2" fmla="*/ 31140 h 33309"/>
                <a:gd name="csX3" fmla="*/ 9106 w 26781"/>
                <a:gd name="csY3" fmla="*/ 30370 h 33309"/>
                <a:gd name="csX4" fmla="*/ 8546 w 26781"/>
                <a:gd name="csY4" fmla="*/ 29600 h 33309"/>
                <a:gd name="csX5" fmla="*/ 8126 w 26781"/>
                <a:gd name="csY5" fmla="*/ 29040 h 33309"/>
                <a:gd name="csX6" fmla="*/ 7286 w 26781"/>
                <a:gd name="csY6" fmla="*/ 27220 h 33309"/>
                <a:gd name="csX7" fmla="*/ 6411 w 26781"/>
                <a:gd name="csY7" fmla="*/ 25225 h 33309"/>
                <a:gd name="csX8" fmla="*/ 4836 w 26781"/>
                <a:gd name="csY8" fmla="*/ 24175 h 33309"/>
                <a:gd name="csX9" fmla="*/ 2736 w 26781"/>
                <a:gd name="csY9" fmla="*/ 20639 h 33309"/>
                <a:gd name="csX10" fmla="*/ 391 w 26781"/>
                <a:gd name="csY10" fmla="*/ 13604 h 33309"/>
                <a:gd name="csX11" fmla="*/ 566 w 26781"/>
                <a:gd name="csY11" fmla="*/ 10909 h 33309"/>
                <a:gd name="csX12" fmla="*/ 986 w 26781"/>
                <a:gd name="csY12" fmla="*/ 10314 h 33309"/>
                <a:gd name="csX13" fmla="*/ 13446 w 26781"/>
                <a:gd name="csY13" fmla="*/ 794 h 33309"/>
                <a:gd name="csX14" fmla="*/ 23072 w 26781"/>
                <a:gd name="csY14" fmla="*/ 1634 h 33309"/>
                <a:gd name="csX15" fmla="*/ 23912 w 26781"/>
                <a:gd name="csY15" fmla="*/ 2649 h 33309"/>
                <a:gd name="csX16" fmla="*/ 24437 w 26781"/>
                <a:gd name="csY16" fmla="*/ 3874 h 33309"/>
                <a:gd name="csX17" fmla="*/ 24892 w 26781"/>
                <a:gd name="csY17" fmla="*/ 4889 h 33309"/>
                <a:gd name="csX18" fmla="*/ 25172 w 26781"/>
                <a:gd name="csY18" fmla="*/ 5274 h 33309"/>
                <a:gd name="csX19" fmla="*/ 25872 w 26781"/>
                <a:gd name="csY19" fmla="*/ 6394 h 33309"/>
                <a:gd name="csX20" fmla="*/ 26222 w 26781"/>
                <a:gd name="csY20" fmla="*/ 10489 h 33309"/>
                <a:gd name="csX21" fmla="*/ 26117 w 26781"/>
                <a:gd name="csY21" fmla="*/ 10944 h 33309"/>
                <a:gd name="csX22" fmla="*/ 26502 w 26781"/>
                <a:gd name="csY22" fmla="*/ 12834 h 33309"/>
                <a:gd name="csX23" fmla="*/ 26782 w 26781"/>
                <a:gd name="csY23" fmla="*/ 22599 h 33309"/>
                <a:gd name="csX24" fmla="*/ 26152 w 26781"/>
                <a:gd name="csY24" fmla="*/ 22599 h 33309"/>
                <a:gd name="csX25" fmla="*/ 25102 w 26781"/>
                <a:gd name="csY25" fmla="*/ 24245 h 33309"/>
                <a:gd name="csX26" fmla="*/ 24997 w 26781"/>
                <a:gd name="csY26" fmla="*/ 25120 h 33309"/>
                <a:gd name="csX27" fmla="*/ 25277 w 26781"/>
                <a:gd name="csY27" fmla="*/ 28760 h 33309"/>
                <a:gd name="csX28" fmla="*/ 23842 w 26781"/>
                <a:gd name="csY28" fmla="*/ 30790 h 33309"/>
                <a:gd name="csX29" fmla="*/ 19082 w 26781"/>
                <a:gd name="csY29" fmla="*/ 31945 h 33309"/>
                <a:gd name="csX30" fmla="*/ 13446 w 26781"/>
                <a:gd name="csY30" fmla="*/ 33275 h 33309"/>
                <a:gd name="csX31" fmla="*/ 12886 w 26781"/>
                <a:gd name="csY31" fmla="*/ 33275 h 33309"/>
                <a:gd name="csX32" fmla="*/ 12326 w 26781"/>
                <a:gd name="csY32" fmla="*/ 28515 h 33309"/>
                <a:gd name="csX33" fmla="*/ 12956 w 26781"/>
                <a:gd name="csY33" fmla="*/ 29600 h 33309"/>
                <a:gd name="csX34" fmla="*/ 18242 w 26781"/>
                <a:gd name="csY34" fmla="*/ 28375 h 33309"/>
                <a:gd name="csX35" fmla="*/ 21532 w 26781"/>
                <a:gd name="csY35" fmla="*/ 27535 h 33309"/>
                <a:gd name="csX36" fmla="*/ 21392 w 26781"/>
                <a:gd name="csY36" fmla="*/ 25120 h 33309"/>
                <a:gd name="csX37" fmla="*/ 21637 w 26781"/>
                <a:gd name="csY37" fmla="*/ 23055 h 33309"/>
                <a:gd name="csX38" fmla="*/ 21987 w 26781"/>
                <a:gd name="csY38" fmla="*/ 22004 h 33309"/>
                <a:gd name="csX39" fmla="*/ 23142 w 26781"/>
                <a:gd name="csY39" fmla="*/ 21094 h 33309"/>
                <a:gd name="csX40" fmla="*/ 22862 w 26781"/>
                <a:gd name="csY40" fmla="*/ 13114 h 33309"/>
                <a:gd name="csX41" fmla="*/ 22862 w 26781"/>
                <a:gd name="csY41" fmla="*/ 12974 h 33309"/>
                <a:gd name="csX42" fmla="*/ 22617 w 26781"/>
                <a:gd name="csY42" fmla="*/ 12589 h 33309"/>
                <a:gd name="csX43" fmla="*/ 22407 w 26781"/>
                <a:gd name="csY43" fmla="*/ 11749 h 33309"/>
                <a:gd name="csX44" fmla="*/ 22757 w 26781"/>
                <a:gd name="csY44" fmla="*/ 9299 h 33309"/>
                <a:gd name="csX45" fmla="*/ 22477 w 26781"/>
                <a:gd name="csY45" fmla="*/ 7654 h 33309"/>
                <a:gd name="csX46" fmla="*/ 22477 w 26781"/>
                <a:gd name="csY46" fmla="*/ 7654 h 33309"/>
                <a:gd name="csX47" fmla="*/ 22232 w 26781"/>
                <a:gd name="csY47" fmla="*/ 7374 h 33309"/>
                <a:gd name="csX48" fmla="*/ 21567 w 26781"/>
                <a:gd name="csY48" fmla="*/ 6359 h 33309"/>
                <a:gd name="csX49" fmla="*/ 21147 w 26781"/>
                <a:gd name="csY49" fmla="*/ 5414 h 33309"/>
                <a:gd name="csX50" fmla="*/ 20727 w 26781"/>
                <a:gd name="csY50" fmla="*/ 4434 h 33309"/>
                <a:gd name="csX51" fmla="*/ 14916 w 26781"/>
                <a:gd name="csY51" fmla="*/ 4119 h 33309"/>
                <a:gd name="csX52" fmla="*/ 4311 w 26781"/>
                <a:gd name="csY52" fmla="*/ 12029 h 33309"/>
                <a:gd name="csX53" fmla="*/ 4101 w 26781"/>
                <a:gd name="csY53" fmla="*/ 12379 h 33309"/>
                <a:gd name="csX54" fmla="*/ 6271 w 26781"/>
                <a:gd name="csY54" fmla="*/ 19309 h 33309"/>
                <a:gd name="csX55" fmla="*/ 7811 w 26781"/>
                <a:gd name="csY55" fmla="*/ 21794 h 33309"/>
                <a:gd name="csX56" fmla="*/ 9526 w 26781"/>
                <a:gd name="csY56" fmla="*/ 23055 h 33309"/>
                <a:gd name="csX57" fmla="*/ 10786 w 26781"/>
                <a:gd name="csY57" fmla="*/ 25820 h 33309"/>
                <a:gd name="csX58" fmla="*/ 11311 w 26781"/>
                <a:gd name="csY58" fmla="*/ 27150 h 33309"/>
                <a:gd name="csX59" fmla="*/ 11451 w 26781"/>
                <a:gd name="csY59" fmla="*/ 27220 h 33309"/>
                <a:gd name="csX60" fmla="*/ 12326 w 26781"/>
                <a:gd name="csY60" fmla="*/ 28480 h 33309"/>
                <a:gd name="csX61" fmla="*/ 6271 w 26781"/>
                <a:gd name="csY61" fmla="*/ 24945 h 33309"/>
                <a:gd name="csX62" fmla="*/ 6306 w 26781"/>
                <a:gd name="csY62" fmla="*/ 25015 h 33309"/>
                <a:gd name="csX63" fmla="*/ 6271 w 26781"/>
                <a:gd name="csY63" fmla="*/ 24945 h 33309"/>
                <a:gd name="csX64" fmla="*/ 23142 w 26781"/>
                <a:gd name="csY64" fmla="*/ 21164 h 33309"/>
                <a:gd name="csX65" fmla="*/ 22547 w 26781"/>
                <a:gd name="csY65" fmla="*/ 22319 h 33309"/>
                <a:gd name="csX66" fmla="*/ 23142 w 26781"/>
                <a:gd name="csY66" fmla="*/ 22109 h 33309"/>
                <a:gd name="csX67" fmla="*/ 23142 w 26781"/>
                <a:gd name="csY67" fmla="*/ 21199 h 333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Lst>
              <a:rect l="l" t="t" r="r" b="b"/>
              <a:pathLst>
                <a:path w="26781" h="33309">
                  <a:moveTo>
                    <a:pt x="12991" y="33310"/>
                  </a:moveTo>
                  <a:cubicBezTo>
                    <a:pt x="12256" y="33310"/>
                    <a:pt x="11521" y="33205"/>
                    <a:pt x="10786" y="32715"/>
                  </a:cubicBezTo>
                  <a:cubicBezTo>
                    <a:pt x="10121" y="32295"/>
                    <a:pt x="9841" y="31630"/>
                    <a:pt x="9596" y="31140"/>
                  </a:cubicBezTo>
                  <a:cubicBezTo>
                    <a:pt x="9456" y="31000"/>
                    <a:pt x="9211" y="30545"/>
                    <a:pt x="9106" y="30370"/>
                  </a:cubicBezTo>
                  <a:cubicBezTo>
                    <a:pt x="9001" y="30160"/>
                    <a:pt x="8791" y="29915"/>
                    <a:pt x="8546" y="29600"/>
                  </a:cubicBezTo>
                  <a:lnTo>
                    <a:pt x="8126" y="29040"/>
                  </a:lnTo>
                  <a:cubicBezTo>
                    <a:pt x="7706" y="28200"/>
                    <a:pt x="7496" y="27710"/>
                    <a:pt x="7286" y="27220"/>
                  </a:cubicBezTo>
                  <a:cubicBezTo>
                    <a:pt x="7041" y="26555"/>
                    <a:pt x="6761" y="25855"/>
                    <a:pt x="6411" y="25225"/>
                  </a:cubicBezTo>
                  <a:cubicBezTo>
                    <a:pt x="5921" y="25085"/>
                    <a:pt x="5326" y="24805"/>
                    <a:pt x="4836" y="24175"/>
                  </a:cubicBezTo>
                  <a:cubicBezTo>
                    <a:pt x="4066" y="23265"/>
                    <a:pt x="2946" y="21059"/>
                    <a:pt x="2736" y="20639"/>
                  </a:cubicBezTo>
                  <a:cubicBezTo>
                    <a:pt x="1371" y="15179"/>
                    <a:pt x="601" y="13884"/>
                    <a:pt x="391" y="13604"/>
                  </a:cubicBezTo>
                  <a:cubicBezTo>
                    <a:pt x="-204" y="12869"/>
                    <a:pt x="-99" y="11574"/>
                    <a:pt x="566" y="10909"/>
                  </a:cubicBezTo>
                  <a:cubicBezTo>
                    <a:pt x="636" y="10874"/>
                    <a:pt x="741" y="10734"/>
                    <a:pt x="986" y="10314"/>
                  </a:cubicBezTo>
                  <a:cubicBezTo>
                    <a:pt x="2946" y="6779"/>
                    <a:pt x="10156" y="2124"/>
                    <a:pt x="13446" y="794"/>
                  </a:cubicBezTo>
                  <a:cubicBezTo>
                    <a:pt x="17612" y="-957"/>
                    <a:pt x="21252" y="584"/>
                    <a:pt x="23072" y="1634"/>
                  </a:cubicBezTo>
                  <a:cubicBezTo>
                    <a:pt x="23457" y="1844"/>
                    <a:pt x="23737" y="2229"/>
                    <a:pt x="23912" y="2649"/>
                  </a:cubicBezTo>
                  <a:cubicBezTo>
                    <a:pt x="24052" y="3104"/>
                    <a:pt x="24262" y="3489"/>
                    <a:pt x="24437" y="3874"/>
                  </a:cubicBezTo>
                  <a:cubicBezTo>
                    <a:pt x="24612" y="4224"/>
                    <a:pt x="24752" y="4574"/>
                    <a:pt x="24892" y="4889"/>
                  </a:cubicBezTo>
                  <a:cubicBezTo>
                    <a:pt x="24892" y="4924"/>
                    <a:pt x="25067" y="5099"/>
                    <a:pt x="25172" y="5274"/>
                  </a:cubicBezTo>
                  <a:cubicBezTo>
                    <a:pt x="25417" y="5624"/>
                    <a:pt x="25662" y="5974"/>
                    <a:pt x="25872" y="6394"/>
                  </a:cubicBezTo>
                  <a:cubicBezTo>
                    <a:pt x="26572" y="8739"/>
                    <a:pt x="26572" y="9474"/>
                    <a:pt x="26222" y="10489"/>
                  </a:cubicBezTo>
                  <a:cubicBezTo>
                    <a:pt x="26187" y="10629"/>
                    <a:pt x="26152" y="10734"/>
                    <a:pt x="26117" y="10944"/>
                  </a:cubicBezTo>
                  <a:cubicBezTo>
                    <a:pt x="26397" y="11504"/>
                    <a:pt x="26432" y="12169"/>
                    <a:pt x="26502" y="12834"/>
                  </a:cubicBezTo>
                  <a:cubicBezTo>
                    <a:pt x="26642" y="14724"/>
                    <a:pt x="26782" y="19379"/>
                    <a:pt x="26782" y="22599"/>
                  </a:cubicBezTo>
                  <a:lnTo>
                    <a:pt x="26152" y="22599"/>
                  </a:lnTo>
                  <a:cubicBezTo>
                    <a:pt x="26047" y="23440"/>
                    <a:pt x="25557" y="23930"/>
                    <a:pt x="25102" y="24245"/>
                  </a:cubicBezTo>
                  <a:cubicBezTo>
                    <a:pt x="25032" y="24630"/>
                    <a:pt x="24997" y="24875"/>
                    <a:pt x="24997" y="25120"/>
                  </a:cubicBezTo>
                  <a:cubicBezTo>
                    <a:pt x="24997" y="26240"/>
                    <a:pt x="25277" y="28725"/>
                    <a:pt x="25277" y="28760"/>
                  </a:cubicBezTo>
                  <a:cubicBezTo>
                    <a:pt x="25382" y="29705"/>
                    <a:pt x="24752" y="30580"/>
                    <a:pt x="23842" y="30790"/>
                  </a:cubicBezTo>
                  <a:cubicBezTo>
                    <a:pt x="22267" y="31140"/>
                    <a:pt x="20692" y="31525"/>
                    <a:pt x="19082" y="31945"/>
                  </a:cubicBezTo>
                  <a:cubicBezTo>
                    <a:pt x="17227" y="32435"/>
                    <a:pt x="15371" y="32890"/>
                    <a:pt x="13446" y="33275"/>
                  </a:cubicBezTo>
                  <a:cubicBezTo>
                    <a:pt x="13271" y="33275"/>
                    <a:pt x="13096" y="33275"/>
                    <a:pt x="12886" y="33275"/>
                  </a:cubicBezTo>
                  <a:close/>
                  <a:moveTo>
                    <a:pt x="12326" y="28515"/>
                  </a:moveTo>
                  <a:cubicBezTo>
                    <a:pt x="12641" y="28900"/>
                    <a:pt x="12816" y="29285"/>
                    <a:pt x="12956" y="29600"/>
                  </a:cubicBezTo>
                  <a:cubicBezTo>
                    <a:pt x="14636" y="29320"/>
                    <a:pt x="16422" y="28865"/>
                    <a:pt x="18242" y="28375"/>
                  </a:cubicBezTo>
                  <a:cubicBezTo>
                    <a:pt x="19327" y="28095"/>
                    <a:pt x="20447" y="27815"/>
                    <a:pt x="21532" y="27535"/>
                  </a:cubicBezTo>
                  <a:cubicBezTo>
                    <a:pt x="21462" y="26695"/>
                    <a:pt x="21392" y="25750"/>
                    <a:pt x="21392" y="25120"/>
                  </a:cubicBezTo>
                  <a:cubicBezTo>
                    <a:pt x="21392" y="24315"/>
                    <a:pt x="21532" y="23685"/>
                    <a:pt x="21637" y="23055"/>
                  </a:cubicBezTo>
                  <a:cubicBezTo>
                    <a:pt x="21672" y="22810"/>
                    <a:pt x="21847" y="22214"/>
                    <a:pt x="21987" y="22004"/>
                  </a:cubicBezTo>
                  <a:cubicBezTo>
                    <a:pt x="22337" y="21479"/>
                    <a:pt x="22827" y="21234"/>
                    <a:pt x="23142" y="21094"/>
                  </a:cubicBezTo>
                  <a:cubicBezTo>
                    <a:pt x="23142" y="17979"/>
                    <a:pt x="22967" y="14479"/>
                    <a:pt x="22862" y="13114"/>
                  </a:cubicBezTo>
                  <a:lnTo>
                    <a:pt x="22862" y="12974"/>
                  </a:lnTo>
                  <a:cubicBezTo>
                    <a:pt x="22862" y="12974"/>
                    <a:pt x="22687" y="12729"/>
                    <a:pt x="22617" y="12589"/>
                  </a:cubicBezTo>
                  <a:cubicBezTo>
                    <a:pt x="22477" y="12344"/>
                    <a:pt x="22407" y="12064"/>
                    <a:pt x="22407" y="11749"/>
                  </a:cubicBezTo>
                  <a:cubicBezTo>
                    <a:pt x="22407" y="10489"/>
                    <a:pt x="22582" y="9859"/>
                    <a:pt x="22757" y="9299"/>
                  </a:cubicBezTo>
                  <a:cubicBezTo>
                    <a:pt x="22827" y="9089"/>
                    <a:pt x="22827" y="8809"/>
                    <a:pt x="22477" y="7654"/>
                  </a:cubicBezTo>
                  <a:lnTo>
                    <a:pt x="22477" y="7654"/>
                  </a:lnTo>
                  <a:cubicBezTo>
                    <a:pt x="22477" y="7654"/>
                    <a:pt x="22337" y="7549"/>
                    <a:pt x="22232" y="7374"/>
                  </a:cubicBezTo>
                  <a:cubicBezTo>
                    <a:pt x="21987" y="7059"/>
                    <a:pt x="21777" y="6709"/>
                    <a:pt x="21567" y="6359"/>
                  </a:cubicBezTo>
                  <a:cubicBezTo>
                    <a:pt x="21392" y="5939"/>
                    <a:pt x="21252" y="5694"/>
                    <a:pt x="21147" y="5414"/>
                  </a:cubicBezTo>
                  <a:cubicBezTo>
                    <a:pt x="21007" y="5099"/>
                    <a:pt x="20867" y="4784"/>
                    <a:pt x="20727" y="4434"/>
                  </a:cubicBezTo>
                  <a:cubicBezTo>
                    <a:pt x="19397" y="3804"/>
                    <a:pt x="17262" y="3174"/>
                    <a:pt x="14916" y="4119"/>
                  </a:cubicBezTo>
                  <a:cubicBezTo>
                    <a:pt x="11871" y="5379"/>
                    <a:pt x="5641" y="9579"/>
                    <a:pt x="4311" y="12029"/>
                  </a:cubicBezTo>
                  <a:cubicBezTo>
                    <a:pt x="4241" y="12169"/>
                    <a:pt x="4171" y="12274"/>
                    <a:pt x="4101" y="12379"/>
                  </a:cubicBezTo>
                  <a:cubicBezTo>
                    <a:pt x="4626" y="13464"/>
                    <a:pt x="5361" y="15424"/>
                    <a:pt x="6271" y="19309"/>
                  </a:cubicBezTo>
                  <a:cubicBezTo>
                    <a:pt x="6586" y="19799"/>
                    <a:pt x="7391" y="21304"/>
                    <a:pt x="7811" y="21794"/>
                  </a:cubicBezTo>
                  <a:cubicBezTo>
                    <a:pt x="7986" y="21794"/>
                    <a:pt x="9001" y="22004"/>
                    <a:pt x="9526" y="23055"/>
                  </a:cubicBezTo>
                  <a:cubicBezTo>
                    <a:pt x="9981" y="23790"/>
                    <a:pt x="10401" y="24805"/>
                    <a:pt x="10786" y="25820"/>
                  </a:cubicBezTo>
                  <a:cubicBezTo>
                    <a:pt x="10961" y="26275"/>
                    <a:pt x="11136" y="26695"/>
                    <a:pt x="11311" y="27150"/>
                  </a:cubicBezTo>
                  <a:lnTo>
                    <a:pt x="11451" y="27220"/>
                  </a:lnTo>
                  <a:cubicBezTo>
                    <a:pt x="11731" y="27570"/>
                    <a:pt x="12046" y="27955"/>
                    <a:pt x="12326" y="28480"/>
                  </a:cubicBezTo>
                  <a:close/>
                  <a:moveTo>
                    <a:pt x="6271" y="24945"/>
                  </a:moveTo>
                  <a:cubicBezTo>
                    <a:pt x="6271" y="24945"/>
                    <a:pt x="6271" y="24980"/>
                    <a:pt x="6306" y="25015"/>
                  </a:cubicBezTo>
                  <a:cubicBezTo>
                    <a:pt x="6306" y="25015"/>
                    <a:pt x="6306" y="24980"/>
                    <a:pt x="6271" y="24945"/>
                  </a:cubicBezTo>
                  <a:close/>
                  <a:moveTo>
                    <a:pt x="23142" y="21164"/>
                  </a:moveTo>
                  <a:cubicBezTo>
                    <a:pt x="22757" y="21409"/>
                    <a:pt x="22477" y="21934"/>
                    <a:pt x="22547" y="22319"/>
                  </a:cubicBezTo>
                  <a:lnTo>
                    <a:pt x="23142" y="22109"/>
                  </a:lnTo>
                  <a:cubicBezTo>
                    <a:pt x="23142" y="21794"/>
                    <a:pt x="23142" y="21479"/>
                    <a:pt x="23142" y="21199"/>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5" name="Freeform: Shape 1774">
              <a:extLst>
                <a:ext uri="{FF2B5EF4-FFF2-40B4-BE49-F238E27FC236}">
                  <a16:creationId xmlns:a16="http://schemas.microsoft.com/office/drawing/2014/main" id="{8EF48570-1CA9-C654-CD99-A42D83D52C86}"/>
                </a:ext>
              </a:extLst>
            </p:cNvPr>
            <p:cNvSpPr/>
            <p:nvPr/>
          </p:nvSpPr>
          <p:spPr>
            <a:xfrm>
              <a:off x="10958126" y="4217157"/>
              <a:ext cx="28560" cy="28434"/>
            </a:xfrm>
            <a:custGeom>
              <a:avLst/>
              <a:gdLst>
                <a:gd name="csX0" fmla="*/ 14560 w 28560"/>
                <a:gd name="csY0" fmla="*/ 23849 h 28434"/>
                <a:gd name="csX1" fmla="*/ 12950 w 28560"/>
                <a:gd name="csY1" fmla="*/ 24305 h 28434"/>
                <a:gd name="csX2" fmla="*/ 11165 w 28560"/>
                <a:gd name="csY2" fmla="*/ 25635 h 28434"/>
                <a:gd name="csX3" fmla="*/ 8050 w 28560"/>
                <a:gd name="csY3" fmla="*/ 28435 h 28434"/>
                <a:gd name="csX4" fmla="*/ 489 w 28560"/>
                <a:gd name="csY4" fmla="*/ 22064 h 28434"/>
                <a:gd name="csX5" fmla="*/ 34 w 28560"/>
                <a:gd name="csY5" fmla="*/ 20874 h 28434"/>
                <a:gd name="csX6" fmla="*/ 909 w 28560"/>
                <a:gd name="csY6" fmla="*/ 18949 h 28434"/>
                <a:gd name="csX7" fmla="*/ 1504 w 28560"/>
                <a:gd name="csY7" fmla="*/ 16884 h 28434"/>
                <a:gd name="csX8" fmla="*/ 3885 w 28560"/>
                <a:gd name="csY8" fmla="*/ 12894 h 28434"/>
                <a:gd name="csX9" fmla="*/ 3885 w 28560"/>
                <a:gd name="csY9" fmla="*/ 11109 h 28434"/>
                <a:gd name="csX10" fmla="*/ 5670 w 28560"/>
                <a:gd name="csY10" fmla="*/ 7399 h 28434"/>
                <a:gd name="csX11" fmla="*/ 11725 w 28560"/>
                <a:gd name="csY11" fmla="*/ 153 h 28434"/>
                <a:gd name="csX12" fmla="*/ 25025 w 28560"/>
                <a:gd name="csY12" fmla="*/ 2954 h 28434"/>
                <a:gd name="csX13" fmla="*/ 28561 w 28560"/>
                <a:gd name="csY13" fmla="*/ 9744 h 28434"/>
                <a:gd name="csX14" fmla="*/ 27231 w 28560"/>
                <a:gd name="csY14" fmla="*/ 12124 h 28434"/>
                <a:gd name="csX15" fmla="*/ 26355 w 28560"/>
                <a:gd name="csY15" fmla="*/ 14049 h 28434"/>
                <a:gd name="csX16" fmla="*/ 22645 w 28560"/>
                <a:gd name="csY16" fmla="*/ 17164 h 28434"/>
                <a:gd name="csX17" fmla="*/ 21910 w 28560"/>
                <a:gd name="csY17" fmla="*/ 18354 h 28434"/>
                <a:gd name="csX18" fmla="*/ 14070 w 28560"/>
                <a:gd name="csY18" fmla="*/ 25145 h 284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8560" h="28434">
                  <a:moveTo>
                    <a:pt x="14560" y="23849"/>
                  </a:moveTo>
                  <a:cubicBezTo>
                    <a:pt x="13510" y="25320"/>
                    <a:pt x="13510" y="24130"/>
                    <a:pt x="12950" y="24305"/>
                  </a:cubicBezTo>
                  <a:cubicBezTo>
                    <a:pt x="12355" y="24760"/>
                    <a:pt x="11760" y="25040"/>
                    <a:pt x="11165" y="25635"/>
                  </a:cubicBezTo>
                  <a:cubicBezTo>
                    <a:pt x="10115" y="26370"/>
                    <a:pt x="8050" y="28435"/>
                    <a:pt x="8050" y="28435"/>
                  </a:cubicBezTo>
                  <a:cubicBezTo>
                    <a:pt x="5530" y="26370"/>
                    <a:pt x="3009" y="24305"/>
                    <a:pt x="489" y="22064"/>
                  </a:cubicBezTo>
                  <a:cubicBezTo>
                    <a:pt x="209" y="21784"/>
                    <a:pt x="-106" y="21469"/>
                    <a:pt x="34" y="20874"/>
                  </a:cubicBezTo>
                  <a:cubicBezTo>
                    <a:pt x="34" y="20279"/>
                    <a:pt x="629" y="19684"/>
                    <a:pt x="909" y="18949"/>
                  </a:cubicBezTo>
                  <a:cubicBezTo>
                    <a:pt x="1189" y="18354"/>
                    <a:pt x="1189" y="17619"/>
                    <a:pt x="1504" y="16884"/>
                  </a:cubicBezTo>
                  <a:cubicBezTo>
                    <a:pt x="2239" y="15554"/>
                    <a:pt x="3430" y="14224"/>
                    <a:pt x="3885" y="12894"/>
                  </a:cubicBezTo>
                  <a:cubicBezTo>
                    <a:pt x="4165" y="12159"/>
                    <a:pt x="3605" y="11844"/>
                    <a:pt x="3885" y="11109"/>
                  </a:cubicBezTo>
                  <a:cubicBezTo>
                    <a:pt x="4165" y="9919"/>
                    <a:pt x="5670" y="7399"/>
                    <a:pt x="5670" y="7399"/>
                  </a:cubicBezTo>
                  <a:cubicBezTo>
                    <a:pt x="13055" y="-1912"/>
                    <a:pt x="8470" y="889"/>
                    <a:pt x="11725" y="153"/>
                  </a:cubicBezTo>
                  <a:cubicBezTo>
                    <a:pt x="14980" y="-582"/>
                    <a:pt x="22225" y="1484"/>
                    <a:pt x="25025" y="2954"/>
                  </a:cubicBezTo>
                  <a:cubicBezTo>
                    <a:pt x="27826" y="4564"/>
                    <a:pt x="28421" y="7539"/>
                    <a:pt x="28561" y="9744"/>
                  </a:cubicBezTo>
                  <a:cubicBezTo>
                    <a:pt x="28106" y="10479"/>
                    <a:pt x="27686" y="11354"/>
                    <a:pt x="27231" y="12124"/>
                  </a:cubicBezTo>
                  <a:cubicBezTo>
                    <a:pt x="26951" y="12719"/>
                    <a:pt x="26776" y="13454"/>
                    <a:pt x="26355" y="14049"/>
                  </a:cubicBezTo>
                  <a:cubicBezTo>
                    <a:pt x="24290" y="16849"/>
                    <a:pt x="24745" y="15379"/>
                    <a:pt x="22645" y="17164"/>
                  </a:cubicBezTo>
                  <a:cubicBezTo>
                    <a:pt x="22365" y="17444"/>
                    <a:pt x="23240" y="17024"/>
                    <a:pt x="21910" y="18354"/>
                  </a:cubicBezTo>
                  <a:cubicBezTo>
                    <a:pt x="20440" y="19684"/>
                    <a:pt x="16730" y="22939"/>
                    <a:pt x="14070" y="25145"/>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6" name="Freeform: Shape 1775">
              <a:extLst>
                <a:ext uri="{FF2B5EF4-FFF2-40B4-BE49-F238E27FC236}">
                  <a16:creationId xmlns:a16="http://schemas.microsoft.com/office/drawing/2014/main" id="{F85902EC-CF02-5089-CCAE-F28F9CB11408}"/>
                </a:ext>
              </a:extLst>
            </p:cNvPr>
            <p:cNvSpPr/>
            <p:nvPr/>
          </p:nvSpPr>
          <p:spPr>
            <a:xfrm>
              <a:off x="10956321" y="4215321"/>
              <a:ext cx="32395" cy="32125"/>
            </a:xfrm>
            <a:custGeom>
              <a:avLst/>
              <a:gdLst>
                <a:gd name="csX0" fmla="*/ 9890 w 32395"/>
                <a:gd name="csY0" fmla="*/ 32125 h 32125"/>
                <a:gd name="csX1" fmla="*/ 8735 w 32395"/>
                <a:gd name="csY1" fmla="*/ 31705 h 32125"/>
                <a:gd name="csX2" fmla="*/ 1104 w 32395"/>
                <a:gd name="csY2" fmla="*/ 25300 h 32125"/>
                <a:gd name="csX3" fmla="*/ 54 w 32395"/>
                <a:gd name="csY3" fmla="*/ 22465 h 32125"/>
                <a:gd name="csX4" fmla="*/ 754 w 32395"/>
                <a:gd name="csY4" fmla="*/ 20680 h 32125"/>
                <a:gd name="csX5" fmla="*/ 1069 w 32395"/>
                <a:gd name="csY5" fmla="*/ 20120 h 32125"/>
                <a:gd name="csX6" fmla="*/ 1279 w 32395"/>
                <a:gd name="csY6" fmla="*/ 19419 h 32125"/>
                <a:gd name="csX7" fmla="*/ 1699 w 32395"/>
                <a:gd name="csY7" fmla="*/ 18019 h 32125"/>
                <a:gd name="csX8" fmla="*/ 2854 w 32395"/>
                <a:gd name="csY8" fmla="*/ 16199 h 32125"/>
                <a:gd name="csX9" fmla="*/ 4044 w 32395"/>
                <a:gd name="csY9" fmla="*/ 14169 h 32125"/>
                <a:gd name="csX10" fmla="*/ 4079 w 32395"/>
                <a:gd name="csY10" fmla="*/ 12279 h 32125"/>
                <a:gd name="csX11" fmla="*/ 5969 w 32395"/>
                <a:gd name="csY11" fmla="*/ 8359 h 32125"/>
                <a:gd name="csX12" fmla="*/ 10415 w 32395"/>
                <a:gd name="csY12" fmla="*/ 1779 h 32125"/>
                <a:gd name="csX13" fmla="*/ 12410 w 32395"/>
                <a:gd name="csY13" fmla="*/ 309 h 32125"/>
                <a:gd name="csX14" fmla="*/ 12585 w 32395"/>
                <a:gd name="csY14" fmla="*/ 309 h 32125"/>
                <a:gd name="csX15" fmla="*/ 13250 w 32395"/>
                <a:gd name="csY15" fmla="*/ 204 h 32125"/>
                <a:gd name="csX16" fmla="*/ 27845 w 32395"/>
                <a:gd name="csY16" fmla="*/ 3179 h 32125"/>
                <a:gd name="csX17" fmla="*/ 32396 w 32395"/>
                <a:gd name="csY17" fmla="*/ 11509 h 32125"/>
                <a:gd name="csX18" fmla="*/ 32116 w 32395"/>
                <a:gd name="csY18" fmla="*/ 12594 h 32125"/>
                <a:gd name="csX19" fmla="*/ 31380 w 32395"/>
                <a:gd name="csY19" fmla="*/ 13924 h 32125"/>
                <a:gd name="csX20" fmla="*/ 30820 w 32395"/>
                <a:gd name="csY20" fmla="*/ 14939 h 32125"/>
                <a:gd name="csX21" fmla="*/ 30645 w 32395"/>
                <a:gd name="csY21" fmla="*/ 15394 h 32125"/>
                <a:gd name="csX22" fmla="*/ 29805 w 32395"/>
                <a:gd name="csY22" fmla="*/ 17039 h 32125"/>
                <a:gd name="csX23" fmla="*/ 27005 w 32395"/>
                <a:gd name="csY23" fmla="*/ 19665 h 32125"/>
                <a:gd name="csX24" fmla="*/ 26375 w 32395"/>
                <a:gd name="csY24" fmla="*/ 20015 h 32125"/>
                <a:gd name="csX25" fmla="*/ 25220 w 32395"/>
                <a:gd name="csY25" fmla="*/ 21520 h 32125"/>
                <a:gd name="csX26" fmla="*/ 17240 w 32395"/>
                <a:gd name="csY26" fmla="*/ 28450 h 32125"/>
                <a:gd name="csX27" fmla="*/ 16820 w 32395"/>
                <a:gd name="csY27" fmla="*/ 27960 h 32125"/>
                <a:gd name="csX28" fmla="*/ 15945 w 32395"/>
                <a:gd name="csY28" fmla="*/ 28275 h 32125"/>
                <a:gd name="csX29" fmla="*/ 15280 w 32395"/>
                <a:gd name="csY29" fmla="*/ 28065 h 32125"/>
                <a:gd name="csX30" fmla="*/ 15280 w 32395"/>
                <a:gd name="csY30" fmla="*/ 28065 h 32125"/>
                <a:gd name="csX31" fmla="*/ 14405 w 32395"/>
                <a:gd name="csY31" fmla="*/ 28765 h 32125"/>
                <a:gd name="csX32" fmla="*/ 11290 w 32395"/>
                <a:gd name="csY32" fmla="*/ 31565 h 32125"/>
                <a:gd name="csX33" fmla="*/ 9960 w 32395"/>
                <a:gd name="csY33" fmla="*/ 32090 h 32125"/>
                <a:gd name="csX34" fmla="*/ 3869 w 32395"/>
                <a:gd name="csY34" fmla="*/ 22780 h 32125"/>
                <a:gd name="csX35" fmla="*/ 9785 w 32395"/>
                <a:gd name="csY35" fmla="*/ 27785 h 32125"/>
                <a:gd name="csX36" fmla="*/ 11920 w 32395"/>
                <a:gd name="csY36" fmla="*/ 25930 h 32125"/>
                <a:gd name="csX37" fmla="*/ 13145 w 32395"/>
                <a:gd name="csY37" fmla="*/ 24985 h 32125"/>
                <a:gd name="csX38" fmla="*/ 13670 w 32395"/>
                <a:gd name="csY38" fmla="*/ 24635 h 32125"/>
                <a:gd name="csX39" fmla="*/ 14335 w 32395"/>
                <a:gd name="csY39" fmla="*/ 24320 h 32125"/>
                <a:gd name="csX40" fmla="*/ 15980 w 32395"/>
                <a:gd name="csY40" fmla="*/ 24565 h 32125"/>
                <a:gd name="csX41" fmla="*/ 22525 w 32395"/>
                <a:gd name="csY41" fmla="*/ 18859 h 32125"/>
                <a:gd name="csX42" fmla="*/ 22630 w 32395"/>
                <a:gd name="csY42" fmla="*/ 18754 h 32125"/>
                <a:gd name="csX43" fmla="*/ 23190 w 32395"/>
                <a:gd name="csY43" fmla="*/ 17739 h 32125"/>
                <a:gd name="csX44" fmla="*/ 25360 w 32395"/>
                <a:gd name="csY44" fmla="*/ 16304 h 32125"/>
                <a:gd name="csX45" fmla="*/ 26690 w 32395"/>
                <a:gd name="csY45" fmla="*/ 14834 h 32125"/>
                <a:gd name="csX46" fmla="*/ 27040 w 32395"/>
                <a:gd name="csY46" fmla="*/ 14099 h 32125"/>
                <a:gd name="csX47" fmla="*/ 27460 w 32395"/>
                <a:gd name="csY47" fmla="*/ 13189 h 32125"/>
                <a:gd name="csX48" fmla="*/ 28020 w 32395"/>
                <a:gd name="csY48" fmla="*/ 12174 h 32125"/>
                <a:gd name="csX49" fmla="*/ 28510 w 32395"/>
                <a:gd name="csY49" fmla="*/ 11264 h 32125"/>
                <a:gd name="csX50" fmla="*/ 25920 w 32395"/>
                <a:gd name="csY50" fmla="*/ 6504 h 32125"/>
                <a:gd name="csX51" fmla="*/ 13950 w 32395"/>
                <a:gd name="csY51" fmla="*/ 3879 h 32125"/>
                <a:gd name="csX52" fmla="*/ 13425 w 32395"/>
                <a:gd name="csY52" fmla="*/ 3984 h 32125"/>
                <a:gd name="csX53" fmla="*/ 8910 w 32395"/>
                <a:gd name="csY53" fmla="*/ 10494 h 32125"/>
                <a:gd name="csX54" fmla="*/ 7474 w 32395"/>
                <a:gd name="csY54" fmla="*/ 13469 h 32125"/>
                <a:gd name="csX55" fmla="*/ 7404 w 32395"/>
                <a:gd name="csY55" fmla="*/ 15499 h 32125"/>
                <a:gd name="csX56" fmla="*/ 5794 w 32395"/>
                <a:gd name="csY56" fmla="*/ 18334 h 32125"/>
                <a:gd name="csX57" fmla="*/ 4919 w 32395"/>
                <a:gd name="csY57" fmla="*/ 19700 h 32125"/>
                <a:gd name="csX58" fmla="*/ 4814 w 32395"/>
                <a:gd name="csY58" fmla="*/ 20260 h 32125"/>
                <a:gd name="csX59" fmla="*/ 4359 w 32395"/>
                <a:gd name="csY59" fmla="*/ 21695 h 32125"/>
                <a:gd name="csX60" fmla="*/ 3869 w 32395"/>
                <a:gd name="csY60" fmla="*/ 22675 h 32125"/>
                <a:gd name="csX61" fmla="*/ 3799 w 32395"/>
                <a:gd name="csY61" fmla="*/ 22885 h 32125"/>
                <a:gd name="csX62" fmla="*/ 15525 w 32395"/>
                <a:gd name="csY62" fmla="*/ 24565 h 32125"/>
                <a:gd name="csX63" fmla="*/ 14650 w 32395"/>
                <a:gd name="csY63" fmla="*/ 24880 h 32125"/>
                <a:gd name="csX64" fmla="*/ 15210 w 32395"/>
                <a:gd name="csY64" fmla="*/ 25195 h 32125"/>
                <a:gd name="csX65" fmla="*/ 15875 w 32395"/>
                <a:gd name="csY65" fmla="*/ 24600 h 32125"/>
                <a:gd name="csX66" fmla="*/ 15525 w 32395"/>
                <a:gd name="csY66" fmla="*/ 24565 h 321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Lst>
              <a:rect l="l" t="t" r="r" b="b"/>
              <a:pathLst>
                <a:path w="32395" h="32125">
                  <a:moveTo>
                    <a:pt x="9890" y="32125"/>
                  </a:moveTo>
                  <a:cubicBezTo>
                    <a:pt x="9470" y="32125"/>
                    <a:pt x="9050" y="31985"/>
                    <a:pt x="8735" y="31705"/>
                  </a:cubicBezTo>
                  <a:cubicBezTo>
                    <a:pt x="6179" y="29640"/>
                    <a:pt x="3659" y="27540"/>
                    <a:pt x="1104" y="25300"/>
                  </a:cubicBezTo>
                  <a:cubicBezTo>
                    <a:pt x="649" y="24810"/>
                    <a:pt x="-226" y="23900"/>
                    <a:pt x="54" y="22465"/>
                  </a:cubicBezTo>
                  <a:cubicBezTo>
                    <a:pt x="124" y="21730"/>
                    <a:pt x="474" y="21135"/>
                    <a:pt x="754" y="20680"/>
                  </a:cubicBezTo>
                  <a:cubicBezTo>
                    <a:pt x="859" y="20505"/>
                    <a:pt x="999" y="20330"/>
                    <a:pt x="1069" y="20120"/>
                  </a:cubicBezTo>
                  <a:cubicBezTo>
                    <a:pt x="1174" y="19875"/>
                    <a:pt x="1244" y="19629"/>
                    <a:pt x="1279" y="19419"/>
                  </a:cubicBezTo>
                  <a:cubicBezTo>
                    <a:pt x="1384" y="18964"/>
                    <a:pt x="1489" y="18509"/>
                    <a:pt x="1699" y="18019"/>
                  </a:cubicBezTo>
                  <a:cubicBezTo>
                    <a:pt x="2084" y="17284"/>
                    <a:pt x="2469" y="16724"/>
                    <a:pt x="2854" y="16199"/>
                  </a:cubicBezTo>
                  <a:cubicBezTo>
                    <a:pt x="3344" y="15464"/>
                    <a:pt x="3834" y="14764"/>
                    <a:pt x="4044" y="14169"/>
                  </a:cubicBezTo>
                  <a:cubicBezTo>
                    <a:pt x="3904" y="13994"/>
                    <a:pt x="3694" y="13259"/>
                    <a:pt x="4079" y="12279"/>
                  </a:cubicBezTo>
                  <a:cubicBezTo>
                    <a:pt x="4324" y="11159"/>
                    <a:pt x="5689" y="8814"/>
                    <a:pt x="5969" y="8359"/>
                  </a:cubicBezTo>
                  <a:cubicBezTo>
                    <a:pt x="9715" y="3634"/>
                    <a:pt x="10310" y="2129"/>
                    <a:pt x="10415" y="1779"/>
                  </a:cubicBezTo>
                  <a:cubicBezTo>
                    <a:pt x="10660" y="974"/>
                    <a:pt x="11535" y="309"/>
                    <a:pt x="12410" y="309"/>
                  </a:cubicBezTo>
                  <a:cubicBezTo>
                    <a:pt x="12480" y="309"/>
                    <a:pt x="12480" y="309"/>
                    <a:pt x="12585" y="309"/>
                  </a:cubicBezTo>
                  <a:cubicBezTo>
                    <a:pt x="12760" y="309"/>
                    <a:pt x="13075" y="239"/>
                    <a:pt x="13250" y="204"/>
                  </a:cubicBezTo>
                  <a:cubicBezTo>
                    <a:pt x="17135" y="-706"/>
                    <a:pt x="24905" y="1639"/>
                    <a:pt x="27845" y="3179"/>
                  </a:cubicBezTo>
                  <a:cubicBezTo>
                    <a:pt x="31976" y="5559"/>
                    <a:pt x="32291" y="10039"/>
                    <a:pt x="32396" y="11509"/>
                  </a:cubicBezTo>
                  <a:cubicBezTo>
                    <a:pt x="32396" y="11894"/>
                    <a:pt x="32326" y="12244"/>
                    <a:pt x="32116" y="12594"/>
                  </a:cubicBezTo>
                  <a:cubicBezTo>
                    <a:pt x="31871" y="13014"/>
                    <a:pt x="31626" y="13469"/>
                    <a:pt x="31380" y="13924"/>
                  </a:cubicBezTo>
                  <a:lnTo>
                    <a:pt x="30820" y="14939"/>
                  </a:lnTo>
                  <a:cubicBezTo>
                    <a:pt x="30820" y="14939"/>
                    <a:pt x="30715" y="15219"/>
                    <a:pt x="30645" y="15394"/>
                  </a:cubicBezTo>
                  <a:cubicBezTo>
                    <a:pt x="30470" y="15884"/>
                    <a:pt x="30225" y="16479"/>
                    <a:pt x="29805" y="17039"/>
                  </a:cubicBezTo>
                  <a:cubicBezTo>
                    <a:pt x="28510" y="18789"/>
                    <a:pt x="27950" y="19245"/>
                    <a:pt x="27005" y="19665"/>
                  </a:cubicBezTo>
                  <a:cubicBezTo>
                    <a:pt x="26830" y="19735"/>
                    <a:pt x="26655" y="19840"/>
                    <a:pt x="26375" y="20015"/>
                  </a:cubicBezTo>
                  <a:cubicBezTo>
                    <a:pt x="26165" y="20540"/>
                    <a:pt x="25745" y="20995"/>
                    <a:pt x="25220" y="21520"/>
                  </a:cubicBezTo>
                  <a:cubicBezTo>
                    <a:pt x="23645" y="22920"/>
                    <a:pt x="19935" y="26210"/>
                    <a:pt x="17240" y="28450"/>
                  </a:cubicBezTo>
                  <a:lnTo>
                    <a:pt x="16820" y="27960"/>
                  </a:lnTo>
                  <a:cubicBezTo>
                    <a:pt x="16575" y="28135"/>
                    <a:pt x="16295" y="28240"/>
                    <a:pt x="15945" y="28275"/>
                  </a:cubicBezTo>
                  <a:lnTo>
                    <a:pt x="15280" y="28065"/>
                  </a:lnTo>
                  <a:cubicBezTo>
                    <a:pt x="15280" y="28065"/>
                    <a:pt x="15280" y="28065"/>
                    <a:pt x="15280" y="28065"/>
                  </a:cubicBezTo>
                  <a:cubicBezTo>
                    <a:pt x="15000" y="28275"/>
                    <a:pt x="14685" y="28450"/>
                    <a:pt x="14405" y="28765"/>
                  </a:cubicBezTo>
                  <a:cubicBezTo>
                    <a:pt x="13425" y="29500"/>
                    <a:pt x="11850" y="31040"/>
                    <a:pt x="11290" y="31565"/>
                  </a:cubicBezTo>
                  <a:cubicBezTo>
                    <a:pt x="10940" y="31915"/>
                    <a:pt x="10450" y="32090"/>
                    <a:pt x="9960" y="32090"/>
                  </a:cubicBezTo>
                  <a:close/>
                  <a:moveTo>
                    <a:pt x="3869" y="22780"/>
                  </a:moveTo>
                  <a:cubicBezTo>
                    <a:pt x="5829" y="24530"/>
                    <a:pt x="7789" y="26175"/>
                    <a:pt x="9785" y="27785"/>
                  </a:cubicBezTo>
                  <a:cubicBezTo>
                    <a:pt x="10485" y="27120"/>
                    <a:pt x="11325" y="26385"/>
                    <a:pt x="11920" y="25930"/>
                  </a:cubicBezTo>
                  <a:cubicBezTo>
                    <a:pt x="12165" y="25650"/>
                    <a:pt x="12655" y="25300"/>
                    <a:pt x="13145" y="24985"/>
                  </a:cubicBezTo>
                  <a:lnTo>
                    <a:pt x="13670" y="24635"/>
                  </a:lnTo>
                  <a:cubicBezTo>
                    <a:pt x="13880" y="24460"/>
                    <a:pt x="14090" y="24390"/>
                    <a:pt x="14335" y="24320"/>
                  </a:cubicBezTo>
                  <a:cubicBezTo>
                    <a:pt x="14895" y="24180"/>
                    <a:pt x="15455" y="24250"/>
                    <a:pt x="15980" y="24565"/>
                  </a:cubicBezTo>
                  <a:cubicBezTo>
                    <a:pt x="18430" y="22500"/>
                    <a:pt x="21300" y="19980"/>
                    <a:pt x="22525" y="18859"/>
                  </a:cubicBezTo>
                  <a:lnTo>
                    <a:pt x="22630" y="18754"/>
                  </a:lnTo>
                  <a:cubicBezTo>
                    <a:pt x="22700" y="18439"/>
                    <a:pt x="22840" y="18089"/>
                    <a:pt x="23190" y="17739"/>
                  </a:cubicBezTo>
                  <a:cubicBezTo>
                    <a:pt x="24275" y="16829"/>
                    <a:pt x="24835" y="16514"/>
                    <a:pt x="25360" y="16304"/>
                  </a:cubicBezTo>
                  <a:cubicBezTo>
                    <a:pt x="25605" y="16199"/>
                    <a:pt x="25780" y="16129"/>
                    <a:pt x="26690" y="14834"/>
                  </a:cubicBezTo>
                  <a:cubicBezTo>
                    <a:pt x="26830" y="14659"/>
                    <a:pt x="26935" y="14379"/>
                    <a:pt x="27040" y="14099"/>
                  </a:cubicBezTo>
                  <a:cubicBezTo>
                    <a:pt x="27180" y="13784"/>
                    <a:pt x="27285" y="13434"/>
                    <a:pt x="27460" y="13189"/>
                  </a:cubicBezTo>
                  <a:lnTo>
                    <a:pt x="28020" y="12174"/>
                  </a:lnTo>
                  <a:cubicBezTo>
                    <a:pt x="28195" y="11859"/>
                    <a:pt x="28335" y="11544"/>
                    <a:pt x="28510" y="11264"/>
                  </a:cubicBezTo>
                  <a:cubicBezTo>
                    <a:pt x="28265" y="8884"/>
                    <a:pt x="27425" y="7379"/>
                    <a:pt x="25920" y="6504"/>
                  </a:cubicBezTo>
                  <a:cubicBezTo>
                    <a:pt x="23295" y="5104"/>
                    <a:pt x="16680" y="3249"/>
                    <a:pt x="13950" y="3879"/>
                  </a:cubicBezTo>
                  <a:cubicBezTo>
                    <a:pt x="13775" y="3914"/>
                    <a:pt x="13600" y="3949"/>
                    <a:pt x="13425" y="3984"/>
                  </a:cubicBezTo>
                  <a:cubicBezTo>
                    <a:pt x="12900" y="5069"/>
                    <a:pt x="11710" y="6959"/>
                    <a:pt x="8910" y="10494"/>
                  </a:cubicBezTo>
                  <a:cubicBezTo>
                    <a:pt x="8420" y="11369"/>
                    <a:pt x="7614" y="12909"/>
                    <a:pt x="7474" y="13469"/>
                  </a:cubicBezTo>
                  <a:cubicBezTo>
                    <a:pt x="7544" y="13784"/>
                    <a:pt x="7789" y="14554"/>
                    <a:pt x="7404" y="15499"/>
                  </a:cubicBezTo>
                  <a:cubicBezTo>
                    <a:pt x="7089" y="16479"/>
                    <a:pt x="6424" y="17424"/>
                    <a:pt x="5794" y="18334"/>
                  </a:cubicBezTo>
                  <a:cubicBezTo>
                    <a:pt x="5479" y="18789"/>
                    <a:pt x="5164" y="19245"/>
                    <a:pt x="4919" y="19700"/>
                  </a:cubicBezTo>
                  <a:cubicBezTo>
                    <a:pt x="4919" y="19770"/>
                    <a:pt x="4849" y="20015"/>
                    <a:pt x="4814" y="20260"/>
                  </a:cubicBezTo>
                  <a:cubicBezTo>
                    <a:pt x="4709" y="20680"/>
                    <a:pt x="4604" y="21205"/>
                    <a:pt x="4359" y="21695"/>
                  </a:cubicBezTo>
                  <a:cubicBezTo>
                    <a:pt x="4289" y="21940"/>
                    <a:pt x="4044" y="22325"/>
                    <a:pt x="3869" y="22675"/>
                  </a:cubicBezTo>
                  <a:cubicBezTo>
                    <a:pt x="3869" y="22745"/>
                    <a:pt x="3869" y="22815"/>
                    <a:pt x="3799" y="22885"/>
                  </a:cubicBezTo>
                  <a:close/>
                  <a:moveTo>
                    <a:pt x="15525" y="24565"/>
                  </a:moveTo>
                  <a:cubicBezTo>
                    <a:pt x="15175" y="24565"/>
                    <a:pt x="14825" y="24670"/>
                    <a:pt x="14650" y="24880"/>
                  </a:cubicBezTo>
                  <a:lnTo>
                    <a:pt x="15210" y="25195"/>
                  </a:lnTo>
                  <a:cubicBezTo>
                    <a:pt x="15420" y="25020"/>
                    <a:pt x="15665" y="24810"/>
                    <a:pt x="15875" y="24600"/>
                  </a:cubicBezTo>
                  <a:cubicBezTo>
                    <a:pt x="15770" y="24600"/>
                    <a:pt x="15630" y="24565"/>
                    <a:pt x="15525" y="24565"/>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7" name="Freeform: Shape 1776">
              <a:extLst>
                <a:ext uri="{FF2B5EF4-FFF2-40B4-BE49-F238E27FC236}">
                  <a16:creationId xmlns:a16="http://schemas.microsoft.com/office/drawing/2014/main" id="{B182511F-C08B-EB6C-CB22-062A41AA21B2}"/>
                </a:ext>
              </a:extLst>
            </p:cNvPr>
            <p:cNvSpPr/>
            <p:nvPr/>
          </p:nvSpPr>
          <p:spPr>
            <a:xfrm>
              <a:off x="11089272" y="4317760"/>
              <a:ext cx="22932" cy="28298"/>
            </a:xfrm>
            <a:custGeom>
              <a:avLst/>
              <a:gdLst>
                <a:gd name="csX0" fmla="*/ 2979 w 22932"/>
                <a:gd name="csY0" fmla="*/ 7285 h 28298"/>
                <a:gd name="csX1" fmla="*/ 4029 w 22932"/>
                <a:gd name="csY1" fmla="*/ 5954 h 28298"/>
                <a:gd name="csX2" fmla="*/ 4764 w 22932"/>
                <a:gd name="csY2" fmla="*/ 4029 h 28298"/>
                <a:gd name="csX3" fmla="*/ 5219 w 22932"/>
                <a:gd name="csY3" fmla="*/ 179 h 28298"/>
                <a:gd name="csX4" fmla="*/ 16035 w 22932"/>
                <a:gd name="csY4" fmla="*/ 39 h 28298"/>
                <a:gd name="csX5" fmla="*/ 17225 w 22932"/>
                <a:gd name="csY5" fmla="*/ 494 h 28298"/>
                <a:gd name="csX6" fmla="*/ 17820 w 22932"/>
                <a:gd name="csY6" fmla="*/ 2419 h 28298"/>
                <a:gd name="csX7" fmla="*/ 18870 w 22932"/>
                <a:gd name="csY7" fmla="*/ 4204 h 28298"/>
                <a:gd name="csX8" fmla="*/ 19605 w 22932"/>
                <a:gd name="csY8" fmla="*/ 8510 h 28298"/>
                <a:gd name="csX9" fmla="*/ 20935 w 22932"/>
                <a:gd name="csY9" fmla="*/ 9700 h 28298"/>
                <a:gd name="csX10" fmla="*/ 21985 w 22932"/>
                <a:gd name="csY10" fmla="*/ 13235 h 28298"/>
                <a:gd name="csX11" fmla="*/ 21845 w 22932"/>
                <a:gd name="csY11" fmla="*/ 22125 h 28298"/>
                <a:gd name="csX12" fmla="*/ 8825 w 22932"/>
                <a:gd name="csY12" fmla="*/ 28180 h 28298"/>
                <a:gd name="csX13" fmla="*/ 1264 w 22932"/>
                <a:gd name="csY13" fmla="*/ 25660 h 28298"/>
                <a:gd name="csX14" fmla="*/ 529 w 22932"/>
                <a:gd name="csY14" fmla="*/ 23140 h 28298"/>
                <a:gd name="csX15" fmla="*/ 74 w 22932"/>
                <a:gd name="csY15" fmla="*/ 21355 h 28298"/>
                <a:gd name="csX16" fmla="*/ 949 w 22932"/>
                <a:gd name="csY16" fmla="*/ 16910 h 28298"/>
                <a:gd name="csX17" fmla="*/ 809 w 22932"/>
                <a:gd name="csY17" fmla="*/ 15580 h 28298"/>
                <a:gd name="csX18" fmla="*/ 2454 w 22932"/>
                <a:gd name="csY18" fmla="*/ 6094 h 282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2932" h="28298">
                  <a:moveTo>
                    <a:pt x="2979" y="7285"/>
                  </a:moveTo>
                  <a:cubicBezTo>
                    <a:pt x="2839" y="5674"/>
                    <a:pt x="3714" y="6409"/>
                    <a:pt x="4029" y="5954"/>
                  </a:cubicBezTo>
                  <a:cubicBezTo>
                    <a:pt x="4309" y="5359"/>
                    <a:pt x="4624" y="4764"/>
                    <a:pt x="4764" y="4029"/>
                  </a:cubicBezTo>
                  <a:cubicBezTo>
                    <a:pt x="5044" y="2839"/>
                    <a:pt x="5219" y="179"/>
                    <a:pt x="5219" y="179"/>
                  </a:cubicBezTo>
                  <a:cubicBezTo>
                    <a:pt x="8930" y="179"/>
                    <a:pt x="12465" y="-101"/>
                    <a:pt x="16035" y="39"/>
                  </a:cubicBezTo>
                  <a:cubicBezTo>
                    <a:pt x="16490" y="39"/>
                    <a:pt x="16910" y="39"/>
                    <a:pt x="17225" y="494"/>
                  </a:cubicBezTo>
                  <a:cubicBezTo>
                    <a:pt x="17680" y="949"/>
                    <a:pt x="17505" y="1824"/>
                    <a:pt x="17820" y="2419"/>
                  </a:cubicBezTo>
                  <a:cubicBezTo>
                    <a:pt x="18100" y="3014"/>
                    <a:pt x="18415" y="3609"/>
                    <a:pt x="18870" y="4204"/>
                  </a:cubicBezTo>
                  <a:cubicBezTo>
                    <a:pt x="19010" y="5674"/>
                    <a:pt x="19010" y="7180"/>
                    <a:pt x="19605" y="8510"/>
                  </a:cubicBezTo>
                  <a:cubicBezTo>
                    <a:pt x="19745" y="9105"/>
                    <a:pt x="20655" y="9105"/>
                    <a:pt x="20935" y="9700"/>
                  </a:cubicBezTo>
                  <a:cubicBezTo>
                    <a:pt x="21390" y="10750"/>
                    <a:pt x="21985" y="13235"/>
                    <a:pt x="21985" y="13235"/>
                  </a:cubicBezTo>
                  <a:cubicBezTo>
                    <a:pt x="22265" y="24330"/>
                    <a:pt x="24050" y="19605"/>
                    <a:pt x="21845" y="22125"/>
                  </a:cubicBezTo>
                  <a:cubicBezTo>
                    <a:pt x="19780" y="24505"/>
                    <a:pt x="12220" y="27585"/>
                    <a:pt x="8825" y="28180"/>
                  </a:cubicBezTo>
                  <a:cubicBezTo>
                    <a:pt x="5429" y="28775"/>
                    <a:pt x="2769" y="26990"/>
                    <a:pt x="1264" y="25660"/>
                  </a:cubicBezTo>
                  <a:cubicBezTo>
                    <a:pt x="984" y="24785"/>
                    <a:pt x="809" y="23875"/>
                    <a:pt x="529" y="23140"/>
                  </a:cubicBezTo>
                  <a:cubicBezTo>
                    <a:pt x="389" y="22545"/>
                    <a:pt x="74" y="21950"/>
                    <a:pt x="74" y="21355"/>
                  </a:cubicBezTo>
                  <a:cubicBezTo>
                    <a:pt x="-206" y="18100"/>
                    <a:pt x="354" y="19430"/>
                    <a:pt x="949" y="16910"/>
                  </a:cubicBezTo>
                  <a:cubicBezTo>
                    <a:pt x="949" y="16455"/>
                    <a:pt x="494" y="17365"/>
                    <a:pt x="809" y="15580"/>
                  </a:cubicBezTo>
                  <a:cubicBezTo>
                    <a:pt x="1089" y="13795"/>
                    <a:pt x="1999" y="9210"/>
                    <a:pt x="2454" y="6094"/>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8" name="Freeform: Shape 1777">
              <a:extLst>
                <a:ext uri="{FF2B5EF4-FFF2-40B4-BE49-F238E27FC236}">
                  <a16:creationId xmlns:a16="http://schemas.microsoft.com/office/drawing/2014/main" id="{B01A2F10-AFEB-1F77-CFFE-045610EB48EB}"/>
                </a:ext>
              </a:extLst>
            </p:cNvPr>
            <p:cNvSpPr/>
            <p:nvPr/>
          </p:nvSpPr>
          <p:spPr>
            <a:xfrm>
              <a:off x="11087384" y="4315857"/>
              <a:ext cx="26557" cy="32008"/>
            </a:xfrm>
            <a:custGeom>
              <a:avLst/>
              <a:gdLst>
                <a:gd name="csX0" fmla="*/ 9277 w 26557"/>
                <a:gd name="csY0" fmla="*/ 32008 h 32008"/>
                <a:gd name="csX1" fmla="*/ 1857 w 26557"/>
                <a:gd name="csY1" fmla="*/ 28893 h 32008"/>
                <a:gd name="csX2" fmla="*/ 1332 w 26557"/>
                <a:gd name="csY2" fmla="*/ 28088 h 32008"/>
                <a:gd name="csX3" fmla="*/ 982 w 26557"/>
                <a:gd name="csY3" fmla="*/ 26828 h 32008"/>
                <a:gd name="csX4" fmla="*/ 632 w 26557"/>
                <a:gd name="csY4" fmla="*/ 25638 h 32008"/>
                <a:gd name="csX5" fmla="*/ 422 w 26557"/>
                <a:gd name="csY5" fmla="*/ 24973 h 32008"/>
                <a:gd name="csX6" fmla="*/ 71 w 26557"/>
                <a:gd name="csY6" fmla="*/ 23223 h 32008"/>
                <a:gd name="csX7" fmla="*/ 562 w 26557"/>
                <a:gd name="csY7" fmla="*/ 19513 h 32008"/>
                <a:gd name="csX8" fmla="*/ 807 w 26557"/>
                <a:gd name="csY8" fmla="*/ 19058 h 32008"/>
                <a:gd name="csX9" fmla="*/ 807 w 26557"/>
                <a:gd name="csY9" fmla="*/ 17133 h 32008"/>
                <a:gd name="csX10" fmla="*/ 1192 w 26557"/>
                <a:gd name="csY10" fmla="*/ 14928 h 32008"/>
                <a:gd name="csX11" fmla="*/ 2417 w 26557"/>
                <a:gd name="csY11" fmla="*/ 7717 h 32008"/>
                <a:gd name="csX12" fmla="*/ 3117 w 26557"/>
                <a:gd name="csY12" fmla="*/ 7822 h 32008"/>
                <a:gd name="csX13" fmla="*/ 4552 w 26557"/>
                <a:gd name="csY13" fmla="*/ 6317 h 32008"/>
                <a:gd name="csX14" fmla="*/ 4797 w 26557"/>
                <a:gd name="csY14" fmla="*/ 5547 h 32008"/>
                <a:gd name="csX15" fmla="*/ 5217 w 26557"/>
                <a:gd name="csY15" fmla="*/ 1942 h 32008"/>
                <a:gd name="csX16" fmla="*/ 7072 w 26557"/>
                <a:gd name="csY16" fmla="*/ 192 h 32008"/>
                <a:gd name="csX17" fmla="*/ 11447 w 26557"/>
                <a:gd name="csY17" fmla="*/ 122 h 32008"/>
                <a:gd name="csX18" fmla="*/ 17957 w 26557"/>
                <a:gd name="csY18" fmla="*/ 52 h 32008"/>
                <a:gd name="csX19" fmla="*/ 20617 w 26557"/>
                <a:gd name="csY19" fmla="*/ 1347 h 32008"/>
                <a:gd name="csX20" fmla="*/ 21282 w 26557"/>
                <a:gd name="csY20" fmla="*/ 3132 h 32008"/>
                <a:gd name="csX21" fmla="*/ 22192 w 26557"/>
                <a:gd name="csY21" fmla="*/ 4917 h 32008"/>
                <a:gd name="csX22" fmla="*/ 22542 w 26557"/>
                <a:gd name="csY22" fmla="*/ 5862 h 32008"/>
                <a:gd name="csX23" fmla="*/ 22612 w 26557"/>
                <a:gd name="csY23" fmla="*/ 6737 h 32008"/>
                <a:gd name="csX24" fmla="*/ 23032 w 26557"/>
                <a:gd name="csY24" fmla="*/ 9327 h 32008"/>
                <a:gd name="csX25" fmla="*/ 24433 w 26557"/>
                <a:gd name="csY25" fmla="*/ 10692 h 32008"/>
                <a:gd name="csX26" fmla="*/ 25623 w 26557"/>
                <a:gd name="csY26" fmla="*/ 14613 h 32008"/>
                <a:gd name="csX27" fmla="*/ 26428 w 26557"/>
                <a:gd name="csY27" fmla="*/ 22068 h 32008"/>
                <a:gd name="csX28" fmla="*/ 25588 w 26557"/>
                <a:gd name="csY28" fmla="*/ 24623 h 32008"/>
                <a:gd name="csX29" fmla="*/ 25028 w 26557"/>
                <a:gd name="csY29" fmla="*/ 25148 h 32008"/>
                <a:gd name="csX30" fmla="*/ 10957 w 26557"/>
                <a:gd name="csY30" fmla="*/ 31798 h 32008"/>
                <a:gd name="csX31" fmla="*/ 9277 w 26557"/>
                <a:gd name="csY31" fmla="*/ 31938 h 32008"/>
                <a:gd name="csX32" fmla="*/ 4692 w 26557"/>
                <a:gd name="csY32" fmla="*/ 26478 h 32008"/>
                <a:gd name="csX33" fmla="*/ 10292 w 26557"/>
                <a:gd name="csY33" fmla="*/ 28228 h 32008"/>
                <a:gd name="csX34" fmla="*/ 22227 w 26557"/>
                <a:gd name="csY34" fmla="*/ 22768 h 32008"/>
                <a:gd name="csX35" fmla="*/ 22577 w 26557"/>
                <a:gd name="csY35" fmla="*/ 22348 h 32008"/>
                <a:gd name="csX36" fmla="*/ 21912 w 26557"/>
                <a:gd name="csY36" fmla="*/ 15138 h 32008"/>
                <a:gd name="csX37" fmla="*/ 21142 w 26557"/>
                <a:gd name="csY37" fmla="*/ 12617 h 32008"/>
                <a:gd name="csX38" fmla="*/ 19602 w 26557"/>
                <a:gd name="csY38" fmla="*/ 10797 h 32008"/>
                <a:gd name="csX39" fmla="*/ 18867 w 26557"/>
                <a:gd name="csY39" fmla="*/ 7052 h 32008"/>
                <a:gd name="csX40" fmla="*/ 18867 w 26557"/>
                <a:gd name="csY40" fmla="*/ 6702 h 32008"/>
                <a:gd name="csX41" fmla="*/ 17957 w 26557"/>
                <a:gd name="csY41" fmla="*/ 5092 h 32008"/>
                <a:gd name="csX42" fmla="*/ 17572 w 26557"/>
                <a:gd name="csY42" fmla="*/ 3762 h 32008"/>
                <a:gd name="csX43" fmla="*/ 11517 w 26557"/>
                <a:gd name="csY43" fmla="*/ 3832 h 32008"/>
                <a:gd name="csX44" fmla="*/ 8752 w 26557"/>
                <a:gd name="csY44" fmla="*/ 3902 h 32008"/>
                <a:gd name="csX45" fmla="*/ 8402 w 26557"/>
                <a:gd name="csY45" fmla="*/ 6352 h 32008"/>
                <a:gd name="csX46" fmla="*/ 7597 w 26557"/>
                <a:gd name="csY46" fmla="*/ 8557 h 32008"/>
                <a:gd name="csX47" fmla="*/ 5847 w 26557"/>
                <a:gd name="csY47" fmla="*/ 9852 h 32008"/>
                <a:gd name="csX48" fmla="*/ 4832 w 26557"/>
                <a:gd name="csY48" fmla="*/ 15628 h 32008"/>
                <a:gd name="csX49" fmla="*/ 4447 w 26557"/>
                <a:gd name="csY49" fmla="*/ 17798 h 32008"/>
                <a:gd name="csX50" fmla="*/ 4447 w 26557"/>
                <a:gd name="csY50" fmla="*/ 17903 h 32008"/>
                <a:gd name="csX51" fmla="*/ 4657 w 26557"/>
                <a:gd name="csY51" fmla="*/ 18813 h 32008"/>
                <a:gd name="csX52" fmla="*/ 3782 w 26557"/>
                <a:gd name="csY52" fmla="*/ 21403 h 32008"/>
                <a:gd name="csX53" fmla="*/ 3782 w 26557"/>
                <a:gd name="csY53" fmla="*/ 23083 h 32008"/>
                <a:gd name="csX54" fmla="*/ 3957 w 26557"/>
                <a:gd name="csY54" fmla="*/ 23818 h 32008"/>
                <a:gd name="csX55" fmla="*/ 4167 w 26557"/>
                <a:gd name="csY55" fmla="*/ 24553 h 32008"/>
                <a:gd name="csX56" fmla="*/ 4587 w 26557"/>
                <a:gd name="csY56" fmla="*/ 25918 h 32008"/>
                <a:gd name="csX57" fmla="*/ 4762 w 26557"/>
                <a:gd name="csY57" fmla="*/ 26478 h 32008"/>
                <a:gd name="csX58" fmla="*/ 5987 w 26557"/>
                <a:gd name="csY58" fmla="*/ 8942 h 32008"/>
                <a:gd name="csX59" fmla="*/ 5847 w 26557"/>
                <a:gd name="csY59" fmla="*/ 9852 h 32008"/>
                <a:gd name="csX60" fmla="*/ 6687 w 26557"/>
                <a:gd name="csY60" fmla="*/ 8872 h 32008"/>
                <a:gd name="csX61" fmla="*/ 5987 w 26557"/>
                <a:gd name="csY61" fmla="*/ 8977 h 32008"/>
                <a:gd name="csX62" fmla="*/ 23102 w 26557"/>
                <a:gd name="csY62" fmla="*/ 9537 h 32008"/>
                <a:gd name="csX63" fmla="*/ 23102 w 26557"/>
                <a:gd name="csY63" fmla="*/ 9607 h 32008"/>
                <a:gd name="csX64" fmla="*/ 23102 w 26557"/>
                <a:gd name="csY64" fmla="*/ 9537 h 320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Lst>
              <a:rect l="l" t="t" r="r" b="b"/>
              <a:pathLst>
                <a:path w="26557" h="32008">
                  <a:moveTo>
                    <a:pt x="9277" y="32008"/>
                  </a:moveTo>
                  <a:cubicBezTo>
                    <a:pt x="6687" y="32008"/>
                    <a:pt x="4132" y="30958"/>
                    <a:pt x="1857" y="28893"/>
                  </a:cubicBezTo>
                  <a:cubicBezTo>
                    <a:pt x="1612" y="28683"/>
                    <a:pt x="1437" y="28403"/>
                    <a:pt x="1332" y="28088"/>
                  </a:cubicBezTo>
                  <a:cubicBezTo>
                    <a:pt x="1192" y="27668"/>
                    <a:pt x="1087" y="27248"/>
                    <a:pt x="982" y="26828"/>
                  </a:cubicBezTo>
                  <a:cubicBezTo>
                    <a:pt x="877" y="26408"/>
                    <a:pt x="772" y="25988"/>
                    <a:pt x="632" y="25638"/>
                  </a:cubicBezTo>
                  <a:lnTo>
                    <a:pt x="422" y="24973"/>
                  </a:lnTo>
                  <a:cubicBezTo>
                    <a:pt x="246" y="24483"/>
                    <a:pt x="71" y="23888"/>
                    <a:pt x="71" y="23223"/>
                  </a:cubicBezTo>
                  <a:cubicBezTo>
                    <a:pt x="-104" y="21158"/>
                    <a:pt x="36" y="20493"/>
                    <a:pt x="562" y="19513"/>
                  </a:cubicBezTo>
                  <a:cubicBezTo>
                    <a:pt x="632" y="19373"/>
                    <a:pt x="737" y="19268"/>
                    <a:pt x="807" y="19058"/>
                  </a:cubicBezTo>
                  <a:cubicBezTo>
                    <a:pt x="632" y="18428"/>
                    <a:pt x="737" y="17728"/>
                    <a:pt x="807" y="17133"/>
                  </a:cubicBezTo>
                  <a:lnTo>
                    <a:pt x="1192" y="14928"/>
                  </a:lnTo>
                  <a:cubicBezTo>
                    <a:pt x="1577" y="12792"/>
                    <a:pt x="2102" y="9887"/>
                    <a:pt x="2417" y="7717"/>
                  </a:cubicBezTo>
                  <a:lnTo>
                    <a:pt x="3117" y="7822"/>
                  </a:lnTo>
                  <a:cubicBezTo>
                    <a:pt x="3397" y="6947"/>
                    <a:pt x="4027" y="6527"/>
                    <a:pt x="4552" y="6317"/>
                  </a:cubicBezTo>
                  <a:cubicBezTo>
                    <a:pt x="4657" y="6072"/>
                    <a:pt x="4762" y="5827"/>
                    <a:pt x="4797" y="5547"/>
                  </a:cubicBezTo>
                  <a:cubicBezTo>
                    <a:pt x="5007" y="4707"/>
                    <a:pt x="5147" y="2922"/>
                    <a:pt x="5217" y="1942"/>
                  </a:cubicBezTo>
                  <a:cubicBezTo>
                    <a:pt x="5287" y="962"/>
                    <a:pt x="6092" y="192"/>
                    <a:pt x="7072" y="192"/>
                  </a:cubicBezTo>
                  <a:cubicBezTo>
                    <a:pt x="8542" y="192"/>
                    <a:pt x="9977" y="157"/>
                    <a:pt x="11447" y="122"/>
                  </a:cubicBezTo>
                  <a:cubicBezTo>
                    <a:pt x="13652" y="17"/>
                    <a:pt x="15752" y="-53"/>
                    <a:pt x="17957" y="52"/>
                  </a:cubicBezTo>
                  <a:cubicBezTo>
                    <a:pt x="18552" y="-18"/>
                    <a:pt x="19777" y="52"/>
                    <a:pt x="20617" y="1347"/>
                  </a:cubicBezTo>
                  <a:cubicBezTo>
                    <a:pt x="21037" y="1697"/>
                    <a:pt x="21177" y="2572"/>
                    <a:pt x="21282" y="3132"/>
                  </a:cubicBezTo>
                  <a:cubicBezTo>
                    <a:pt x="21562" y="3937"/>
                    <a:pt x="21807" y="4427"/>
                    <a:pt x="22192" y="4917"/>
                  </a:cubicBezTo>
                  <a:cubicBezTo>
                    <a:pt x="22402" y="5197"/>
                    <a:pt x="22507" y="5512"/>
                    <a:pt x="22542" y="5862"/>
                  </a:cubicBezTo>
                  <a:lnTo>
                    <a:pt x="22612" y="6737"/>
                  </a:lnTo>
                  <a:cubicBezTo>
                    <a:pt x="22682" y="7682"/>
                    <a:pt x="22752" y="8592"/>
                    <a:pt x="23032" y="9327"/>
                  </a:cubicBezTo>
                  <a:cubicBezTo>
                    <a:pt x="23522" y="9607"/>
                    <a:pt x="24083" y="9992"/>
                    <a:pt x="24433" y="10692"/>
                  </a:cubicBezTo>
                  <a:cubicBezTo>
                    <a:pt x="24958" y="11917"/>
                    <a:pt x="25553" y="14333"/>
                    <a:pt x="25623" y="14613"/>
                  </a:cubicBezTo>
                  <a:cubicBezTo>
                    <a:pt x="25763" y="18568"/>
                    <a:pt x="26043" y="21088"/>
                    <a:pt x="26428" y="22068"/>
                  </a:cubicBezTo>
                  <a:cubicBezTo>
                    <a:pt x="26778" y="22908"/>
                    <a:pt x="26393" y="24133"/>
                    <a:pt x="25588" y="24623"/>
                  </a:cubicBezTo>
                  <a:cubicBezTo>
                    <a:pt x="25553" y="24623"/>
                    <a:pt x="25378" y="24728"/>
                    <a:pt x="25028" y="25148"/>
                  </a:cubicBezTo>
                  <a:cubicBezTo>
                    <a:pt x="22472" y="28053"/>
                    <a:pt x="14352" y="31203"/>
                    <a:pt x="10957" y="31798"/>
                  </a:cubicBezTo>
                  <a:cubicBezTo>
                    <a:pt x="10397" y="31903"/>
                    <a:pt x="9837" y="31938"/>
                    <a:pt x="9277" y="31938"/>
                  </a:cubicBezTo>
                  <a:close/>
                  <a:moveTo>
                    <a:pt x="4692" y="26478"/>
                  </a:moveTo>
                  <a:cubicBezTo>
                    <a:pt x="6512" y="27983"/>
                    <a:pt x="8297" y="28543"/>
                    <a:pt x="10292" y="28228"/>
                  </a:cubicBezTo>
                  <a:cubicBezTo>
                    <a:pt x="13617" y="27633"/>
                    <a:pt x="20617" y="24623"/>
                    <a:pt x="22227" y="22768"/>
                  </a:cubicBezTo>
                  <a:cubicBezTo>
                    <a:pt x="22367" y="22628"/>
                    <a:pt x="22472" y="22488"/>
                    <a:pt x="22577" y="22348"/>
                  </a:cubicBezTo>
                  <a:cubicBezTo>
                    <a:pt x="22332" y="21193"/>
                    <a:pt x="22017" y="19128"/>
                    <a:pt x="21912" y="15138"/>
                  </a:cubicBezTo>
                  <a:cubicBezTo>
                    <a:pt x="21772" y="14683"/>
                    <a:pt x="21422" y="13353"/>
                    <a:pt x="21142" y="12617"/>
                  </a:cubicBezTo>
                  <a:cubicBezTo>
                    <a:pt x="20582" y="12302"/>
                    <a:pt x="19847" y="11812"/>
                    <a:pt x="19602" y="10797"/>
                  </a:cubicBezTo>
                  <a:cubicBezTo>
                    <a:pt x="19112" y="9747"/>
                    <a:pt x="18972" y="8312"/>
                    <a:pt x="18867" y="7052"/>
                  </a:cubicBezTo>
                  <a:lnTo>
                    <a:pt x="18867" y="6702"/>
                  </a:lnTo>
                  <a:cubicBezTo>
                    <a:pt x="18482" y="6177"/>
                    <a:pt x="18202" y="5617"/>
                    <a:pt x="17957" y="5092"/>
                  </a:cubicBezTo>
                  <a:cubicBezTo>
                    <a:pt x="17712" y="4602"/>
                    <a:pt x="17642" y="4112"/>
                    <a:pt x="17572" y="3762"/>
                  </a:cubicBezTo>
                  <a:cubicBezTo>
                    <a:pt x="15437" y="3692"/>
                    <a:pt x="13477" y="3762"/>
                    <a:pt x="11517" y="3832"/>
                  </a:cubicBezTo>
                  <a:cubicBezTo>
                    <a:pt x="10607" y="3832"/>
                    <a:pt x="9697" y="3902"/>
                    <a:pt x="8752" y="3902"/>
                  </a:cubicBezTo>
                  <a:cubicBezTo>
                    <a:pt x="8682" y="4742"/>
                    <a:pt x="8542" y="5722"/>
                    <a:pt x="8402" y="6352"/>
                  </a:cubicBezTo>
                  <a:cubicBezTo>
                    <a:pt x="8227" y="7192"/>
                    <a:pt x="7912" y="7927"/>
                    <a:pt x="7597" y="8557"/>
                  </a:cubicBezTo>
                  <a:cubicBezTo>
                    <a:pt x="6932" y="9537"/>
                    <a:pt x="6232" y="9782"/>
                    <a:pt x="5847" y="9852"/>
                  </a:cubicBezTo>
                  <a:cubicBezTo>
                    <a:pt x="5532" y="11777"/>
                    <a:pt x="5147" y="13948"/>
                    <a:pt x="4832" y="15628"/>
                  </a:cubicBezTo>
                  <a:lnTo>
                    <a:pt x="4447" y="17798"/>
                  </a:lnTo>
                  <a:cubicBezTo>
                    <a:pt x="4447" y="17798"/>
                    <a:pt x="4447" y="17868"/>
                    <a:pt x="4447" y="17903"/>
                  </a:cubicBezTo>
                  <a:cubicBezTo>
                    <a:pt x="4552" y="18148"/>
                    <a:pt x="4657" y="18428"/>
                    <a:pt x="4657" y="18813"/>
                  </a:cubicBezTo>
                  <a:cubicBezTo>
                    <a:pt x="4342" y="20388"/>
                    <a:pt x="4062" y="20948"/>
                    <a:pt x="3782" y="21403"/>
                  </a:cubicBezTo>
                  <a:cubicBezTo>
                    <a:pt x="3712" y="21578"/>
                    <a:pt x="3642" y="21893"/>
                    <a:pt x="3782" y="23083"/>
                  </a:cubicBezTo>
                  <a:cubicBezTo>
                    <a:pt x="3782" y="23328"/>
                    <a:pt x="3887" y="23643"/>
                    <a:pt x="3957" y="23818"/>
                  </a:cubicBezTo>
                  <a:cubicBezTo>
                    <a:pt x="4027" y="24063"/>
                    <a:pt x="4132" y="24308"/>
                    <a:pt x="4167" y="24553"/>
                  </a:cubicBezTo>
                  <a:cubicBezTo>
                    <a:pt x="4272" y="24833"/>
                    <a:pt x="4412" y="25358"/>
                    <a:pt x="4587" y="25918"/>
                  </a:cubicBezTo>
                  <a:cubicBezTo>
                    <a:pt x="4657" y="26093"/>
                    <a:pt x="4692" y="26303"/>
                    <a:pt x="4762" y="26478"/>
                  </a:cubicBezTo>
                  <a:close/>
                  <a:moveTo>
                    <a:pt x="5987" y="8942"/>
                  </a:moveTo>
                  <a:cubicBezTo>
                    <a:pt x="5952" y="9222"/>
                    <a:pt x="5917" y="9537"/>
                    <a:pt x="5847" y="9852"/>
                  </a:cubicBezTo>
                  <a:cubicBezTo>
                    <a:pt x="6267" y="9677"/>
                    <a:pt x="6652" y="9222"/>
                    <a:pt x="6687" y="8872"/>
                  </a:cubicBezTo>
                  <a:lnTo>
                    <a:pt x="5987" y="8977"/>
                  </a:lnTo>
                  <a:close/>
                  <a:moveTo>
                    <a:pt x="23102" y="9537"/>
                  </a:moveTo>
                  <a:cubicBezTo>
                    <a:pt x="23102" y="9537"/>
                    <a:pt x="23102" y="9572"/>
                    <a:pt x="23102" y="9607"/>
                  </a:cubicBezTo>
                  <a:cubicBezTo>
                    <a:pt x="23102" y="9607"/>
                    <a:pt x="23102" y="9572"/>
                    <a:pt x="23102" y="9537"/>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79" name="Freeform: Shape 1778">
              <a:extLst>
                <a:ext uri="{FF2B5EF4-FFF2-40B4-BE49-F238E27FC236}">
                  <a16:creationId xmlns:a16="http://schemas.microsoft.com/office/drawing/2014/main" id="{0FCA7648-7866-3854-1AB1-ED2B9A99BF38}"/>
                </a:ext>
              </a:extLst>
            </p:cNvPr>
            <p:cNvSpPr/>
            <p:nvPr/>
          </p:nvSpPr>
          <p:spPr>
            <a:xfrm>
              <a:off x="11019518" y="4340445"/>
              <a:ext cx="31488" cy="24921"/>
            </a:xfrm>
            <a:custGeom>
              <a:avLst/>
              <a:gdLst>
                <a:gd name="csX0" fmla="*/ 19181 w 31488"/>
                <a:gd name="csY0" fmla="*/ 1610 h 24921"/>
                <a:gd name="csX1" fmla="*/ 20966 w 31488"/>
                <a:gd name="csY1" fmla="*/ 1750 h 24921"/>
                <a:gd name="csX2" fmla="*/ 23031 w 31488"/>
                <a:gd name="csY2" fmla="*/ 1470 h 24921"/>
                <a:gd name="csX3" fmla="*/ 26881 w 31488"/>
                <a:gd name="csY3" fmla="*/ 0 h 24921"/>
                <a:gd name="csX4" fmla="*/ 31326 w 31488"/>
                <a:gd name="csY4" fmla="*/ 8890 h 24921"/>
                <a:gd name="csX5" fmla="*/ 31326 w 31488"/>
                <a:gd name="csY5" fmla="*/ 10080 h 24921"/>
                <a:gd name="csX6" fmla="*/ 29856 w 31488"/>
                <a:gd name="csY6" fmla="*/ 11550 h 24921"/>
                <a:gd name="csX7" fmla="*/ 28386 w 31488"/>
                <a:gd name="csY7" fmla="*/ 13161 h 24921"/>
                <a:gd name="csX8" fmla="*/ 24536 w 31488"/>
                <a:gd name="csY8" fmla="*/ 15961 h 24921"/>
                <a:gd name="csX9" fmla="*/ 23941 w 31488"/>
                <a:gd name="csY9" fmla="*/ 17571 h 24921"/>
                <a:gd name="csX10" fmla="*/ 20826 w 31488"/>
                <a:gd name="csY10" fmla="*/ 20231 h 24921"/>
                <a:gd name="csX11" fmla="*/ 12391 w 31488"/>
                <a:gd name="csY11" fmla="*/ 24536 h 24921"/>
                <a:gd name="csX12" fmla="*/ 1295 w 31488"/>
                <a:gd name="csY12" fmla="*/ 16556 h 24921"/>
                <a:gd name="csX13" fmla="*/ 700 w 31488"/>
                <a:gd name="csY13" fmla="*/ 8995 h 24921"/>
                <a:gd name="csX14" fmla="*/ 2905 w 31488"/>
                <a:gd name="csY14" fmla="*/ 7210 h 24921"/>
                <a:gd name="csX15" fmla="*/ 4375 w 31488"/>
                <a:gd name="csY15" fmla="*/ 5880 h 24921"/>
                <a:gd name="csX16" fmla="*/ 9100 w 31488"/>
                <a:gd name="csY16" fmla="*/ 4410 h 24921"/>
                <a:gd name="csX17" fmla="*/ 10290 w 31488"/>
                <a:gd name="csY17" fmla="*/ 3815 h 24921"/>
                <a:gd name="csX18" fmla="*/ 20056 w 31488"/>
                <a:gd name="csY18" fmla="*/ 560 h 249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31488" h="24921">
                  <a:moveTo>
                    <a:pt x="19181" y="1610"/>
                  </a:moveTo>
                  <a:cubicBezTo>
                    <a:pt x="20651" y="560"/>
                    <a:pt x="20371" y="1750"/>
                    <a:pt x="20966" y="1750"/>
                  </a:cubicBezTo>
                  <a:cubicBezTo>
                    <a:pt x="21561" y="1750"/>
                    <a:pt x="22296" y="1610"/>
                    <a:pt x="23031" y="1470"/>
                  </a:cubicBezTo>
                  <a:cubicBezTo>
                    <a:pt x="24361" y="1015"/>
                    <a:pt x="26881" y="0"/>
                    <a:pt x="26881" y="0"/>
                  </a:cubicBezTo>
                  <a:cubicBezTo>
                    <a:pt x="28351" y="2975"/>
                    <a:pt x="29996" y="5775"/>
                    <a:pt x="31326" y="8890"/>
                  </a:cubicBezTo>
                  <a:cubicBezTo>
                    <a:pt x="31466" y="9170"/>
                    <a:pt x="31606" y="9625"/>
                    <a:pt x="31326" y="10080"/>
                  </a:cubicBezTo>
                  <a:cubicBezTo>
                    <a:pt x="31046" y="10675"/>
                    <a:pt x="30276" y="10955"/>
                    <a:pt x="29856" y="11550"/>
                  </a:cubicBezTo>
                  <a:cubicBezTo>
                    <a:pt x="29261" y="12005"/>
                    <a:pt x="28806" y="12601"/>
                    <a:pt x="28386" y="13161"/>
                  </a:cubicBezTo>
                  <a:cubicBezTo>
                    <a:pt x="27196" y="14036"/>
                    <a:pt x="25586" y="14771"/>
                    <a:pt x="24536" y="15961"/>
                  </a:cubicBezTo>
                  <a:cubicBezTo>
                    <a:pt x="23941" y="16416"/>
                    <a:pt x="24396" y="17011"/>
                    <a:pt x="23941" y="17571"/>
                  </a:cubicBezTo>
                  <a:cubicBezTo>
                    <a:pt x="23206" y="18446"/>
                    <a:pt x="20826" y="20231"/>
                    <a:pt x="20826" y="20231"/>
                  </a:cubicBezTo>
                  <a:cubicBezTo>
                    <a:pt x="10325" y="25866"/>
                    <a:pt x="15646" y="25096"/>
                    <a:pt x="12391" y="24536"/>
                  </a:cubicBezTo>
                  <a:cubicBezTo>
                    <a:pt x="9135" y="23801"/>
                    <a:pt x="3220" y="19076"/>
                    <a:pt x="1295" y="16556"/>
                  </a:cubicBezTo>
                  <a:cubicBezTo>
                    <a:pt x="-630" y="13896"/>
                    <a:pt x="-35" y="10920"/>
                    <a:pt x="700" y="8995"/>
                  </a:cubicBezTo>
                  <a:cubicBezTo>
                    <a:pt x="1435" y="8400"/>
                    <a:pt x="2170" y="7805"/>
                    <a:pt x="2905" y="7210"/>
                  </a:cubicBezTo>
                  <a:cubicBezTo>
                    <a:pt x="3360" y="6755"/>
                    <a:pt x="3780" y="6160"/>
                    <a:pt x="4375" y="5880"/>
                  </a:cubicBezTo>
                  <a:cubicBezTo>
                    <a:pt x="7350" y="4095"/>
                    <a:pt x="6300" y="5285"/>
                    <a:pt x="9100" y="4410"/>
                  </a:cubicBezTo>
                  <a:cubicBezTo>
                    <a:pt x="9380" y="4270"/>
                    <a:pt x="8365" y="4410"/>
                    <a:pt x="10290" y="3815"/>
                  </a:cubicBezTo>
                  <a:cubicBezTo>
                    <a:pt x="12076" y="3080"/>
                    <a:pt x="16801" y="1610"/>
                    <a:pt x="20056" y="560"/>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0" name="Freeform: Shape 1779">
              <a:extLst>
                <a:ext uri="{FF2B5EF4-FFF2-40B4-BE49-F238E27FC236}">
                  <a16:creationId xmlns:a16="http://schemas.microsoft.com/office/drawing/2014/main" id="{53F5A72D-C21B-11FC-B737-2A8EEC1DB24F}"/>
                </a:ext>
              </a:extLst>
            </p:cNvPr>
            <p:cNvSpPr/>
            <p:nvPr/>
          </p:nvSpPr>
          <p:spPr>
            <a:xfrm>
              <a:off x="11017609" y="4338562"/>
              <a:ext cx="35266" cy="28624"/>
            </a:xfrm>
            <a:custGeom>
              <a:avLst/>
              <a:gdLst>
                <a:gd name="csX0" fmla="*/ 15455 w 35266"/>
                <a:gd name="csY0" fmla="*/ 28625 h 28624"/>
                <a:gd name="csX1" fmla="*/ 14580 w 35266"/>
                <a:gd name="csY1" fmla="*/ 28415 h 28624"/>
                <a:gd name="csX2" fmla="*/ 13915 w 35266"/>
                <a:gd name="csY2" fmla="*/ 28240 h 28624"/>
                <a:gd name="csX3" fmla="*/ 1664 w 35266"/>
                <a:gd name="csY3" fmla="*/ 19559 h 28624"/>
                <a:gd name="csX4" fmla="*/ 824 w 35266"/>
                <a:gd name="csY4" fmla="*/ 10214 h 28624"/>
                <a:gd name="csX5" fmla="*/ 1419 w 35266"/>
                <a:gd name="csY5" fmla="*/ 9444 h 28624"/>
                <a:gd name="csX6" fmla="*/ 3659 w 35266"/>
                <a:gd name="csY6" fmla="*/ 7659 h 28624"/>
                <a:gd name="csX7" fmla="*/ 5444 w 35266"/>
                <a:gd name="csY7" fmla="*/ 6119 h 28624"/>
                <a:gd name="csX8" fmla="*/ 8909 w 35266"/>
                <a:gd name="csY8" fmla="*/ 4824 h 28624"/>
                <a:gd name="csX9" fmla="*/ 9854 w 35266"/>
                <a:gd name="csY9" fmla="*/ 4684 h 28624"/>
                <a:gd name="csX10" fmla="*/ 11675 w 35266"/>
                <a:gd name="csY10" fmla="*/ 3914 h 28624"/>
                <a:gd name="csX11" fmla="*/ 21440 w 35266"/>
                <a:gd name="csY11" fmla="*/ 659 h 28624"/>
                <a:gd name="csX12" fmla="*/ 21615 w 35266"/>
                <a:gd name="csY12" fmla="*/ 1219 h 28624"/>
                <a:gd name="csX13" fmla="*/ 23470 w 35266"/>
                <a:gd name="csY13" fmla="*/ 1709 h 28624"/>
                <a:gd name="csX14" fmla="*/ 24380 w 35266"/>
                <a:gd name="csY14" fmla="*/ 1534 h 28624"/>
                <a:gd name="csX15" fmla="*/ 28125 w 35266"/>
                <a:gd name="csY15" fmla="*/ 134 h 28624"/>
                <a:gd name="csX16" fmla="*/ 30470 w 35266"/>
                <a:gd name="csY16" fmla="*/ 1044 h 28624"/>
                <a:gd name="csX17" fmla="*/ 32010 w 35266"/>
                <a:gd name="csY17" fmla="*/ 4019 h 28624"/>
                <a:gd name="csX18" fmla="*/ 34951 w 35266"/>
                <a:gd name="csY18" fmla="*/ 10004 h 28624"/>
                <a:gd name="csX19" fmla="*/ 34811 w 35266"/>
                <a:gd name="csY19" fmla="*/ 12909 h 28624"/>
                <a:gd name="csX20" fmla="*/ 33620 w 35266"/>
                <a:gd name="csY20" fmla="*/ 14169 h 28624"/>
                <a:gd name="csX21" fmla="*/ 33235 w 35266"/>
                <a:gd name="csY21" fmla="*/ 14484 h 28624"/>
                <a:gd name="csX22" fmla="*/ 32885 w 35266"/>
                <a:gd name="csY22" fmla="*/ 14834 h 28624"/>
                <a:gd name="csX23" fmla="*/ 31835 w 35266"/>
                <a:gd name="csY23" fmla="*/ 16024 h 28624"/>
                <a:gd name="csX24" fmla="*/ 31415 w 35266"/>
                <a:gd name="csY24" fmla="*/ 16479 h 28624"/>
                <a:gd name="csX25" fmla="*/ 29945 w 35266"/>
                <a:gd name="csY25" fmla="*/ 17459 h 28624"/>
                <a:gd name="csX26" fmla="*/ 27950 w 35266"/>
                <a:gd name="csY26" fmla="*/ 18929 h 28624"/>
                <a:gd name="csX27" fmla="*/ 27355 w 35266"/>
                <a:gd name="csY27" fmla="*/ 20539 h 28624"/>
                <a:gd name="csX28" fmla="*/ 23890 w 35266"/>
                <a:gd name="csY28" fmla="*/ 23585 h 28624"/>
                <a:gd name="csX29" fmla="*/ 17170 w 35266"/>
                <a:gd name="csY29" fmla="*/ 27890 h 28624"/>
                <a:gd name="csX30" fmla="*/ 15525 w 35266"/>
                <a:gd name="csY30" fmla="*/ 28625 h 28624"/>
                <a:gd name="csX31" fmla="*/ 4149 w 35266"/>
                <a:gd name="csY31" fmla="*/ 11999 h 28624"/>
                <a:gd name="csX32" fmla="*/ 4674 w 35266"/>
                <a:gd name="csY32" fmla="*/ 17354 h 28624"/>
                <a:gd name="csX33" fmla="*/ 14685 w 35266"/>
                <a:gd name="csY33" fmla="*/ 24635 h 28624"/>
                <a:gd name="csX34" fmla="*/ 15070 w 35266"/>
                <a:gd name="csY34" fmla="*/ 24705 h 28624"/>
                <a:gd name="csX35" fmla="*/ 21825 w 35266"/>
                <a:gd name="csY35" fmla="*/ 20504 h 28624"/>
                <a:gd name="csX36" fmla="*/ 24380 w 35266"/>
                <a:gd name="csY36" fmla="*/ 18299 h 28624"/>
                <a:gd name="csX37" fmla="*/ 25290 w 35266"/>
                <a:gd name="csY37" fmla="*/ 16374 h 28624"/>
                <a:gd name="csX38" fmla="*/ 27915 w 35266"/>
                <a:gd name="csY38" fmla="*/ 14379 h 28624"/>
                <a:gd name="csX39" fmla="*/ 28930 w 35266"/>
                <a:gd name="csY39" fmla="*/ 13714 h 28624"/>
                <a:gd name="csX40" fmla="*/ 30435 w 35266"/>
                <a:gd name="csY40" fmla="*/ 12069 h 28624"/>
                <a:gd name="csX41" fmla="*/ 31275 w 35266"/>
                <a:gd name="csY41" fmla="*/ 11299 h 28624"/>
                <a:gd name="csX42" fmla="*/ 31380 w 35266"/>
                <a:gd name="csY42" fmla="*/ 11194 h 28624"/>
                <a:gd name="csX43" fmla="*/ 28685 w 35266"/>
                <a:gd name="csY43" fmla="*/ 5769 h 28624"/>
                <a:gd name="csX44" fmla="*/ 27880 w 35266"/>
                <a:gd name="csY44" fmla="*/ 4229 h 28624"/>
                <a:gd name="csX45" fmla="*/ 25465 w 35266"/>
                <a:gd name="csY45" fmla="*/ 5104 h 28624"/>
                <a:gd name="csX46" fmla="*/ 21090 w 35266"/>
                <a:gd name="csY46" fmla="*/ 4684 h 28624"/>
                <a:gd name="csX47" fmla="*/ 12900 w 35266"/>
                <a:gd name="csY47" fmla="*/ 7414 h 28624"/>
                <a:gd name="csX48" fmla="*/ 12305 w 35266"/>
                <a:gd name="csY48" fmla="*/ 7589 h 28624"/>
                <a:gd name="csX49" fmla="*/ 11815 w 35266"/>
                <a:gd name="csY49" fmla="*/ 7939 h 28624"/>
                <a:gd name="csX50" fmla="*/ 9014 w 35266"/>
                <a:gd name="csY50" fmla="*/ 8534 h 28624"/>
                <a:gd name="csX51" fmla="*/ 7229 w 35266"/>
                <a:gd name="csY51" fmla="*/ 9374 h 28624"/>
                <a:gd name="csX52" fmla="*/ 6459 w 35266"/>
                <a:gd name="csY52" fmla="*/ 10039 h 28624"/>
                <a:gd name="csX53" fmla="*/ 6144 w 35266"/>
                <a:gd name="csY53" fmla="*/ 10389 h 28624"/>
                <a:gd name="csX54" fmla="*/ 4149 w 35266"/>
                <a:gd name="csY54" fmla="*/ 11964 h 28624"/>
                <a:gd name="csX55" fmla="*/ 21160 w 35266"/>
                <a:gd name="csY55" fmla="*/ 4649 h 28624"/>
                <a:gd name="csX56" fmla="*/ 22385 w 35266"/>
                <a:gd name="csY56" fmla="*/ 4859 h 28624"/>
                <a:gd name="csX57" fmla="*/ 22000 w 35266"/>
                <a:gd name="csY57" fmla="*/ 4404 h 28624"/>
                <a:gd name="csX58" fmla="*/ 21160 w 35266"/>
                <a:gd name="csY58" fmla="*/ 4649 h 286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Lst>
              <a:rect l="l" t="t" r="r" b="b"/>
              <a:pathLst>
                <a:path w="35266" h="28624">
                  <a:moveTo>
                    <a:pt x="15455" y="28625"/>
                  </a:moveTo>
                  <a:cubicBezTo>
                    <a:pt x="15140" y="28625"/>
                    <a:pt x="14860" y="28555"/>
                    <a:pt x="14580" y="28415"/>
                  </a:cubicBezTo>
                  <a:cubicBezTo>
                    <a:pt x="14440" y="28345"/>
                    <a:pt x="14090" y="28275"/>
                    <a:pt x="13915" y="28240"/>
                  </a:cubicBezTo>
                  <a:cubicBezTo>
                    <a:pt x="10134" y="27365"/>
                    <a:pt x="3834" y="22359"/>
                    <a:pt x="1664" y="19559"/>
                  </a:cubicBezTo>
                  <a:cubicBezTo>
                    <a:pt x="-226" y="16899"/>
                    <a:pt x="-506" y="13714"/>
                    <a:pt x="824" y="10214"/>
                  </a:cubicBezTo>
                  <a:cubicBezTo>
                    <a:pt x="929" y="9899"/>
                    <a:pt x="1139" y="9619"/>
                    <a:pt x="1419" y="9444"/>
                  </a:cubicBezTo>
                  <a:lnTo>
                    <a:pt x="3659" y="7659"/>
                  </a:lnTo>
                  <a:cubicBezTo>
                    <a:pt x="4149" y="7099"/>
                    <a:pt x="4674" y="6504"/>
                    <a:pt x="5444" y="6119"/>
                  </a:cubicBezTo>
                  <a:cubicBezTo>
                    <a:pt x="7194" y="5069"/>
                    <a:pt x="7859" y="4859"/>
                    <a:pt x="8909" y="4824"/>
                  </a:cubicBezTo>
                  <a:cubicBezTo>
                    <a:pt x="9154" y="4824"/>
                    <a:pt x="9399" y="4824"/>
                    <a:pt x="9854" y="4684"/>
                  </a:cubicBezTo>
                  <a:cubicBezTo>
                    <a:pt x="10309" y="4334"/>
                    <a:pt x="10975" y="4124"/>
                    <a:pt x="11675" y="3914"/>
                  </a:cubicBezTo>
                  <a:cubicBezTo>
                    <a:pt x="13250" y="3249"/>
                    <a:pt x="17380" y="1919"/>
                    <a:pt x="21440" y="659"/>
                  </a:cubicBezTo>
                  <a:lnTo>
                    <a:pt x="21615" y="1219"/>
                  </a:lnTo>
                  <a:cubicBezTo>
                    <a:pt x="22385" y="1079"/>
                    <a:pt x="23015" y="1359"/>
                    <a:pt x="23470" y="1709"/>
                  </a:cubicBezTo>
                  <a:cubicBezTo>
                    <a:pt x="23750" y="1674"/>
                    <a:pt x="24065" y="1604"/>
                    <a:pt x="24380" y="1534"/>
                  </a:cubicBezTo>
                  <a:cubicBezTo>
                    <a:pt x="25675" y="1114"/>
                    <a:pt x="28125" y="134"/>
                    <a:pt x="28125" y="134"/>
                  </a:cubicBezTo>
                  <a:cubicBezTo>
                    <a:pt x="28965" y="-216"/>
                    <a:pt x="30015" y="134"/>
                    <a:pt x="30470" y="1044"/>
                  </a:cubicBezTo>
                  <a:cubicBezTo>
                    <a:pt x="30960" y="2059"/>
                    <a:pt x="31485" y="3039"/>
                    <a:pt x="32010" y="4019"/>
                  </a:cubicBezTo>
                  <a:cubicBezTo>
                    <a:pt x="33025" y="5979"/>
                    <a:pt x="34076" y="7904"/>
                    <a:pt x="34951" y="10004"/>
                  </a:cubicBezTo>
                  <a:cubicBezTo>
                    <a:pt x="35581" y="11334"/>
                    <a:pt x="35126" y="12419"/>
                    <a:pt x="34811" y="12909"/>
                  </a:cubicBezTo>
                  <a:cubicBezTo>
                    <a:pt x="34566" y="13434"/>
                    <a:pt x="34005" y="13854"/>
                    <a:pt x="33620" y="14169"/>
                  </a:cubicBezTo>
                  <a:cubicBezTo>
                    <a:pt x="33445" y="14274"/>
                    <a:pt x="33305" y="14414"/>
                    <a:pt x="33235" y="14484"/>
                  </a:cubicBezTo>
                  <a:cubicBezTo>
                    <a:pt x="33130" y="14624"/>
                    <a:pt x="33025" y="14729"/>
                    <a:pt x="32885" y="14834"/>
                  </a:cubicBezTo>
                  <a:cubicBezTo>
                    <a:pt x="32535" y="15114"/>
                    <a:pt x="32220" y="15534"/>
                    <a:pt x="31835" y="16024"/>
                  </a:cubicBezTo>
                  <a:cubicBezTo>
                    <a:pt x="31730" y="16164"/>
                    <a:pt x="31555" y="16374"/>
                    <a:pt x="31415" y="16479"/>
                  </a:cubicBezTo>
                  <a:cubicBezTo>
                    <a:pt x="30960" y="16829"/>
                    <a:pt x="30470" y="17144"/>
                    <a:pt x="29945" y="17459"/>
                  </a:cubicBezTo>
                  <a:cubicBezTo>
                    <a:pt x="29210" y="17914"/>
                    <a:pt x="28440" y="18404"/>
                    <a:pt x="27950" y="18929"/>
                  </a:cubicBezTo>
                  <a:cubicBezTo>
                    <a:pt x="27915" y="19384"/>
                    <a:pt x="27775" y="19944"/>
                    <a:pt x="27355" y="20539"/>
                  </a:cubicBezTo>
                  <a:cubicBezTo>
                    <a:pt x="26480" y="21624"/>
                    <a:pt x="24310" y="23270"/>
                    <a:pt x="23890" y="23585"/>
                  </a:cubicBezTo>
                  <a:cubicBezTo>
                    <a:pt x="18500" y="26490"/>
                    <a:pt x="17380" y="27610"/>
                    <a:pt x="17170" y="27890"/>
                  </a:cubicBezTo>
                  <a:cubicBezTo>
                    <a:pt x="16820" y="28345"/>
                    <a:pt x="16155" y="28625"/>
                    <a:pt x="15525" y="28625"/>
                  </a:cubicBezTo>
                  <a:close/>
                  <a:moveTo>
                    <a:pt x="4149" y="11999"/>
                  </a:moveTo>
                  <a:cubicBezTo>
                    <a:pt x="3449" y="14099"/>
                    <a:pt x="3659" y="15919"/>
                    <a:pt x="4674" y="17354"/>
                  </a:cubicBezTo>
                  <a:cubicBezTo>
                    <a:pt x="6319" y="19524"/>
                    <a:pt x="11955" y="24005"/>
                    <a:pt x="14685" y="24635"/>
                  </a:cubicBezTo>
                  <a:cubicBezTo>
                    <a:pt x="14825" y="24635"/>
                    <a:pt x="14965" y="24705"/>
                    <a:pt x="15070" y="24705"/>
                  </a:cubicBezTo>
                  <a:cubicBezTo>
                    <a:pt x="15980" y="23935"/>
                    <a:pt x="17835" y="22639"/>
                    <a:pt x="21825" y="20504"/>
                  </a:cubicBezTo>
                  <a:cubicBezTo>
                    <a:pt x="22490" y="19979"/>
                    <a:pt x="23960" y="18789"/>
                    <a:pt x="24380" y="18299"/>
                  </a:cubicBezTo>
                  <a:cubicBezTo>
                    <a:pt x="24205" y="18124"/>
                    <a:pt x="24310" y="17109"/>
                    <a:pt x="25290" y="16374"/>
                  </a:cubicBezTo>
                  <a:cubicBezTo>
                    <a:pt x="25850" y="15674"/>
                    <a:pt x="26935" y="14974"/>
                    <a:pt x="27915" y="14379"/>
                  </a:cubicBezTo>
                  <a:cubicBezTo>
                    <a:pt x="28265" y="14169"/>
                    <a:pt x="28615" y="13959"/>
                    <a:pt x="28930" y="13714"/>
                  </a:cubicBezTo>
                  <a:cubicBezTo>
                    <a:pt x="29385" y="13119"/>
                    <a:pt x="29840" y="12559"/>
                    <a:pt x="30435" y="12069"/>
                  </a:cubicBezTo>
                  <a:cubicBezTo>
                    <a:pt x="30715" y="11754"/>
                    <a:pt x="31030" y="11474"/>
                    <a:pt x="31275" y="11299"/>
                  </a:cubicBezTo>
                  <a:lnTo>
                    <a:pt x="31380" y="11194"/>
                  </a:lnTo>
                  <a:cubicBezTo>
                    <a:pt x="30540" y="9269"/>
                    <a:pt x="29595" y="7519"/>
                    <a:pt x="28685" y="5769"/>
                  </a:cubicBezTo>
                  <a:cubicBezTo>
                    <a:pt x="28440" y="5279"/>
                    <a:pt x="28160" y="4754"/>
                    <a:pt x="27880" y="4229"/>
                  </a:cubicBezTo>
                  <a:cubicBezTo>
                    <a:pt x="27075" y="4544"/>
                    <a:pt x="26130" y="4894"/>
                    <a:pt x="25465" y="5104"/>
                  </a:cubicBezTo>
                  <a:cubicBezTo>
                    <a:pt x="22945" y="5664"/>
                    <a:pt x="22000" y="5769"/>
                    <a:pt x="21090" y="4684"/>
                  </a:cubicBezTo>
                  <a:cubicBezTo>
                    <a:pt x="18185" y="5594"/>
                    <a:pt x="14370" y="6819"/>
                    <a:pt x="12900" y="7414"/>
                  </a:cubicBezTo>
                  <a:cubicBezTo>
                    <a:pt x="12655" y="7484"/>
                    <a:pt x="12480" y="7554"/>
                    <a:pt x="12305" y="7589"/>
                  </a:cubicBezTo>
                  <a:cubicBezTo>
                    <a:pt x="12165" y="7729"/>
                    <a:pt x="11990" y="7834"/>
                    <a:pt x="11815" y="7939"/>
                  </a:cubicBezTo>
                  <a:cubicBezTo>
                    <a:pt x="10274" y="8464"/>
                    <a:pt x="9574" y="8499"/>
                    <a:pt x="9014" y="8534"/>
                  </a:cubicBezTo>
                  <a:cubicBezTo>
                    <a:pt x="8734" y="8534"/>
                    <a:pt x="8559" y="8534"/>
                    <a:pt x="7229" y="9374"/>
                  </a:cubicBezTo>
                  <a:cubicBezTo>
                    <a:pt x="6949" y="9514"/>
                    <a:pt x="6669" y="9794"/>
                    <a:pt x="6459" y="10039"/>
                  </a:cubicBezTo>
                  <a:cubicBezTo>
                    <a:pt x="6459" y="10039"/>
                    <a:pt x="6144" y="10389"/>
                    <a:pt x="6144" y="10389"/>
                  </a:cubicBezTo>
                  <a:lnTo>
                    <a:pt x="4149" y="11964"/>
                  </a:lnTo>
                  <a:close/>
                  <a:moveTo>
                    <a:pt x="21160" y="4649"/>
                  </a:moveTo>
                  <a:cubicBezTo>
                    <a:pt x="21545" y="4894"/>
                    <a:pt x="22070" y="4999"/>
                    <a:pt x="22385" y="4859"/>
                  </a:cubicBezTo>
                  <a:lnTo>
                    <a:pt x="22000" y="4404"/>
                  </a:lnTo>
                  <a:cubicBezTo>
                    <a:pt x="21755" y="4474"/>
                    <a:pt x="21475" y="4579"/>
                    <a:pt x="21160" y="4649"/>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1" name="Freeform: Shape 1780">
              <a:extLst>
                <a:ext uri="{FF2B5EF4-FFF2-40B4-BE49-F238E27FC236}">
                  <a16:creationId xmlns:a16="http://schemas.microsoft.com/office/drawing/2014/main" id="{5217C060-26D5-CFD7-F8F3-4E10DA95FE62}"/>
                </a:ext>
              </a:extLst>
            </p:cNvPr>
            <p:cNvSpPr/>
            <p:nvPr/>
          </p:nvSpPr>
          <p:spPr>
            <a:xfrm>
              <a:off x="10986867" y="4370554"/>
              <a:ext cx="25615" cy="30122"/>
            </a:xfrm>
            <a:custGeom>
              <a:avLst/>
              <a:gdLst>
                <a:gd name="csX0" fmla="*/ 24146 w 25615"/>
                <a:gd name="csY0" fmla="*/ 17074 h 30122"/>
                <a:gd name="csX1" fmla="*/ 23866 w 25615"/>
                <a:gd name="csY1" fmla="*/ 18859 h 30122"/>
                <a:gd name="csX2" fmla="*/ 24146 w 25615"/>
                <a:gd name="csY2" fmla="*/ 20784 h 30122"/>
                <a:gd name="csX3" fmla="*/ 25616 w 25615"/>
                <a:gd name="csY3" fmla="*/ 24494 h 30122"/>
                <a:gd name="csX4" fmla="*/ 16446 w 25615"/>
                <a:gd name="csY4" fmla="*/ 29814 h 30122"/>
                <a:gd name="csX5" fmla="*/ 14976 w 25615"/>
                <a:gd name="csY5" fmla="*/ 29954 h 30122"/>
                <a:gd name="csX6" fmla="*/ 13645 w 25615"/>
                <a:gd name="csY6" fmla="*/ 28624 h 30122"/>
                <a:gd name="csX7" fmla="*/ 11860 w 25615"/>
                <a:gd name="csY7" fmla="*/ 27574 h 30122"/>
                <a:gd name="csX8" fmla="*/ 9200 w 25615"/>
                <a:gd name="csY8" fmla="*/ 24179 h 30122"/>
                <a:gd name="csX9" fmla="*/ 7415 w 25615"/>
                <a:gd name="csY9" fmla="*/ 23899 h 30122"/>
                <a:gd name="csX10" fmla="*/ 4615 w 25615"/>
                <a:gd name="csY10" fmla="*/ 21239 h 30122"/>
                <a:gd name="csX11" fmla="*/ 485 w 25615"/>
                <a:gd name="csY11" fmla="*/ 13538 h 30122"/>
                <a:gd name="csX12" fmla="*/ 8920 w 25615"/>
                <a:gd name="csY12" fmla="*/ 1848 h 30122"/>
                <a:gd name="csX13" fmla="*/ 16761 w 25615"/>
                <a:gd name="csY13" fmla="*/ 378 h 30122"/>
                <a:gd name="csX14" fmla="*/ 18546 w 25615"/>
                <a:gd name="csY14" fmla="*/ 2163 h 30122"/>
                <a:gd name="csX15" fmla="*/ 19876 w 25615"/>
                <a:gd name="csY15" fmla="*/ 3493 h 30122"/>
                <a:gd name="csX16" fmla="*/ 21346 w 25615"/>
                <a:gd name="csY16" fmla="*/ 7798 h 30122"/>
                <a:gd name="csX17" fmla="*/ 22081 w 25615"/>
                <a:gd name="csY17" fmla="*/ 8848 h 30122"/>
                <a:gd name="csX18" fmla="*/ 25196 w 25615"/>
                <a:gd name="csY18" fmla="*/ 18019 h 301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5615" h="30122">
                  <a:moveTo>
                    <a:pt x="24146" y="17074"/>
                  </a:moveTo>
                  <a:cubicBezTo>
                    <a:pt x="25021" y="18544"/>
                    <a:pt x="24006" y="18264"/>
                    <a:pt x="23866" y="18859"/>
                  </a:cubicBezTo>
                  <a:cubicBezTo>
                    <a:pt x="24006" y="19454"/>
                    <a:pt x="24006" y="20189"/>
                    <a:pt x="24146" y="20784"/>
                  </a:cubicBezTo>
                  <a:cubicBezTo>
                    <a:pt x="24601" y="22114"/>
                    <a:pt x="25616" y="24494"/>
                    <a:pt x="25616" y="24494"/>
                  </a:cubicBezTo>
                  <a:cubicBezTo>
                    <a:pt x="22501" y="26279"/>
                    <a:pt x="19561" y="28204"/>
                    <a:pt x="16446" y="29814"/>
                  </a:cubicBezTo>
                  <a:cubicBezTo>
                    <a:pt x="15991" y="30094"/>
                    <a:pt x="15571" y="30269"/>
                    <a:pt x="14976" y="29954"/>
                  </a:cubicBezTo>
                  <a:cubicBezTo>
                    <a:pt x="14521" y="29814"/>
                    <a:pt x="14101" y="29079"/>
                    <a:pt x="13645" y="28624"/>
                  </a:cubicBezTo>
                  <a:cubicBezTo>
                    <a:pt x="13050" y="28169"/>
                    <a:pt x="12455" y="27889"/>
                    <a:pt x="11860" y="27574"/>
                  </a:cubicBezTo>
                  <a:cubicBezTo>
                    <a:pt x="10985" y="26384"/>
                    <a:pt x="10250" y="25054"/>
                    <a:pt x="9200" y="24179"/>
                  </a:cubicBezTo>
                  <a:cubicBezTo>
                    <a:pt x="8605" y="23724"/>
                    <a:pt x="8010" y="24179"/>
                    <a:pt x="7415" y="23899"/>
                  </a:cubicBezTo>
                  <a:cubicBezTo>
                    <a:pt x="6365" y="23164"/>
                    <a:pt x="4615" y="21239"/>
                    <a:pt x="4615" y="21239"/>
                  </a:cubicBezTo>
                  <a:cubicBezTo>
                    <a:pt x="-845" y="11753"/>
                    <a:pt x="-285" y="16794"/>
                    <a:pt x="485" y="13538"/>
                  </a:cubicBezTo>
                  <a:cubicBezTo>
                    <a:pt x="1220" y="10283"/>
                    <a:pt x="6260" y="4053"/>
                    <a:pt x="8920" y="1848"/>
                  </a:cubicBezTo>
                  <a:cubicBezTo>
                    <a:pt x="11720" y="-357"/>
                    <a:pt x="14836" y="-217"/>
                    <a:pt x="16761" y="378"/>
                  </a:cubicBezTo>
                  <a:cubicBezTo>
                    <a:pt x="17356" y="973"/>
                    <a:pt x="17951" y="1568"/>
                    <a:pt x="18546" y="2163"/>
                  </a:cubicBezTo>
                  <a:cubicBezTo>
                    <a:pt x="19001" y="2618"/>
                    <a:pt x="19596" y="2898"/>
                    <a:pt x="19876" y="3493"/>
                  </a:cubicBezTo>
                  <a:cubicBezTo>
                    <a:pt x="21661" y="6153"/>
                    <a:pt x="20471" y="5278"/>
                    <a:pt x="21346" y="7798"/>
                  </a:cubicBezTo>
                  <a:cubicBezTo>
                    <a:pt x="21486" y="8253"/>
                    <a:pt x="21346" y="7203"/>
                    <a:pt x="22081" y="8848"/>
                  </a:cubicBezTo>
                  <a:cubicBezTo>
                    <a:pt x="22676" y="10458"/>
                    <a:pt x="24146" y="14903"/>
                    <a:pt x="25196" y="18019"/>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2" name="Freeform: Shape 1781">
              <a:extLst>
                <a:ext uri="{FF2B5EF4-FFF2-40B4-BE49-F238E27FC236}">
                  <a16:creationId xmlns:a16="http://schemas.microsoft.com/office/drawing/2014/main" id="{4CCEF569-FF8B-AF1E-256B-79B65C708F8C}"/>
                </a:ext>
              </a:extLst>
            </p:cNvPr>
            <p:cNvSpPr/>
            <p:nvPr/>
          </p:nvSpPr>
          <p:spPr>
            <a:xfrm>
              <a:off x="10985111" y="4368709"/>
              <a:ext cx="29243" cy="33863"/>
            </a:xfrm>
            <a:custGeom>
              <a:avLst/>
              <a:gdLst>
                <a:gd name="csX0" fmla="*/ 17361 w 29243"/>
                <a:gd name="csY0" fmla="*/ 33829 h 33863"/>
                <a:gd name="csX1" fmla="*/ 15891 w 29243"/>
                <a:gd name="csY1" fmla="*/ 33444 h 33863"/>
                <a:gd name="csX2" fmla="*/ 14421 w 29243"/>
                <a:gd name="csY2" fmla="*/ 32149 h 33863"/>
                <a:gd name="csX3" fmla="*/ 14106 w 29243"/>
                <a:gd name="csY3" fmla="*/ 31764 h 33863"/>
                <a:gd name="csX4" fmla="*/ 12951 w 29243"/>
                <a:gd name="csY4" fmla="*/ 31134 h 33863"/>
                <a:gd name="csX5" fmla="*/ 12146 w 29243"/>
                <a:gd name="csY5" fmla="*/ 30503 h 33863"/>
                <a:gd name="csX6" fmla="*/ 11376 w 29243"/>
                <a:gd name="csY6" fmla="*/ 29418 h 33863"/>
                <a:gd name="csX7" fmla="*/ 10046 w 29243"/>
                <a:gd name="csY7" fmla="*/ 27668 h 33863"/>
                <a:gd name="csX8" fmla="*/ 8366 w 29243"/>
                <a:gd name="csY8" fmla="*/ 27353 h 33863"/>
                <a:gd name="csX9" fmla="*/ 5041 w 29243"/>
                <a:gd name="csY9" fmla="*/ 24308 h 33863"/>
                <a:gd name="csX10" fmla="*/ 841 w 29243"/>
                <a:gd name="csY10" fmla="*/ 18323 h 33863"/>
                <a:gd name="csX11" fmla="*/ 211 w 29243"/>
                <a:gd name="csY11" fmla="*/ 15698 h 33863"/>
                <a:gd name="csX12" fmla="*/ 456 w 29243"/>
                <a:gd name="csY12" fmla="*/ 14963 h 33863"/>
                <a:gd name="csX13" fmla="*/ 9521 w 29243"/>
                <a:gd name="csY13" fmla="*/ 2257 h 33863"/>
                <a:gd name="csX14" fmla="*/ 19076 w 29243"/>
                <a:gd name="csY14" fmla="*/ 437 h 33863"/>
                <a:gd name="csX15" fmla="*/ 19846 w 29243"/>
                <a:gd name="csY15" fmla="*/ 892 h 33863"/>
                <a:gd name="csX16" fmla="*/ 21632 w 29243"/>
                <a:gd name="csY16" fmla="*/ 2677 h 33863"/>
                <a:gd name="csX17" fmla="*/ 23312 w 29243"/>
                <a:gd name="csY17" fmla="*/ 4497 h 33863"/>
                <a:gd name="csX18" fmla="*/ 24572 w 29243"/>
                <a:gd name="csY18" fmla="*/ 7683 h 33863"/>
                <a:gd name="csX19" fmla="*/ 24712 w 29243"/>
                <a:gd name="csY19" fmla="*/ 8453 h 33863"/>
                <a:gd name="csX20" fmla="*/ 25552 w 29243"/>
                <a:gd name="csY20" fmla="*/ 9888 h 33863"/>
                <a:gd name="csX21" fmla="*/ 28177 w 29243"/>
                <a:gd name="csY21" fmla="*/ 17623 h 33863"/>
                <a:gd name="csX22" fmla="*/ 28702 w 29243"/>
                <a:gd name="csY22" fmla="*/ 19233 h 33863"/>
                <a:gd name="csX23" fmla="*/ 28072 w 29243"/>
                <a:gd name="csY23" fmla="*/ 19443 h 33863"/>
                <a:gd name="csX24" fmla="*/ 27582 w 29243"/>
                <a:gd name="csY24" fmla="*/ 21298 h 33863"/>
                <a:gd name="csX25" fmla="*/ 27582 w 29243"/>
                <a:gd name="csY25" fmla="*/ 21473 h 33863"/>
                <a:gd name="csX26" fmla="*/ 27687 w 29243"/>
                <a:gd name="csY26" fmla="*/ 22208 h 33863"/>
                <a:gd name="csX27" fmla="*/ 29087 w 29243"/>
                <a:gd name="csY27" fmla="*/ 25603 h 33863"/>
                <a:gd name="csX28" fmla="*/ 28317 w 29243"/>
                <a:gd name="csY28" fmla="*/ 27948 h 33863"/>
                <a:gd name="csX29" fmla="*/ 24852 w 29243"/>
                <a:gd name="csY29" fmla="*/ 30013 h 33863"/>
                <a:gd name="csX30" fmla="*/ 19111 w 29243"/>
                <a:gd name="csY30" fmla="*/ 33339 h 33863"/>
                <a:gd name="csX31" fmla="*/ 17396 w 29243"/>
                <a:gd name="csY31" fmla="*/ 33864 h 33863"/>
                <a:gd name="csX32" fmla="*/ 14876 w 29243"/>
                <a:gd name="csY32" fmla="*/ 27983 h 33863"/>
                <a:gd name="csX33" fmla="*/ 16521 w 29243"/>
                <a:gd name="csY33" fmla="*/ 28998 h 33863"/>
                <a:gd name="csX34" fmla="*/ 17291 w 29243"/>
                <a:gd name="csY34" fmla="*/ 29803 h 33863"/>
                <a:gd name="csX35" fmla="*/ 17431 w 29243"/>
                <a:gd name="csY35" fmla="*/ 29978 h 33863"/>
                <a:gd name="csX36" fmla="*/ 22962 w 29243"/>
                <a:gd name="csY36" fmla="*/ 26793 h 33863"/>
                <a:gd name="csX37" fmla="*/ 25062 w 29243"/>
                <a:gd name="csY37" fmla="*/ 25533 h 33863"/>
                <a:gd name="csX38" fmla="*/ 24152 w 29243"/>
                <a:gd name="csY38" fmla="*/ 23223 h 33863"/>
                <a:gd name="csX39" fmla="*/ 23907 w 29243"/>
                <a:gd name="csY39" fmla="*/ 21858 h 33863"/>
                <a:gd name="csX40" fmla="*/ 23802 w 29243"/>
                <a:gd name="csY40" fmla="*/ 21123 h 33863"/>
                <a:gd name="csX41" fmla="*/ 23802 w 29243"/>
                <a:gd name="csY41" fmla="*/ 20248 h 33863"/>
                <a:gd name="csX42" fmla="*/ 24677 w 29243"/>
                <a:gd name="csY42" fmla="*/ 18918 h 33863"/>
                <a:gd name="csX43" fmla="*/ 24607 w 29243"/>
                <a:gd name="csY43" fmla="*/ 18778 h 33863"/>
                <a:gd name="csX44" fmla="*/ 22052 w 29243"/>
                <a:gd name="csY44" fmla="*/ 11253 h 33863"/>
                <a:gd name="csX45" fmla="*/ 21982 w 29243"/>
                <a:gd name="csY45" fmla="*/ 11148 h 33863"/>
                <a:gd name="csX46" fmla="*/ 21282 w 29243"/>
                <a:gd name="csY46" fmla="*/ 10133 h 33863"/>
                <a:gd name="csX47" fmla="*/ 20792 w 29243"/>
                <a:gd name="csY47" fmla="*/ 7788 h 33863"/>
                <a:gd name="csX48" fmla="*/ 20021 w 29243"/>
                <a:gd name="csY48" fmla="*/ 6282 h 33863"/>
                <a:gd name="csX49" fmla="*/ 19566 w 29243"/>
                <a:gd name="csY49" fmla="*/ 5792 h 33863"/>
                <a:gd name="csX50" fmla="*/ 18901 w 29243"/>
                <a:gd name="csY50" fmla="*/ 5232 h 33863"/>
                <a:gd name="csX51" fmla="*/ 17466 w 29243"/>
                <a:gd name="csY51" fmla="*/ 3797 h 33863"/>
                <a:gd name="csX52" fmla="*/ 11761 w 29243"/>
                <a:gd name="csY52" fmla="*/ 5057 h 33863"/>
                <a:gd name="csX53" fmla="*/ 3991 w 29243"/>
                <a:gd name="csY53" fmla="*/ 15698 h 33863"/>
                <a:gd name="csX54" fmla="*/ 3886 w 29243"/>
                <a:gd name="csY54" fmla="*/ 16118 h 33863"/>
                <a:gd name="csX55" fmla="*/ 7946 w 29243"/>
                <a:gd name="csY55" fmla="*/ 22068 h 33863"/>
                <a:gd name="csX56" fmla="*/ 9906 w 29243"/>
                <a:gd name="csY56" fmla="*/ 23888 h 33863"/>
                <a:gd name="csX57" fmla="*/ 12041 w 29243"/>
                <a:gd name="csY57" fmla="*/ 24483 h 33863"/>
                <a:gd name="csX58" fmla="*/ 14386 w 29243"/>
                <a:gd name="csY58" fmla="*/ 27283 h 33863"/>
                <a:gd name="csX59" fmla="*/ 14841 w 29243"/>
                <a:gd name="csY59" fmla="*/ 27913 h 33863"/>
                <a:gd name="csX60" fmla="*/ 24712 w 29243"/>
                <a:gd name="csY60" fmla="*/ 18953 h 33863"/>
                <a:gd name="csX61" fmla="*/ 24467 w 29243"/>
                <a:gd name="csY61" fmla="*/ 20108 h 33863"/>
                <a:gd name="csX62" fmla="*/ 24992 w 29243"/>
                <a:gd name="csY62" fmla="*/ 19723 h 33863"/>
                <a:gd name="csX63" fmla="*/ 24712 w 29243"/>
                <a:gd name="csY63" fmla="*/ 18918 h 338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29243" h="33863">
                  <a:moveTo>
                    <a:pt x="17361" y="33829"/>
                  </a:moveTo>
                  <a:cubicBezTo>
                    <a:pt x="16871" y="33829"/>
                    <a:pt x="16381" y="33689"/>
                    <a:pt x="15891" y="33444"/>
                  </a:cubicBezTo>
                  <a:cubicBezTo>
                    <a:pt x="15366" y="33269"/>
                    <a:pt x="14841" y="32674"/>
                    <a:pt x="14421" y="32149"/>
                  </a:cubicBezTo>
                  <a:cubicBezTo>
                    <a:pt x="14316" y="32009"/>
                    <a:pt x="14211" y="31869"/>
                    <a:pt x="14106" y="31764"/>
                  </a:cubicBezTo>
                  <a:cubicBezTo>
                    <a:pt x="13861" y="31589"/>
                    <a:pt x="13406" y="31344"/>
                    <a:pt x="12951" y="31134"/>
                  </a:cubicBezTo>
                  <a:cubicBezTo>
                    <a:pt x="12706" y="30994"/>
                    <a:pt x="12321" y="30749"/>
                    <a:pt x="12146" y="30503"/>
                  </a:cubicBezTo>
                  <a:cubicBezTo>
                    <a:pt x="11901" y="30154"/>
                    <a:pt x="11621" y="29768"/>
                    <a:pt x="11376" y="29418"/>
                  </a:cubicBezTo>
                  <a:cubicBezTo>
                    <a:pt x="10921" y="28753"/>
                    <a:pt x="10501" y="28123"/>
                    <a:pt x="10046" y="27668"/>
                  </a:cubicBezTo>
                  <a:cubicBezTo>
                    <a:pt x="9591" y="27738"/>
                    <a:pt x="8961" y="27668"/>
                    <a:pt x="8366" y="27353"/>
                  </a:cubicBezTo>
                  <a:cubicBezTo>
                    <a:pt x="6966" y="26373"/>
                    <a:pt x="5216" y="24518"/>
                    <a:pt x="5041" y="24308"/>
                  </a:cubicBezTo>
                  <a:cubicBezTo>
                    <a:pt x="2206" y="19478"/>
                    <a:pt x="1086" y="18498"/>
                    <a:pt x="841" y="18323"/>
                  </a:cubicBezTo>
                  <a:cubicBezTo>
                    <a:pt x="71" y="17798"/>
                    <a:pt x="-244" y="16538"/>
                    <a:pt x="211" y="15698"/>
                  </a:cubicBezTo>
                  <a:cubicBezTo>
                    <a:pt x="211" y="15628"/>
                    <a:pt x="316" y="15488"/>
                    <a:pt x="456" y="14963"/>
                  </a:cubicBezTo>
                  <a:cubicBezTo>
                    <a:pt x="1366" y="10973"/>
                    <a:pt x="6826" y="4462"/>
                    <a:pt x="9521" y="2257"/>
                  </a:cubicBezTo>
                  <a:cubicBezTo>
                    <a:pt x="13581" y="-893"/>
                    <a:pt x="17851" y="52"/>
                    <a:pt x="19076" y="437"/>
                  </a:cubicBezTo>
                  <a:cubicBezTo>
                    <a:pt x="19356" y="507"/>
                    <a:pt x="19636" y="682"/>
                    <a:pt x="19846" y="892"/>
                  </a:cubicBezTo>
                  <a:lnTo>
                    <a:pt x="21632" y="2677"/>
                  </a:lnTo>
                  <a:cubicBezTo>
                    <a:pt x="22367" y="3272"/>
                    <a:pt x="22927" y="3762"/>
                    <a:pt x="23312" y="4497"/>
                  </a:cubicBezTo>
                  <a:cubicBezTo>
                    <a:pt x="24327" y="6002"/>
                    <a:pt x="24537" y="6667"/>
                    <a:pt x="24572" y="7683"/>
                  </a:cubicBezTo>
                  <a:cubicBezTo>
                    <a:pt x="24572" y="7858"/>
                    <a:pt x="24572" y="8068"/>
                    <a:pt x="24712" y="8453"/>
                  </a:cubicBezTo>
                  <a:cubicBezTo>
                    <a:pt x="25097" y="8873"/>
                    <a:pt x="25342" y="9398"/>
                    <a:pt x="25552" y="9888"/>
                  </a:cubicBezTo>
                  <a:cubicBezTo>
                    <a:pt x="26112" y="11393"/>
                    <a:pt x="27197" y="14753"/>
                    <a:pt x="28177" y="17623"/>
                  </a:cubicBezTo>
                  <a:lnTo>
                    <a:pt x="28702" y="19233"/>
                  </a:lnTo>
                  <a:lnTo>
                    <a:pt x="28072" y="19443"/>
                  </a:lnTo>
                  <a:cubicBezTo>
                    <a:pt x="28212" y="20283"/>
                    <a:pt x="27932" y="20878"/>
                    <a:pt x="27582" y="21298"/>
                  </a:cubicBezTo>
                  <a:cubicBezTo>
                    <a:pt x="27582" y="21368"/>
                    <a:pt x="27582" y="21403"/>
                    <a:pt x="27582" y="21473"/>
                  </a:cubicBezTo>
                  <a:cubicBezTo>
                    <a:pt x="27582" y="21718"/>
                    <a:pt x="27652" y="21963"/>
                    <a:pt x="27687" y="22208"/>
                  </a:cubicBezTo>
                  <a:cubicBezTo>
                    <a:pt x="28072" y="23328"/>
                    <a:pt x="29087" y="25603"/>
                    <a:pt x="29087" y="25603"/>
                  </a:cubicBezTo>
                  <a:cubicBezTo>
                    <a:pt x="29472" y="26443"/>
                    <a:pt x="29122" y="27493"/>
                    <a:pt x="28317" y="27948"/>
                  </a:cubicBezTo>
                  <a:cubicBezTo>
                    <a:pt x="27127" y="28613"/>
                    <a:pt x="26007" y="29313"/>
                    <a:pt x="24852" y="30013"/>
                  </a:cubicBezTo>
                  <a:cubicBezTo>
                    <a:pt x="22962" y="31169"/>
                    <a:pt x="21037" y="32289"/>
                    <a:pt x="19111" y="33339"/>
                  </a:cubicBezTo>
                  <a:cubicBezTo>
                    <a:pt x="18586" y="33689"/>
                    <a:pt x="17991" y="33864"/>
                    <a:pt x="17396" y="33864"/>
                  </a:cubicBezTo>
                  <a:close/>
                  <a:moveTo>
                    <a:pt x="14876" y="27983"/>
                  </a:moveTo>
                  <a:cubicBezTo>
                    <a:pt x="15471" y="28298"/>
                    <a:pt x="15996" y="28578"/>
                    <a:pt x="16521" y="28998"/>
                  </a:cubicBezTo>
                  <a:cubicBezTo>
                    <a:pt x="16906" y="29348"/>
                    <a:pt x="17116" y="29593"/>
                    <a:pt x="17291" y="29803"/>
                  </a:cubicBezTo>
                  <a:cubicBezTo>
                    <a:pt x="17326" y="29873"/>
                    <a:pt x="17396" y="29943"/>
                    <a:pt x="17431" y="29978"/>
                  </a:cubicBezTo>
                  <a:cubicBezTo>
                    <a:pt x="19426" y="28893"/>
                    <a:pt x="21177" y="27843"/>
                    <a:pt x="22962" y="26793"/>
                  </a:cubicBezTo>
                  <a:cubicBezTo>
                    <a:pt x="23662" y="26373"/>
                    <a:pt x="24362" y="25953"/>
                    <a:pt x="25062" y="25533"/>
                  </a:cubicBezTo>
                  <a:cubicBezTo>
                    <a:pt x="24747" y="24763"/>
                    <a:pt x="24397" y="23853"/>
                    <a:pt x="24152" y="23223"/>
                  </a:cubicBezTo>
                  <a:cubicBezTo>
                    <a:pt x="24012" y="22698"/>
                    <a:pt x="23977" y="22278"/>
                    <a:pt x="23907" y="21858"/>
                  </a:cubicBezTo>
                  <a:cubicBezTo>
                    <a:pt x="23907" y="21613"/>
                    <a:pt x="23837" y="21368"/>
                    <a:pt x="23802" y="21123"/>
                  </a:cubicBezTo>
                  <a:cubicBezTo>
                    <a:pt x="23732" y="20843"/>
                    <a:pt x="23732" y="20528"/>
                    <a:pt x="23802" y="20248"/>
                  </a:cubicBezTo>
                  <a:cubicBezTo>
                    <a:pt x="23977" y="19548"/>
                    <a:pt x="24397" y="19128"/>
                    <a:pt x="24677" y="18918"/>
                  </a:cubicBezTo>
                  <a:lnTo>
                    <a:pt x="24607" y="18778"/>
                  </a:lnTo>
                  <a:cubicBezTo>
                    <a:pt x="23662" y="15908"/>
                    <a:pt x="22542" y="12618"/>
                    <a:pt x="22052" y="11253"/>
                  </a:cubicBezTo>
                  <a:cubicBezTo>
                    <a:pt x="22052" y="11253"/>
                    <a:pt x="22052" y="11183"/>
                    <a:pt x="21982" y="11148"/>
                  </a:cubicBezTo>
                  <a:cubicBezTo>
                    <a:pt x="21667" y="10903"/>
                    <a:pt x="21387" y="10518"/>
                    <a:pt x="21282" y="10133"/>
                  </a:cubicBezTo>
                  <a:cubicBezTo>
                    <a:pt x="20861" y="9013"/>
                    <a:pt x="20827" y="8348"/>
                    <a:pt x="20792" y="7788"/>
                  </a:cubicBezTo>
                  <a:cubicBezTo>
                    <a:pt x="20792" y="7578"/>
                    <a:pt x="20687" y="7298"/>
                    <a:pt x="20021" y="6282"/>
                  </a:cubicBezTo>
                  <a:cubicBezTo>
                    <a:pt x="19881" y="6037"/>
                    <a:pt x="19706" y="5897"/>
                    <a:pt x="19566" y="5792"/>
                  </a:cubicBezTo>
                  <a:cubicBezTo>
                    <a:pt x="19321" y="5617"/>
                    <a:pt x="19111" y="5442"/>
                    <a:pt x="18901" y="5232"/>
                  </a:cubicBezTo>
                  <a:lnTo>
                    <a:pt x="17466" y="3797"/>
                  </a:lnTo>
                  <a:cubicBezTo>
                    <a:pt x="16276" y="3482"/>
                    <a:pt x="13966" y="3342"/>
                    <a:pt x="11761" y="5057"/>
                  </a:cubicBezTo>
                  <a:cubicBezTo>
                    <a:pt x="9276" y="7122"/>
                    <a:pt x="4586" y="13038"/>
                    <a:pt x="3991" y="15698"/>
                  </a:cubicBezTo>
                  <a:cubicBezTo>
                    <a:pt x="3991" y="15838"/>
                    <a:pt x="3921" y="15978"/>
                    <a:pt x="3886" y="16118"/>
                  </a:cubicBezTo>
                  <a:cubicBezTo>
                    <a:pt x="4691" y="16993"/>
                    <a:pt x="5951" y="18673"/>
                    <a:pt x="7946" y="22068"/>
                  </a:cubicBezTo>
                  <a:cubicBezTo>
                    <a:pt x="8261" y="22383"/>
                    <a:pt x="9241" y="23363"/>
                    <a:pt x="9906" y="23888"/>
                  </a:cubicBezTo>
                  <a:cubicBezTo>
                    <a:pt x="10501" y="23888"/>
                    <a:pt x="11271" y="23888"/>
                    <a:pt x="12041" y="24483"/>
                  </a:cubicBezTo>
                  <a:cubicBezTo>
                    <a:pt x="13056" y="25323"/>
                    <a:pt x="13721" y="26303"/>
                    <a:pt x="14386" y="27283"/>
                  </a:cubicBezTo>
                  <a:cubicBezTo>
                    <a:pt x="14526" y="27493"/>
                    <a:pt x="14666" y="27703"/>
                    <a:pt x="14841" y="27913"/>
                  </a:cubicBezTo>
                  <a:close/>
                  <a:moveTo>
                    <a:pt x="24712" y="18953"/>
                  </a:moveTo>
                  <a:cubicBezTo>
                    <a:pt x="24467" y="19268"/>
                    <a:pt x="24362" y="19828"/>
                    <a:pt x="24467" y="20108"/>
                  </a:cubicBezTo>
                  <a:lnTo>
                    <a:pt x="24992" y="19723"/>
                  </a:lnTo>
                  <a:lnTo>
                    <a:pt x="24712" y="18918"/>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3" name="Freeform: Shape 1782">
              <a:extLst>
                <a:ext uri="{FF2B5EF4-FFF2-40B4-BE49-F238E27FC236}">
                  <a16:creationId xmlns:a16="http://schemas.microsoft.com/office/drawing/2014/main" id="{15E886CC-D113-3830-61BA-8D454F794BD4}"/>
                </a:ext>
              </a:extLst>
            </p:cNvPr>
            <p:cNvSpPr/>
            <p:nvPr/>
          </p:nvSpPr>
          <p:spPr>
            <a:xfrm>
              <a:off x="10969571" y="4300112"/>
              <a:ext cx="23420" cy="27872"/>
            </a:xfrm>
            <a:custGeom>
              <a:avLst/>
              <a:gdLst>
                <a:gd name="csX0" fmla="*/ 16871 w 23420"/>
                <a:gd name="csY0" fmla="*/ 21677 h 27872"/>
                <a:gd name="csX1" fmla="*/ 15401 w 23420"/>
                <a:gd name="csY1" fmla="*/ 22727 h 27872"/>
                <a:gd name="csX2" fmla="*/ 14351 w 23420"/>
                <a:gd name="csY2" fmla="*/ 24337 h 27872"/>
                <a:gd name="csX3" fmla="*/ 12881 w 23420"/>
                <a:gd name="csY3" fmla="*/ 27872 h 27872"/>
                <a:gd name="csX4" fmla="*/ 2520 w 23420"/>
                <a:gd name="csY4" fmla="*/ 25352 h 27872"/>
                <a:gd name="csX5" fmla="*/ 1330 w 23420"/>
                <a:gd name="csY5" fmla="*/ 24617 h 27872"/>
                <a:gd name="csX6" fmla="*/ 1330 w 23420"/>
                <a:gd name="csY6" fmla="*/ 22692 h 27872"/>
                <a:gd name="csX7" fmla="*/ 735 w 23420"/>
                <a:gd name="csY7" fmla="*/ 20627 h 27872"/>
                <a:gd name="csX8" fmla="*/ 1190 w 23420"/>
                <a:gd name="csY8" fmla="*/ 16322 h 27872"/>
                <a:gd name="csX9" fmla="*/ 140 w 23420"/>
                <a:gd name="csY9" fmla="*/ 14852 h 27872"/>
                <a:gd name="csX10" fmla="*/ 0 w 23420"/>
                <a:gd name="csY10" fmla="*/ 11002 h 27872"/>
                <a:gd name="csX11" fmla="*/ 2380 w 23420"/>
                <a:gd name="csY11" fmla="*/ 2566 h 27872"/>
                <a:gd name="csX12" fmla="*/ 16591 w 23420"/>
                <a:gd name="csY12" fmla="*/ 46 h 27872"/>
                <a:gd name="csX13" fmla="*/ 23381 w 23420"/>
                <a:gd name="csY13" fmla="*/ 4491 h 27872"/>
                <a:gd name="csX14" fmla="*/ 23241 w 23420"/>
                <a:gd name="csY14" fmla="*/ 7011 h 27872"/>
                <a:gd name="csX15" fmla="*/ 23381 w 23420"/>
                <a:gd name="csY15" fmla="*/ 8936 h 27872"/>
                <a:gd name="csX16" fmla="*/ 21316 w 23420"/>
                <a:gd name="csY16" fmla="*/ 12927 h 27872"/>
                <a:gd name="csX17" fmla="*/ 21176 w 23420"/>
                <a:gd name="csY17" fmla="*/ 14257 h 27872"/>
                <a:gd name="csX18" fmla="*/ 17046 w 23420"/>
                <a:gd name="csY18" fmla="*/ 22972 h 278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3420" h="27872">
                  <a:moveTo>
                    <a:pt x="16871" y="21677"/>
                  </a:moveTo>
                  <a:cubicBezTo>
                    <a:pt x="16591" y="23287"/>
                    <a:pt x="15996" y="22412"/>
                    <a:pt x="15401" y="22727"/>
                  </a:cubicBezTo>
                  <a:cubicBezTo>
                    <a:pt x="15121" y="23322"/>
                    <a:pt x="14666" y="23777"/>
                    <a:pt x="14351" y="24337"/>
                  </a:cubicBezTo>
                  <a:cubicBezTo>
                    <a:pt x="13756" y="25527"/>
                    <a:pt x="12881" y="27872"/>
                    <a:pt x="12881" y="27872"/>
                  </a:cubicBezTo>
                  <a:cubicBezTo>
                    <a:pt x="9345" y="27137"/>
                    <a:pt x="5915" y="26402"/>
                    <a:pt x="2520" y="25352"/>
                  </a:cubicBezTo>
                  <a:cubicBezTo>
                    <a:pt x="2065" y="25212"/>
                    <a:pt x="1645" y="25072"/>
                    <a:pt x="1330" y="24617"/>
                  </a:cubicBezTo>
                  <a:cubicBezTo>
                    <a:pt x="1190" y="24022"/>
                    <a:pt x="1330" y="23287"/>
                    <a:pt x="1330" y="22692"/>
                  </a:cubicBezTo>
                  <a:cubicBezTo>
                    <a:pt x="1190" y="21957"/>
                    <a:pt x="1050" y="21362"/>
                    <a:pt x="735" y="20627"/>
                  </a:cubicBezTo>
                  <a:cubicBezTo>
                    <a:pt x="875" y="19157"/>
                    <a:pt x="1330" y="17652"/>
                    <a:pt x="1190" y="16322"/>
                  </a:cubicBezTo>
                  <a:cubicBezTo>
                    <a:pt x="1050" y="15587"/>
                    <a:pt x="315" y="15587"/>
                    <a:pt x="140" y="14852"/>
                  </a:cubicBezTo>
                  <a:cubicBezTo>
                    <a:pt x="0" y="13662"/>
                    <a:pt x="0" y="11002"/>
                    <a:pt x="0" y="11002"/>
                  </a:cubicBezTo>
                  <a:cubicBezTo>
                    <a:pt x="2660" y="361"/>
                    <a:pt x="-280" y="4351"/>
                    <a:pt x="2380" y="2566"/>
                  </a:cubicBezTo>
                  <a:cubicBezTo>
                    <a:pt x="5180" y="781"/>
                    <a:pt x="13196" y="-234"/>
                    <a:pt x="16591" y="46"/>
                  </a:cubicBezTo>
                  <a:cubicBezTo>
                    <a:pt x="20126" y="326"/>
                    <a:pt x="22226" y="2706"/>
                    <a:pt x="23381" y="4491"/>
                  </a:cubicBezTo>
                  <a:cubicBezTo>
                    <a:pt x="23241" y="5366"/>
                    <a:pt x="23241" y="6101"/>
                    <a:pt x="23241" y="7011"/>
                  </a:cubicBezTo>
                  <a:cubicBezTo>
                    <a:pt x="23241" y="7606"/>
                    <a:pt x="23521" y="8201"/>
                    <a:pt x="23381" y="8936"/>
                  </a:cubicBezTo>
                  <a:cubicBezTo>
                    <a:pt x="22786" y="12052"/>
                    <a:pt x="22506" y="10547"/>
                    <a:pt x="21316" y="12927"/>
                  </a:cubicBezTo>
                  <a:cubicBezTo>
                    <a:pt x="21176" y="13382"/>
                    <a:pt x="21911" y="12472"/>
                    <a:pt x="21176" y="14257"/>
                  </a:cubicBezTo>
                  <a:cubicBezTo>
                    <a:pt x="20441" y="15867"/>
                    <a:pt x="18376" y="20032"/>
                    <a:pt x="17046" y="22972"/>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4" name="Freeform: Shape 1783">
              <a:extLst>
                <a:ext uri="{FF2B5EF4-FFF2-40B4-BE49-F238E27FC236}">
                  <a16:creationId xmlns:a16="http://schemas.microsoft.com/office/drawing/2014/main" id="{B69DA66E-09D6-F666-BC10-B07E815FF996}"/>
                </a:ext>
              </a:extLst>
            </p:cNvPr>
            <p:cNvSpPr/>
            <p:nvPr/>
          </p:nvSpPr>
          <p:spPr>
            <a:xfrm>
              <a:off x="10967786" y="4298309"/>
              <a:ext cx="27122" cy="31565"/>
            </a:xfrm>
            <a:custGeom>
              <a:avLst/>
              <a:gdLst>
                <a:gd name="csX0" fmla="*/ 14666 w 27122"/>
                <a:gd name="csY0" fmla="*/ 31566 h 31565"/>
                <a:gd name="csX1" fmla="*/ 14281 w 27122"/>
                <a:gd name="csY1" fmla="*/ 31531 h 31565"/>
                <a:gd name="csX2" fmla="*/ 3745 w 27122"/>
                <a:gd name="csY2" fmla="*/ 28976 h 31565"/>
                <a:gd name="csX3" fmla="*/ 1575 w 27122"/>
                <a:gd name="csY3" fmla="*/ 27471 h 31565"/>
                <a:gd name="csX4" fmla="*/ 1330 w 27122"/>
                <a:gd name="csY4" fmla="*/ 26876 h 31565"/>
                <a:gd name="csX5" fmla="*/ 1260 w 27122"/>
                <a:gd name="csY5" fmla="*/ 24986 h 31565"/>
                <a:gd name="csX6" fmla="*/ 1260 w 27122"/>
                <a:gd name="csY6" fmla="*/ 24496 h 31565"/>
                <a:gd name="csX7" fmla="*/ 840 w 27122"/>
                <a:gd name="csY7" fmla="*/ 23130 h 31565"/>
                <a:gd name="csX8" fmla="*/ 700 w 27122"/>
                <a:gd name="csY8" fmla="*/ 22255 h 31565"/>
                <a:gd name="csX9" fmla="*/ 945 w 27122"/>
                <a:gd name="csY9" fmla="*/ 20575 h 31565"/>
                <a:gd name="csX10" fmla="*/ 1190 w 27122"/>
                <a:gd name="csY10" fmla="*/ 18720 h 31565"/>
                <a:gd name="csX11" fmla="*/ 175 w 27122"/>
                <a:gd name="csY11" fmla="*/ 17040 h 31565"/>
                <a:gd name="csX12" fmla="*/ 0 w 27122"/>
                <a:gd name="csY12" fmla="*/ 12805 h 31565"/>
                <a:gd name="csX13" fmla="*/ 1190 w 27122"/>
                <a:gd name="csY13" fmla="*/ 5420 h 31565"/>
                <a:gd name="csX14" fmla="*/ 2590 w 27122"/>
                <a:gd name="csY14" fmla="*/ 3180 h 31565"/>
                <a:gd name="csX15" fmla="*/ 3185 w 27122"/>
                <a:gd name="csY15" fmla="*/ 2865 h 31565"/>
                <a:gd name="csX16" fmla="*/ 18586 w 27122"/>
                <a:gd name="csY16" fmla="*/ 29 h 31565"/>
                <a:gd name="csX17" fmla="*/ 26776 w 27122"/>
                <a:gd name="csY17" fmla="*/ 5315 h 31565"/>
                <a:gd name="csX18" fmla="*/ 27056 w 27122"/>
                <a:gd name="csY18" fmla="*/ 6645 h 31565"/>
                <a:gd name="csX19" fmla="*/ 26951 w 27122"/>
                <a:gd name="csY19" fmla="*/ 8850 h 31565"/>
                <a:gd name="csX20" fmla="*/ 27056 w 27122"/>
                <a:gd name="csY20" fmla="*/ 11125 h 31565"/>
                <a:gd name="csX21" fmla="*/ 25551 w 27122"/>
                <a:gd name="csY21" fmla="*/ 14520 h 31565"/>
                <a:gd name="csX22" fmla="*/ 25201 w 27122"/>
                <a:gd name="csY22" fmla="*/ 14905 h 31565"/>
                <a:gd name="csX23" fmla="*/ 24711 w 27122"/>
                <a:gd name="csY23" fmla="*/ 16795 h 31565"/>
                <a:gd name="csX24" fmla="*/ 23311 w 27122"/>
                <a:gd name="csY24" fmla="*/ 19770 h 31565"/>
                <a:gd name="csX25" fmla="*/ 20581 w 27122"/>
                <a:gd name="csY25" fmla="*/ 25546 h 31565"/>
                <a:gd name="csX26" fmla="*/ 19986 w 27122"/>
                <a:gd name="csY26" fmla="*/ 25301 h 31565"/>
                <a:gd name="csX27" fmla="*/ 18271 w 27122"/>
                <a:gd name="csY27" fmla="*/ 26316 h 31565"/>
                <a:gd name="csX28" fmla="*/ 18201 w 27122"/>
                <a:gd name="csY28" fmla="*/ 26421 h 31565"/>
                <a:gd name="csX29" fmla="*/ 17851 w 27122"/>
                <a:gd name="csY29" fmla="*/ 26981 h 31565"/>
                <a:gd name="csX30" fmla="*/ 16451 w 27122"/>
                <a:gd name="csY30" fmla="*/ 30341 h 31565"/>
                <a:gd name="csX31" fmla="*/ 14701 w 27122"/>
                <a:gd name="csY31" fmla="*/ 31531 h 31565"/>
                <a:gd name="csX32" fmla="*/ 4935 w 27122"/>
                <a:gd name="csY32" fmla="*/ 25476 h 31565"/>
                <a:gd name="csX33" fmla="*/ 13546 w 27122"/>
                <a:gd name="csY33" fmla="*/ 27541 h 31565"/>
                <a:gd name="csX34" fmla="*/ 14526 w 27122"/>
                <a:gd name="csY34" fmla="*/ 25301 h 31565"/>
                <a:gd name="csX35" fmla="*/ 15191 w 27122"/>
                <a:gd name="csY35" fmla="*/ 24251 h 31565"/>
                <a:gd name="csX36" fmla="*/ 15576 w 27122"/>
                <a:gd name="csY36" fmla="*/ 23655 h 31565"/>
                <a:gd name="csX37" fmla="*/ 16416 w 27122"/>
                <a:gd name="csY37" fmla="*/ 22815 h 31565"/>
                <a:gd name="csX38" fmla="*/ 17816 w 27122"/>
                <a:gd name="csY38" fmla="*/ 22570 h 31565"/>
                <a:gd name="csX39" fmla="*/ 19916 w 27122"/>
                <a:gd name="csY39" fmla="*/ 18125 h 31565"/>
                <a:gd name="csX40" fmla="*/ 21281 w 27122"/>
                <a:gd name="csY40" fmla="*/ 15255 h 31565"/>
                <a:gd name="csX41" fmla="*/ 21281 w 27122"/>
                <a:gd name="csY41" fmla="*/ 15220 h 31565"/>
                <a:gd name="csX42" fmla="*/ 21351 w 27122"/>
                <a:gd name="csY42" fmla="*/ 14065 h 31565"/>
                <a:gd name="csX43" fmla="*/ 22891 w 27122"/>
                <a:gd name="csY43" fmla="*/ 11825 h 31565"/>
                <a:gd name="csX44" fmla="*/ 23346 w 27122"/>
                <a:gd name="csY44" fmla="*/ 10355 h 31565"/>
                <a:gd name="csX45" fmla="*/ 23276 w 27122"/>
                <a:gd name="csY45" fmla="*/ 9830 h 31565"/>
                <a:gd name="csX46" fmla="*/ 23171 w 27122"/>
                <a:gd name="csY46" fmla="*/ 8780 h 31565"/>
                <a:gd name="csX47" fmla="*/ 23241 w 27122"/>
                <a:gd name="csY47" fmla="*/ 6750 h 31565"/>
                <a:gd name="csX48" fmla="*/ 18201 w 27122"/>
                <a:gd name="csY48" fmla="*/ 3670 h 31565"/>
                <a:gd name="csX49" fmla="*/ 5145 w 27122"/>
                <a:gd name="csY49" fmla="*/ 5910 h 31565"/>
                <a:gd name="csX50" fmla="*/ 4830 w 27122"/>
                <a:gd name="csY50" fmla="*/ 6085 h 31565"/>
                <a:gd name="csX51" fmla="*/ 3570 w 27122"/>
                <a:gd name="csY51" fmla="*/ 13155 h 31565"/>
                <a:gd name="csX52" fmla="*/ 3710 w 27122"/>
                <a:gd name="csY52" fmla="*/ 15990 h 31565"/>
                <a:gd name="csX53" fmla="*/ 4795 w 27122"/>
                <a:gd name="csY53" fmla="*/ 17705 h 31565"/>
                <a:gd name="csX54" fmla="*/ 4585 w 27122"/>
                <a:gd name="csY54" fmla="*/ 21100 h 31565"/>
                <a:gd name="csX55" fmla="*/ 4410 w 27122"/>
                <a:gd name="csY55" fmla="*/ 22080 h 31565"/>
                <a:gd name="csX56" fmla="*/ 4935 w 27122"/>
                <a:gd name="csY56" fmla="*/ 24040 h 31565"/>
                <a:gd name="csX57" fmla="*/ 4935 w 27122"/>
                <a:gd name="csY57" fmla="*/ 25161 h 31565"/>
                <a:gd name="csX58" fmla="*/ 4935 w 27122"/>
                <a:gd name="csY58" fmla="*/ 25371 h 31565"/>
                <a:gd name="csX59" fmla="*/ 17781 w 27122"/>
                <a:gd name="csY59" fmla="*/ 22675 h 31565"/>
                <a:gd name="csX60" fmla="*/ 16801 w 27122"/>
                <a:gd name="csY60" fmla="*/ 23410 h 31565"/>
                <a:gd name="csX61" fmla="*/ 17431 w 27122"/>
                <a:gd name="csY61" fmla="*/ 23480 h 31565"/>
                <a:gd name="csX62" fmla="*/ 17816 w 27122"/>
                <a:gd name="csY62" fmla="*/ 22675 h 315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Lst>
              <a:rect l="l" t="t" r="r" b="b"/>
              <a:pathLst>
                <a:path w="27122" h="31565">
                  <a:moveTo>
                    <a:pt x="14666" y="31566"/>
                  </a:moveTo>
                  <a:cubicBezTo>
                    <a:pt x="14666" y="31566"/>
                    <a:pt x="14421" y="31566"/>
                    <a:pt x="14281" y="31531"/>
                  </a:cubicBezTo>
                  <a:cubicBezTo>
                    <a:pt x="10535" y="30761"/>
                    <a:pt x="7175" y="30026"/>
                    <a:pt x="3745" y="28976"/>
                  </a:cubicBezTo>
                  <a:cubicBezTo>
                    <a:pt x="3080" y="28731"/>
                    <a:pt x="2205" y="28416"/>
                    <a:pt x="1575" y="27471"/>
                  </a:cubicBezTo>
                  <a:cubicBezTo>
                    <a:pt x="1435" y="27296"/>
                    <a:pt x="1365" y="27086"/>
                    <a:pt x="1330" y="26876"/>
                  </a:cubicBezTo>
                  <a:cubicBezTo>
                    <a:pt x="1155" y="26211"/>
                    <a:pt x="1190" y="25546"/>
                    <a:pt x="1260" y="24986"/>
                  </a:cubicBezTo>
                  <a:lnTo>
                    <a:pt x="1260" y="24496"/>
                  </a:lnTo>
                  <a:cubicBezTo>
                    <a:pt x="1190" y="24251"/>
                    <a:pt x="1085" y="23760"/>
                    <a:pt x="840" y="23130"/>
                  </a:cubicBezTo>
                  <a:cubicBezTo>
                    <a:pt x="735" y="22850"/>
                    <a:pt x="665" y="22535"/>
                    <a:pt x="700" y="22255"/>
                  </a:cubicBezTo>
                  <a:cubicBezTo>
                    <a:pt x="735" y="21695"/>
                    <a:pt x="840" y="21135"/>
                    <a:pt x="945" y="20575"/>
                  </a:cubicBezTo>
                  <a:cubicBezTo>
                    <a:pt x="1050" y="19910"/>
                    <a:pt x="1190" y="19245"/>
                    <a:pt x="1190" y="18720"/>
                  </a:cubicBezTo>
                  <a:cubicBezTo>
                    <a:pt x="805" y="18370"/>
                    <a:pt x="350" y="17880"/>
                    <a:pt x="175" y="17040"/>
                  </a:cubicBezTo>
                  <a:cubicBezTo>
                    <a:pt x="0" y="15640"/>
                    <a:pt x="0" y="12805"/>
                    <a:pt x="0" y="12805"/>
                  </a:cubicBezTo>
                  <a:cubicBezTo>
                    <a:pt x="1330" y="7275"/>
                    <a:pt x="1260" y="5770"/>
                    <a:pt x="1190" y="5420"/>
                  </a:cubicBezTo>
                  <a:cubicBezTo>
                    <a:pt x="1050" y="4510"/>
                    <a:pt x="1715" y="3425"/>
                    <a:pt x="2590" y="3180"/>
                  </a:cubicBezTo>
                  <a:cubicBezTo>
                    <a:pt x="2765" y="3145"/>
                    <a:pt x="3010" y="2970"/>
                    <a:pt x="3185" y="2865"/>
                  </a:cubicBezTo>
                  <a:cubicBezTo>
                    <a:pt x="6580" y="729"/>
                    <a:pt x="15191" y="-181"/>
                    <a:pt x="18586" y="29"/>
                  </a:cubicBezTo>
                  <a:cubicBezTo>
                    <a:pt x="21876" y="309"/>
                    <a:pt x="24641" y="2095"/>
                    <a:pt x="26776" y="5315"/>
                  </a:cubicBezTo>
                  <a:cubicBezTo>
                    <a:pt x="27021" y="5700"/>
                    <a:pt x="27126" y="6190"/>
                    <a:pt x="27056" y="6645"/>
                  </a:cubicBezTo>
                  <a:cubicBezTo>
                    <a:pt x="26951" y="7415"/>
                    <a:pt x="26951" y="8045"/>
                    <a:pt x="26951" y="8850"/>
                  </a:cubicBezTo>
                  <a:cubicBezTo>
                    <a:pt x="27091" y="9655"/>
                    <a:pt x="27196" y="10320"/>
                    <a:pt x="27056" y="11125"/>
                  </a:cubicBezTo>
                  <a:cubicBezTo>
                    <a:pt x="26636" y="13190"/>
                    <a:pt x="26286" y="13820"/>
                    <a:pt x="25551" y="14520"/>
                  </a:cubicBezTo>
                  <a:cubicBezTo>
                    <a:pt x="25446" y="14625"/>
                    <a:pt x="25341" y="14730"/>
                    <a:pt x="25201" y="14905"/>
                  </a:cubicBezTo>
                  <a:cubicBezTo>
                    <a:pt x="25236" y="15570"/>
                    <a:pt x="24956" y="16235"/>
                    <a:pt x="24711" y="16795"/>
                  </a:cubicBezTo>
                  <a:cubicBezTo>
                    <a:pt x="24396" y="17495"/>
                    <a:pt x="23871" y="18545"/>
                    <a:pt x="23311" y="19770"/>
                  </a:cubicBezTo>
                  <a:cubicBezTo>
                    <a:pt x="22436" y="21590"/>
                    <a:pt x="21386" y="23760"/>
                    <a:pt x="20581" y="25546"/>
                  </a:cubicBezTo>
                  <a:lnTo>
                    <a:pt x="19986" y="25301"/>
                  </a:lnTo>
                  <a:cubicBezTo>
                    <a:pt x="19496" y="26036"/>
                    <a:pt x="18866" y="26281"/>
                    <a:pt x="18271" y="26316"/>
                  </a:cubicBezTo>
                  <a:cubicBezTo>
                    <a:pt x="18271" y="26316"/>
                    <a:pt x="18236" y="26386"/>
                    <a:pt x="18201" y="26421"/>
                  </a:cubicBezTo>
                  <a:cubicBezTo>
                    <a:pt x="18061" y="26596"/>
                    <a:pt x="17956" y="26771"/>
                    <a:pt x="17851" y="26981"/>
                  </a:cubicBezTo>
                  <a:cubicBezTo>
                    <a:pt x="17291" y="28101"/>
                    <a:pt x="16451" y="30341"/>
                    <a:pt x="16451" y="30341"/>
                  </a:cubicBezTo>
                  <a:cubicBezTo>
                    <a:pt x="16171" y="31076"/>
                    <a:pt x="15471" y="31531"/>
                    <a:pt x="14701" y="31531"/>
                  </a:cubicBezTo>
                  <a:close/>
                  <a:moveTo>
                    <a:pt x="4935" y="25476"/>
                  </a:moveTo>
                  <a:cubicBezTo>
                    <a:pt x="7840" y="26316"/>
                    <a:pt x="10570" y="26911"/>
                    <a:pt x="13546" y="27541"/>
                  </a:cubicBezTo>
                  <a:cubicBezTo>
                    <a:pt x="13861" y="26806"/>
                    <a:pt x="14211" y="25896"/>
                    <a:pt x="14526" y="25301"/>
                  </a:cubicBezTo>
                  <a:cubicBezTo>
                    <a:pt x="14701" y="24916"/>
                    <a:pt x="14946" y="24566"/>
                    <a:pt x="15191" y="24251"/>
                  </a:cubicBezTo>
                  <a:cubicBezTo>
                    <a:pt x="15331" y="24075"/>
                    <a:pt x="15471" y="23865"/>
                    <a:pt x="15576" y="23655"/>
                  </a:cubicBezTo>
                  <a:cubicBezTo>
                    <a:pt x="15751" y="23270"/>
                    <a:pt x="16066" y="22990"/>
                    <a:pt x="16416" y="22815"/>
                  </a:cubicBezTo>
                  <a:cubicBezTo>
                    <a:pt x="16976" y="22535"/>
                    <a:pt x="17501" y="22535"/>
                    <a:pt x="17816" y="22570"/>
                  </a:cubicBezTo>
                  <a:cubicBezTo>
                    <a:pt x="18481" y="21100"/>
                    <a:pt x="19251" y="19525"/>
                    <a:pt x="19916" y="18125"/>
                  </a:cubicBezTo>
                  <a:cubicBezTo>
                    <a:pt x="20511" y="16935"/>
                    <a:pt x="21001" y="15885"/>
                    <a:pt x="21281" y="15255"/>
                  </a:cubicBezTo>
                  <a:cubicBezTo>
                    <a:pt x="21281" y="15255"/>
                    <a:pt x="21281" y="15255"/>
                    <a:pt x="21281" y="15220"/>
                  </a:cubicBezTo>
                  <a:cubicBezTo>
                    <a:pt x="21211" y="14905"/>
                    <a:pt x="21211" y="14520"/>
                    <a:pt x="21351" y="14065"/>
                  </a:cubicBezTo>
                  <a:cubicBezTo>
                    <a:pt x="22016" y="12700"/>
                    <a:pt x="22471" y="12210"/>
                    <a:pt x="22891" y="11825"/>
                  </a:cubicBezTo>
                  <a:cubicBezTo>
                    <a:pt x="22996" y="11685"/>
                    <a:pt x="23136" y="11440"/>
                    <a:pt x="23346" y="10355"/>
                  </a:cubicBezTo>
                  <a:cubicBezTo>
                    <a:pt x="23346" y="10250"/>
                    <a:pt x="23346" y="10040"/>
                    <a:pt x="23276" y="9830"/>
                  </a:cubicBezTo>
                  <a:cubicBezTo>
                    <a:pt x="23206" y="9480"/>
                    <a:pt x="23171" y="9130"/>
                    <a:pt x="23171" y="8780"/>
                  </a:cubicBezTo>
                  <a:cubicBezTo>
                    <a:pt x="23171" y="8045"/>
                    <a:pt x="23171" y="7415"/>
                    <a:pt x="23241" y="6750"/>
                  </a:cubicBezTo>
                  <a:cubicBezTo>
                    <a:pt x="21806" y="4825"/>
                    <a:pt x="20196" y="3845"/>
                    <a:pt x="18201" y="3670"/>
                  </a:cubicBezTo>
                  <a:cubicBezTo>
                    <a:pt x="14806" y="3250"/>
                    <a:pt x="7350" y="4510"/>
                    <a:pt x="5145" y="5910"/>
                  </a:cubicBezTo>
                  <a:cubicBezTo>
                    <a:pt x="5040" y="5980"/>
                    <a:pt x="4935" y="6050"/>
                    <a:pt x="4830" y="6085"/>
                  </a:cubicBezTo>
                  <a:cubicBezTo>
                    <a:pt x="4795" y="7240"/>
                    <a:pt x="4515" y="9305"/>
                    <a:pt x="3570" y="13155"/>
                  </a:cubicBezTo>
                  <a:cubicBezTo>
                    <a:pt x="3605" y="13155"/>
                    <a:pt x="3605" y="14905"/>
                    <a:pt x="3710" y="15990"/>
                  </a:cubicBezTo>
                  <a:cubicBezTo>
                    <a:pt x="4130" y="16340"/>
                    <a:pt x="4620" y="16830"/>
                    <a:pt x="4795" y="17705"/>
                  </a:cubicBezTo>
                  <a:cubicBezTo>
                    <a:pt x="4935" y="19000"/>
                    <a:pt x="4760" y="20085"/>
                    <a:pt x="4585" y="21100"/>
                  </a:cubicBezTo>
                  <a:cubicBezTo>
                    <a:pt x="4515" y="21415"/>
                    <a:pt x="4480" y="21765"/>
                    <a:pt x="4410" y="22080"/>
                  </a:cubicBezTo>
                  <a:cubicBezTo>
                    <a:pt x="4655" y="22745"/>
                    <a:pt x="4795" y="23340"/>
                    <a:pt x="4935" y="24040"/>
                  </a:cubicBezTo>
                  <a:cubicBezTo>
                    <a:pt x="4935" y="24636"/>
                    <a:pt x="4935" y="24881"/>
                    <a:pt x="4935" y="25161"/>
                  </a:cubicBezTo>
                  <a:cubicBezTo>
                    <a:pt x="4935" y="25231"/>
                    <a:pt x="4935" y="25301"/>
                    <a:pt x="4935" y="25371"/>
                  </a:cubicBezTo>
                  <a:close/>
                  <a:moveTo>
                    <a:pt x="17781" y="22675"/>
                  </a:moveTo>
                  <a:cubicBezTo>
                    <a:pt x="17361" y="22745"/>
                    <a:pt x="16906" y="23095"/>
                    <a:pt x="16801" y="23410"/>
                  </a:cubicBezTo>
                  <a:lnTo>
                    <a:pt x="17431" y="23480"/>
                  </a:lnTo>
                  <a:cubicBezTo>
                    <a:pt x="17536" y="23235"/>
                    <a:pt x="17676" y="22955"/>
                    <a:pt x="17816" y="22675"/>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5" name="Freeform: Shape 1784">
              <a:extLst>
                <a:ext uri="{FF2B5EF4-FFF2-40B4-BE49-F238E27FC236}">
                  <a16:creationId xmlns:a16="http://schemas.microsoft.com/office/drawing/2014/main" id="{4485FBF7-0F95-E35C-E61B-317A7320EF14}"/>
                </a:ext>
              </a:extLst>
            </p:cNvPr>
            <p:cNvSpPr/>
            <p:nvPr/>
          </p:nvSpPr>
          <p:spPr>
            <a:xfrm>
              <a:off x="11107247" y="4354804"/>
              <a:ext cx="25072" cy="22559"/>
            </a:xfrm>
            <a:custGeom>
              <a:avLst/>
              <a:gdLst>
                <a:gd name="csX0" fmla="*/ 19480 w 25072"/>
                <a:gd name="csY0" fmla="*/ 1007 h 22559"/>
                <a:gd name="csX1" fmla="*/ 16225 w 25072"/>
                <a:gd name="csY1" fmla="*/ 412 h 22559"/>
                <a:gd name="csX2" fmla="*/ 1139 w 25072"/>
                <a:gd name="csY2" fmla="*/ 10457 h 22559"/>
                <a:gd name="csX3" fmla="*/ 404 w 25072"/>
                <a:gd name="csY3" fmla="*/ 13712 h 22559"/>
                <a:gd name="csX4" fmla="*/ 5725 w 25072"/>
                <a:gd name="csY4" fmla="*/ 21553 h 22559"/>
                <a:gd name="csX5" fmla="*/ 8840 w 25072"/>
                <a:gd name="csY5" fmla="*/ 22148 h 22559"/>
                <a:gd name="csX6" fmla="*/ 24065 w 25072"/>
                <a:gd name="csY6" fmla="*/ 12102 h 22559"/>
                <a:gd name="csX7" fmla="*/ 24660 w 25072"/>
                <a:gd name="csY7" fmla="*/ 8847 h 22559"/>
                <a:gd name="csX8" fmla="*/ 19480 w 25072"/>
                <a:gd name="csY8" fmla="*/ 1007 h 225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5072" h="22559">
                  <a:moveTo>
                    <a:pt x="19480" y="1007"/>
                  </a:moveTo>
                  <a:cubicBezTo>
                    <a:pt x="18745" y="-43"/>
                    <a:pt x="17275" y="-323"/>
                    <a:pt x="16225" y="412"/>
                  </a:cubicBezTo>
                  <a:lnTo>
                    <a:pt x="1139" y="10457"/>
                  </a:lnTo>
                  <a:cubicBezTo>
                    <a:pt x="-51" y="11192"/>
                    <a:pt x="-331" y="12662"/>
                    <a:pt x="404" y="13712"/>
                  </a:cubicBezTo>
                  <a:lnTo>
                    <a:pt x="5725" y="21553"/>
                  </a:lnTo>
                  <a:cubicBezTo>
                    <a:pt x="6320" y="22603"/>
                    <a:pt x="7790" y="22883"/>
                    <a:pt x="8840" y="22148"/>
                  </a:cubicBezTo>
                  <a:lnTo>
                    <a:pt x="24065" y="12102"/>
                  </a:lnTo>
                  <a:cubicBezTo>
                    <a:pt x="25115" y="11367"/>
                    <a:pt x="25395" y="9897"/>
                    <a:pt x="24660" y="8847"/>
                  </a:cubicBezTo>
                  <a:lnTo>
                    <a:pt x="19480" y="1007"/>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6" name="Freeform: Shape 1785">
              <a:extLst>
                <a:ext uri="{FF2B5EF4-FFF2-40B4-BE49-F238E27FC236}">
                  <a16:creationId xmlns:a16="http://schemas.microsoft.com/office/drawing/2014/main" id="{CD75AC14-19B5-C959-9B51-1DBE354AEBD7}"/>
                </a:ext>
              </a:extLst>
            </p:cNvPr>
            <p:cNvSpPr/>
            <p:nvPr/>
          </p:nvSpPr>
          <p:spPr>
            <a:xfrm>
              <a:off x="11105388" y="4353011"/>
              <a:ext cx="28780" cy="26250"/>
            </a:xfrm>
            <a:custGeom>
              <a:avLst/>
              <a:gdLst>
                <a:gd name="csX0" fmla="*/ 9404 w 28780"/>
                <a:gd name="csY0" fmla="*/ 26215 h 26250"/>
                <a:gd name="csX1" fmla="*/ 8494 w 28780"/>
                <a:gd name="csY1" fmla="*/ 26145 h 26250"/>
                <a:gd name="csX2" fmla="*/ 5974 w 28780"/>
                <a:gd name="csY2" fmla="*/ 24290 h 26250"/>
                <a:gd name="csX3" fmla="*/ 724 w 28780"/>
                <a:gd name="csY3" fmla="*/ 16590 h 26250"/>
                <a:gd name="csX4" fmla="*/ 94 w 28780"/>
                <a:gd name="csY4" fmla="*/ 13510 h 26250"/>
                <a:gd name="csX5" fmla="*/ 2019 w 28780"/>
                <a:gd name="csY5" fmla="*/ 10745 h 26250"/>
                <a:gd name="csX6" fmla="*/ 17069 w 28780"/>
                <a:gd name="csY6" fmla="*/ 734 h 26250"/>
                <a:gd name="csX7" fmla="*/ 20079 w 28780"/>
                <a:gd name="csY7" fmla="*/ 69 h 26250"/>
                <a:gd name="csX8" fmla="*/ 22845 w 28780"/>
                <a:gd name="csY8" fmla="*/ 1784 h 26250"/>
                <a:gd name="csX9" fmla="*/ 22880 w 28780"/>
                <a:gd name="csY9" fmla="*/ 1784 h 26250"/>
                <a:gd name="csX10" fmla="*/ 28060 w 28780"/>
                <a:gd name="csY10" fmla="*/ 9660 h 26250"/>
                <a:gd name="csX11" fmla="*/ 28725 w 28780"/>
                <a:gd name="csY11" fmla="*/ 12670 h 26250"/>
                <a:gd name="csX12" fmla="*/ 26975 w 28780"/>
                <a:gd name="csY12" fmla="*/ 15435 h 26250"/>
                <a:gd name="csX13" fmla="*/ 11714 w 28780"/>
                <a:gd name="csY13" fmla="*/ 25550 h 26250"/>
                <a:gd name="csX14" fmla="*/ 9404 w 28780"/>
                <a:gd name="csY14" fmla="*/ 26250 h 26250"/>
                <a:gd name="csX15" fmla="*/ 9124 w 28780"/>
                <a:gd name="csY15" fmla="*/ 22330 h 26250"/>
                <a:gd name="csX16" fmla="*/ 9684 w 28780"/>
                <a:gd name="csY16" fmla="*/ 22400 h 26250"/>
                <a:gd name="csX17" fmla="*/ 9684 w 28780"/>
                <a:gd name="csY17" fmla="*/ 22400 h 26250"/>
                <a:gd name="csX18" fmla="*/ 24910 w 28780"/>
                <a:gd name="csY18" fmla="*/ 12355 h 26250"/>
                <a:gd name="csX19" fmla="*/ 24980 w 28780"/>
                <a:gd name="csY19" fmla="*/ 11655 h 26250"/>
                <a:gd name="csX20" fmla="*/ 19834 w 28780"/>
                <a:gd name="csY20" fmla="*/ 3849 h 26250"/>
                <a:gd name="csX21" fmla="*/ 19484 w 28780"/>
                <a:gd name="csY21" fmla="*/ 3639 h 26250"/>
                <a:gd name="csX22" fmla="*/ 3734 w 28780"/>
                <a:gd name="csY22" fmla="*/ 14175 h 26250"/>
                <a:gd name="csX23" fmla="*/ 9124 w 28780"/>
                <a:gd name="csY23" fmla="*/ 22295 h 26250"/>
                <a:gd name="csX24" fmla="*/ 9124 w 28780"/>
                <a:gd name="csY24" fmla="*/ 22295 h 262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28780" h="26250">
                  <a:moveTo>
                    <a:pt x="9404" y="26215"/>
                  </a:moveTo>
                  <a:cubicBezTo>
                    <a:pt x="9089" y="26215"/>
                    <a:pt x="8809" y="26215"/>
                    <a:pt x="8494" y="26145"/>
                  </a:cubicBezTo>
                  <a:cubicBezTo>
                    <a:pt x="7409" y="25900"/>
                    <a:pt x="6499" y="25235"/>
                    <a:pt x="5974" y="24290"/>
                  </a:cubicBezTo>
                  <a:lnTo>
                    <a:pt x="724" y="16590"/>
                  </a:lnTo>
                  <a:cubicBezTo>
                    <a:pt x="94" y="15750"/>
                    <a:pt x="-151" y="14595"/>
                    <a:pt x="94" y="13510"/>
                  </a:cubicBezTo>
                  <a:cubicBezTo>
                    <a:pt x="304" y="12355"/>
                    <a:pt x="1004" y="11375"/>
                    <a:pt x="2019" y="10745"/>
                  </a:cubicBezTo>
                  <a:lnTo>
                    <a:pt x="17069" y="734"/>
                  </a:lnTo>
                  <a:cubicBezTo>
                    <a:pt x="17909" y="139"/>
                    <a:pt x="18994" y="-141"/>
                    <a:pt x="20079" y="69"/>
                  </a:cubicBezTo>
                  <a:cubicBezTo>
                    <a:pt x="21200" y="244"/>
                    <a:pt x="22215" y="874"/>
                    <a:pt x="22845" y="1784"/>
                  </a:cubicBezTo>
                  <a:lnTo>
                    <a:pt x="22880" y="1784"/>
                  </a:lnTo>
                  <a:cubicBezTo>
                    <a:pt x="22880" y="1784"/>
                    <a:pt x="28060" y="9660"/>
                    <a:pt x="28060" y="9660"/>
                  </a:cubicBezTo>
                  <a:cubicBezTo>
                    <a:pt x="28655" y="10500"/>
                    <a:pt x="28900" y="11585"/>
                    <a:pt x="28725" y="12670"/>
                  </a:cubicBezTo>
                  <a:cubicBezTo>
                    <a:pt x="28550" y="13790"/>
                    <a:pt x="27885" y="14805"/>
                    <a:pt x="26975" y="15435"/>
                  </a:cubicBezTo>
                  <a:lnTo>
                    <a:pt x="11714" y="25550"/>
                  </a:lnTo>
                  <a:cubicBezTo>
                    <a:pt x="11049" y="26005"/>
                    <a:pt x="10244" y="26250"/>
                    <a:pt x="9404" y="26250"/>
                  </a:cubicBezTo>
                  <a:close/>
                  <a:moveTo>
                    <a:pt x="9124" y="22330"/>
                  </a:moveTo>
                  <a:cubicBezTo>
                    <a:pt x="9124" y="22330"/>
                    <a:pt x="9614" y="22400"/>
                    <a:pt x="9684" y="22400"/>
                  </a:cubicBezTo>
                  <a:lnTo>
                    <a:pt x="9684" y="22400"/>
                  </a:lnTo>
                  <a:lnTo>
                    <a:pt x="24910" y="12355"/>
                  </a:lnTo>
                  <a:cubicBezTo>
                    <a:pt x="24910" y="12355"/>
                    <a:pt x="24980" y="11690"/>
                    <a:pt x="24980" y="11655"/>
                  </a:cubicBezTo>
                  <a:lnTo>
                    <a:pt x="19834" y="3849"/>
                  </a:lnTo>
                  <a:cubicBezTo>
                    <a:pt x="19834" y="3849"/>
                    <a:pt x="19624" y="3675"/>
                    <a:pt x="19484" y="3639"/>
                  </a:cubicBezTo>
                  <a:lnTo>
                    <a:pt x="3734" y="14175"/>
                  </a:lnTo>
                  <a:lnTo>
                    <a:pt x="9124" y="22295"/>
                  </a:lnTo>
                  <a:lnTo>
                    <a:pt x="9124" y="2229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7" name="Freeform: Shape 1786">
              <a:extLst>
                <a:ext uri="{FF2B5EF4-FFF2-40B4-BE49-F238E27FC236}">
                  <a16:creationId xmlns:a16="http://schemas.microsoft.com/office/drawing/2014/main" id="{5E011A72-16B3-5C19-1DFE-D11BAA7877DB}"/>
                </a:ext>
              </a:extLst>
            </p:cNvPr>
            <p:cNvSpPr/>
            <p:nvPr/>
          </p:nvSpPr>
          <p:spPr>
            <a:xfrm>
              <a:off x="11079099" y="4269891"/>
              <a:ext cx="24939" cy="22594"/>
            </a:xfrm>
            <a:custGeom>
              <a:avLst/>
              <a:gdLst>
                <a:gd name="csX0" fmla="*/ 19347 w 24939"/>
                <a:gd name="csY0" fmla="*/ 1007 h 22594"/>
                <a:gd name="csX1" fmla="*/ 16092 w 24939"/>
                <a:gd name="csY1" fmla="*/ 412 h 22594"/>
                <a:gd name="csX2" fmla="*/ 1007 w 24939"/>
                <a:gd name="csY2" fmla="*/ 10632 h 22594"/>
                <a:gd name="csX3" fmla="*/ 412 w 24939"/>
                <a:gd name="csY3" fmla="*/ 13747 h 22594"/>
                <a:gd name="csX4" fmla="*/ 5592 w 24939"/>
                <a:gd name="csY4" fmla="*/ 21588 h 22594"/>
                <a:gd name="csX5" fmla="*/ 8847 w 24939"/>
                <a:gd name="csY5" fmla="*/ 22183 h 22594"/>
                <a:gd name="csX6" fmla="*/ 23933 w 24939"/>
                <a:gd name="csY6" fmla="*/ 12137 h 22594"/>
                <a:gd name="csX7" fmla="*/ 24528 w 24939"/>
                <a:gd name="csY7" fmla="*/ 8882 h 22594"/>
                <a:gd name="csX8" fmla="*/ 19347 w 24939"/>
                <a:gd name="csY8" fmla="*/ 1042 h 225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4939" h="22594">
                  <a:moveTo>
                    <a:pt x="19347" y="1007"/>
                  </a:moveTo>
                  <a:cubicBezTo>
                    <a:pt x="18612" y="-43"/>
                    <a:pt x="17142" y="-323"/>
                    <a:pt x="16092" y="412"/>
                  </a:cubicBezTo>
                  <a:lnTo>
                    <a:pt x="1007" y="10632"/>
                  </a:lnTo>
                  <a:cubicBezTo>
                    <a:pt x="-43" y="11227"/>
                    <a:pt x="-323" y="12697"/>
                    <a:pt x="412" y="13747"/>
                  </a:cubicBezTo>
                  <a:lnTo>
                    <a:pt x="5592" y="21588"/>
                  </a:lnTo>
                  <a:cubicBezTo>
                    <a:pt x="6327" y="22638"/>
                    <a:pt x="7797" y="22918"/>
                    <a:pt x="8847" y="22183"/>
                  </a:cubicBezTo>
                  <a:lnTo>
                    <a:pt x="23933" y="12137"/>
                  </a:lnTo>
                  <a:cubicBezTo>
                    <a:pt x="24983" y="11402"/>
                    <a:pt x="25263" y="9932"/>
                    <a:pt x="24528" y="8882"/>
                  </a:cubicBezTo>
                  <a:lnTo>
                    <a:pt x="19347" y="1042"/>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8" name="Freeform: Shape 1787">
              <a:extLst>
                <a:ext uri="{FF2B5EF4-FFF2-40B4-BE49-F238E27FC236}">
                  <a16:creationId xmlns:a16="http://schemas.microsoft.com/office/drawing/2014/main" id="{80E16AE2-4C4F-FA8A-08E8-FAC4765AC054}"/>
                </a:ext>
              </a:extLst>
            </p:cNvPr>
            <p:cNvSpPr/>
            <p:nvPr/>
          </p:nvSpPr>
          <p:spPr>
            <a:xfrm>
              <a:off x="11077247" y="4268028"/>
              <a:ext cx="28640" cy="26320"/>
            </a:xfrm>
            <a:custGeom>
              <a:avLst/>
              <a:gdLst>
                <a:gd name="csX0" fmla="*/ 9404 w 28640"/>
                <a:gd name="csY0" fmla="*/ 26285 h 26320"/>
                <a:gd name="csX1" fmla="*/ 5939 w 28640"/>
                <a:gd name="csY1" fmla="*/ 24500 h 26320"/>
                <a:gd name="csX2" fmla="*/ 724 w 28640"/>
                <a:gd name="csY2" fmla="*/ 16625 h 26320"/>
                <a:gd name="csX3" fmla="*/ 94 w 28640"/>
                <a:gd name="csY3" fmla="*/ 13440 h 26320"/>
                <a:gd name="csX4" fmla="*/ 1914 w 28640"/>
                <a:gd name="csY4" fmla="*/ 10885 h 26320"/>
                <a:gd name="csX5" fmla="*/ 16894 w 28640"/>
                <a:gd name="csY5" fmla="*/ 734 h 26320"/>
                <a:gd name="csX6" fmla="*/ 19939 w 28640"/>
                <a:gd name="csY6" fmla="*/ 69 h 26320"/>
                <a:gd name="csX7" fmla="*/ 22705 w 28640"/>
                <a:gd name="csY7" fmla="*/ 1784 h 26320"/>
                <a:gd name="csX8" fmla="*/ 22740 w 28640"/>
                <a:gd name="csY8" fmla="*/ 1854 h 26320"/>
                <a:gd name="csX9" fmla="*/ 27920 w 28640"/>
                <a:gd name="csY9" fmla="*/ 9695 h 26320"/>
                <a:gd name="csX10" fmla="*/ 28585 w 28640"/>
                <a:gd name="csY10" fmla="*/ 12670 h 26320"/>
                <a:gd name="csX11" fmla="*/ 26870 w 28640"/>
                <a:gd name="csY11" fmla="*/ 15470 h 26320"/>
                <a:gd name="csX12" fmla="*/ 11714 w 28640"/>
                <a:gd name="csY12" fmla="*/ 25585 h 26320"/>
                <a:gd name="csX13" fmla="*/ 9404 w 28640"/>
                <a:gd name="csY13" fmla="*/ 26320 h 26320"/>
                <a:gd name="csX14" fmla="*/ 19344 w 28640"/>
                <a:gd name="csY14" fmla="*/ 3709 h 26320"/>
                <a:gd name="csX15" fmla="*/ 3909 w 28640"/>
                <a:gd name="csY15" fmla="*/ 14000 h 26320"/>
                <a:gd name="csX16" fmla="*/ 3839 w 28640"/>
                <a:gd name="csY16" fmla="*/ 14560 h 26320"/>
                <a:gd name="csX17" fmla="*/ 9019 w 28640"/>
                <a:gd name="csY17" fmla="*/ 22400 h 26320"/>
                <a:gd name="csX18" fmla="*/ 9649 w 28640"/>
                <a:gd name="csY18" fmla="*/ 22505 h 26320"/>
                <a:gd name="csX19" fmla="*/ 24805 w 28640"/>
                <a:gd name="csY19" fmla="*/ 12390 h 26320"/>
                <a:gd name="csX20" fmla="*/ 24875 w 28640"/>
                <a:gd name="csY20" fmla="*/ 11690 h 26320"/>
                <a:gd name="csX21" fmla="*/ 19729 w 28640"/>
                <a:gd name="csY21" fmla="*/ 3885 h 26320"/>
                <a:gd name="csX22" fmla="*/ 19379 w 28640"/>
                <a:gd name="csY22" fmla="*/ 3674 h 263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28640" h="26320">
                  <a:moveTo>
                    <a:pt x="9404" y="26285"/>
                  </a:moveTo>
                  <a:cubicBezTo>
                    <a:pt x="8074" y="26285"/>
                    <a:pt x="6779" y="25655"/>
                    <a:pt x="5939" y="24500"/>
                  </a:cubicBezTo>
                  <a:lnTo>
                    <a:pt x="724" y="16625"/>
                  </a:lnTo>
                  <a:cubicBezTo>
                    <a:pt x="94" y="15715"/>
                    <a:pt x="-151" y="14560"/>
                    <a:pt x="94" y="13440"/>
                  </a:cubicBezTo>
                  <a:cubicBezTo>
                    <a:pt x="339" y="12355"/>
                    <a:pt x="1004" y="11445"/>
                    <a:pt x="1914" y="10885"/>
                  </a:cubicBezTo>
                  <a:lnTo>
                    <a:pt x="16894" y="734"/>
                  </a:lnTo>
                  <a:cubicBezTo>
                    <a:pt x="17734" y="139"/>
                    <a:pt x="18854" y="-141"/>
                    <a:pt x="19939" y="69"/>
                  </a:cubicBezTo>
                  <a:cubicBezTo>
                    <a:pt x="21059" y="244"/>
                    <a:pt x="22075" y="874"/>
                    <a:pt x="22705" y="1784"/>
                  </a:cubicBezTo>
                  <a:cubicBezTo>
                    <a:pt x="22705" y="1784"/>
                    <a:pt x="22705" y="1784"/>
                    <a:pt x="22740" y="1854"/>
                  </a:cubicBezTo>
                  <a:lnTo>
                    <a:pt x="27920" y="9695"/>
                  </a:lnTo>
                  <a:cubicBezTo>
                    <a:pt x="28515" y="10500"/>
                    <a:pt x="28760" y="11585"/>
                    <a:pt x="28585" y="12670"/>
                  </a:cubicBezTo>
                  <a:cubicBezTo>
                    <a:pt x="28410" y="13790"/>
                    <a:pt x="27780" y="14805"/>
                    <a:pt x="26870" y="15470"/>
                  </a:cubicBezTo>
                  <a:lnTo>
                    <a:pt x="11714" y="25585"/>
                  </a:lnTo>
                  <a:cubicBezTo>
                    <a:pt x="11014" y="26075"/>
                    <a:pt x="10209" y="26320"/>
                    <a:pt x="9404" y="26320"/>
                  </a:cubicBezTo>
                  <a:close/>
                  <a:moveTo>
                    <a:pt x="19344" y="3709"/>
                  </a:moveTo>
                  <a:lnTo>
                    <a:pt x="3909" y="14000"/>
                  </a:lnTo>
                  <a:cubicBezTo>
                    <a:pt x="3909" y="14000"/>
                    <a:pt x="3804" y="14525"/>
                    <a:pt x="3839" y="14560"/>
                  </a:cubicBezTo>
                  <a:lnTo>
                    <a:pt x="9019" y="22400"/>
                  </a:lnTo>
                  <a:cubicBezTo>
                    <a:pt x="9124" y="22575"/>
                    <a:pt x="9474" y="22645"/>
                    <a:pt x="9649" y="22505"/>
                  </a:cubicBezTo>
                  <a:lnTo>
                    <a:pt x="24805" y="12390"/>
                  </a:lnTo>
                  <a:cubicBezTo>
                    <a:pt x="24805" y="12390"/>
                    <a:pt x="24875" y="11725"/>
                    <a:pt x="24875" y="11690"/>
                  </a:cubicBezTo>
                  <a:lnTo>
                    <a:pt x="19729" y="3885"/>
                  </a:lnTo>
                  <a:cubicBezTo>
                    <a:pt x="19729" y="3885"/>
                    <a:pt x="19519" y="3709"/>
                    <a:pt x="19379" y="3674"/>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89" name="Freeform: Shape 1788">
              <a:extLst>
                <a:ext uri="{FF2B5EF4-FFF2-40B4-BE49-F238E27FC236}">
                  <a16:creationId xmlns:a16="http://schemas.microsoft.com/office/drawing/2014/main" id="{C82BEBB6-EE3F-B393-E0F3-38710071382D}"/>
                </a:ext>
              </a:extLst>
            </p:cNvPr>
            <p:cNvSpPr/>
            <p:nvPr/>
          </p:nvSpPr>
          <p:spPr>
            <a:xfrm>
              <a:off x="10947003" y="4361035"/>
              <a:ext cx="25072" cy="22559"/>
            </a:xfrm>
            <a:custGeom>
              <a:avLst/>
              <a:gdLst>
                <a:gd name="csX0" fmla="*/ 19347 w 25072"/>
                <a:gd name="csY0" fmla="*/ 1007 h 22559"/>
                <a:gd name="csX1" fmla="*/ 16232 w 25072"/>
                <a:gd name="csY1" fmla="*/ 412 h 22559"/>
                <a:gd name="csX2" fmla="*/ 1007 w 25072"/>
                <a:gd name="csY2" fmla="*/ 10457 h 22559"/>
                <a:gd name="csX3" fmla="*/ 412 w 25072"/>
                <a:gd name="csY3" fmla="*/ 13712 h 22559"/>
                <a:gd name="csX4" fmla="*/ 5592 w 25072"/>
                <a:gd name="csY4" fmla="*/ 21553 h 22559"/>
                <a:gd name="csX5" fmla="*/ 8847 w 25072"/>
                <a:gd name="csY5" fmla="*/ 22148 h 22559"/>
                <a:gd name="csX6" fmla="*/ 23933 w 25072"/>
                <a:gd name="csY6" fmla="*/ 12102 h 22559"/>
                <a:gd name="csX7" fmla="*/ 24668 w 25072"/>
                <a:gd name="csY7" fmla="*/ 8847 h 22559"/>
                <a:gd name="csX8" fmla="*/ 19347 w 25072"/>
                <a:gd name="csY8" fmla="*/ 1007 h 225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5072" h="22559">
                  <a:moveTo>
                    <a:pt x="19347" y="1007"/>
                  </a:moveTo>
                  <a:cubicBezTo>
                    <a:pt x="18752" y="-43"/>
                    <a:pt x="17282" y="-323"/>
                    <a:pt x="16232" y="412"/>
                  </a:cubicBezTo>
                  <a:lnTo>
                    <a:pt x="1007" y="10457"/>
                  </a:lnTo>
                  <a:cubicBezTo>
                    <a:pt x="-43" y="11192"/>
                    <a:pt x="-323" y="12662"/>
                    <a:pt x="412" y="13712"/>
                  </a:cubicBezTo>
                  <a:lnTo>
                    <a:pt x="5592" y="21553"/>
                  </a:lnTo>
                  <a:cubicBezTo>
                    <a:pt x="6327" y="22603"/>
                    <a:pt x="7797" y="22883"/>
                    <a:pt x="8847" y="22148"/>
                  </a:cubicBezTo>
                  <a:lnTo>
                    <a:pt x="23933" y="12102"/>
                  </a:lnTo>
                  <a:cubicBezTo>
                    <a:pt x="25123" y="11367"/>
                    <a:pt x="25403" y="9897"/>
                    <a:pt x="24668" y="8847"/>
                  </a:cubicBezTo>
                  <a:lnTo>
                    <a:pt x="19347" y="1007"/>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0" name="Freeform: Shape 1789">
              <a:extLst>
                <a:ext uri="{FF2B5EF4-FFF2-40B4-BE49-F238E27FC236}">
                  <a16:creationId xmlns:a16="http://schemas.microsoft.com/office/drawing/2014/main" id="{1A85096F-2CB4-DC1E-436E-7B80F71A1B23}"/>
                </a:ext>
              </a:extLst>
            </p:cNvPr>
            <p:cNvSpPr/>
            <p:nvPr/>
          </p:nvSpPr>
          <p:spPr>
            <a:xfrm>
              <a:off x="10945119" y="4359147"/>
              <a:ext cx="28755" cy="26309"/>
            </a:xfrm>
            <a:custGeom>
              <a:avLst/>
              <a:gdLst>
                <a:gd name="csX0" fmla="*/ 9401 w 28755"/>
                <a:gd name="csY0" fmla="*/ 26310 h 26309"/>
                <a:gd name="csX1" fmla="*/ 5936 w 28755"/>
                <a:gd name="csY1" fmla="*/ 24525 h 26309"/>
                <a:gd name="csX2" fmla="*/ 720 w 28755"/>
                <a:gd name="csY2" fmla="*/ 16614 h 26309"/>
                <a:gd name="csX3" fmla="*/ 55 w 28755"/>
                <a:gd name="csY3" fmla="*/ 13604 h 26309"/>
                <a:gd name="csX4" fmla="*/ 1770 w 28755"/>
                <a:gd name="csY4" fmla="*/ 10839 h 26309"/>
                <a:gd name="csX5" fmla="*/ 17066 w 28755"/>
                <a:gd name="csY5" fmla="*/ 724 h 26309"/>
                <a:gd name="csX6" fmla="*/ 20251 w 28755"/>
                <a:gd name="csY6" fmla="*/ 94 h 26309"/>
                <a:gd name="csX7" fmla="*/ 22736 w 28755"/>
                <a:gd name="csY7" fmla="*/ 1879 h 26309"/>
                <a:gd name="csX8" fmla="*/ 28022 w 28755"/>
                <a:gd name="csY8" fmla="*/ 9649 h 26309"/>
                <a:gd name="csX9" fmla="*/ 28687 w 28755"/>
                <a:gd name="csY9" fmla="*/ 12729 h 26309"/>
                <a:gd name="csX10" fmla="*/ 26761 w 28755"/>
                <a:gd name="csY10" fmla="*/ 15529 h 26309"/>
                <a:gd name="csX11" fmla="*/ 11711 w 28755"/>
                <a:gd name="csY11" fmla="*/ 25540 h 26309"/>
                <a:gd name="csX12" fmla="*/ 9401 w 28755"/>
                <a:gd name="csY12" fmla="*/ 26275 h 26309"/>
                <a:gd name="csX13" fmla="*/ 19481 w 28755"/>
                <a:gd name="csY13" fmla="*/ 3734 h 26309"/>
                <a:gd name="csX14" fmla="*/ 3871 w 28755"/>
                <a:gd name="csY14" fmla="*/ 13884 h 26309"/>
                <a:gd name="csX15" fmla="*/ 3801 w 28755"/>
                <a:gd name="csY15" fmla="*/ 14584 h 26309"/>
                <a:gd name="csX16" fmla="*/ 8981 w 28755"/>
                <a:gd name="csY16" fmla="*/ 22425 h 26309"/>
                <a:gd name="csX17" fmla="*/ 9646 w 28755"/>
                <a:gd name="csY17" fmla="*/ 22530 h 26309"/>
                <a:gd name="csX18" fmla="*/ 25081 w 28755"/>
                <a:gd name="csY18" fmla="*/ 12064 h 26309"/>
                <a:gd name="csX19" fmla="*/ 19691 w 28755"/>
                <a:gd name="csY19" fmla="*/ 3944 h 26309"/>
                <a:gd name="csX20" fmla="*/ 19621 w 28755"/>
                <a:gd name="csY20" fmla="*/ 3804 h 26309"/>
                <a:gd name="csX21" fmla="*/ 19481 w 28755"/>
                <a:gd name="csY21" fmla="*/ 3734 h 263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28755" h="26309">
                  <a:moveTo>
                    <a:pt x="9401" y="26310"/>
                  </a:moveTo>
                  <a:cubicBezTo>
                    <a:pt x="8071" y="26310"/>
                    <a:pt x="6776" y="25680"/>
                    <a:pt x="5936" y="24525"/>
                  </a:cubicBezTo>
                  <a:lnTo>
                    <a:pt x="720" y="16614"/>
                  </a:lnTo>
                  <a:cubicBezTo>
                    <a:pt x="125" y="15774"/>
                    <a:pt x="-120" y="14724"/>
                    <a:pt x="55" y="13604"/>
                  </a:cubicBezTo>
                  <a:cubicBezTo>
                    <a:pt x="230" y="12484"/>
                    <a:pt x="860" y="11469"/>
                    <a:pt x="1770" y="10839"/>
                  </a:cubicBezTo>
                  <a:lnTo>
                    <a:pt x="17066" y="724"/>
                  </a:lnTo>
                  <a:cubicBezTo>
                    <a:pt x="17906" y="94"/>
                    <a:pt x="19096" y="-151"/>
                    <a:pt x="20251" y="94"/>
                  </a:cubicBezTo>
                  <a:cubicBezTo>
                    <a:pt x="21301" y="339"/>
                    <a:pt x="22211" y="969"/>
                    <a:pt x="22736" y="1879"/>
                  </a:cubicBezTo>
                  <a:lnTo>
                    <a:pt x="28022" y="9649"/>
                  </a:lnTo>
                  <a:cubicBezTo>
                    <a:pt x="28617" y="10489"/>
                    <a:pt x="28897" y="11644"/>
                    <a:pt x="28687" y="12729"/>
                  </a:cubicBezTo>
                  <a:cubicBezTo>
                    <a:pt x="28477" y="13884"/>
                    <a:pt x="27777" y="14899"/>
                    <a:pt x="26761" y="15529"/>
                  </a:cubicBezTo>
                  <a:lnTo>
                    <a:pt x="11711" y="25540"/>
                  </a:lnTo>
                  <a:cubicBezTo>
                    <a:pt x="11011" y="26030"/>
                    <a:pt x="10206" y="26275"/>
                    <a:pt x="9401" y="26275"/>
                  </a:cubicBezTo>
                  <a:close/>
                  <a:moveTo>
                    <a:pt x="19481" y="3734"/>
                  </a:moveTo>
                  <a:lnTo>
                    <a:pt x="3871" y="13884"/>
                  </a:lnTo>
                  <a:cubicBezTo>
                    <a:pt x="3871" y="13884"/>
                    <a:pt x="3801" y="14549"/>
                    <a:pt x="3801" y="14584"/>
                  </a:cubicBezTo>
                  <a:lnTo>
                    <a:pt x="8981" y="22425"/>
                  </a:lnTo>
                  <a:cubicBezTo>
                    <a:pt x="8981" y="22425"/>
                    <a:pt x="9401" y="22635"/>
                    <a:pt x="9646" y="22530"/>
                  </a:cubicBezTo>
                  <a:lnTo>
                    <a:pt x="25081" y="12064"/>
                  </a:lnTo>
                  <a:lnTo>
                    <a:pt x="19691" y="3944"/>
                  </a:lnTo>
                  <a:cubicBezTo>
                    <a:pt x="19691" y="3944"/>
                    <a:pt x="19621" y="3874"/>
                    <a:pt x="19621" y="3804"/>
                  </a:cubicBezTo>
                  <a:cubicBezTo>
                    <a:pt x="19621" y="3804"/>
                    <a:pt x="19586" y="3769"/>
                    <a:pt x="19481" y="3734"/>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1" name="Freeform: Shape 1790">
              <a:extLst>
                <a:ext uri="{FF2B5EF4-FFF2-40B4-BE49-F238E27FC236}">
                  <a16:creationId xmlns:a16="http://schemas.microsoft.com/office/drawing/2014/main" id="{43B39055-EC30-460E-F5E4-91CEF0F81F74}"/>
                </a:ext>
              </a:extLst>
            </p:cNvPr>
            <p:cNvSpPr/>
            <p:nvPr/>
          </p:nvSpPr>
          <p:spPr>
            <a:xfrm>
              <a:off x="11151691" y="4316478"/>
              <a:ext cx="25010" cy="22594"/>
            </a:xfrm>
            <a:custGeom>
              <a:avLst/>
              <a:gdLst>
                <a:gd name="csX0" fmla="*/ 19419 w 25010"/>
                <a:gd name="csY0" fmla="*/ 1007 h 22594"/>
                <a:gd name="csX1" fmla="*/ 16163 w 25010"/>
                <a:gd name="csY1" fmla="*/ 412 h 22594"/>
                <a:gd name="csX2" fmla="*/ 1078 w 25010"/>
                <a:gd name="csY2" fmla="*/ 10632 h 22594"/>
                <a:gd name="csX3" fmla="*/ 343 w 25010"/>
                <a:gd name="csY3" fmla="*/ 13887 h 22594"/>
                <a:gd name="csX4" fmla="*/ 5663 w 25010"/>
                <a:gd name="csY4" fmla="*/ 21588 h 22594"/>
                <a:gd name="csX5" fmla="*/ 8918 w 25010"/>
                <a:gd name="csY5" fmla="*/ 22183 h 22594"/>
                <a:gd name="csX6" fmla="*/ 24004 w 25010"/>
                <a:gd name="csY6" fmla="*/ 12137 h 22594"/>
                <a:gd name="csX7" fmla="*/ 24599 w 25010"/>
                <a:gd name="csY7" fmla="*/ 8882 h 22594"/>
                <a:gd name="csX8" fmla="*/ 19419 w 25010"/>
                <a:gd name="csY8" fmla="*/ 1042 h 225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5010" h="22594">
                  <a:moveTo>
                    <a:pt x="19419" y="1007"/>
                  </a:moveTo>
                  <a:cubicBezTo>
                    <a:pt x="18683" y="-43"/>
                    <a:pt x="17213" y="-323"/>
                    <a:pt x="16163" y="412"/>
                  </a:cubicBezTo>
                  <a:lnTo>
                    <a:pt x="1078" y="10632"/>
                  </a:lnTo>
                  <a:cubicBezTo>
                    <a:pt x="-112" y="11367"/>
                    <a:pt x="-252" y="12697"/>
                    <a:pt x="343" y="13887"/>
                  </a:cubicBezTo>
                  <a:lnTo>
                    <a:pt x="5663" y="21588"/>
                  </a:lnTo>
                  <a:cubicBezTo>
                    <a:pt x="6398" y="22638"/>
                    <a:pt x="7728" y="22918"/>
                    <a:pt x="8918" y="22183"/>
                  </a:cubicBezTo>
                  <a:lnTo>
                    <a:pt x="24004" y="12137"/>
                  </a:lnTo>
                  <a:cubicBezTo>
                    <a:pt x="25054" y="11402"/>
                    <a:pt x="25334" y="9932"/>
                    <a:pt x="24599" y="8882"/>
                  </a:cubicBezTo>
                  <a:lnTo>
                    <a:pt x="19419" y="1042"/>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2" name="Freeform: Shape 1791">
              <a:extLst>
                <a:ext uri="{FF2B5EF4-FFF2-40B4-BE49-F238E27FC236}">
                  <a16:creationId xmlns:a16="http://schemas.microsoft.com/office/drawing/2014/main" id="{CEE0AEA3-BE6A-F473-B74C-5544D560A4C9}"/>
                </a:ext>
              </a:extLst>
            </p:cNvPr>
            <p:cNvSpPr/>
            <p:nvPr/>
          </p:nvSpPr>
          <p:spPr>
            <a:xfrm>
              <a:off x="11149854" y="4314636"/>
              <a:ext cx="28711" cy="26334"/>
            </a:xfrm>
            <a:custGeom>
              <a:avLst/>
              <a:gdLst>
                <a:gd name="csX0" fmla="*/ 9355 w 28711"/>
                <a:gd name="csY0" fmla="*/ 26265 h 26334"/>
                <a:gd name="csX1" fmla="*/ 5995 w 28711"/>
                <a:gd name="csY1" fmla="*/ 24480 h 26334"/>
                <a:gd name="csX2" fmla="*/ 640 w 28711"/>
                <a:gd name="csY2" fmla="*/ 16779 h 26334"/>
                <a:gd name="csX3" fmla="*/ 1900 w 28711"/>
                <a:gd name="csY3" fmla="*/ 10899 h 26334"/>
                <a:gd name="csX4" fmla="*/ 16951 w 28711"/>
                <a:gd name="csY4" fmla="*/ 749 h 26334"/>
                <a:gd name="csX5" fmla="*/ 19961 w 28711"/>
                <a:gd name="csY5" fmla="*/ 84 h 26334"/>
                <a:gd name="csX6" fmla="*/ 22761 w 28711"/>
                <a:gd name="csY6" fmla="*/ 1834 h 26334"/>
                <a:gd name="csX7" fmla="*/ 22796 w 28711"/>
                <a:gd name="csY7" fmla="*/ 1834 h 26334"/>
                <a:gd name="csX8" fmla="*/ 27976 w 28711"/>
                <a:gd name="csY8" fmla="*/ 9709 h 26334"/>
                <a:gd name="csX9" fmla="*/ 26926 w 28711"/>
                <a:gd name="csY9" fmla="*/ 15519 h 26334"/>
                <a:gd name="csX10" fmla="*/ 11771 w 28711"/>
                <a:gd name="csY10" fmla="*/ 25635 h 26334"/>
                <a:gd name="csX11" fmla="*/ 9355 w 28711"/>
                <a:gd name="csY11" fmla="*/ 26335 h 26334"/>
                <a:gd name="csX12" fmla="*/ 19366 w 28711"/>
                <a:gd name="csY12" fmla="*/ 3724 h 26334"/>
                <a:gd name="csX13" fmla="*/ 3930 w 28711"/>
                <a:gd name="csY13" fmla="*/ 14014 h 26334"/>
                <a:gd name="csX14" fmla="*/ 3790 w 28711"/>
                <a:gd name="csY14" fmla="*/ 14889 h 26334"/>
                <a:gd name="csX15" fmla="*/ 9005 w 28711"/>
                <a:gd name="csY15" fmla="*/ 22380 h 26334"/>
                <a:gd name="csX16" fmla="*/ 9740 w 28711"/>
                <a:gd name="csY16" fmla="*/ 22450 h 26334"/>
                <a:gd name="csX17" fmla="*/ 24791 w 28711"/>
                <a:gd name="csY17" fmla="*/ 12439 h 26334"/>
                <a:gd name="csX18" fmla="*/ 24896 w 28711"/>
                <a:gd name="csY18" fmla="*/ 11809 h 26334"/>
                <a:gd name="csX19" fmla="*/ 19716 w 28711"/>
                <a:gd name="csY19" fmla="*/ 3934 h 26334"/>
                <a:gd name="csX20" fmla="*/ 19366 w 28711"/>
                <a:gd name="csY20" fmla="*/ 3724 h 263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28711" h="26334">
                  <a:moveTo>
                    <a:pt x="9355" y="26265"/>
                  </a:moveTo>
                  <a:cubicBezTo>
                    <a:pt x="8025" y="26265"/>
                    <a:pt x="6800" y="25635"/>
                    <a:pt x="5995" y="24480"/>
                  </a:cubicBezTo>
                  <a:lnTo>
                    <a:pt x="640" y="16779"/>
                  </a:lnTo>
                  <a:cubicBezTo>
                    <a:pt x="-585" y="14434"/>
                    <a:pt x="10" y="12089"/>
                    <a:pt x="1900" y="10899"/>
                  </a:cubicBezTo>
                  <a:lnTo>
                    <a:pt x="16951" y="749"/>
                  </a:lnTo>
                  <a:cubicBezTo>
                    <a:pt x="17791" y="154"/>
                    <a:pt x="18841" y="-161"/>
                    <a:pt x="19961" y="84"/>
                  </a:cubicBezTo>
                  <a:cubicBezTo>
                    <a:pt x="21081" y="259"/>
                    <a:pt x="22096" y="889"/>
                    <a:pt x="22761" y="1834"/>
                  </a:cubicBezTo>
                  <a:lnTo>
                    <a:pt x="22796" y="1834"/>
                  </a:lnTo>
                  <a:cubicBezTo>
                    <a:pt x="22796" y="1834"/>
                    <a:pt x="27976" y="9709"/>
                    <a:pt x="27976" y="9709"/>
                  </a:cubicBezTo>
                  <a:cubicBezTo>
                    <a:pt x="29271" y="11494"/>
                    <a:pt x="28816" y="14119"/>
                    <a:pt x="26926" y="15519"/>
                  </a:cubicBezTo>
                  <a:lnTo>
                    <a:pt x="11771" y="25635"/>
                  </a:lnTo>
                  <a:cubicBezTo>
                    <a:pt x="11000" y="26125"/>
                    <a:pt x="10160" y="26335"/>
                    <a:pt x="9355" y="26335"/>
                  </a:cubicBezTo>
                  <a:close/>
                  <a:moveTo>
                    <a:pt x="19366" y="3724"/>
                  </a:moveTo>
                  <a:lnTo>
                    <a:pt x="3930" y="14014"/>
                  </a:lnTo>
                  <a:cubicBezTo>
                    <a:pt x="3930" y="14014"/>
                    <a:pt x="3510" y="14294"/>
                    <a:pt x="3790" y="14889"/>
                  </a:cubicBezTo>
                  <a:lnTo>
                    <a:pt x="9005" y="22380"/>
                  </a:lnTo>
                  <a:cubicBezTo>
                    <a:pt x="9005" y="22380"/>
                    <a:pt x="9285" y="22730"/>
                    <a:pt x="9740" y="22450"/>
                  </a:cubicBezTo>
                  <a:lnTo>
                    <a:pt x="24791" y="12439"/>
                  </a:lnTo>
                  <a:cubicBezTo>
                    <a:pt x="24791" y="12439"/>
                    <a:pt x="25036" y="11984"/>
                    <a:pt x="24896" y="11809"/>
                  </a:cubicBezTo>
                  <a:lnTo>
                    <a:pt x="19716" y="3934"/>
                  </a:lnTo>
                  <a:cubicBezTo>
                    <a:pt x="19716" y="3934"/>
                    <a:pt x="19506" y="3759"/>
                    <a:pt x="19366" y="3724"/>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3" name="Freeform: Shape 1792">
              <a:extLst>
                <a:ext uri="{FF2B5EF4-FFF2-40B4-BE49-F238E27FC236}">
                  <a16:creationId xmlns:a16="http://schemas.microsoft.com/office/drawing/2014/main" id="{74A62E3A-687E-0747-B4C7-14CAC585DDBE}"/>
                </a:ext>
              </a:extLst>
            </p:cNvPr>
            <p:cNvSpPr/>
            <p:nvPr/>
          </p:nvSpPr>
          <p:spPr>
            <a:xfrm>
              <a:off x="10916505" y="4232237"/>
              <a:ext cx="18869" cy="25031"/>
            </a:xfrm>
            <a:custGeom>
              <a:avLst/>
              <a:gdLst>
                <a:gd name="csX0" fmla="*/ 3364 w 18869"/>
                <a:gd name="csY0" fmla="*/ 5059 h 25031"/>
                <a:gd name="csX1" fmla="*/ 3364 w 18869"/>
                <a:gd name="csY1" fmla="*/ 5059 h 25031"/>
                <a:gd name="csX2" fmla="*/ 9419 w 18869"/>
                <a:gd name="csY2" fmla="*/ 19 h 25031"/>
                <a:gd name="csX3" fmla="*/ 13409 w 18869"/>
                <a:gd name="csY3" fmla="*/ 2679 h 25031"/>
                <a:gd name="csX4" fmla="*/ 18275 w 18869"/>
                <a:gd name="csY4" fmla="*/ 10239 h 25031"/>
                <a:gd name="csX5" fmla="*/ 18275 w 18869"/>
                <a:gd name="csY5" fmla="*/ 12444 h 25031"/>
                <a:gd name="csX6" fmla="*/ 18870 w 18869"/>
                <a:gd name="csY6" fmla="*/ 15244 h 25031"/>
                <a:gd name="csX7" fmla="*/ 15895 w 18869"/>
                <a:gd name="csY7" fmla="*/ 23225 h 25031"/>
                <a:gd name="csX8" fmla="*/ 8054 w 18869"/>
                <a:gd name="csY8" fmla="*/ 25010 h 25031"/>
                <a:gd name="csX9" fmla="*/ 5394 w 18869"/>
                <a:gd name="csY9" fmla="*/ 24415 h 25031"/>
                <a:gd name="csX10" fmla="*/ 3329 w 18869"/>
                <a:gd name="csY10" fmla="*/ 23085 h 25031"/>
                <a:gd name="csX11" fmla="*/ 214 w 18869"/>
                <a:gd name="csY11" fmla="*/ 19375 h 25031"/>
                <a:gd name="csX12" fmla="*/ 1824 w 18869"/>
                <a:gd name="csY12" fmla="*/ 14334 h 25031"/>
                <a:gd name="csX13" fmla="*/ 3889 w 18869"/>
                <a:gd name="csY13" fmla="*/ 13459 h 25031"/>
                <a:gd name="csX14" fmla="*/ 4344 w 18869"/>
                <a:gd name="csY14" fmla="*/ 8874 h 25031"/>
                <a:gd name="csX15" fmla="*/ 3294 w 18869"/>
                <a:gd name="csY15" fmla="*/ 5024 h 250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8869" h="25031">
                  <a:moveTo>
                    <a:pt x="3364" y="5059"/>
                  </a:moveTo>
                  <a:lnTo>
                    <a:pt x="3364" y="5059"/>
                  </a:lnTo>
                  <a:cubicBezTo>
                    <a:pt x="5429" y="3274"/>
                    <a:pt x="6619" y="614"/>
                    <a:pt x="9419" y="19"/>
                  </a:cubicBezTo>
                  <a:cubicBezTo>
                    <a:pt x="10469" y="-261"/>
                    <a:pt x="13409" y="2679"/>
                    <a:pt x="13409" y="2679"/>
                  </a:cubicBezTo>
                  <a:cubicBezTo>
                    <a:pt x="15335" y="4884"/>
                    <a:pt x="17715" y="7544"/>
                    <a:pt x="18275" y="10239"/>
                  </a:cubicBezTo>
                  <a:cubicBezTo>
                    <a:pt x="18415" y="10974"/>
                    <a:pt x="18135" y="11709"/>
                    <a:pt x="18275" y="12444"/>
                  </a:cubicBezTo>
                  <a:cubicBezTo>
                    <a:pt x="18415" y="13319"/>
                    <a:pt x="18730" y="14369"/>
                    <a:pt x="18870" y="15244"/>
                  </a:cubicBezTo>
                  <a:cubicBezTo>
                    <a:pt x="18590" y="21475"/>
                    <a:pt x="19920" y="20285"/>
                    <a:pt x="15895" y="23225"/>
                  </a:cubicBezTo>
                  <a:cubicBezTo>
                    <a:pt x="15300" y="23680"/>
                    <a:pt x="9839" y="24695"/>
                    <a:pt x="8054" y="25010"/>
                  </a:cubicBezTo>
                  <a:cubicBezTo>
                    <a:pt x="6444" y="25150"/>
                    <a:pt x="6269" y="24555"/>
                    <a:pt x="5394" y="24415"/>
                  </a:cubicBezTo>
                  <a:cubicBezTo>
                    <a:pt x="4659" y="23960"/>
                    <a:pt x="3924" y="23680"/>
                    <a:pt x="3329" y="23085"/>
                  </a:cubicBezTo>
                  <a:cubicBezTo>
                    <a:pt x="2139" y="21895"/>
                    <a:pt x="949" y="20705"/>
                    <a:pt x="214" y="19375"/>
                  </a:cubicBezTo>
                  <a:cubicBezTo>
                    <a:pt x="-661" y="17450"/>
                    <a:pt x="1404" y="15069"/>
                    <a:pt x="1824" y="14334"/>
                  </a:cubicBezTo>
                  <a:cubicBezTo>
                    <a:pt x="2419" y="14054"/>
                    <a:pt x="3434" y="14334"/>
                    <a:pt x="3889" y="13459"/>
                  </a:cubicBezTo>
                  <a:cubicBezTo>
                    <a:pt x="4169" y="12584"/>
                    <a:pt x="5359" y="9609"/>
                    <a:pt x="4344" y="8874"/>
                  </a:cubicBezTo>
                  <a:lnTo>
                    <a:pt x="3294" y="5024"/>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4" name="Freeform: Shape 1793">
              <a:extLst>
                <a:ext uri="{FF2B5EF4-FFF2-40B4-BE49-F238E27FC236}">
                  <a16:creationId xmlns:a16="http://schemas.microsoft.com/office/drawing/2014/main" id="{8FC82625-1C16-C944-372D-E9877B36F3FE}"/>
                </a:ext>
              </a:extLst>
            </p:cNvPr>
            <p:cNvSpPr/>
            <p:nvPr/>
          </p:nvSpPr>
          <p:spPr>
            <a:xfrm>
              <a:off x="10914722" y="4230471"/>
              <a:ext cx="22514" cy="28735"/>
            </a:xfrm>
            <a:custGeom>
              <a:avLst/>
              <a:gdLst>
                <a:gd name="csX0" fmla="*/ 9417 w 22514"/>
                <a:gd name="csY0" fmla="*/ 28665 h 28735"/>
                <a:gd name="csX1" fmla="*/ 7177 w 22514"/>
                <a:gd name="csY1" fmla="*/ 28140 h 28735"/>
                <a:gd name="csX2" fmla="*/ 6267 w 22514"/>
                <a:gd name="csY2" fmla="*/ 27790 h 28735"/>
                <a:gd name="csX3" fmla="*/ 5672 w 22514"/>
                <a:gd name="csY3" fmla="*/ 27475 h 28735"/>
                <a:gd name="csX4" fmla="*/ 3817 w 22514"/>
                <a:gd name="csY4" fmla="*/ 26215 h 28735"/>
                <a:gd name="csX5" fmla="*/ 421 w 22514"/>
                <a:gd name="csY5" fmla="*/ 22120 h 28735"/>
                <a:gd name="csX6" fmla="*/ 1857 w 22514"/>
                <a:gd name="csY6" fmla="*/ 15575 h 28735"/>
                <a:gd name="csX7" fmla="*/ 2837 w 22514"/>
                <a:gd name="csY7" fmla="*/ 14560 h 28735"/>
                <a:gd name="csX8" fmla="*/ 4167 w 22514"/>
                <a:gd name="csY8" fmla="*/ 14210 h 28735"/>
                <a:gd name="csX9" fmla="*/ 4167 w 22514"/>
                <a:gd name="csY9" fmla="*/ 14210 h 28735"/>
                <a:gd name="csX10" fmla="*/ 4762 w 22514"/>
                <a:gd name="csY10" fmla="*/ 11935 h 28735"/>
                <a:gd name="csX11" fmla="*/ 4412 w 22514"/>
                <a:gd name="csY11" fmla="*/ 11235 h 28735"/>
                <a:gd name="csX12" fmla="*/ 3362 w 22514"/>
                <a:gd name="csY12" fmla="*/ 7384 h 28735"/>
                <a:gd name="csX13" fmla="*/ 3957 w 22514"/>
                <a:gd name="csY13" fmla="*/ 5494 h 28735"/>
                <a:gd name="csX14" fmla="*/ 5602 w 22514"/>
                <a:gd name="csY14" fmla="*/ 3744 h 28735"/>
                <a:gd name="csX15" fmla="*/ 10817 w 22514"/>
                <a:gd name="csY15" fmla="*/ 69 h 28735"/>
                <a:gd name="csX16" fmla="*/ 16522 w 22514"/>
                <a:gd name="csY16" fmla="*/ 3219 h 28735"/>
                <a:gd name="csX17" fmla="*/ 21912 w 22514"/>
                <a:gd name="csY17" fmla="*/ 11655 h 28735"/>
                <a:gd name="csX18" fmla="*/ 21912 w 22514"/>
                <a:gd name="csY18" fmla="*/ 13335 h 28735"/>
                <a:gd name="csX19" fmla="*/ 21912 w 22514"/>
                <a:gd name="csY19" fmla="*/ 13895 h 28735"/>
                <a:gd name="csX20" fmla="*/ 22227 w 22514"/>
                <a:gd name="csY20" fmla="*/ 15400 h 28735"/>
                <a:gd name="csX21" fmla="*/ 22507 w 22514"/>
                <a:gd name="csY21" fmla="*/ 16765 h 28735"/>
                <a:gd name="csX22" fmla="*/ 22507 w 22514"/>
                <a:gd name="csY22" fmla="*/ 20510 h 28735"/>
                <a:gd name="csX23" fmla="*/ 19182 w 22514"/>
                <a:gd name="csY23" fmla="*/ 26320 h 28735"/>
                <a:gd name="csX24" fmla="*/ 10187 w 22514"/>
                <a:gd name="csY24" fmla="*/ 28700 h 28735"/>
                <a:gd name="csX25" fmla="*/ 9417 w 22514"/>
                <a:gd name="csY25" fmla="*/ 28735 h 28735"/>
                <a:gd name="csX26" fmla="*/ 7912 w 22514"/>
                <a:gd name="csY26" fmla="*/ 24465 h 28735"/>
                <a:gd name="csX27" fmla="*/ 8822 w 22514"/>
                <a:gd name="csY27" fmla="*/ 24815 h 28735"/>
                <a:gd name="csX28" fmla="*/ 9732 w 22514"/>
                <a:gd name="csY28" fmla="*/ 24955 h 28735"/>
                <a:gd name="csX29" fmla="*/ 16837 w 22514"/>
                <a:gd name="csY29" fmla="*/ 23415 h 28735"/>
                <a:gd name="csX30" fmla="*/ 18832 w 22514"/>
                <a:gd name="csY30" fmla="*/ 21805 h 28735"/>
                <a:gd name="csX31" fmla="*/ 18832 w 22514"/>
                <a:gd name="csY31" fmla="*/ 20545 h 28735"/>
                <a:gd name="csX32" fmla="*/ 18832 w 22514"/>
                <a:gd name="csY32" fmla="*/ 16940 h 28735"/>
                <a:gd name="csX33" fmla="*/ 18832 w 22514"/>
                <a:gd name="csY33" fmla="*/ 16940 h 28735"/>
                <a:gd name="csX34" fmla="*/ 18587 w 22514"/>
                <a:gd name="csY34" fmla="*/ 16170 h 28735"/>
                <a:gd name="csX35" fmla="*/ 18272 w 22514"/>
                <a:gd name="csY35" fmla="*/ 14525 h 28735"/>
                <a:gd name="csX36" fmla="*/ 18272 w 22514"/>
                <a:gd name="csY36" fmla="*/ 12915 h 28735"/>
                <a:gd name="csX37" fmla="*/ 18272 w 22514"/>
                <a:gd name="csY37" fmla="*/ 12390 h 28735"/>
                <a:gd name="csX38" fmla="*/ 13967 w 22514"/>
                <a:gd name="csY38" fmla="*/ 5879 h 28735"/>
                <a:gd name="csX39" fmla="*/ 11307 w 22514"/>
                <a:gd name="csY39" fmla="*/ 3709 h 28735"/>
                <a:gd name="csX40" fmla="*/ 8367 w 22514"/>
                <a:gd name="csY40" fmla="*/ 6124 h 28735"/>
                <a:gd name="csX41" fmla="*/ 7177 w 22514"/>
                <a:gd name="csY41" fmla="*/ 7454 h 28735"/>
                <a:gd name="csX42" fmla="*/ 7807 w 22514"/>
                <a:gd name="csY42" fmla="*/ 9764 h 28735"/>
                <a:gd name="csX43" fmla="*/ 7527 w 22514"/>
                <a:gd name="csY43" fmla="*/ 15645 h 28735"/>
                <a:gd name="csX44" fmla="*/ 7352 w 22514"/>
                <a:gd name="csY44" fmla="*/ 16100 h 28735"/>
                <a:gd name="csX45" fmla="*/ 4727 w 22514"/>
                <a:gd name="csY45" fmla="*/ 17850 h 28735"/>
                <a:gd name="csX46" fmla="*/ 3642 w 22514"/>
                <a:gd name="csY46" fmla="*/ 20475 h 28735"/>
                <a:gd name="csX47" fmla="*/ 6372 w 22514"/>
                <a:gd name="csY47" fmla="*/ 23625 h 28735"/>
                <a:gd name="csX48" fmla="*/ 7352 w 22514"/>
                <a:gd name="csY48" fmla="*/ 24290 h 28735"/>
                <a:gd name="csX49" fmla="*/ 7807 w 22514"/>
                <a:gd name="csY49" fmla="*/ 24535 h 28735"/>
                <a:gd name="csX50" fmla="*/ 11692 w 22514"/>
                <a:gd name="csY50" fmla="*/ 3569 h 28735"/>
                <a:gd name="csX51" fmla="*/ 11587 w 22514"/>
                <a:gd name="csY51" fmla="*/ 3569 h 28735"/>
                <a:gd name="csX52" fmla="*/ 11692 w 22514"/>
                <a:gd name="csY52" fmla="*/ 3569 h 287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22514" h="28735">
                  <a:moveTo>
                    <a:pt x="9417" y="28665"/>
                  </a:moveTo>
                  <a:cubicBezTo>
                    <a:pt x="8332" y="28665"/>
                    <a:pt x="7702" y="28420"/>
                    <a:pt x="7177" y="28140"/>
                  </a:cubicBezTo>
                  <a:cubicBezTo>
                    <a:pt x="6932" y="28105"/>
                    <a:pt x="6477" y="27895"/>
                    <a:pt x="6267" y="27790"/>
                  </a:cubicBezTo>
                  <a:lnTo>
                    <a:pt x="5672" y="27475"/>
                  </a:lnTo>
                  <a:cubicBezTo>
                    <a:pt x="5077" y="27160"/>
                    <a:pt x="4412" y="26810"/>
                    <a:pt x="3817" y="26215"/>
                  </a:cubicBezTo>
                  <a:cubicBezTo>
                    <a:pt x="2662" y="25025"/>
                    <a:pt x="1297" y="23695"/>
                    <a:pt x="421" y="22120"/>
                  </a:cubicBezTo>
                  <a:cubicBezTo>
                    <a:pt x="-839" y="19390"/>
                    <a:pt x="1051" y="16695"/>
                    <a:pt x="1857" y="15575"/>
                  </a:cubicBezTo>
                  <a:cubicBezTo>
                    <a:pt x="2032" y="15260"/>
                    <a:pt x="2522" y="14700"/>
                    <a:pt x="2837" y="14560"/>
                  </a:cubicBezTo>
                  <a:cubicBezTo>
                    <a:pt x="3327" y="14315"/>
                    <a:pt x="3817" y="14245"/>
                    <a:pt x="4167" y="14210"/>
                  </a:cubicBezTo>
                  <a:lnTo>
                    <a:pt x="4167" y="14210"/>
                  </a:lnTo>
                  <a:cubicBezTo>
                    <a:pt x="4622" y="12880"/>
                    <a:pt x="4762" y="12250"/>
                    <a:pt x="4762" y="11935"/>
                  </a:cubicBezTo>
                  <a:cubicBezTo>
                    <a:pt x="4587" y="11725"/>
                    <a:pt x="4482" y="11480"/>
                    <a:pt x="4412" y="11235"/>
                  </a:cubicBezTo>
                  <a:lnTo>
                    <a:pt x="3362" y="7384"/>
                  </a:lnTo>
                  <a:cubicBezTo>
                    <a:pt x="3187" y="6684"/>
                    <a:pt x="3397" y="5949"/>
                    <a:pt x="3957" y="5494"/>
                  </a:cubicBezTo>
                  <a:cubicBezTo>
                    <a:pt x="4587" y="4969"/>
                    <a:pt x="5112" y="4374"/>
                    <a:pt x="5602" y="3744"/>
                  </a:cubicBezTo>
                  <a:cubicBezTo>
                    <a:pt x="6897" y="2274"/>
                    <a:pt x="8332" y="594"/>
                    <a:pt x="10817" y="69"/>
                  </a:cubicBezTo>
                  <a:cubicBezTo>
                    <a:pt x="11237" y="-36"/>
                    <a:pt x="12812" y="-456"/>
                    <a:pt x="16522" y="3219"/>
                  </a:cubicBezTo>
                  <a:cubicBezTo>
                    <a:pt x="18727" y="5774"/>
                    <a:pt x="21212" y="8609"/>
                    <a:pt x="21912" y="11655"/>
                  </a:cubicBezTo>
                  <a:cubicBezTo>
                    <a:pt x="22052" y="12320"/>
                    <a:pt x="21982" y="12915"/>
                    <a:pt x="21912" y="13335"/>
                  </a:cubicBezTo>
                  <a:cubicBezTo>
                    <a:pt x="21912" y="13545"/>
                    <a:pt x="21877" y="13790"/>
                    <a:pt x="21912" y="13895"/>
                  </a:cubicBezTo>
                  <a:cubicBezTo>
                    <a:pt x="21982" y="14455"/>
                    <a:pt x="22122" y="14945"/>
                    <a:pt x="22227" y="15400"/>
                  </a:cubicBezTo>
                  <a:cubicBezTo>
                    <a:pt x="22332" y="15855"/>
                    <a:pt x="22437" y="16345"/>
                    <a:pt x="22507" y="16765"/>
                  </a:cubicBezTo>
                  <a:cubicBezTo>
                    <a:pt x="22472" y="18690"/>
                    <a:pt x="22507" y="19740"/>
                    <a:pt x="22507" y="20510"/>
                  </a:cubicBezTo>
                  <a:cubicBezTo>
                    <a:pt x="22577" y="23590"/>
                    <a:pt x="22157" y="24115"/>
                    <a:pt x="19182" y="26320"/>
                  </a:cubicBezTo>
                  <a:cubicBezTo>
                    <a:pt x="18097" y="27160"/>
                    <a:pt x="15192" y="27860"/>
                    <a:pt x="10187" y="28700"/>
                  </a:cubicBezTo>
                  <a:cubicBezTo>
                    <a:pt x="9907" y="28700"/>
                    <a:pt x="9627" y="28735"/>
                    <a:pt x="9417" y="28735"/>
                  </a:cubicBezTo>
                  <a:close/>
                  <a:moveTo>
                    <a:pt x="7912" y="24465"/>
                  </a:moveTo>
                  <a:cubicBezTo>
                    <a:pt x="8297" y="24570"/>
                    <a:pt x="8612" y="24710"/>
                    <a:pt x="8822" y="24815"/>
                  </a:cubicBezTo>
                  <a:cubicBezTo>
                    <a:pt x="9102" y="24955"/>
                    <a:pt x="9207" y="24990"/>
                    <a:pt x="9732" y="24955"/>
                  </a:cubicBezTo>
                  <a:cubicBezTo>
                    <a:pt x="12392" y="24500"/>
                    <a:pt x="16172" y="23695"/>
                    <a:pt x="16837" y="23415"/>
                  </a:cubicBezTo>
                  <a:cubicBezTo>
                    <a:pt x="17887" y="22610"/>
                    <a:pt x="18692" y="22015"/>
                    <a:pt x="18832" y="21805"/>
                  </a:cubicBezTo>
                  <a:cubicBezTo>
                    <a:pt x="18867" y="21665"/>
                    <a:pt x="18832" y="21070"/>
                    <a:pt x="18832" y="20545"/>
                  </a:cubicBezTo>
                  <a:cubicBezTo>
                    <a:pt x="18832" y="19705"/>
                    <a:pt x="18797" y="18550"/>
                    <a:pt x="18832" y="16940"/>
                  </a:cubicBezTo>
                  <a:lnTo>
                    <a:pt x="18832" y="16940"/>
                  </a:lnTo>
                  <a:cubicBezTo>
                    <a:pt x="18832" y="16940"/>
                    <a:pt x="18692" y="16555"/>
                    <a:pt x="18587" y="16170"/>
                  </a:cubicBezTo>
                  <a:cubicBezTo>
                    <a:pt x="18447" y="15610"/>
                    <a:pt x="18342" y="15050"/>
                    <a:pt x="18272" y="14525"/>
                  </a:cubicBezTo>
                  <a:cubicBezTo>
                    <a:pt x="18132" y="13965"/>
                    <a:pt x="18202" y="13370"/>
                    <a:pt x="18272" y="12915"/>
                  </a:cubicBezTo>
                  <a:cubicBezTo>
                    <a:pt x="18272" y="12705"/>
                    <a:pt x="18342" y="12460"/>
                    <a:pt x="18272" y="12390"/>
                  </a:cubicBezTo>
                  <a:cubicBezTo>
                    <a:pt x="17817" y="10290"/>
                    <a:pt x="15682" y="7839"/>
                    <a:pt x="13967" y="5879"/>
                  </a:cubicBezTo>
                  <a:cubicBezTo>
                    <a:pt x="13022" y="4934"/>
                    <a:pt x="11867" y="3989"/>
                    <a:pt x="11307" y="3709"/>
                  </a:cubicBezTo>
                  <a:cubicBezTo>
                    <a:pt x="10222" y="4059"/>
                    <a:pt x="9452" y="4899"/>
                    <a:pt x="8367" y="6124"/>
                  </a:cubicBezTo>
                  <a:cubicBezTo>
                    <a:pt x="7982" y="6544"/>
                    <a:pt x="7597" y="6999"/>
                    <a:pt x="7177" y="7454"/>
                  </a:cubicBezTo>
                  <a:lnTo>
                    <a:pt x="7807" y="9764"/>
                  </a:lnTo>
                  <a:cubicBezTo>
                    <a:pt x="9067" y="11375"/>
                    <a:pt x="8087" y="14105"/>
                    <a:pt x="7527" y="15645"/>
                  </a:cubicBezTo>
                  <a:cubicBezTo>
                    <a:pt x="7527" y="15715"/>
                    <a:pt x="7387" y="16065"/>
                    <a:pt x="7352" y="16100"/>
                  </a:cubicBezTo>
                  <a:cubicBezTo>
                    <a:pt x="6687" y="17465"/>
                    <a:pt x="5427" y="17745"/>
                    <a:pt x="4727" y="17850"/>
                  </a:cubicBezTo>
                  <a:cubicBezTo>
                    <a:pt x="4307" y="18445"/>
                    <a:pt x="3397" y="19845"/>
                    <a:pt x="3642" y="20475"/>
                  </a:cubicBezTo>
                  <a:cubicBezTo>
                    <a:pt x="4237" y="21455"/>
                    <a:pt x="5392" y="22610"/>
                    <a:pt x="6372" y="23625"/>
                  </a:cubicBezTo>
                  <a:cubicBezTo>
                    <a:pt x="6582" y="23870"/>
                    <a:pt x="6967" y="24045"/>
                    <a:pt x="7352" y="24290"/>
                  </a:cubicBezTo>
                  <a:lnTo>
                    <a:pt x="7807" y="24535"/>
                  </a:lnTo>
                  <a:close/>
                  <a:moveTo>
                    <a:pt x="11692" y="3569"/>
                  </a:moveTo>
                  <a:cubicBezTo>
                    <a:pt x="11692" y="3569"/>
                    <a:pt x="11622" y="3569"/>
                    <a:pt x="11587" y="3569"/>
                  </a:cubicBezTo>
                  <a:cubicBezTo>
                    <a:pt x="11622" y="3569"/>
                    <a:pt x="11657" y="3569"/>
                    <a:pt x="11692" y="3569"/>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5" name="Freeform: Shape 1794">
              <a:extLst>
                <a:ext uri="{FF2B5EF4-FFF2-40B4-BE49-F238E27FC236}">
                  <a16:creationId xmlns:a16="http://schemas.microsoft.com/office/drawing/2014/main" id="{F2D207F1-F0F8-3073-FAED-060F4117274B}"/>
                </a:ext>
              </a:extLst>
            </p:cNvPr>
            <p:cNvSpPr/>
            <p:nvPr/>
          </p:nvSpPr>
          <p:spPr>
            <a:xfrm>
              <a:off x="10958676" y="4199524"/>
              <a:ext cx="24956" cy="18604"/>
            </a:xfrm>
            <a:custGeom>
              <a:avLst/>
              <a:gdLst>
                <a:gd name="csX0" fmla="*/ 6624 w 24956"/>
                <a:gd name="csY0" fmla="*/ 18556 h 18604"/>
                <a:gd name="csX1" fmla="*/ 6624 w 24956"/>
                <a:gd name="csY1" fmla="*/ 18556 h 18604"/>
                <a:gd name="csX2" fmla="*/ 114 w 24956"/>
                <a:gd name="csY2" fmla="*/ 13971 h 18604"/>
                <a:gd name="csX3" fmla="*/ 1444 w 24956"/>
                <a:gd name="csY3" fmla="*/ 9385 h 18604"/>
                <a:gd name="csX4" fmla="*/ 7499 w 24956"/>
                <a:gd name="csY4" fmla="*/ 3015 h 18604"/>
                <a:gd name="csX5" fmla="*/ 9565 w 24956"/>
                <a:gd name="csY5" fmla="*/ 2420 h 18604"/>
                <a:gd name="csX6" fmla="*/ 12085 w 24956"/>
                <a:gd name="csY6" fmla="*/ 1090 h 18604"/>
                <a:gd name="csX7" fmla="*/ 20800 w 24956"/>
                <a:gd name="csY7" fmla="*/ 2140 h 18604"/>
                <a:gd name="csX8" fmla="*/ 24650 w 24956"/>
                <a:gd name="csY8" fmla="*/ 9105 h 18604"/>
                <a:gd name="csX9" fmla="*/ 24790 w 24956"/>
                <a:gd name="csY9" fmla="*/ 11906 h 18604"/>
                <a:gd name="csX10" fmla="*/ 24195 w 24956"/>
                <a:gd name="csY10" fmla="*/ 14111 h 18604"/>
                <a:gd name="csX11" fmla="*/ 21395 w 24956"/>
                <a:gd name="csY11" fmla="*/ 17961 h 18604"/>
                <a:gd name="csX12" fmla="*/ 16215 w 24956"/>
                <a:gd name="csY12" fmla="*/ 17681 h 18604"/>
                <a:gd name="csX13" fmla="*/ 14745 w 24956"/>
                <a:gd name="csY13" fmla="*/ 16071 h 18604"/>
                <a:gd name="csX14" fmla="*/ 10160 w 24956"/>
                <a:gd name="csY14" fmla="*/ 16666 h 18604"/>
                <a:gd name="csX15" fmla="*/ 6624 w 24956"/>
                <a:gd name="csY15" fmla="*/ 18591 h 186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4956" h="18604">
                  <a:moveTo>
                    <a:pt x="6624" y="18556"/>
                  </a:moveTo>
                  <a:lnTo>
                    <a:pt x="6624" y="18556"/>
                  </a:lnTo>
                  <a:cubicBezTo>
                    <a:pt x="4419" y="17086"/>
                    <a:pt x="1444" y="16491"/>
                    <a:pt x="114" y="13971"/>
                  </a:cubicBezTo>
                  <a:cubicBezTo>
                    <a:pt x="-481" y="12921"/>
                    <a:pt x="1444" y="9385"/>
                    <a:pt x="1444" y="9385"/>
                  </a:cubicBezTo>
                  <a:cubicBezTo>
                    <a:pt x="3229" y="7005"/>
                    <a:pt x="5154" y="4205"/>
                    <a:pt x="7499" y="3015"/>
                  </a:cubicBezTo>
                  <a:cubicBezTo>
                    <a:pt x="8234" y="2560"/>
                    <a:pt x="8830" y="2735"/>
                    <a:pt x="9565" y="2420"/>
                  </a:cubicBezTo>
                  <a:cubicBezTo>
                    <a:pt x="10440" y="2140"/>
                    <a:pt x="11350" y="1545"/>
                    <a:pt x="12085" y="1090"/>
                  </a:cubicBezTo>
                  <a:cubicBezTo>
                    <a:pt x="18315" y="-100"/>
                    <a:pt x="16670" y="-975"/>
                    <a:pt x="20800" y="2140"/>
                  </a:cubicBezTo>
                  <a:cubicBezTo>
                    <a:pt x="21395" y="2420"/>
                    <a:pt x="23915" y="7460"/>
                    <a:pt x="24650" y="9105"/>
                  </a:cubicBezTo>
                  <a:cubicBezTo>
                    <a:pt x="25245" y="10715"/>
                    <a:pt x="24790" y="11031"/>
                    <a:pt x="24790" y="11906"/>
                  </a:cubicBezTo>
                  <a:cubicBezTo>
                    <a:pt x="24650" y="12641"/>
                    <a:pt x="24650" y="13516"/>
                    <a:pt x="24195" y="14111"/>
                  </a:cubicBezTo>
                  <a:cubicBezTo>
                    <a:pt x="23460" y="15581"/>
                    <a:pt x="22585" y="16911"/>
                    <a:pt x="21395" y="17961"/>
                  </a:cubicBezTo>
                  <a:cubicBezTo>
                    <a:pt x="19925" y="19431"/>
                    <a:pt x="16950" y="17961"/>
                    <a:pt x="16215" y="17681"/>
                  </a:cubicBezTo>
                  <a:cubicBezTo>
                    <a:pt x="15620" y="17086"/>
                    <a:pt x="15760" y="16211"/>
                    <a:pt x="14745" y="16071"/>
                  </a:cubicBezTo>
                  <a:cubicBezTo>
                    <a:pt x="13695" y="15791"/>
                    <a:pt x="10440" y="15476"/>
                    <a:pt x="10160" y="16666"/>
                  </a:cubicBezTo>
                  <a:lnTo>
                    <a:pt x="6624" y="18591"/>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6" name="Freeform: Shape 1795">
              <a:extLst>
                <a:ext uri="{FF2B5EF4-FFF2-40B4-BE49-F238E27FC236}">
                  <a16:creationId xmlns:a16="http://schemas.microsoft.com/office/drawing/2014/main" id="{9E5A53B6-AE84-E74C-4CF9-DE506FBED73E}"/>
                </a:ext>
              </a:extLst>
            </p:cNvPr>
            <p:cNvSpPr/>
            <p:nvPr/>
          </p:nvSpPr>
          <p:spPr>
            <a:xfrm>
              <a:off x="10956861" y="4197808"/>
              <a:ext cx="28639" cy="22302"/>
            </a:xfrm>
            <a:custGeom>
              <a:avLst/>
              <a:gdLst>
                <a:gd name="csX0" fmla="*/ 21530 w 28639"/>
                <a:gd name="csY0" fmla="*/ 22197 h 22302"/>
                <a:gd name="csX1" fmla="*/ 17610 w 28639"/>
                <a:gd name="csY1" fmla="*/ 21217 h 22302"/>
                <a:gd name="csX2" fmla="*/ 16735 w 28639"/>
                <a:gd name="csY2" fmla="*/ 20727 h 22302"/>
                <a:gd name="csX3" fmla="*/ 15965 w 28639"/>
                <a:gd name="csY3" fmla="*/ 19537 h 22302"/>
                <a:gd name="csX4" fmla="*/ 13515 w 28639"/>
                <a:gd name="csY4" fmla="*/ 19432 h 22302"/>
                <a:gd name="csX5" fmla="*/ 12885 w 28639"/>
                <a:gd name="csY5" fmla="*/ 20027 h 22302"/>
                <a:gd name="csX6" fmla="*/ 9315 w 28639"/>
                <a:gd name="csY6" fmla="*/ 21952 h 22302"/>
                <a:gd name="csX7" fmla="*/ 7424 w 28639"/>
                <a:gd name="csY7" fmla="*/ 21882 h 22302"/>
                <a:gd name="csX8" fmla="*/ 5429 w 28639"/>
                <a:gd name="csY8" fmla="*/ 20797 h 22302"/>
                <a:gd name="csX9" fmla="*/ 319 w 28639"/>
                <a:gd name="csY9" fmla="*/ 16632 h 22302"/>
                <a:gd name="csX10" fmla="*/ 1649 w 28639"/>
                <a:gd name="csY10" fmla="*/ 10297 h 22302"/>
                <a:gd name="csX11" fmla="*/ 2384 w 28639"/>
                <a:gd name="csY11" fmla="*/ 9317 h 22302"/>
                <a:gd name="csX12" fmla="*/ 8545 w 28639"/>
                <a:gd name="csY12" fmla="*/ 3192 h 22302"/>
                <a:gd name="csX13" fmla="*/ 10260 w 28639"/>
                <a:gd name="csY13" fmla="*/ 2632 h 22302"/>
                <a:gd name="csX14" fmla="*/ 10715 w 28639"/>
                <a:gd name="csY14" fmla="*/ 2527 h 22302"/>
                <a:gd name="csX15" fmla="*/ 12640 w 28639"/>
                <a:gd name="csY15" fmla="*/ 1512 h 22302"/>
                <a:gd name="csX16" fmla="*/ 13585 w 28639"/>
                <a:gd name="csY16" fmla="*/ 1092 h 22302"/>
                <a:gd name="csX17" fmla="*/ 16735 w 28639"/>
                <a:gd name="csY17" fmla="*/ 392 h 22302"/>
                <a:gd name="csX18" fmla="*/ 23105 w 28639"/>
                <a:gd name="csY18" fmla="*/ 2002 h 22302"/>
                <a:gd name="csX19" fmla="*/ 23770 w 28639"/>
                <a:gd name="csY19" fmla="*/ 2492 h 22302"/>
                <a:gd name="csX20" fmla="*/ 28180 w 28639"/>
                <a:gd name="csY20" fmla="*/ 10157 h 22302"/>
                <a:gd name="csX21" fmla="*/ 28530 w 28639"/>
                <a:gd name="csY21" fmla="*/ 13377 h 22302"/>
                <a:gd name="csX22" fmla="*/ 28460 w 28639"/>
                <a:gd name="csY22" fmla="*/ 14112 h 22302"/>
                <a:gd name="csX23" fmla="*/ 28390 w 28639"/>
                <a:gd name="csY23" fmla="*/ 14637 h 22302"/>
                <a:gd name="csX24" fmla="*/ 27550 w 28639"/>
                <a:gd name="csY24" fmla="*/ 17052 h 22302"/>
                <a:gd name="csX25" fmla="*/ 24470 w 28639"/>
                <a:gd name="csY25" fmla="*/ 21182 h 22302"/>
                <a:gd name="csX26" fmla="*/ 21565 w 28639"/>
                <a:gd name="csY26" fmla="*/ 22302 h 22302"/>
                <a:gd name="csX27" fmla="*/ 16245 w 28639"/>
                <a:gd name="csY27" fmla="*/ 19572 h 22302"/>
                <a:gd name="csX28" fmla="*/ 16315 w 28639"/>
                <a:gd name="csY28" fmla="*/ 19572 h 22302"/>
                <a:gd name="csX29" fmla="*/ 16245 w 28639"/>
                <a:gd name="csY29" fmla="*/ 19572 h 22302"/>
                <a:gd name="csX30" fmla="*/ 19290 w 28639"/>
                <a:gd name="csY30" fmla="*/ 17892 h 22302"/>
                <a:gd name="csX31" fmla="*/ 21915 w 28639"/>
                <a:gd name="csY31" fmla="*/ 18382 h 22302"/>
                <a:gd name="csX32" fmla="*/ 24400 w 28639"/>
                <a:gd name="csY32" fmla="*/ 14987 h 22302"/>
                <a:gd name="csX33" fmla="*/ 24715 w 28639"/>
                <a:gd name="csY33" fmla="*/ 13972 h 22302"/>
                <a:gd name="csX34" fmla="*/ 24855 w 28639"/>
                <a:gd name="csY34" fmla="*/ 13237 h 22302"/>
                <a:gd name="csX35" fmla="*/ 24925 w 28639"/>
                <a:gd name="csY35" fmla="*/ 12607 h 22302"/>
                <a:gd name="csX36" fmla="*/ 24785 w 28639"/>
                <a:gd name="csY36" fmla="*/ 11452 h 22302"/>
                <a:gd name="csX37" fmla="*/ 21460 w 28639"/>
                <a:gd name="csY37" fmla="*/ 5257 h 22302"/>
                <a:gd name="csX38" fmla="*/ 20900 w 28639"/>
                <a:gd name="csY38" fmla="*/ 4837 h 22302"/>
                <a:gd name="csX39" fmla="*/ 17680 w 28639"/>
                <a:gd name="csY39" fmla="*/ 3857 h 22302"/>
                <a:gd name="csX40" fmla="*/ 14600 w 28639"/>
                <a:gd name="csY40" fmla="*/ 4557 h 22302"/>
                <a:gd name="csX41" fmla="*/ 11975 w 28639"/>
                <a:gd name="csY41" fmla="*/ 5887 h 22302"/>
                <a:gd name="csX42" fmla="*/ 10785 w 28639"/>
                <a:gd name="csY42" fmla="*/ 6167 h 22302"/>
                <a:gd name="csX43" fmla="*/ 10295 w 28639"/>
                <a:gd name="csY43" fmla="*/ 6272 h 22302"/>
                <a:gd name="csX44" fmla="*/ 5324 w 28639"/>
                <a:gd name="csY44" fmla="*/ 11382 h 22302"/>
                <a:gd name="csX45" fmla="*/ 4729 w 28639"/>
                <a:gd name="csY45" fmla="*/ 12152 h 22302"/>
                <a:gd name="csX46" fmla="*/ 3644 w 28639"/>
                <a:gd name="csY46" fmla="*/ 15092 h 22302"/>
                <a:gd name="csX47" fmla="*/ 7004 w 28639"/>
                <a:gd name="csY47" fmla="*/ 17332 h 22302"/>
                <a:gd name="csX48" fmla="*/ 8475 w 28639"/>
                <a:gd name="csY48" fmla="*/ 18067 h 22302"/>
                <a:gd name="csX49" fmla="*/ 10645 w 28639"/>
                <a:gd name="csY49" fmla="*/ 16912 h 22302"/>
                <a:gd name="csX50" fmla="*/ 11485 w 28639"/>
                <a:gd name="csY50" fmla="*/ 16177 h 22302"/>
                <a:gd name="csX51" fmla="*/ 17085 w 28639"/>
                <a:gd name="csY51" fmla="*/ 15897 h 22302"/>
                <a:gd name="csX52" fmla="*/ 19290 w 28639"/>
                <a:gd name="csY52" fmla="*/ 17822 h 2230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28639" h="22302">
                  <a:moveTo>
                    <a:pt x="21530" y="22197"/>
                  </a:moveTo>
                  <a:cubicBezTo>
                    <a:pt x="19955" y="22197"/>
                    <a:pt x="18380" y="21532"/>
                    <a:pt x="17610" y="21217"/>
                  </a:cubicBezTo>
                  <a:cubicBezTo>
                    <a:pt x="17400" y="21112"/>
                    <a:pt x="16910" y="20867"/>
                    <a:pt x="16735" y="20727"/>
                  </a:cubicBezTo>
                  <a:cubicBezTo>
                    <a:pt x="16315" y="20307"/>
                    <a:pt x="16105" y="19852"/>
                    <a:pt x="15965" y="19537"/>
                  </a:cubicBezTo>
                  <a:cubicBezTo>
                    <a:pt x="15125" y="19362"/>
                    <a:pt x="14040" y="19292"/>
                    <a:pt x="13515" y="19432"/>
                  </a:cubicBezTo>
                  <a:cubicBezTo>
                    <a:pt x="13340" y="19677"/>
                    <a:pt x="13130" y="19852"/>
                    <a:pt x="12885" y="20027"/>
                  </a:cubicBezTo>
                  <a:lnTo>
                    <a:pt x="9315" y="21952"/>
                  </a:lnTo>
                  <a:cubicBezTo>
                    <a:pt x="8720" y="22267"/>
                    <a:pt x="7985" y="22232"/>
                    <a:pt x="7424" y="21882"/>
                  </a:cubicBezTo>
                  <a:cubicBezTo>
                    <a:pt x="6794" y="21462"/>
                    <a:pt x="6094" y="21147"/>
                    <a:pt x="5429" y="20797"/>
                  </a:cubicBezTo>
                  <a:cubicBezTo>
                    <a:pt x="3609" y="19887"/>
                    <a:pt x="1544" y="18907"/>
                    <a:pt x="319" y="16632"/>
                  </a:cubicBezTo>
                  <a:cubicBezTo>
                    <a:pt x="-381" y="15407"/>
                    <a:pt x="74" y="13237"/>
                    <a:pt x="1649" y="10297"/>
                  </a:cubicBezTo>
                  <a:lnTo>
                    <a:pt x="2384" y="9317"/>
                  </a:lnTo>
                  <a:cubicBezTo>
                    <a:pt x="4099" y="7042"/>
                    <a:pt x="6024" y="4417"/>
                    <a:pt x="8545" y="3192"/>
                  </a:cubicBezTo>
                  <a:cubicBezTo>
                    <a:pt x="9140" y="2807"/>
                    <a:pt x="9805" y="2702"/>
                    <a:pt x="10260" y="2632"/>
                  </a:cubicBezTo>
                  <a:cubicBezTo>
                    <a:pt x="10470" y="2597"/>
                    <a:pt x="10610" y="2562"/>
                    <a:pt x="10715" y="2527"/>
                  </a:cubicBezTo>
                  <a:cubicBezTo>
                    <a:pt x="11380" y="2282"/>
                    <a:pt x="12080" y="1862"/>
                    <a:pt x="12640" y="1512"/>
                  </a:cubicBezTo>
                  <a:cubicBezTo>
                    <a:pt x="12850" y="1407"/>
                    <a:pt x="13375" y="1127"/>
                    <a:pt x="13585" y="1092"/>
                  </a:cubicBezTo>
                  <a:cubicBezTo>
                    <a:pt x="15020" y="812"/>
                    <a:pt x="16000" y="567"/>
                    <a:pt x="16735" y="392"/>
                  </a:cubicBezTo>
                  <a:cubicBezTo>
                    <a:pt x="19710" y="-343"/>
                    <a:pt x="20270" y="-168"/>
                    <a:pt x="23105" y="2002"/>
                  </a:cubicBezTo>
                  <a:lnTo>
                    <a:pt x="23770" y="2492"/>
                  </a:lnTo>
                  <a:cubicBezTo>
                    <a:pt x="24820" y="2982"/>
                    <a:pt x="27235" y="8022"/>
                    <a:pt x="28180" y="10157"/>
                  </a:cubicBezTo>
                  <a:cubicBezTo>
                    <a:pt x="28775" y="11802"/>
                    <a:pt x="28670" y="12607"/>
                    <a:pt x="28530" y="13377"/>
                  </a:cubicBezTo>
                  <a:cubicBezTo>
                    <a:pt x="28530" y="13517"/>
                    <a:pt x="28460" y="13972"/>
                    <a:pt x="28460" y="14112"/>
                  </a:cubicBezTo>
                  <a:lnTo>
                    <a:pt x="28390" y="14637"/>
                  </a:lnTo>
                  <a:cubicBezTo>
                    <a:pt x="28285" y="15337"/>
                    <a:pt x="28145" y="16247"/>
                    <a:pt x="27550" y="17052"/>
                  </a:cubicBezTo>
                  <a:cubicBezTo>
                    <a:pt x="26710" y="18732"/>
                    <a:pt x="25695" y="20132"/>
                    <a:pt x="24470" y="21182"/>
                  </a:cubicBezTo>
                  <a:cubicBezTo>
                    <a:pt x="23630" y="22022"/>
                    <a:pt x="22580" y="22302"/>
                    <a:pt x="21565" y="22302"/>
                  </a:cubicBezTo>
                  <a:close/>
                  <a:moveTo>
                    <a:pt x="16245" y="19572"/>
                  </a:moveTo>
                  <a:cubicBezTo>
                    <a:pt x="16245" y="19572"/>
                    <a:pt x="16315" y="19572"/>
                    <a:pt x="16315" y="19572"/>
                  </a:cubicBezTo>
                  <a:cubicBezTo>
                    <a:pt x="16315" y="19572"/>
                    <a:pt x="16280" y="19572"/>
                    <a:pt x="16245" y="19572"/>
                  </a:cubicBezTo>
                  <a:close/>
                  <a:moveTo>
                    <a:pt x="19290" y="17892"/>
                  </a:moveTo>
                  <a:cubicBezTo>
                    <a:pt x="21495" y="18732"/>
                    <a:pt x="21845" y="18452"/>
                    <a:pt x="21915" y="18382"/>
                  </a:cubicBezTo>
                  <a:cubicBezTo>
                    <a:pt x="22895" y="17542"/>
                    <a:pt x="23630" y="16492"/>
                    <a:pt x="24400" y="14987"/>
                  </a:cubicBezTo>
                  <a:cubicBezTo>
                    <a:pt x="24610" y="14637"/>
                    <a:pt x="24645" y="14252"/>
                    <a:pt x="24715" y="13972"/>
                  </a:cubicBezTo>
                  <a:cubicBezTo>
                    <a:pt x="24750" y="13727"/>
                    <a:pt x="24785" y="13482"/>
                    <a:pt x="24855" y="13237"/>
                  </a:cubicBezTo>
                  <a:cubicBezTo>
                    <a:pt x="24820" y="13237"/>
                    <a:pt x="24855" y="12922"/>
                    <a:pt x="24925" y="12607"/>
                  </a:cubicBezTo>
                  <a:cubicBezTo>
                    <a:pt x="24995" y="12292"/>
                    <a:pt x="25030" y="12117"/>
                    <a:pt x="24785" y="11452"/>
                  </a:cubicBezTo>
                  <a:cubicBezTo>
                    <a:pt x="23980" y="9702"/>
                    <a:pt x="21985" y="5852"/>
                    <a:pt x="21460" y="5257"/>
                  </a:cubicBezTo>
                  <a:lnTo>
                    <a:pt x="20900" y="4837"/>
                  </a:lnTo>
                  <a:cubicBezTo>
                    <a:pt x="19115" y="3507"/>
                    <a:pt x="19115" y="3507"/>
                    <a:pt x="17680" y="3857"/>
                  </a:cubicBezTo>
                  <a:cubicBezTo>
                    <a:pt x="16945" y="4032"/>
                    <a:pt x="15965" y="4277"/>
                    <a:pt x="14600" y="4557"/>
                  </a:cubicBezTo>
                  <a:cubicBezTo>
                    <a:pt x="13690" y="5117"/>
                    <a:pt x="12850" y="5607"/>
                    <a:pt x="11975" y="5887"/>
                  </a:cubicBezTo>
                  <a:cubicBezTo>
                    <a:pt x="11590" y="6062"/>
                    <a:pt x="11135" y="6132"/>
                    <a:pt x="10785" y="6167"/>
                  </a:cubicBezTo>
                  <a:cubicBezTo>
                    <a:pt x="10470" y="6202"/>
                    <a:pt x="10365" y="6237"/>
                    <a:pt x="10295" y="6272"/>
                  </a:cubicBezTo>
                  <a:cubicBezTo>
                    <a:pt x="8440" y="7217"/>
                    <a:pt x="6794" y="9422"/>
                    <a:pt x="5324" y="11382"/>
                  </a:cubicBezTo>
                  <a:lnTo>
                    <a:pt x="4729" y="12152"/>
                  </a:lnTo>
                  <a:cubicBezTo>
                    <a:pt x="4239" y="13132"/>
                    <a:pt x="3644" y="14637"/>
                    <a:pt x="3644" y="15092"/>
                  </a:cubicBezTo>
                  <a:cubicBezTo>
                    <a:pt x="4169" y="15967"/>
                    <a:pt x="5464" y="16597"/>
                    <a:pt x="7004" y="17332"/>
                  </a:cubicBezTo>
                  <a:cubicBezTo>
                    <a:pt x="7494" y="17577"/>
                    <a:pt x="7985" y="17822"/>
                    <a:pt x="8475" y="18067"/>
                  </a:cubicBezTo>
                  <a:lnTo>
                    <a:pt x="10645" y="16912"/>
                  </a:lnTo>
                  <a:cubicBezTo>
                    <a:pt x="10855" y="16632"/>
                    <a:pt x="11135" y="16387"/>
                    <a:pt x="11485" y="16177"/>
                  </a:cubicBezTo>
                  <a:cubicBezTo>
                    <a:pt x="13270" y="15162"/>
                    <a:pt x="16350" y="15687"/>
                    <a:pt x="17085" y="15897"/>
                  </a:cubicBezTo>
                  <a:cubicBezTo>
                    <a:pt x="18485" y="16072"/>
                    <a:pt x="19080" y="17297"/>
                    <a:pt x="19290" y="17822"/>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7" name="Freeform: Shape 1796">
              <a:extLst>
                <a:ext uri="{FF2B5EF4-FFF2-40B4-BE49-F238E27FC236}">
                  <a16:creationId xmlns:a16="http://schemas.microsoft.com/office/drawing/2014/main" id="{9579C027-990F-2EDC-C50C-F021D8DE8637}"/>
                </a:ext>
              </a:extLst>
            </p:cNvPr>
            <p:cNvSpPr/>
            <p:nvPr/>
          </p:nvSpPr>
          <p:spPr>
            <a:xfrm>
              <a:off x="11109780" y="4216205"/>
              <a:ext cx="24654" cy="21700"/>
            </a:xfrm>
            <a:custGeom>
              <a:avLst/>
              <a:gdLst>
                <a:gd name="csX0" fmla="*/ 357 w 24654"/>
                <a:gd name="csY0" fmla="*/ 9576 h 21700"/>
                <a:gd name="csX1" fmla="*/ 1232 w 24654"/>
                <a:gd name="csY1" fmla="*/ 12831 h 21700"/>
                <a:gd name="csX2" fmla="*/ 16317 w 24654"/>
                <a:gd name="csY2" fmla="*/ 21406 h 21700"/>
                <a:gd name="csX3" fmla="*/ 19572 w 24654"/>
                <a:gd name="csY3" fmla="*/ 20531 h 21700"/>
                <a:gd name="csX4" fmla="*/ 24298 w 24654"/>
                <a:gd name="csY4" fmla="*/ 12096 h 21700"/>
                <a:gd name="csX5" fmla="*/ 23423 w 24654"/>
                <a:gd name="csY5" fmla="*/ 8841 h 21700"/>
                <a:gd name="csX6" fmla="*/ 8337 w 24654"/>
                <a:gd name="csY6" fmla="*/ 265 h 21700"/>
                <a:gd name="csX7" fmla="*/ 5082 w 24654"/>
                <a:gd name="csY7" fmla="*/ 1140 h 21700"/>
                <a:gd name="csX8" fmla="*/ 357 w 24654"/>
                <a:gd name="csY8" fmla="*/ 9576 h 217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4654" h="21700">
                  <a:moveTo>
                    <a:pt x="357" y="9576"/>
                  </a:moveTo>
                  <a:cubicBezTo>
                    <a:pt x="-379" y="10766"/>
                    <a:pt x="76" y="12236"/>
                    <a:pt x="1232" y="12831"/>
                  </a:cubicBezTo>
                  <a:lnTo>
                    <a:pt x="16317" y="21406"/>
                  </a:lnTo>
                  <a:cubicBezTo>
                    <a:pt x="17507" y="22001"/>
                    <a:pt x="18977" y="21686"/>
                    <a:pt x="19572" y="20531"/>
                  </a:cubicBezTo>
                  <a:lnTo>
                    <a:pt x="24298" y="12096"/>
                  </a:lnTo>
                  <a:cubicBezTo>
                    <a:pt x="25033" y="10906"/>
                    <a:pt x="24578" y="9436"/>
                    <a:pt x="23423" y="8841"/>
                  </a:cubicBezTo>
                  <a:lnTo>
                    <a:pt x="8337" y="265"/>
                  </a:lnTo>
                  <a:cubicBezTo>
                    <a:pt x="7147" y="-330"/>
                    <a:pt x="5677" y="125"/>
                    <a:pt x="5082" y="1140"/>
                  </a:cubicBezTo>
                  <a:lnTo>
                    <a:pt x="357" y="957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8" name="Freeform: Shape 1797">
              <a:extLst>
                <a:ext uri="{FF2B5EF4-FFF2-40B4-BE49-F238E27FC236}">
                  <a16:creationId xmlns:a16="http://schemas.microsoft.com/office/drawing/2014/main" id="{F9F8C6A2-2894-B18E-66B8-5249785A1794}"/>
                </a:ext>
              </a:extLst>
            </p:cNvPr>
            <p:cNvSpPr/>
            <p:nvPr/>
          </p:nvSpPr>
          <p:spPr>
            <a:xfrm>
              <a:off x="11107952" y="4214345"/>
              <a:ext cx="28378" cy="25435"/>
            </a:xfrm>
            <a:custGeom>
              <a:avLst/>
              <a:gdLst>
                <a:gd name="csX0" fmla="*/ 19440 w 28378"/>
                <a:gd name="csY0" fmla="*/ 25401 h 25435"/>
                <a:gd name="csX1" fmla="*/ 17375 w 28378"/>
                <a:gd name="csY1" fmla="*/ 24911 h 25435"/>
                <a:gd name="csX2" fmla="*/ 2184 w 28378"/>
                <a:gd name="csY2" fmla="*/ 16300 h 25435"/>
                <a:gd name="csX3" fmla="*/ 154 w 28378"/>
                <a:gd name="csY3" fmla="*/ 13780 h 25435"/>
                <a:gd name="csX4" fmla="*/ 609 w 28378"/>
                <a:gd name="csY4" fmla="*/ 10490 h 25435"/>
                <a:gd name="csX5" fmla="*/ 5335 w 28378"/>
                <a:gd name="csY5" fmla="*/ 2090 h 25435"/>
                <a:gd name="csX6" fmla="*/ 11040 w 28378"/>
                <a:gd name="csY6" fmla="*/ 480 h 25435"/>
                <a:gd name="csX7" fmla="*/ 26195 w 28378"/>
                <a:gd name="csY7" fmla="*/ 9090 h 25435"/>
                <a:gd name="csX8" fmla="*/ 28226 w 28378"/>
                <a:gd name="csY8" fmla="*/ 11610 h 25435"/>
                <a:gd name="csX9" fmla="*/ 27735 w 28378"/>
                <a:gd name="csY9" fmla="*/ 14935 h 25435"/>
                <a:gd name="csX10" fmla="*/ 23045 w 28378"/>
                <a:gd name="csY10" fmla="*/ 23301 h 25435"/>
                <a:gd name="csX11" fmla="*/ 19440 w 28378"/>
                <a:gd name="csY11" fmla="*/ 25436 h 25435"/>
                <a:gd name="csX12" fmla="*/ 9080 w 28378"/>
                <a:gd name="csY12" fmla="*/ 3665 h 25435"/>
                <a:gd name="csX13" fmla="*/ 8555 w 28378"/>
                <a:gd name="csY13" fmla="*/ 3910 h 25435"/>
                <a:gd name="csX14" fmla="*/ 3829 w 28378"/>
                <a:gd name="csY14" fmla="*/ 12345 h 25435"/>
                <a:gd name="csX15" fmla="*/ 3794 w 28378"/>
                <a:gd name="csY15" fmla="*/ 12415 h 25435"/>
                <a:gd name="csX16" fmla="*/ 3724 w 28378"/>
                <a:gd name="csY16" fmla="*/ 12765 h 25435"/>
                <a:gd name="csX17" fmla="*/ 19125 w 28378"/>
                <a:gd name="csY17" fmla="*/ 21656 h 25435"/>
                <a:gd name="csX18" fmla="*/ 19825 w 28378"/>
                <a:gd name="csY18" fmla="*/ 21551 h 25435"/>
                <a:gd name="csX19" fmla="*/ 24585 w 28378"/>
                <a:gd name="csY19" fmla="*/ 13045 h 25435"/>
                <a:gd name="csX20" fmla="*/ 24410 w 28378"/>
                <a:gd name="csY20" fmla="*/ 12310 h 25435"/>
                <a:gd name="csX21" fmla="*/ 9325 w 28378"/>
                <a:gd name="csY21" fmla="*/ 3735 h 25435"/>
                <a:gd name="csX22" fmla="*/ 9115 w 28378"/>
                <a:gd name="csY22" fmla="*/ 3700 h 254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28378" h="25435">
                  <a:moveTo>
                    <a:pt x="19440" y="25401"/>
                  </a:moveTo>
                  <a:cubicBezTo>
                    <a:pt x="18740" y="25401"/>
                    <a:pt x="18040" y="25226"/>
                    <a:pt x="17375" y="24911"/>
                  </a:cubicBezTo>
                  <a:lnTo>
                    <a:pt x="2184" y="16300"/>
                  </a:lnTo>
                  <a:cubicBezTo>
                    <a:pt x="1239" y="15810"/>
                    <a:pt x="469" y="14900"/>
                    <a:pt x="154" y="13780"/>
                  </a:cubicBezTo>
                  <a:cubicBezTo>
                    <a:pt x="-161" y="12695"/>
                    <a:pt x="14" y="11505"/>
                    <a:pt x="609" y="10490"/>
                  </a:cubicBezTo>
                  <a:lnTo>
                    <a:pt x="5335" y="2090"/>
                  </a:lnTo>
                  <a:cubicBezTo>
                    <a:pt x="6420" y="165"/>
                    <a:pt x="9010" y="-570"/>
                    <a:pt x="11040" y="480"/>
                  </a:cubicBezTo>
                  <a:lnTo>
                    <a:pt x="26195" y="9090"/>
                  </a:lnTo>
                  <a:cubicBezTo>
                    <a:pt x="27140" y="9545"/>
                    <a:pt x="27910" y="10490"/>
                    <a:pt x="28226" y="11610"/>
                  </a:cubicBezTo>
                  <a:cubicBezTo>
                    <a:pt x="28541" y="12730"/>
                    <a:pt x="28366" y="13920"/>
                    <a:pt x="27735" y="14935"/>
                  </a:cubicBezTo>
                  <a:lnTo>
                    <a:pt x="23045" y="23301"/>
                  </a:lnTo>
                  <a:cubicBezTo>
                    <a:pt x="22345" y="24631"/>
                    <a:pt x="20945" y="25436"/>
                    <a:pt x="19440" y="25436"/>
                  </a:cubicBezTo>
                  <a:close/>
                  <a:moveTo>
                    <a:pt x="9080" y="3665"/>
                  </a:moveTo>
                  <a:cubicBezTo>
                    <a:pt x="8835" y="3665"/>
                    <a:pt x="8625" y="3770"/>
                    <a:pt x="8555" y="3910"/>
                  </a:cubicBezTo>
                  <a:lnTo>
                    <a:pt x="3829" y="12345"/>
                  </a:lnTo>
                  <a:cubicBezTo>
                    <a:pt x="3829" y="12345"/>
                    <a:pt x="3829" y="12380"/>
                    <a:pt x="3794" y="12415"/>
                  </a:cubicBezTo>
                  <a:cubicBezTo>
                    <a:pt x="3724" y="12520"/>
                    <a:pt x="3689" y="12660"/>
                    <a:pt x="3724" y="12765"/>
                  </a:cubicBezTo>
                  <a:lnTo>
                    <a:pt x="19125" y="21656"/>
                  </a:lnTo>
                  <a:cubicBezTo>
                    <a:pt x="19335" y="21761"/>
                    <a:pt x="19720" y="21726"/>
                    <a:pt x="19825" y="21551"/>
                  </a:cubicBezTo>
                  <a:lnTo>
                    <a:pt x="24585" y="13045"/>
                  </a:lnTo>
                  <a:cubicBezTo>
                    <a:pt x="24585" y="13045"/>
                    <a:pt x="24410" y="12310"/>
                    <a:pt x="24410" y="12310"/>
                  </a:cubicBezTo>
                  <a:lnTo>
                    <a:pt x="9325" y="3735"/>
                  </a:lnTo>
                  <a:cubicBezTo>
                    <a:pt x="9325" y="3735"/>
                    <a:pt x="9185" y="3700"/>
                    <a:pt x="9115" y="3700"/>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799" name="Freeform: Shape 1798">
              <a:extLst>
                <a:ext uri="{FF2B5EF4-FFF2-40B4-BE49-F238E27FC236}">
                  <a16:creationId xmlns:a16="http://schemas.microsoft.com/office/drawing/2014/main" id="{73E84D9E-BF38-1DC5-9F13-C1E40E9D814A}"/>
                </a:ext>
              </a:extLst>
            </p:cNvPr>
            <p:cNvSpPr/>
            <p:nvPr/>
          </p:nvSpPr>
          <p:spPr>
            <a:xfrm>
              <a:off x="10942080" y="4256050"/>
              <a:ext cx="24635" cy="21713"/>
            </a:xfrm>
            <a:custGeom>
              <a:avLst/>
              <a:gdLst>
                <a:gd name="csX0" fmla="*/ 294 w 24635"/>
                <a:gd name="csY0" fmla="*/ 9667 h 21713"/>
                <a:gd name="csX1" fmla="*/ 1169 w 24635"/>
                <a:gd name="csY1" fmla="*/ 12922 h 21713"/>
                <a:gd name="csX2" fmla="*/ 16255 w 24635"/>
                <a:gd name="csY2" fmla="*/ 21357 h 21713"/>
                <a:gd name="csX3" fmla="*/ 19650 w 24635"/>
                <a:gd name="csY3" fmla="*/ 20482 h 21713"/>
                <a:gd name="csX4" fmla="*/ 24375 w 24635"/>
                <a:gd name="csY4" fmla="*/ 12047 h 21713"/>
                <a:gd name="csX5" fmla="*/ 23325 w 24635"/>
                <a:gd name="csY5" fmla="*/ 8792 h 21713"/>
                <a:gd name="csX6" fmla="*/ 8240 w 24635"/>
                <a:gd name="csY6" fmla="*/ 357 h 21713"/>
                <a:gd name="csX7" fmla="*/ 4984 w 24635"/>
                <a:gd name="csY7" fmla="*/ 1232 h 21713"/>
                <a:gd name="csX8" fmla="*/ 259 w 24635"/>
                <a:gd name="csY8" fmla="*/ 9667 h 217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4635" h="21713">
                  <a:moveTo>
                    <a:pt x="294" y="9667"/>
                  </a:moveTo>
                  <a:cubicBezTo>
                    <a:pt x="-301" y="10857"/>
                    <a:pt x="14" y="12187"/>
                    <a:pt x="1169" y="12922"/>
                  </a:cubicBezTo>
                  <a:lnTo>
                    <a:pt x="16255" y="21357"/>
                  </a:lnTo>
                  <a:cubicBezTo>
                    <a:pt x="17445" y="22092"/>
                    <a:pt x="18915" y="21637"/>
                    <a:pt x="19650" y="20482"/>
                  </a:cubicBezTo>
                  <a:lnTo>
                    <a:pt x="24375" y="12047"/>
                  </a:lnTo>
                  <a:cubicBezTo>
                    <a:pt x="24970" y="10997"/>
                    <a:pt x="24515" y="9527"/>
                    <a:pt x="23325" y="8792"/>
                  </a:cubicBezTo>
                  <a:lnTo>
                    <a:pt x="8240" y="357"/>
                  </a:lnTo>
                  <a:cubicBezTo>
                    <a:pt x="7050" y="-379"/>
                    <a:pt x="5580" y="76"/>
                    <a:pt x="4984" y="1232"/>
                  </a:cubicBezTo>
                  <a:lnTo>
                    <a:pt x="259" y="9667"/>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0" name="Freeform: Shape 1799">
              <a:extLst>
                <a:ext uri="{FF2B5EF4-FFF2-40B4-BE49-F238E27FC236}">
                  <a16:creationId xmlns:a16="http://schemas.microsoft.com/office/drawing/2014/main" id="{89FE4ED5-0B28-1EEB-F654-215E0DC0C6CD}"/>
                </a:ext>
              </a:extLst>
            </p:cNvPr>
            <p:cNvSpPr/>
            <p:nvPr/>
          </p:nvSpPr>
          <p:spPr>
            <a:xfrm>
              <a:off x="10940202" y="4254189"/>
              <a:ext cx="28291" cy="25494"/>
            </a:xfrm>
            <a:custGeom>
              <a:avLst/>
              <a:gdLst>
                <a:gd name="csX0" fmla="*/ 19359 w 28291"/>
                <a:gd name="csY0" fmla="*/ 25424 h 25494"/>
                <a:gd name="csX1" fmla="*/ 17153 w 28291"/>
                <a:gd name="csY1" fmla="*/ 24794 h 25494"/>
                <a:gd name="csX2" fmla="*/ 2138 w 28291"/>
                <a:gd name="csY2" fmla="*/ 16394 h 25494"/>
                <a:gd name="csX3" fmla="*/ 493 w 28291"/>
                <a:gd name="csY3" fmla="*/ 10689 h 25494"/>
                <a:gd name="csX4" fmla="*/ 493 w 28291"/>
                <a:gd name="csY4" fmla="*/ 10619 h 25494"/>
                <a:gd name="csX5" fmla="*/ 5218 w 28291"/>
                <a:gd name="csY5" fmla="*/ 2183 h 25494"/>
                <a:gd name="csX6" fmla="*/ 7738 w 28291"/>
                <a:gd name="csY6" fmla="*/ 153 h 25494"/>
                <a:gd name="csX7" fmla="*/ 11063 w 28291"/>
                <a:gd name="csY7" fmla="*/ 643 h 25494"/>
                <a:gd name="csX8" fmla="*/ 26044 w 28291"/>
                <a:gd name="csY8" fmla="*/ 9043 h 25494"/>
                <a:gd name="csX9" fmla="*/ 27794 w 28291"/>
                <a:gd name="csY9" fmla="*/ 14854 h 25494"/>
                <a:gd name="csX10" fmla="*/ 23069 w 28291"/>
                <a:gd name="csY10" fmla="*/ 23289 h 25494"/>
                <a:gd name="csX11" fmla="*/ 20409 w 28291"/>
                <a:gd name="csY11" fmla="*/ 25319 h 25494"/>
                <a:gd name="csX12" fmla="*/ 19289 w 28291"/>
                <a:gd name="csY12" fmla="*/ 25494 h 25494"/>
                <a:gd name="csX13" fmla="*/ 3783 w 28291"/>
                <a:gd name="csY13" fmla="*/ 12404 h 25494"/>
                <a:gd name="csX14" fmla="*/ 4028 w 28291"/>
                <a:gd name="csY14" fmla="*/ 13209 h 25494"/>
                <a:gd name="csX15" fmla="*/ 19044 w 28291"/>
                <a:gd name="csY15" fmla="*/ 21609 h 25494"/>
                <a:gd name="csX16" fmla="*/ 19954 w 28291"/>
                <a:gd name="csY16" fmla="*/ 21364 h 25494"/>
                <a:gd name="csX17" fmla="*/ 24644 w 28291"/>
                <a:gd name="csY17" fmla="*/ 12999 h 25494"/>
                <a:gd name="csX18" fmla="*/ 24224 w 28291"/>
                <a:gd name="csY18" fmla="*/ 12229 h 25494"/>
                <a:gd name="csX19" fmla="*/ 9243 w 28291"/>
                <a:gd name="csY19" fmla="*/ 3828 h 25494"/>
                <a:gd name="csX20" fmla="*/ 8508 w 28291"/>
                <a:gd name="csY20" fmla="*/ 4003 h 25494"/>
                <a:gd name="csX21" fmla="*/ 3783 w 28291"/>
                <a:gd name="csY21" fmla="*/ 12404 h 254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28291" h="25494">
                  <a:moveTo>
                    <a:pt x="19359" y="25424"/>
                  </a:moveTo>
                  <a:cubicBezTo>
                    <a:pt x="18588" y="25424"/>
                    <a:pt x="17818" y="25214"/>
                    <a:pt x="17153" y="24794"/>
                  </a:cubicBezTo>
                  <a:lnTo>
                    <a:pt x="2138" y="16394"/>
                  </a:lnTo>
                  <a:cubicBezTo>
                    <a:pt x="108" y="15134"/>
                    <a:pt x="-557" y="12754"/>
                    <a:pt x="493" y="10689"/>
                  </a:cubicBezTo>
                  <a:cubicBezTo>
                    <a:pt x="493" y="10689"/>
                    <a:pt x="493" y="10654"/>
                    <a:pt x="493" y="10619"/>
                  </a:cubicBezTo>
                  <a:lnTo>
                    <a:pt x="5218" y="2183"/>
                  </a:lnTo>
                  <a:cubicBezTo>
                    <a:pt x="5708" y="1238"/>
                    <a:pt x="6618" y="468"/>
                    <a:pt x="7738" y="153"/>
                  </a:cubicBezTo>
                  <a:cubicBezTo>
                    <a:pt x="8823" y="-162"/>
                    <a:pt x="10048" y="13"/>
                    <a:pt x="11063" y="643"/>
                  </a:cubicBezTo>
                  <a:lnTo>
                    <a:pt x="26044" y="9043"/>
                  </a:lnTo>
                  <a:cubicBezTo>
                    <a:pt x="28144" y="10339"/>
                    <a:pt x="28879" y="12929"/>
                    <a:pt x="27794" y="14854"/>
                  </a:cubicBezTo>
                  <a:lnTo>
                    <a:pt x="23069" y="23289"/>
                  </a:lnTo>
                  <a:cubicBezTo>
                    <a:pt x="22404" y="24339"/>
                    <a:pt x="21494" y="25039"/>
                    <a:pt x="20409" y="25319"/>
                  </a:cubicBezTo>
                  <a:cubicBezTo>
                    <a:pt x="20024" y="25424"/>
                    <a:pt x="19674" y="25494"/>
                    <a:pt x="19289" y="25494"/>
                  </a:cubicBezTo>
                  <a:close/>
                  <a:moveTo>
                    <a:pt x="3783" y="12404"/>
                  </a:moveTo>
                  <a:cubicBezTo>
                    <a:pt x="3538" y="12929"/>
                    <a:pt x="3888" y="13139"/>
                    <a:pt x="4028" y="13209"/>
                  </a:cubicBezTo>
                  <a:lnTo>
                    <a:pt x="19044" y="21609"/>
                  </a:lnTo>
                  <a:cubicBezTo>
                    <a:pt x="19429" y="21819"/>
                    <a:pt x="19814" y="21609"/>
                    <a:pt x="19954" y="21364"/>
                  </a:cubicBezTo>
                  <a:lnTo>
                    <a:pt x="24644" y="12999"/>
                  </a:lnTo>
                  <a:cubicBezTo>
                    <a:pt x="24644" y="12999"/>
                    <a:pt x="24644" y="12474"/>
                    <a:pt x="24224" y="12229"/>
                  </a:cubicBezTo>
                  <a:lnTo>
                    <a:pt x="9243" y="3828"/>
                  </a:lnTo>
                  <a:cubicBezTo>
                    <a:pt x="9243" y="3828"/>
                    <a:pt x="8508" y="4003"/>
                    <a:pt x="8508" y="4003"/>
                  </a:cubicBezTo>
                  <a:lnTo>
                    <a:pt x="3783" y="12404"/>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1" name="Freeform: Shape 1800">
              <a:extLst>
                <a:ext uri="{FF2B5EF4-FFF2-40B4-BE49-F238E27FC236}">
                  <a16:creationId xmlns:a16="http://schemas.microsoft.com/office/drawing/2014/main" id="{EE4EE362-D8D4-0D9D-170D-10EF42CA1885}"/>
                </a:ext>
              </a:extLst>
            </p:cNvPr>
            <p:cNvSpPr/>
            <p:nvPr/>
          </p:nvSpPr>
          <p:spPr>
            <a:xfrm>
              <a:off x="11114069" y="4259067"/>
              <a:ext cx="23119" cy="21276"/>
            </a:xfrm>
            <a:custGeom>
              <a:avLst/>
              <a:gdLst>
                <a:gd name="csX0" fmla="*/ 14724 w 23119"/>
                <a:gd name="csY0" fmla="*/ 0 h 21276"/>
                <a:gd name="csX1" fmla="*/ 14724 w 23119"/>
                <a:gd name="csY1" fmla="*/ 0 h 21276"/>
                <a:gd name="csX2" fmla="*/ 22564 w 23119"/>
                <a:gd name="csY2" fmla="*/ 1925 h 21276"/>
                <a:gd name="csX3" fmla="*/ 23019 w 23119"/>
                <a:gd name="csY3" fmla="*/ 6650 h 21276"/>
                <a:gd name="csX4" fmla="*/ 19624 w 23119"/>
                <a:gd name="csY4" fmla="*/ 14771 h 21276"/>
                <a:gd name="csX5" fmla="*/ 17839 w 23119"/>
                <a:gd name="csY5" fmla="*/ 16101 h 21276"/>
                <a:gd name="csX6" fmla="*/ 16054 w 23119"/>
                <a:gd name="csY6" fmla="*/ 18166 h 21276"/>
                <a:gd name="csX7" fmla="*/ 7618 w 23119"/>
                <a:gd name="csY7" fmla="*/ 20546 h 21276"/>
                <a:gd name="csX8" fmla="*/ 1388 w 23119"/>
                <a:gd name="csY8" fmla="*/ 15366 h 21276"/>
                <a:gd name="csX9" fmla="*/ 198 w 23119"/>
                <a:gd name="csY9" fmla="*/ 12846 h 21276"/>
                <a:gd name="csX10" fmla="*/ 58 w 23119"/>
                <a:gd name="csY10" fmla="*/ 10465 h 21276"/>
                <a:gd name="csX11" fmla="*/ 1108 w 23119"/>
                <a:gd name="csY11" fmla="*/ 5880 h 21276"/>
                <a:gd name="csX12" fmla="*/ 6148 w 23119"/>
                <a:gd name="csY12" fmla="*/ 4270 h 21276"/>
                <a:gd name="csX13" fmla="*/ 8213 w 23119"/>
                <a:gd name="csY13" fmla="*/ 5320 h 21276"/>
                <a:gd name="csX14" fmla="*/ 12204 w 23119"/>
                <a:gd name="csY14" fmla="*/ 3115 h 21276"/>
                <a:gd name="csX15" fmla="*/ 14724 w 23119"/>
                <a:gd name="csY15" fmla="*/ 0 h 21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3119" h="21276">
                  <a:moveTo>
                    <a:pt x="14724" y="0"/>
                  </a:moveTo>
                  <a:lnTo>
                    <a:pt x="14724" y="0"/>
                  </a:lnTo>
                  <a:cubicBezTo>
                    <a:pt x="17384" y="595"/>
                    <a:pt x="20359" y="0"/>
                    <a:pt x="22564" y="1925"/>
                  </a:cubicBezTo>
                  <a:cubicBezTo>
                    <a:pt x="23439" y="2660"/>
                    <a:pt x="23019" y="6650"/>
                    <a:pt x="23019" y="6650"/>
                  </a:cubicBezTo>
                  <a:cubicBezTo>
                    <a:pt x="22144" y="9450"/>
                    <a:pt x="21549" y="12706"/>
                    <a:pt x="19624" y="14771"/>
                  </a:cubicBezTo>
                  <a:cubicBezTo>
                    <a:pt x="19169" y="15366"/>
                    <a:pt x="18434" y="15506"/>
                    <a:pt x="17839" y="16101"/>
                  </a:cubicBezTo>
                  <a:cubicBezTo>
                    <a:pt x="17244" y="16696"/>
                    <a:pt x="16649" y="17431"/>
                    <a:pt x="16054" y="18166"/>
                  </a:cubicBezTo>
                  <a:cubicBezTo>
                    <a:pt x="10733" y="21561"/>
                    <a:pt x="12519" y="21876"/>
                    <a:pt x="7618" y="20546"/>
                  </a:cubicBezTo>
                  <a:cubicBezTo>
                    <a:pt x="6883" y="20266"/>
                    <a:pt x="2718" y="16696"/>
                    <a:pt x="1388" y="15366"/>
                  </a:cubicBezTo>
                  <a:cubicBezTo>
                    <a:pt x="198" y="14036"/>
                    <a:pt x="653" y="13756"/>
                    <a:pt x="198" y="12846"/>
                  </a:cubicBezTo>
                  <a:cubicBezTo>
                    <a:pt x="58" y="12111"/>
                    <a:pt x="-82" y="11235"/>
                    <a:pt x="58" y="10465"/>
                  </a:cubicBezTo>
                  <a:cubicBezTo>
                    <a:pt x="198" y="8855"/>
                    <a:pt x="513" y="7210"/>
                    <a:pt x="1108" y="5880"/>
                  </a:cubicBezTo>
                  <a:cubicBezTo>
                    <a:pt x="2158" y="4095"/>
                    <a:pt x="5413" y="4410"/>
                    <a:pt x="6148" y="4270"/>
                  </a:cubicBezTo>
                  <a:cubicBezTo>
                    <a:pt x="6883" y="4550"/>
                    <a:pt x="7198" y="5600"/>
                    <a:pt x="8213" y="5320"/>
                  </a:cubicBezTo>
                  <a:cubicBezTo>
                    <a:pt x="9263" y="5180"/>
                    <a:pt x="12344" y="4270"/>
                    <a:pt x="12204" y="3115"/>
                  </a:cubicBezTo>
                  <a:lnTo>
                    <a:pt x="14724" y="0"/>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2" name="Freeform: Shape 1801">
              <a:extLst>
                <a:ext uri="{FF2B5EF4-FFF2-40B4-BE49-F238E27FC236}">
                  <a16:creationId xmlns:a16="http://schemas.microsoft.com/office/drawing/2014/main" id="{E2E72879-2891-E477-458C-AD1702A36DAD}"/>
                </a:ext>
              </a:extLst>
            </p:cNvPr>
            <p:cNvSpPr/>
            <p:nvPr/>
          </p:nvSpPr>
          <p:spPr>
            <a:xfrm>
              <a:off x="11112238" y="4257195"/>
              <a:ext cx="26799" cy="25008"/>
            </a:xfrm>
            <a:custGeom>
              <a:avLst/>
              <a:gdLst>
                <a:gd name="csX0" fmla="*/ 12810 w 26799"/>
                <a:gd name="csY0" fmla="*/ 25008 h 25008"/>
                <a:gd name="csX1" fmla="*/ 9520 w 26799"/>
                <a:gd name="csY1" fmla="*/ 24343 h 25008"/>
                <a:gd name="csX2" fmla="*/ 8960 w 26799"/>
                <a:gd name="csY2" fmla="*/ 24203 h 25008"/>
                <a:gd name="csX3" fmla="*/ 1924 w 26799"/>
                <a:gd name="csY3" fmla="*/ 18568 h 25008"/>
                <a:gd name="csX4" fmla="*/ 489 w 26799"/>
                <a:gd name="csY4" fmla="*/ 15873 h 25008"/>
                <a:gd name="csX5" fmla="*/ 244 w 26799"/>
                <a:gd name="csY5" fmla="*/ 15103 h 25008"/>
                <a:gd name="csX6" fmla="*/ 104 w 26799"/>
                <a:gd name="csY6" fmla="*/ 11988 h 25008"/>
                <a:gd name="csX7" fmla="*/ 1259 w 26799"/>
                <a:gd name="csY7" fmla="*/ 7017 h 25008"/>
                <a:gd name="csX8" fmla="*/ 7175 w 26799"/>
                <a:gd name="csY8" fmla="*/ 4357 h 25008"/>
                <a:gd name="csX9" fmla="*/ 7665 w 26799"/>
                <a:gd name="csY9" fmla="*/ 4357 h 25008"/>
                <a:gd name="csX10" fmla="*/ 8645 w 26799"/>
                <a:gd name="csY10" fmla="*/ 4427 h 25008"/>
                <a:gd name="csX11" fmla="*/ 9940 w 26799"/>
                <a:gd name="csY11" fmla="*/ 5337 h 25008"/>
                <a:gd name="csX12" fmla="*/ 12250 w 26799"/>
                <a:gd name="csY12" fmla="*/ 4532 h 25008"/>
                <a:gd name="csX13" fmla="*/ 12600 w 26799"/>
                <a:gd name="csY13" fmla="*/ 3797 h 25008"/>
                <a:gd name="csX14" fmla="*/ 15085 w 26799"/>
                <a:gd name="csY14" fmla="*/ 682 h 25008"/>
                <a:gd name="csX15" fmla="*/ 16940 w 26799"/>
                <a:gd name="csY15" fmla="*/ 52 h 25008"/>
                <a:gd name="csX16" fmla="*/ 19285 w 26799"/>
                <a:gd name="csY16" fmla="*/ 332 h 25008"/>
                <a:gd name="csX17" fmla="*/ 25585 w 26799"/>
                <a:gd name="csY17" fmla="*/ 2362 h 25008"/>
                <a:gd name="csX18" fmla="*/ 26670 w 26799"/>
                <a:gd name="csY18" fmla="*/ 8697 h 25008"/>
                <a:gd name="csX19" fmla="*/ 26075 w 26799"/>
                <a:gd name="csY19" fmla="*/ 10763 h 25008"/>
                <a:gd name="csX20" fmla="*/ 22785 w 26799"/>
                <a:gd name="csY20" fmla="*/ 17868 h 25008"/>
                <a:gd name="csX21" fmla="*/ 21455 w 26799"/>
                <a:gd name="csY21" fmla="*/ 18918 h 25008"/>
                <a:gd name="csX22" fmla="*/ 20965 w 26799"/>
                <a:gd name="csY22" fmla="*/ 19268 h 25008"/>
                <a:gd name="csX23" fmla="*/ 19320 w 26799"/>
                <a:gd name="csY23" fmla="*/ 21158 h 25008"/>
                <a:gd name="csX24" fmla="*/ 18865 w 26799"/>
                <a:gd name="csY24" fmla="*/ 21578 h 25008"/>
                <a:gd name="csX25" fmla="*/ 16135 w 26799"/>
                <a:gd name="csY25" fmla="*/ 23468 h 25008"/>
                <a:gd name="csX26" fmla="*/ 12810 w 26799"/>
                <a:gd name="csY26" fmla="*/ 24973 h 25008"/>
                <a:gd name="csX27" fmla="*/ 3814 w 26799"/>
                <a:gd name="csY27" fmla="*/ 14193 h 25008"/>
                <a:gd name="csX28" fmla="*/ 4094 w 26799"/>
                <a:gd name="csY28" fmla="*/ 15173 h 25008"/>
                <a:gd name="csX29" fmla="*/ 4619 w 26799"/>
                <a:gd name="csY29" fmla="*/ 16048 h 25008"/>
                <a:gd name="csX30" fmla="*/ 10220 w 26799"/>
                <a:gd name="csY30" fmla="*/ 20773 h 25008"/>
                <a:gd name="csX31" fmla="*/ 10465 w 26799"/>
                <a:gd name="csY31" fmla="*/ 20773 h 25008"/>
                <a:gd name="csX32" fmla="*/ 13930 w 26799"/>
                <a:gd name="csY32" fmla="*/ 20563 h 25008"/>
                <a:gd name="csX33" fmla="*/ 16590 w 26799"/>
                <a:gd name="csY33" fmla="*/ 18708 h 25008"/>
                <a:gd name="csX34" fmla="*/ 18305 w 26799"/>
                <a:gd name="csY34" fmla="*/ 16713 h 25008"/>
                <a:gd name="csX35" fmla="*/ 19565 w 26799"/>
                <a:gd name="csY35" fmla="*/ 15803 h 25008"/>
                <a:gd name="csX36" fmla="*/ 20055 w 26799"/>
                <a:gd name="csY36" fmla="*/ 15453 h 25008"/>
                <a:gd name="csX37" fmla="*/ 22505 w 26799"/>
                <a:gd name="csY37" fmla="*/ 9818 h 25008"/>
                <a:gd name="csX38" fmla="*/ 23065 w 26799"/>
                <a:gd name="csY38" fmla="*/ 7997 h 25008"/>
                <a:gd name="csX39" fmla="*/ 22925 w 26799"/>
                <a:gd name="csY39" fmla="*/ 4917 h 25008"/>
                <a:gd name="csX40" fmla="*/ 19005 w 26799"/>
                <a:gd name="csY40" fmla="*/ 4042 h 25008"/>
                <a:gd name="csX41" fmla="*/ 17290 w 26799"/>
                <a:gd name="csY41" fmla="*/ 3867 h 25008"/>
                <a:gd name="csX42" fmla="*/ 15785 w 26799"/>
                <a:gd name="csY42" fmla="*/ 5722 h 25008"/>
                <a:gd name="csX43" fmla="*/ 10290 w 26799"/>
                <a:gd name="csY43" fmla="*/ 9012 h 25008"/>
                <a:gd name="csX44" fmla="*/ 7420 w 26799"/>
                <a:gd name="csY44" fmla="*/ 8032 h 25008"/>
                <a:gd name="csX45" fmla="*/ 7315 w 26799"/>
                <a:gd name="csY45" fmla="*/ 8032 h 25008"/>
                <a:gd name="csX46" fmla="*/ 4514 w 26799"/>
                <a:gd name="csY46" fmla="*/ 8697 h 25008"/>
                <a:gd name="csX47" fmla="*/ 3744 w 26799"/>
                <a:gd name="csY47" fmla="*/ 12513 h 25008"/>
                <a:gd name="csX48" fmla="*/ 3814 w 26799"/>
                <a:gd name="csY48" fmla="*/ 14158 h 25008"/>
                <a:gd name="csX49" fmla="*/ 9660 w 26799"/>
                <a:gd name="csY49" fmla="*/ 5407 h 25008"/>
                <a:gd name="csX50" fmla="*/ 9520 w 26799"/>
                <a:gd name="csY50" fmla="*/ 5407 h 25008"/>
                <a:gd name="csX51" fmla="*/ 9660 w 26799"/>
                <a:gd name="csY51" fmla="*/ 5407 h 250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26799" h="25008">
                  <a:moveTo>
                    <a:pt x="12810" y="25008"/>
                  </a:moveTo>
                  <a:cubicBezTo>
                    <a:pt x="12005" y="25008"/>
                    <a:pt x="11025" y="24763"/>
                    <a:pt x="9520" y="24343"/>
                  </a:cubicBezTo>
                  <a:lnTo>
                    <a:pt x="8960" y="24203"/>
                  </a:lnTo>
                  <a:cubicBezTo>
                    <a:pt x="7455" y="23608"/>
                    <a:pt x="2659" y="19303"/>
                    <a:pt x="1924" y="18568"/>
                  </a:cubicBezTo>
                  <a:cubicBezTo>
                    <a:pt x="839" y="17308"/>
                    <a:pt x="629" y="16573"/>
                    <a:pt x="489" y="15873"/>
                  </a:cubicBezTo>
                  <a:cubicBezTo>
                    <a:pt x="419" y="15733"/>
                    <a:pt x="279" y="15243"/>
                    <a:pt x="244" y="15103"/>
                  </a:cubicBezTo>
                  <a:cubicBezTo>
                    <a:pt x="104" y="14333"/>
                    <a:pt x="-141" y="13108"/>
                    <a:pt x="104" y="11988"/>
                  </a:cubicBezTo>
                  <a:cubicBezTo>
                    <a:pt x="244" y="10098"/>
                    <a:pt x="629" y="8417"/>
                    <a:pt x="1259" y="7017"/>
                  </a:cubicBezTo>
                  <a:cubicBezTo>
                    <a:pt x="2694" y="4532"/>
                    <a:pt x="5740" y="4427"/>
                    <a:pt x="7175" y="4357"/>
                  </a:cubicBezTo>
                  <a:lnTo>
                    <a:pt x="7665" y="4357"/>
                  </a:lnTo>
                  <a:cubicBezTo>
                    <a:pt x="7945" y="4287"/>
                    <a:pt x="8365" y="4287"/>
                    <a:pt x="8645" y="4427"/>
                  </a:cubicBezTo>
                  <a:cubicBezTo>
                    <a:pt x="9275" y="4672"/>
                    <a:pt x="9660" y="5057"/>
                    <a:pt x="9940" y="5337"/>
                  </a:cubicBezTo>
                  <a:cubicBezTo>
                    <a:pt x="10815" y="5162"/>
                    <a:pt x="11795" y="4812"/>
                    <a:pt x="12250" y="4532"/>
                  </a:cubicBezTo>
                  <a:cubicBezTo>
                    <a:pt x="12320" y="4287"/>
                    <a:pt x="12425" y="4042"/>
                    <a:pt x="12600" y="3797"/>
                  </a:cubicBezTo>
                  <a:lnTo>
                    <a:pt x="15085" y="682"/>
                  </a:lnTo>
                  <a:cubicBezTo>
                    <a:pt x="15540" y="157"/>
                    <a:pt x="16170" y="-123"/>
                    <a:pt x="16940" y="52"/>
                  </a:cubicBezTo>
                  <a:cubicBezTo>
                    <a:pt x="17710" y="227"/>
                    <a:pt x="18515" y="297"/>
                    <a:pt x="19285" y="332"/>
                  </a:cubicBezTo>
                  <a:cubicBezTo>
                    <a:pt x="21315" y="507"/>
                    <a:pt x="23590" y="647"/>
                    <a:pt x="25585" y="2362"/>
                  </a:cubicBezTo>
                  <a:cubicBezTo>
                    <a:pt x="25970" y="2677"/>
                    <a:pt x="27195" y="3727"/>
                    <a:pt x="26670" y="8697"/>
                  </a:cubicBezTo>
                  <a:cubicBezTo>
                    <a:pt x="26425" y="9608"/>
                    <a:pt x="26250" y="10203"/>
                    <a:pt x="26075" y="10763"/>
                  </a:cubicBezTo>
                  <a:cubicBezTo>
                    <a:pt x="25375" y="13178"/>
                    <a:pt x="24605" y="15908"/>
                    <a:pt x="22785" y="17868"/>
                  </a:cubicBezTo>
                  <a:cubicBezTo>
                    <a:pt x="22435" y="18358"/>
                    <a:pt x="21875" y="18673"/>
                    <a:pt x="21455" y="18918"/>
                  </a:cubicBezTo>
                  <a:cubicBezTo>
                    <a:pt x="21245" y="19058"/>
                    <a:pt x="21070" y="19163"/>
                    <a:pt x="20965" y="19268"/>
                  </a:cubicBezTo>
                  <a:cubicBezTo>
                    <a:pt x="20405" y="19828"/>
                    <a:pt x="19880" y="20493"/>
                    <a:pt x="19320" y="21158"/>
                  </a:cubicBezTo>
                  <a:cubicBezTo>
                    <a:pt x="19180" y="21333"/>
                    <a:pt x="19040" y="21438"/>
                    <a:pt x="18865" y="21578"/>
                  </a:cubicBezTo>
                  <a:cubicBezTo>
                    <a:pt x="17605" y="22383"/>
                    <a:pt x="16765" y="23013"/>
                    <a:pt x="16135" y="23468"/>
                  </a:cubicBezTo>
                  <a:cubicBezTo>
                    <a:pt x="14700" y="24518"/>
                    <a:pt x="13895" y="24973"/>
                    <a:pt x="12810" y="24973"/>
                  </a:cubicBezTo>
                  <a:close/>
                  <a:moveTo>
                    <a:pt x="3814" y="14193"/>
                  </a:moveTo>
                  <a:cubicBezTo>
                    <a:pt x="3989" y="14613"/>
                    <a:pt x="4059" y="14928"/>
                    <a:pt x="4094" y="15173"/>
                  </a:cubicBezTo>
                  <a:cubicBezTo>
                    <a:pt x="4164" y="15418"/>
                    <a:pt x="4164" y="15558"/>
                    <a:pt x="4619" y="16048"/>
                  </a:cubicBezTo>
                  <a:cubicBezTo>
                    <a:pt x="5880" y="17308"/>
                    <a:pt x="9520" y="20388"/>
                    <a:pt x="10220" y="20773"/>
                  </a:cubicBezTo>
                  <a:lnTo>
                    <a:pt x="10465" y="20773"/>
                  </a:lnTo>
                  <a:cubicBezTo>
                    <a:pt x="12775" y="21438"/>
                    <a:pt x="12740" y="21438"/>
                    <a:pt x="13930" y="20563"/>
                  </a:cubicBezTo>
                  <a:cubicBezTo>
                    <a:pt x="14560" y="20108"/>
                    <a:pt x="15400" y="19478"/>
                    <a:pt x="16590" y="18708"/>
                  </a:cubicBezTo>
                  <a:cubicBezTo>
                    <a:pt x="17185" y="17973"/>
                    <a:pt x="17745" y="17308"/>
                    <a:pt x="18305" y="16713"/>
                  </a:cubicBezTo>
                  <a:cubicBezTo>
                    <a:pt x="18760" y="16293"/>
                    <a:pt x="19215" y="16013"/>
                    <a:pt x="19565" y="15803"/>
                  </a:cubicBezTo>
                  <a:cubicBezTo>
                    <a:pt x="19565" y="15768"/>
                    <a:pt x="19985" y="15488"/>
                    <a:pt x="20055" y="15453"/>
                  </a:cubicBezTo>
                  <a:cubicBezTo>
                    <a:pt x="21280" y="14123"/>
                    <a:pt x="21910" y="11953"/>
                    <a:pt x="22505" y="9818"/>
                  </a:cubicBezTo>
                  <a:cubicBezTo>
                    <a:pt x="22680" y="9222"/>
                    <a:pt x="22855" y="8592"/>
                    <a:pt x="23065" y="7997"/>
                  </a:cubicBezTo>
                  <a:cubicBezTo>
                    <a:pt x="23135" y="6982"/>
                    <a:pt x="23100" y="5337"/>
                    <a:pt x="22925" y="4917"/>
                  </a:cubicBezTo>
                  <a:cubicBezTo>
                    <a:pt x="22085" y="4287"/>
                    <a:pt x="20685" y="4182"/>
                    <a:pt x="19005" y="4042"/>
                  </a:cubicBezTo>
                  <a:cubicBezTo>
                    <a:pt x="18410" y="4007"/>
                    <a:pt x="17850" y="3972"/>
                    <a:pt x="17290" y="3867"/>
                  </a:cubicBezTo>
                  <a:lnTo>
                    <a:pt x="15785" y="5722"/>
                  </a:lnTo>
                  <a:cubicBezTo>
                    <a:pt x="15085" y="8312"/>
                    <a:pt x="10325" y="9012"/>
                    <a:pt x="10290" y="9012"/>
                  </a:cubicBezTo>
                  <a:cubicBezTo>
                    <a:pt x="8925" y="9397"/>
                    <a:pt x="7875" y="8487"/>
                    <a:pt x="7420" y="8032"/>
                  </a:cubicBezTo>
                  <a:cubicBezTo>
                    <a:pt x="7420" y="8032"/>
                    <a:pt x="7350" y="8032"/>
                    <a:pt x="7315" y="8032"/>
                  </a:cubicBezTo>
                  <a:cubicBezTo>
                    <a:pt x="5670" y="8102"/>
                    <a:pt x="4760" y="8312"/>
                    <a:pt x="4514" y="8697"/>
                  </a:cubicBezTo>
                  <a:cubicBezTo>
                    <a:pt x="4199" y="9502"/>
                    <a:pt x="3884" y="10798"/>
                    <a:pt x="3744" y="12513"/>
                  </a:cubicBezTo>
                  <a:cubicBezTo>
                    <a:pt x="3639" y="13038"/>
                    <a:pt x="3744" y="13703"/>
                    <a:pt x="3814" y="14158"/>
                  </a:cubicBezTo>
                  <a:close/>
                  <a:moveTo>
                    <a:pt x="9660" y="5407"/>
                  </a:moveTo>
                  <a:cubicBezTo>
                    <a:pt x="9660" y="5407"/>
                    <a:pt x="9590" y="5407"/>
                    <a:pt x="9520" y="5407"/>
                  </a:cubicBezTo>
                  <a:cubicBezTo>
                    <a:pt x="9555" y="5407"/>
                    <a:pt x="9590" y="5407"/>
                    <a:pt x="9660" y="5407"/>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3" name="Freeform: Shape 1802">
              <a:extLst>
                <a:ext uri="{FF2B5EF4-FFF2-40B4-BE49-F238E27FC236}">
                  <a16:creationId xmlns:a16="http://schemas.microsoft.com/office/drawing/2014/main" id="{38E462BB-DFE4-89EC-EAFE-FF7679EDB109}"/>
                </a:ext>
              </a:extLst>
            </p:cNvPr>
            <p:cNvSpPr/>
            <p:nvPr/>
          </p:nvSpPr>
          <p:spPr>
            <a:xfrm>
              <a:off x="11091493" y="4225429"/>
              <a:ext cx="21193" cy="22541"/>
            </a:xfrm>
            <a:custGeom>
              <a:avLst/>
              <a:gdLst>
                <a:gd name="csX0" fmla="*/ 11398 w 21193"/>
                <a:gd name="csY0" fmla="*/ 771 h 22541"/>
                <a:gd name="csX1" fmla="*/ 11398 w 21193"/>
                <a:gd name="csY1" fmla="*/ 771 h 22541"/>
                <a:gd name="csX2" fmla="*/ 19379 w 21193"/>
                <a:gd name="csY2" fmla="*/ 491 h 22541"/>
                <a:gd name="csX3" fmla="*/ 21164 w 21193"/>
                <a:gd name="csY3" fmla="*/ 4936 h 22541"/>
                <a:gd name="csX4" fmla="*/ 20289 w 21193"/>
                <a:gd name="csY4" fmla="*/ 13651 h 22541"/>
                <a:gd name="csX5" fmla="*/ 18959 w 21193"/>
                <a:gd name="csY5" fmla="*/ 15437 h 22541"/>
                <a:gd name="csX6" fmla="*/ 17769 w 21193"/>
                <a:gd name="csY6" fmla="*/ 17957 h 22541"/>
                <a:gd name="csX7" fmla="*/ 10383 w 21193"/>
                <a:gd name="csY7" fmla="*/ 22542 h 22541"/>
                <a:gd name="csX8" fmla="*/ 2998 w 21193"/>
                <a:gd name="csY8" fmla="*/ 19427 h 22541"/>
                <a:gd name="csX9" fmla="*/ 1073 w 21193"/>
                <a:gd name="csY9" fmla="*/ 17362 h 22541"/>
                <a:gd name="csX10" fmla="*/ 198 w 21193"/>
                <a:gd name="csY10" fmla="*/ 15156 h 22541"/>
                <a:gd name="csX11" fmla="*/ 58 w 21193"/>
                <a:gd name="csY11" fmla="*/ 10431 h 22541"/>
                <a:gd name="csX12" fmla="*/ 4503 w 21193"/>
                <a:gd name="csY12" fmla="*/ 7456 h 22541"/>
                <a:gd name="csX13" fmla="*/ 6708 w 21193"/>
                <a:gd name="csY13" fmla="*/ 7911 h 22541"/>
                <a:gd name="csX14" fmla="*/ 9963 w 21193"/>
                <a:gd name="csY14" fmla="*/ 4656 h 22541"/>
                <a:gd name="csX15" fmla="*/ 11433 w 21193"/>
                <a:gd name="csY15" fmla="*/ 806 h 225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193" h="22541">
                  <a:moveTo>
                    <a:pt x="11398" y="771"/>
                  </a:moveTo>
                  <a:lnTo>
                    <a:pt x="11398" y="771"/>
                  </a:lnTo>
                  <a:cubicBezTo>
                    <a:pt x="14059" y="631"/>
                    <a:pt x="16719" y="-699"/>
                    <a:pt x="19379" y="491"/>
                  </a:cubicBezTo>
                  <a:cubicBezTo>
                    <a:pt x="20569" y="946"/>
                    <a:pt x="21164" y="4936"/>
                    <a:pt x="21164" y="4936"/>
                  </a:cubicBezTo>
                  <a:cubicBezTo>
                    <a:pt x="21164" y="7736"/>
                    <a:pt x="21444" y="11306"/>
                    <a:pt x="20289" y="13651"/>
                  </a:cubicBezTo>
                  <a:cubicBezTo>
                    <a:pt x="20009" y="14386"/>
                    <a:pt x="19414" y="14701"/>
                    <a:pt x="18959" y="15437"/>
                  </a:cubicBezTo>
                  <a:cubicBezTo>
                    <a:pt x="18504" y="16172"/>
                    <a:pt x="18224" y="17047"/>
                    <a:pt x="17769" y="17957"/>
                  </a:cubicBezTo>
                  <a:cubicBezTo>
                    <a:pt x="13639" y="22682"/>
                    <a:pt x="15389" y="22402"/>
                    <a:pt x="10383" y="22542"/>
                  </a:cubicBezTo>
                  <a:cubicBezTo>
                    <a:pt x="9648" y="22542"/>
                    <a:pt x="4608" y="20337"/>
                    <a:pt x="2998" y="19427"/>
                  </a:cubicBezTo>
                  <a:cubicBezTo>
                    <a:pt x="1528" y="18552"/>
                    <a:pt x="1808" y="17957"/>
                    <a:pt x="1073" y="17362"/>
                  </a:cubicBezTo>
                  <a:cubicBezTo>
                    <a:pt x="793" y="16627"/>
                    <a:pt x="338" y="15892"/>
                    <a:pt x="198" y="15156"/>
                  </a:cubicBezTo>
                  <a:cubicBezTo>
                    <a:pt x="58" y="13546"/>
                    <a:pt x="-82" y="11901"/>
                    <a:pt x="58" y="10431"/>
                  </a:cubicBezTo>
                  <a:cubicBezTo>
                    <a:pt x="513" y="8366"/>
                    <a:pt x="3768" y="7771"/>
                    <a:pt x="4503" y="7456"/>
                  </a:cubicBezTo>
                  <a:cubicBezTo>
                    <a:pt x="5238" y="7596"/>
                    <a:pt x="5833" y="8331"/>
                    <a:pt x="6708" y="7911"/>
                  </a:cubicBezTo>
                  <a:cubicBezTo>
                    <a:pt x="7583" y="7456"/>
                    <a:pt x="10243" y="5706"/>
                    <a:pt x="9963" y="4656"/>
                  </a:cubicBezTo>
                  <a:lnTo>
                    <a:pt x="11433" y="80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4" name="Freeform: Shape 1803">
              <a:extLst>
                <a:ext uri="{FF2B5EF4-FFF2-40B4-BE49-F238E27FC236}">
                  <a16:creationId xmlns:a16="http://schemas.microsoft.com/office/drawing/2014/main" id="{2DBC9EB2-FFBA-6F5D-4BC0-3D0F04461522}"/>
                </a:ext>
              </a:extLst>
            </p:cNvPr>
            <p:cNvSpPr/>
            <p:nvPr/>
          </p:nvSpPr>
          <p:spPr>
            <a:xfrm>
              <a:off x="11089604" y="4223607"/>
              <a:ext cx="24975" cy="26218"/>
            </a:xfrm>
            <a:custGeom>
              <a:avLst/>
              <a:gdLst>
                <a:gd name="csX0" fmla="*/ 12308 w 24975"/>
                <a:gd name="csY0" fmla="*/ 26219 h 26218"/>
                <a:gd name="csX1" fmla="*/ 3977 w 24975"/>
                <a:gd name="csY1" fmla="*/ 22894 h 26218"/>
                <a:gd name="csX2" fmla="*/ 1877 w 24975"/>
                <a:gd name="csY2" fmla="*/ 20829 h 26218"/>
                <a:gd name="csX3" fmla="*/ 1212 w 24975"/>
                <a:gd name="csY3" fmla="*/ 19884 h 26218"/>
                <a:gd name="csX4" fmla="*/ 932 w 24975"/>
                <a:gd name="csY4" fmla="*/ 19219 h 26218"/>
                <a:gd name="csX5" fmla="*/ 232 w 24975"/>
                <a:gd name="csY5" fmla="*/ 17364 h 26218"/>
                <a:gd name="csX6" fmla="*/ 57 w 24975"/>
                <a:gd name="csY6" fmla="*/ 12078 h 26218"/>
                <a:gd name="csX7" fmla="*/ 5237 w 24975"/>
                <a:gd name="csY7" fmla="*/ 7703 h 26218"/>
                <a:gd name="csX8" fmla="*/ 6742 w 24975"/>
                <a:gd name="csY8" fmla="*/ 7493 h 26218"/>
                <a:gd name="csX9" fmla="*/ 7897 w 24975"/>
                <a:gd name="csY9" fmla="*/ 7913 h 26218"/>
                <a:gd name="csX10" fmla="*/ 9998 w 24975"/>
                <a:gd name="csY10" fmla="*/ 6408 h 26218"/>
                <a:gd name="csX11" fmla="*/ 10103 w 24975"/>
                <a:gd name="csY11" fmla="*/ 5813 h 26218"/>
                <a:gd name="csX12" fmla="*/ 11573 w 24975"/>
                <a:gd name="csY12" fmla="*/ 1963 h 26218"/>
                <a:gd name="csX13" fmla="*/ 13218 w 24975"/>
                <a:gd name="csY13" fmla="*/ 773 h 26218"/>
                <a:gd name="csX14" fmla="*/ 15528 w 24975"/>
                <a:gd name="csY14" fmla="*/ 423 h 26218"/>
                <a:gd name="csX15" fmla="*/ 22073 w 24975"/>
                <a:gd name="csY15" fmla="*/ 633 h 26218"/>
                <a:gd name="csX16" fmla="*/ 24943 w 24975"/>
                <a:gd name="csY16" fmla="*/ 6478 h 26218"/>
                <a:gd name="csX17" fmla="*/ 24943 w 24975"/>
                <a:gd name="csY17" fmla="*/ 8158 h 26218"/>
                <a:gd name="csX18" fmla="*/ 23858 w 24975"/>
                <a:gd name="csY18" fmla="*/ 16314 h 26218"/>
                <a:gd name="csX19" fmla="*/ 22878 w 24975"/>
                <a:gd name="csY19" fmla="*/ 17714 h 26218"/>
                <a:gd name="csX20" fmla="*/ 22493 w 24975"/>
                <a:gd name="csY20" fmla="*/ 18204 h 26218"/>
                <a:gd name="csX21" fmla="*/ 21898 w 24975"/>
                <a:gd name="csY21" fmla="*/ 19499 h 26218"/>
                <a:gd name="csX22" fmla="*/ 21408 w 24975"/>
                <a:gd name="csY22" fmla="*/ 20584 h 26218"/>
                <a:gd name="csX23" fmla="*/ 21128 w 24975"/>
                <a:gd name="csY23" fmla="*/ 21004 h 26218"/>
                <a:gd name="csX24" fmla="*/ 19063 w 24975"/>
                <a:gd name="csY24" fmla="*/ 23559 h 26218"/>
                <a:gd name="csX25" fmla="*/ 13113 w 24975"/>
                <a:gd name="csY25" fmla="*/ 26219 h 26218"/>
                <a:gd name="csX26" fmla="*/ 12413 w 24975"/>
                <a:gd name="csY26" fmla="*/ 26219 h 26218"/>
                <a:gd name="csX27" fmla="*/ 4467 w 24975"/>
                <a:gd name="csY27" fmla="*/ 18099 h 26218"/>
                <a:gd name="csX28" fmla="*/ 5097 w 24975"/>
                <a:gd name="csY28" fmla="*/ 19009 h 26218"/>
                <a:gd name="csX29" fmla="*/ 5797 w 24975"/>
                <a:gd name="csY29" fmla="*/ 19674 h 26218"/>
                <a:gd name="csX30" fmla="*/ 12413 w 24975"/>
                <a:gd name="csY30" fmla="*/ 22544 h 26218"/>
                <a:gd name="csX31" fmla="*/ 12868 w 24975"/>
                <a:gd name="csY31" fmla="*/ 22544 h 26218"/>
                <a:gd name="csX32" fmla="*/ 16018 w 24975"/>
                <a:gd name="csY32" fmla="*/ 21284 h 26218"/>
                <a:gd name="csX33" fmla="*/ 18048 w 24975"/>
                <a:gd name="csY33" fmla="*/ 18764 h 26218"/>
                <a:gd name="csX34" fmla="*/ 18363 w 24975"/>
                <a:gd name="csY34" fmla="*/ 18029 h 26218"/>
                <a:gd name="csX35" fmla="*/ 19203 w 24975"/>
                <a:gd name="csY35" fmla="*/ 16314 h 26218"/>
                <a:gd name="csX36" fmla="*/ 20043 w 24975"/>
                <a:gd name="csY36" fmla="*/ 15194 h 26218"/>
                <a:gd name="csX37" fmla="*/ 20358 w 24975"/>
                <a:gd name="csY37" fmla="*/ 14774 h 26218"/>
                <a:gd name="csX38" fmla="*/ 21128 w 24975"/>
                <a:gd name="csY38" fmla="*/ 8228 h 26218"/>
                <a:gd name="csX39" fmla="*/ 21128 w 24975"/>
                <a:gd name="csY39" fmla="*/ 6723 h 26218"/>
                <a:gd name="csX40" fmla="*/ 20183 w 24975"/>
                <a:gd name="csY40" fmla="*/ 3818 h 26218"/>
                <a:gd name="csX41" fmla="*/ 16123 w 24975"/>
                <a:gd name="csY41" fmla="*/ 4028 h 26218"/>
                <a:gd name="csX42" fmla="*/ 14548 w 24975"/>
                <a:gd name="csY42" fmla="*/ 4308 h 26218"/>
                <a:gd name="csX43" fmla="*/ 13603 w 24975"/>
                <a:gd name="csY43" fmla="*/ 6723 h 26218"/>
                <a:gd name="csX44" fmla="*/ 9333 w 24975"/>
                <a:gd name="csY44" fmla="*/ 11343 h 26218"/>
                <a:gd name="csX45" fmla="*/ 6182 w 24975"/>
                <a:gd name="csY45" fmla="*/ 11203 h 26218"/>
                <a:gd name="csX46" fmla="*/ 3627 w 24975"/>
                <a:gd name="csY46" fmla="*/ 12603 h 26218"/>
                <a:gd name="csX47" fmla="*/ 3802 w 24975"/>
                <a:gd name="csY47" fmla="*/ 16804 h 26218"/>
                <a:gd name="csX48" fmla="*/ 4187 w 24975"/>
                <a:gd name="csY48" fmla="*/ 17644 h 26218"/>
                <a:gd name="csX49" fmla="*/ 4397 w 24975"/>
                <a:gd name="csY49" fmla="*/ 18099 h 262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24975" h="26218">
                  <a:moveTo>
                    <a:pt x="12308" y="26219"/>
                  </a:moveTo>
                  <a:cubicBezTo>
                    <a:pt x="10663" y="26219"/>
                    <a:pt x="4432" y="23139"/>
                    <a:pt x="3977" y="22894"/>
                  </a:cubicBezTo>
                  <a:cubicBezTo>
                    <a:pt x="2682" y="22124"/>
                    <a:pt x="2227" y="21459"/>
                    <a:pt x="1877" y="20829"/>
                  </a:cubicBezTo>
                  <a:cubicBezTo>
                    <a:pt x="1632" y="20619"/>
                    <a:pt x="1317" y="20164"/>
                    <a:pt x="1212" y="19884"/>
                  </a:cubicBezTo>
                  <a:lnTo>
                    <a:pt x="932" y="19219"/>
                  </a:lnTo>
                  <a:cubicBezTo>
                    <a:pt x="687" y="18659"/>
                    <a:pt x="372" y="18064"/>
                    <a:pt x="232" y="17364"/>
                  </a:cubicBezTo>
                  <a:cubicBezTo>
                    <a:pt x="57" y="15474"/>
                    <a:pt x="-83" y="13723"/>
                    <a:pt x="57" y="12078"/>
                  </a:cubicBezTo>
                  <a:cubicBezTo>
                    <a:pt x="687" y="9103"/>
                    <a:pt x="3767" y="8158"/>
                    <a:pt x="5237" y="7703"/>
                  </a:cubicBezTo>
                  <a:cubicBezTo>
                    <a:pt x="5552" y="7563"/>
                    <a:pt x="6357" y="7423"/>
                    <a:pt x="6742" y="7493"/>
                  </a:cubicBezTo>
                  <a:cubicBezTo>
                    <a:pt x="7232" y="7598"/>
                    <a:pt x="7582" y="7773"/>
                    <a:pt x="7897" y="7913"/>
                  </a:cubicBezTo>
                  <a:cubicBezTo>
                    <a:pt x="8458" y="7703"/>
                    <a:pt x="9613" y="6863"/>
                    <a:pt x="9998" y="6408"/>
                  </a:cubicBezTo>
                  <a:cubicBezTo>
                    <a:pt x="9998" y="6233"/>
                    <a:pt x="10068" y="6023"/>
                    <a:pt x="10103" y="5813"/>
                  </a:cubicBezTo>
                  <a:lnTo>
                    <a:pt x="11573" y="1963"/>
                  </a:lnTo>
                  <a:cubicBezTo>
                    <a:pt x="11818" y="1298"/>
                    <a:pt x="12483" y="808"/>
                    <a:pt x="13218" y="773"/>
                  </a:cubicBezTo>
                  <a:cubicBezTo>
                    <a:pt x="13988" y="738"/>
                    <a:pt x="14758" y="563"/>
                    <a:pt x="15528" y="423"/>
                  </a:cubicBezTo>
                  <a:cubicBezTo>
                    <a:pt x="17523" y="38"/>
                    <a:pt x="19728" y="-382"/>
                    <a:pt x="22073" y="633"/>
                  </a:cubicBezTo>
                  <a:cubicBezTo>
                    <a:pt x="23438" y="1123"/>
                    <a:pt x="24418" y="3118"/>
                    <a:pt x="24943" y="6478"/>
                  </a:cubicBezTo>
                  <a:lnTo>
                    <a:pt x="24943" y="8158"/>
                  </a:lnTo>
                  <a:cubicBezTo>
                    <a:pt x="25013" y="10853"/>
                    <a:pt x="25083" y="13933"/>
                    <a:pt x="23858" y="16314"/>
                  </a:cubicBezTo>
                  <a:cubicBezTo>
                    <a:pt x="23613" y="16909"/>
                    <a:pt x="23193" y="17399"/>
                    <a:pt x="22878" y="17714"/>
                  </a:cubicBezTo>
                  <a:cubicBezTo>
                    <a:pt x="22703" y="17889"/>
                    <a:pt x="22563" y="18029"/>
                    <a:pt x="22493" y="18204"/>
                  </a:cubicBezTo>
                  <a:cubicBezTo>
                    <a:pt x="22248" y="18624"/>
                    <a:pt x="22073" y="19044"/>
                    <a:pt x="21898" y="19499"/>
                  </a:cubicBezTo>
                  <a:cubicBezTo>
                    <a:pt x="21723" y="19849"/>
                    <a:pt x="21583" y="20234"/>
                    <a:pt x="21408" y="20584"/>
                  </a:cubicBezTo>
                  <a:cubicBezTo>
                    <a:pt x="21338" y="20759"/>
                    <a:pt x="21233" y="20864"/>
                    <a:pt x="21128" y="21004"/>
                  </a:cubicBezTo>
                  <a:cubicBezTo>
                    <a:pt x="20183" y="22089"/>
                    <a:pt x="19553" y="22929"/>
                    <a:pt x="19063" y="23559"/>
                  </a:cubicBezTo>
                  <a:cubicBezTo>
                    <a:pt x="17208" y="25974"/>
                    <a:pt x="16648" y="26114"/>
                    <a:pt x="13113" y="26219"/>
                  </a:cubicBezTo>
                  <a:lnTo>
                    <a:pt x="12413" y="26219"/>
                  </a:lnTo>
                  <a:close/>
                  <a:moveTo>
                    <a:pt x="4467" y="18099"/>
                  </a:moveTo>
                  <a:cubicBezTo>
                    <a:pt x="4782" y="18414"/>
                    <a:pt x="4957" y="18764"/>
                    <a:pt x="5097" y="19009"/>
                  </a:cubicBezTo>
                  <a:cubicBezTo>
                    <a:pt x="5272" y="19289"/>
                    <a:pt x="5307" y="19394"/>
                    <a:pt x="5797" y="19674"/>
                  </a:cubicBezTo>
                  <a:cubicBezTo>
                    <a:pt x="7372" y="20549"/>
                    <a:pt x="11643" y="22369"/>
                    <a:pt x="12413" y="22544"/>
                  </a:cubicBezTo>
                  <a:lnTo>
                    <a:pt x="12868" y="22544"/>
                  </a:lnTo>
                  <a:cubicBezTo>
                    <a:pt x="14362" y="22497"/>
                    <a:pt x="15412" y="22077"/>
                    <a:pt x="16018" y="21284"/>
                  </a:cubicBezTo>
                  <a:cubicBezTo>
                    <a:pt x="16508" y="20654"/>
                    <a:pt x="17103" y="19849"/>
                    <a:pt x="18048" y="18764"/>
                  </a:cubicBezTo>
                  <a:cubicBezTo>
                    <a:pt x="18153" y="18519"/>
                    <a:pt x="18258" y="18274"/>
                    <a:pt x="18363" y="18029"/>
                  </a:cubicBezTo>
                  <a:cubicBezTo>
                    <a:pt x="18608" y="17434"/>
                    <a:pt x="18888" y="16839"/>
                    <a:pt x="19203" y="16314"/>
                  </a:cubicBezTo>
                  <a:cubicBezTo>
                    <a:pt x="19483" y="15824"/>
                    <a:pt x="19798" y="15474"/>
                    <a:pt x="20043" y="15194"/>
                  </a:cubicBezTo>
                  <a:cubicBezTo>
                    <a:pt x="20253" y="14984"/>
                    <a:pt x="20358" y="14879"/>
                    <a:pt x="20358" y="14774"/>
                  </a:cubicBezTo>
                  <a:cubicBezTo>
                    <a:pt x="21198" y="13093"/>
                    <a:pt x="21163" y="10503"/>
                    <a:pt x="21128" y="8228"/>
                  </a:cubicBezTo>
                  <a:lnTo>
                    <a:pt x="21128" y="6723"/>
                  </a:lnTo>
                  <a:cubicBezTo>
                    <a:pt x="20953" y="5673"/>
                    <a:pt x="20498" y="4168"/>
                    <a:pt x="20183" y="3818"/>
                  </a:cubicBezTo>
                  <a:cubicBezTo>
                    <a:pt x="19133" y="3398"/>
                    <a:pt x="17733" y="3713"/>
                    <a:pt x="16123" y="4028"/>
                  </a:cubicBezTo>
                  <a:cubicBezTo>
                    <a:pt x="15598" y="4133"/>
                    <a:pt x="15073" y="4238"/>
                    <a:pt x="14548" y="4308"/>
                  </a:cubicBezTo>
                  <a:lnTo>
                    <a:pt x="13603" y="6723"/>
                  </a:lnTo>
                  <a:cubicBezTo>
                    <a:pt x="13463" y="9138"/>
                    <a:pt x="9788" y="11098"/>
                    <a:pt x="9333" y="11343"/>
                  </a:cubicBezTo>
                  <a:cubicBezTo>
                    <a:pt x="7932" y="12078"/>
                    <a:pt x="6777" y="11518"/>
                    <a:pt x="6182" y="11203"/>
                  </a:cubicBezTo>
                  <a:cubicBezTo>
                    <a:pt x="4572" y="11693"/>
                    <a:pt x="3732" y="12148"/>
                    <a:pt x="3627" y="12603"/>
                  </a:cubicBezTo>
                  <a:cubicBezTo>
                    <a:pt x="3557" y="13688"/>
                    <a:pt x="3662" y="15194"/>
                    <a:pt x="3802" y="16804"/>
                  </a:cubicBezTo>
                  <a:cubicBezTo>
                    <a:pt x="3802" y="16874"/>
                    <a:pt x="4012" y="17259"/>
                    <a:pt x="4187" y="17644"/>
                  </a:cubicBezTo>
                  <a:cubicBezTo>
                    <a:pt x="4257" y="17819"/>
                    <a:pt x="4327" y="17959"/>
                    <a:pt x="4397" y="18099"/>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5" name="Freeform: Shape 1804">
              <a:extLst>
                <a:ext uri="{FF2B5EF4-FFF2-40B4-BE49-F238E27FC236}">
                  <a16:creationId xmlns:a16="http://schemas.microsoft.com/office/drawing/2014/main" id="{7A14B3DB-AF91-BCF7-AD60-5255B85441D0}"/>
                </a:ext>
              </a:extLst>
            </p:cNvPr>
            <p:cNvSpPr/>
            <p:nvPr/>
          </p:nvSpPr>
          <p:spPr>
            <a:xfrm>
              <a:off x="11171040" y="4252621"/>
              <a:ext cx="25052" cy="18548"/>
            </a:xfrm>
            <a:custGeom>
              <a:avLst/>
              <a:gdLst>
                <a:gd name="csX0" fmla="*/ 6580 w 25052"/>
                <a:gd name="csY0" fmla="*/ 18416 h 18548"/>
                <a:gd name="csX1" fmla="*/ 6580 w 25052"/>
                <a:gd name="csY1" fmla="*/ 18416 h 18548"/>
                <a:gd name="csX2" fmla="*/ 70 w 25052"/>
                <a:gd name="csY2" fmla="*/ 13691 h 18548"/>
                <a:gd name="csX3" fmla="*/ 1540 w 25052"/>
                <a:gd name="csY3" fmla="*/ 9105 h 18548"/>
                <a:gd name="csX4" fmla="*/ 7595 w 25052"/>
                <a:gd name="csY4" fmla="*/ 2875 h 18548"/>
                <a:gd name="csX5" fmla="*/ 9800 w 25052"/>
                <a:gd name="csY5" fmla="*/ 2280 h 18548"/>
                <a:gd name="csX6" fmla="*/ 12320 w 25052"/>
                <a:gd name="csY6" fmla="*/ 1090 h 18548"/>
                <a:gd name="csX7" fmla="*/ 21036 w 25052"/>
                <a:gd name="csY7" fmla="*/ 2140 h 18548"/>
                <a:gd name="csX8" fmla="*/ 24746 w 25052"/>
                <a:gd name="csY8" fmla="*/ 9105 h 18548"/>
                <a:gd name="csX9" fmla="*/ 24886 w 25052"/>
                <a:gd name="csY9" fmla="*/ 11906 h 18548"/>
                <a:gd name="csX10" fmla="*/ 24151 w 25052"/>
                <a:gd name="csY10" fmla="*/ 14286 h 18548"/>
                <a:gd name="csX11" fmla="*/ 21491 w 25052"/>
                <a:gd name="csY11" fmla="*/ 17996 h 18548"/>
                <a:gd name="csX12" fmla="*/ 16170 w 25052"/>
                <a:gd name="csY12" fmla="*/ 17716 h 18548"/>
                <a:gd name="csX13" fmla="*/ 14700 w 25052"/>
                <a:gd name="csY13" fmla="*/ 15931 h 18548"/>
                <a:gd name="csX14" fmla="*/ 10115 w 25052"/>
                <a:gd name="csY14" fmla="*/ 16526 h 18548"/>
                <a:gd name="csX15" fmla="*/ 6580 w 25052"/>
                <a:gd name="csY15" fmla="*/ 18451 h 185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5052" h="18548">
                  <a:moveTo>
                    <a:pt x="6580" y="18416"/>
                  </a:moveTo>
                  <a:lnTo>
                    <a:pt x="6580" y="18416"/>
                  </a:lnTo>
                  <a:cubicBezTo>
                    <a:pt x="4515" y="16806"/>
                    <a:pt x="1540" y="16211"/>
                    <a:pt x="70" y="13691"/>
                  </a:cubicBezTo>
                  <a:cubicBezTo>
                    <a:pt x="-385" y="12641"/>
                    <a:pt x="1540" y="9105"/>
                    <a:pt x="1540" y="9105"/>
                  </a:cubicBezTo>
                  <a:cubicBezTo>
                    <a:pt x="3325" y="6900"/>
                    <a:pt x="5250" y="4065"/>
                    <a:pt x="7595" y="2875"/>
                  </a:cubicBezTo>
                  <a:cubicBezTo>
                    <a:pt x="8330" y="2420"/>
                    <a:pt x="9065" y="2595"/>
                    <a:pt x="9800" y="2280"/>
                  </a:cubicBezTo>
                  <a:cubicBezTo>
                    <a:pt x="10675" y="2000"/>
                    <a:pt x="11410" y="1405"/>
                    <a:pt x="12320" y="1090"/>
                  </a:cubicBezTo>
                  <a:cubicBezTo>
                    <a:pt x="18550" y="-100"/>
                    <a:pt x="16905" y="-975"/>
                    <a:pt x="21036" y="2140"/>
                  </a:cubicBezTo>
                  <a:cubicBezTo>
                    <a:pt x="21491" y="2420"/>
                    <a:pt x="24011" y="7460"/>
                    <a:pt x="24746" y="9105"/>
                  </a:cubicBezTo>
                  <a:cubicBezTo>
                    <a:pt x="25341" y="10715"/>
                    <a:pt x="24886" y="11031"/>
                    <a:pt x="24886" y="11906"/>
                  </a:cubicBezTo>
                  <a:cubicBezTo>
                    <a:pt x="24746" y="12641"/>
                    <a:pt x="24606" y="13516"/>
                    <a:pt x="24151" y="14286"/>
                  </a:cubicBezTo>
                  <a:cubicBezTo>
                    <a:pt x="23416" y="15616"/>
                    <a:pt x="22506" y="17086"/>
                    <a:pt x="21491" y="17996"/>
                  </a:cubicBezTo>
                  <a:cubicBezTo>
                    <a:pt x="19845" y="19326"/>
                    <a:pt x="16905" y="17856"/>
                    <a:pt x="16170" y="17716"/>
                  </a:cubicBezTo>
                  <a:cubicBezTo>
                    <a:pt x="15715" y="17121"/>
                    <a:pt x="15715" y="16106"/>
                    <a:pt x="14700" y="15931"/>
                  </a:cubicBezTo>
                  <a:cubicBezTo>
                    <a:pt x="13650" y="15791"/>
                    <a:pt x="10570" y="15336"/>
                    <a:pt x="10115" y="16526"/>
                  </a:cubicBezTo>
                  <a:lnTo>
                    <a:pt x="6580" y="18451"/>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6" name="Freeform: Shape 1805">
              <a:extLst>
                <a:ext uri="{FF2B5EF4-FFF2-40B4-BE49-F238E27FC236}">
                  <a16:creationId xmlns:a16="http://schemas.microsoft.com/office/drawing/2014/main" id="{92BD652B-12A6-173E-12A1-69DB4FE4814B}"/>
                </a:ext>
              </a:extLst>
            </p:cNvPr>
            <p:cNvSpPr/>
            <p:nvPr/>
          </p:nvSpPr>
          <p:spPr>
            <a:xfrm>
              <a:off x="11169228" y="4250819"/>
              <a:ext cx="28696" cy="22178"/>
            </a:xfrm>
            <a:custGeom>
              <a:avLst/>
              <a:gdLst>
                <a:gd name="csX0" fmla="*/ 21553 w 28696"/>
                <a:gd name="csY0" fmla="*/ 22178 h 22178"/>
                <a:gd name="csX1" fmla="*/ 18053 w 28696"/>
                <a:gd name="csY1" fmla="*/ 21443 h 22178"/>
                <a:gd name="csX2" fmla="*/ 16547 w 28696"/>
                <a:gd name="csY2" fmla="*/ 20603 h 22178"/>
                <a:gd name="csX3" fmla="*/ 15987 w 28696"/>
                <a:gd name="csY3" fmla="*/ 19553 h 22178"/>
                <a:gd name="csX4" fmla="*/ 15987 w 28696"/>
                <a:gd name="csY4" fmla="*/ 19483 h 22178"/>
                <a:gd name="csX5" fmla="*/ 13467 w 28696"/>
                <a:gd name="csY5" fmla="*/ 19378 h 22178"/>
                <a:gd name="csX6" fmla="*/ 12872 w 28696"/>
                <a:gd name="csY6" fmla="*/ 19903 h 22178"/>
                <a:gd name="csX7" fmla="*/ 9302 w 28696"/>
                <a:gd name="csY7" fmla="*/ 21828 h 22178"/>
                <a:gd name="csX8" fmla="*/ 7272 w 28696"/>
                <a:gd name="csY8" fmla="*/ 21653 h 22178"/>
                <a:gd name="csX9" fmla="*/ 5102 w 28696"/>
                <a:gd name="csY9" fmla="*/ 20358 h 22178"/>
                <a:gd name="csX10" fmla="*/ 307 w 28696"/>
                <a:gd name="csY10" fmla="*/ 16403 h 22178"/>
                <a:gd name="csX11" fmla="*/ 1742 w 28696"/>
                <a:gd name="csY11" fmla="*/ 9998 h 22178"/>
                <a:gd name="csX12" fmla="*/ 2722 w 28696"/>
                <a:gd name="csY12" fmla="*/ 8702 h 22178"/>
                <a:gd name="csX13" fmla="*/ 8602 w 28696"/>
                <a:gd name="csY13" fmla="*/ 3032 h 22178"/>
                <a:gd name="csX14" fmla="*/ 10422 w 28696"/>
                <a:gd name="csY14" fmla="*/ 2472 h 22178"/>
                <a:gd name="csX15" fmla="*/ 10912 w 28696"/>
                <a:gd name="csY15" fmla="*/ 2402 h 22178"/>
                <a:gd name="csX16" fmla="*/ 11997 w 28696"/>
                <a:gd name="csY16" fmla="*/ 1912 h 22178"/>
                <a:gd name="csX17" fmla="*/ 13537 w 28696"/>
                <a:gd name="csY17" fmla="*/ 1177 h 22178"/>
                <a:gd name="csX18" fmla="*/ 16932 w 28696"/>
                <a:gd name="csY18" fmla="*/ 407 h 22178"/>
                <a:gd name="csX19" fmla="*/ 23303 w 28696"/>
                <a:gd name="csY19" fmla="*/ 2017 h 22178"/>
                <a:gd name="csX20" fmla="*/ 23968 w 28696"/>
                <a:gd name="csY20" fmla="*/ 2507 h 22178"/>
                <a:gd name="csX21" fmla="*/ 28238 w 28696"/>
                <a:gd name="csY21" fmla="*/ 10173 h 22178"/>
                <a:gd name="csX22" fmla="*/ 28588 w 28696"/>
                <a:gd name="csY22" fmla="*/ 13393 h 22178"/>
                <a:gd name="csX23" fmla="*/ 28518 w 28696"/>
                <a:gd name="csY23" fmla="*/ 14128 h 22178"/>
                <a:gd name="csX24" fmla="*/ 27538 w 28696"/>
                <a:gd name="csY24" fmla="*/ 17068 h 22178"/>
                <a:gd name="csX25" fmla="*/ 24493 w 28696"/>
                <a:gd name="csY25" fmla="*/ 21198 h 22178"/>
                <a:gd name="csX26" fmla="*/ 21518 w 28696"/>
                <a:gd name="csY26" fmla="*/ 22178 h 22178"/>
                <a:gd name="csX27" fmla="*/ 19313 w 28696"/>
                <a:gd name="csY27" fmla="*/ 17943 h 22178"/>
                <a:gd name="csX28" fmla="*/ 22183 w 28696"/>
                <a:gd name="csY28" fmla="*/ 18328 h 22178"/>
                <a:gd name="csX29" fmla="*/ 24388 w 28696"/>
                <a:gd name="csY29" fmla="*/ 15178 h 22178"/>
                <a:gd name="csX30" fmla="*/ 24878 w 28696"/>
                <a:gd name="csY30" fmla="*/ 13533 h 22178"/>
                <a:gd name="csX31" fmla="*/ 24983 w 28696"/>
                <a:gd name="csY31" fmla="*/ 12658 h 22178"/>
                <a:gd name="csX32" fmla="*/ 24843 w 28696"/>
                <a:gd name="csY32" fmla="*/ 11538 h 22178"/>
                <a:gd name="csX33" fmla="*/ 21553 w 28696"/>
                <a:gd name="csY33" fmla="*/ 5237 h 22178"/>
                <a:gd name="csX34" fmla="*/ 21133 w 28696"/>
                <a:gd name="csY34" fmla="*/ 4957 h 22178"/>
                <a:gd name="csX35" fmla="*/ 17912 w 28696"/>
                <a:gd name="csY35" fmla="*/ 3977 h 22178"/>
                <a:gd name="csX36" fmla="*/ 14517 w 28696"/>
                <a:gd name="csY36" fmla="*/ 4747 h 22178"/>
                <a:gd name="csX37" fmla="*/ 13817 w 28696"/>
                <a:gd name="csY37" fmla="*/ 5132 h 22178"/>
                <a:gd name="csX38" fmla="*/ 12242 w 28696"/>
                <a:gd name="csY38" fmla="*/ 5867 h 22178"/>
                <a:gd name="csX39" fmla="*/ 10947 w 28696"/>
                <a:gd name="csY39" fmla="*/ 6147 h 22178"/>
                <a:gd name="csX40" fmla="*/ 10387 w 28696"/>
                <a:gd name="csY40" fmla="*/ 6252 h 22178"/>
                <a:gd name="csX41" fmla="*/ 5662 w 28696"/>
                <a:gd name="csY41" fmla="*/ 10978 h 22178"/>
                <a:gd name="csX42" fmla="*/ 4822 w 28696"/>
                <a:gd name="csY42" fmla="*/ 12063 h 22178"/>
                <a:gd name="csX43" fmla="*/ 3702 w 28696"/>
                <a:gd name="csY43" fmla="*/ 14898 h 22178"/>
                <a:gd name="csX44" fmla="*/ 6817 w 28696"/>
                <a:gd name="csY44" fmla="*/ 17138 h 22178"/>
                <a:gd name="csX45" fmla="*/ 8497 w 28696"/>
                <a:gd name="csY45" fmla="*/ 18083 h 22178"/>
                <a:gd name="csX46" fmla="*/ 10632 w 28696"/>
                <a:gd name="csY46" fmla="*/ 16928 h 22178"/>
                <a:gd name="csX47" fmla="*/ 16757 w 28696"/>
                <a:gd name="csY47" fmla="*/ 15878 h 22178"/>
                <a:gd name="csX48" fmla="*/ 19313 w 28696"/>
                <a:gd name="csY48" fmla="*/ 17943 h 221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28696" h="22178">
                  <a:moveTo>
                    <a:pt x="21553" y="22178"/>
                  </a:moveTo>
                  <a:cubicBezTo>
                    <a:pt x="20188" y="22178"/>
                    <a:pt x="18858" y="21723"/>
                    <a:pt x="18053" y="21443"/>
                  </a:cubicBezTo>
                  <a:cubicBezTo>
                    <a:pt x="17632" y="21373"/>
                    <a:pt x="16792" y="20953"/>
                    <a:pt x="16547" y="20603"/>
                  </a:cubicBezTo>
                  <a:cubicBezTo>
                    <a:pt x="16302" y="20253"/>
                    <a:pt x="16127" y="19868"/>
                    <a:pt x="15987" y="19553"/>
                  </a:cubicBezTo>
                  <a:cubicBezTo>
                    <a:pt x="15987" y="19553"/>
                    <a:pt x="15987" y="19518"/>
                    <a:pt x="15987" y="19483"/>
                  </a:cubicBezTo>
                  <a:cubicBezTo>
                    <a:pt x="14412" y="19273"/>
                    <a:pt x="13747" y="19308"/>
                    <a:pt x="13467" y="19378"/>
                  </a:cubicBezTo>
                  <a:cubicBezTo>
                    <a:pt x="13292" y="19588"/>
                    <a:pt x="13082" y="19798"/>
                    <a:pt x="12872" y="19903"/>
                  </a:cubicBezTo>
                  <a:lnTo>
                    <a:pt x="9302" y="21828"/>
                  </a:lnTo>
                  <a:cubicBezTo>
                    <a:pt x="8637" y="22143"/>
                    <a:pt x="7867" y="22108"/>
                    <a:pt x="7272" y="21653"/>
                  </a:cubicBezTo>
                  <a:cubicBezTo>
                    <a:pt x="6607" y="21163"/>
                    <a:pt x="5872" y="20743"/>
                    <a:pt x="5102" y="20358"/>
                  </a:cubicBezTo>
                  <a:cubicBezTo>
                    <a:pt x="3422" y="19483"/>
                    <a:pt x="1532" y="18468"/>
                    <a:pt x="307" y="16403"/>
                  </a:cubicBezTo>
                  <a:cubicBezTo>
                    <a:pt x="-8" y="15738"/>
                    <a:pt x="-603" y="14338"/>
                    <a:pt x="1742" y="9998"/>
                  </a:cubicBezTo>
                  <a:lnTo>
                    <a:pt x="2722" y="8702"/>
                  </a:lnTo>
                  <a:cubicBezTo>
                    <a:pt x="4367" y="6602"/>
                    <a:pt x="6222" y="4222"/>
                    <a:pt x="8602" y="3032"/>
                  </a:cubicBezTo>
                  <a:cubicBezTo>
                    <a:pt x="9197" y="2647"/>
                    <a:pt x="9932" y="2542"/>
                    <a:pt x="10422" y="2472"/>
                  </a:cubicBezTo>
                  <a:cubicBezTo>
                    <a:pt x="10632" y="2472"/>
                    <a:pt x="10842" y="2437"/>
                    <a:pt x="10912" y="2402"/>
                  </a:cubicBezTo>
                  <a:cubicBezTo>
                    <a:pt x="11367" y="2227"/>
                    <a:pt x="11682" y="2052"/>
                    <a:pt x="11997" y="1912"/>
                  </a:cubicBezTo>
                  <a:cubicBezTo>
                    <a:pt x="12487" y="1632"/>
                    <a:pt x="12977" y="1387"/>
                    <a:pt x="13537" y="1177"/>
                  </a:cubicBezTo>
                  <a:cubicBezTo>
                    <a:pt x="15217" y="827"/>
                    <a:pt x="16197" y="582"/>
                    <a:pt x="16932" y="407"/>
                  </a:cubicBezTo>
                  <a:cubicBezTo>
                    <a:pt x="19873" y="-363"/>
                    <a:pt x="20433" y="-153"/>
                    <a:pt x="23303" y="2017"/>
                  </a:cubicBezTo>
                  <a:lnTo>
                    <a:pt x="23968" y="2507"/>
                  </a:lnTo>
                  <a:cubicBezTo>
                    <a:pt x="25088" y="3242"/>
                    <a:pt x="28203" y="10103"/>
                    <a:pt x="28238" y="10173"/>
                  </a:cubicBezTo>
                  <a:cubicBezTo>
                    <a:pt x="28833" y="11818"/>
                    <a:pt x="28728" y="12623"/>
                    <a:pt x="28588" y="13393"/>
                  </a:cubicBezTo>
                  <a:cubicBezTo>
                    <a:pt x="28588" y="13533"/>
                    <a:pt x="28518" y="13988"/>
                    <a:pt x="28518" y="14128"/>
                  </a:cubicBezTo>
                  <a:cubicBezTo>
                    <a:pt x="28343" y="15073"/>
                    <a:pt x="28133" y="16123"/>
                    <a:pt x="27538" y="17068"/>
                  </a:cubicBezTo>
                  <a:cubicBezTo>
                    <a:pt x="26768" y="18468"/>
                    <a:pt x="25788" y="20113"/>
                    <a:pt x="24493" y="21198"/>
                  </a:cubicBezTo>
                  <a:cubicBezTo>
                    <a:pt x="23583" y="21933"/>
                    <a:pt x="22533" y="22178"/>
                    <a:pt x="21518" y="22178"/>
                  </a:cubicBezTo>
                  <a:close/>
                  <a:moveTo>
                    <a:pt x="19313" y="17943"/>
                  </a:moveTo>
                  <a:cubicBezTo>
                    <a:pt x="19943" y="18153"/>
                    <a:pt x="21658" y="18748"/>
                    <a:pt x="22183" y="18328"/>
                  </a:cubicBezTo>
                  <a:cubicBezTo>
                    <a:pt x="22988" y="17628"/>
                    <a:pt x="23828" y="16193"/>
                    <a:pt x="24388" y="15178"/>
                  </a:cubicBezTo>
                  <a:cubicBezTo>
                    <a:pt x="24668" y="14723"/>
                    <a:pt x="24773" y="14128"/>
                    <a:pt x="24878" y="13533"/>
                  </a:cubicBezTo>
                  <a:cubicBezTo>
                    <a:pt x="24878" y="13288"/>
                    <a:pt x="24948" y="12973"/>
                    <a:pt x="24983" y="12658"/>
                  </a:cubicBezTo>
                  <a:cubicBezTo>
                    <a:pt x="25053" y="12343"/>
                    <a:pt x="25053" y="12168"/>
                    <a:pt x="24843" y="11538"/>
                  </a:cubicBezTo>
                  <a:cubicBezTo>
                    <a:pt x="24108" y="9928"/>
                    <a:pt x="22043" y="5832"/>
                    <a:pt x="21553" y="5237"/>
                  </a:cubicBezTo>
                  <a:lnTo>
                    <a:pt x="21133" y="4957"/>
                  </a:lnTo>
                  <a:cubicBezTo>
                    <a:pt x="19348" y="3627"/>
                    <a:pt x="19348" y="3592"/>
                    <a:pt x="17912" y="3977"/>
                  </a:cubicBezTo>
                  <a:cubicBezTo>
                    <a:pt x="17107" y="4187"/>
                    <a:pt x="16057" y="4467"/>
                    <a:pt x="14517" y="4747"/>
                  </a:cubicBezTo>
                  <a:cubicBezTo>
                    <a:pt x="14412" y="4782"/>
                    <a:pt x="14097" y="4992"/>
                    <a:pt x="13817" y="5132"/>
                  </a:cubicBezTo>
                  <a:cubicBezTo>
                    <a:pt x="13292" y="5412"/>
                    <a:pt x="12802" y="5692"/>
                    <a:pt x="12242" y="5867"/>
                  </a:cubicBezTo>
                  <a:cubicBezTo>
                    <a:pt x="11822" y="6042"/>
                    <a:pt x="11332" y="6112"/>
                    <a:pt x="10947" y="6147"/>
                  </a:cubicBezTo>
                  <a:cubicBezTo>
                    <a:pt x="10702" y="6147"/>
                    <a:pt x="10492" y="6217"/>
                    <a:pt x="10387" y="6252"/>
                  </a:cubicBezTo>
                  <a:cubicBezTo>
                    <a:pt x="8637" y="7162"/>
                    <a:pt x="7027" y="9192"/>
                    <a:pt x="5662" y="10978"/>
                  </a:cubicBezTo>
                  <a:lnTo>
                    <a:pt x="4822" y="12063"/>
                  </a:lnTo>
                  <a:cubicBezTo>
                    <a:pt x="4367" y="12938"/>
                    <a:pt x="3842" y="14268"/>
                    <a:pt x="3702" y="14898"/>
                  </a:cubicBezTo>
                  <a:cubicBezTo>
                    <a:pt x="4402" y="15843"/>
                    <a:pt x="5522" y="16438"/>
                    <a:pt x="6817" y="17138"/>
                  </a:cubicBezTo>
                  <a:cubicBezTo>
                    <a:pt x="7412" y="17453"/>
                    <a:pt x="7972" y="17733"/>
                    <a:pt x="8497" y="18083"/>
                  </a:cubicBezTo>
                  <a:lnTo>
                    <a:pt x="10632" y="16928"/>
                  </a:lnTo>
                  <a:cubicBezTo>
                    <a:pt x="11997" y="15213"/>
                    <a:pt x="15182" y="15633"/>
                    <a:pt x="16757" y="15878"/>
                  </a:cubicBezTo>
                  <a:cubicBezTo>
                    <a:pt x="18403" y="16123"/>
                    <a:pt x="19033" y="17313"/>
                    <a:pt x="19313" y="17943"/>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7" name="Freeform: Shape 1806">
              <a:extLst>
                <a:ext uri="{FF2B5EF4-FFF2-40B4-BE49-F238E27FC236}">
                  <a16:creationId xmlns:a16="http://schemas.microsoft.com/office/drawing/2014/main" id="{464C116D-2F15-5E27-4EAB-EE917FB8D54A}"/>
                </a:ext>
              </a:extLst>
            </p:cNvPr>
            <p:cNvSpPr/>
            <p:nvPr/>
          </p:nvSpPr>
          <p:spPr>
            <a:xfrm>
              <a:off x="11125417" y="4216435"/>
              <a:ext cx="21190" cy="23456"/>
            </a:xfrm>
            <a:custGeom>
              <a:avLst/>
              <a:gdLst>
                <a:gd name="csX0" fmla="*/ 21121 w 21190"/>
                <a:gd name="csY0" fmla="*/ 15856 h 23456"/>
                <a:gd name="csX1" fmla="*/ 21121 w 21190"/>
                <a:gd name="csY1" fmla="*/ 15856 h 23456"/>
                <a:gd name="csX2" fmla="*/ 18321 w 21190"/>
                <a:gd name="csY2" fmla="*/ 23101 h 23456"/>
                <a:gd name="csX3" fmla="*/ 13456 w 21190"/>
                <a:gd name="csY3" fmla="*/ 22961 h 23456"/>
                <a:gd name="csX4" fmla="*/ 5615 w 21190"/>
                <a:gd name="csY4" fmla="*/ 18656 h 23456"/>
                <a:gd name="csX5" fmla="*/ 4425 w 21190"/>
                <a:gd name="csY5" fmla="*/ 16731 h 23456"/>
                <a:gd name="csX6" fmla="*/ 2500 w 21190"/>
                <a:gd name="csY6" fmla="*/ 14666 h 23456"/>
                <a:gd name="csX7" fmla="*/ 1170 w 21190"/>
                <a:gd name="csY7" fmla="*/ 6230 h 23456"/>
                <a:gd name="csX8" fmla="*/ 6945 w 21190"/>
                <a:gd name="csY8" fmla="*/ 910 h 23456"/>
                <a:gd name="csX9" fmla="*/ 9605 w 21190"/>
                <a:gd name="csY9" fmla="*/ 35 h 23456"/>
                <a:gd name="csX10" fmla="*/ 12126 w 21190"/>
                <a:gd name="csY10" fmla="*/ 175 h 23456"/>
                <a:gd name="csX11" fmla="*/ 16571 w 21190"/>
                <a:gd name="csY11" fmla="*/ 1785 h 23456"/>
                <a:gd name="csX12" fmla="*/ 17761 w 21190"/>
                <a:gd name="csY12" fmla="*/ 6965 h 23456"/>
                <a:gd name="csX13" fmla="*/ 16431 w 21190"/>
                <a:gd name="csY13" fmla="*/ 8750 h 23456"/>
                <a:gd name="csX14" fmla="*/ 18216 w 21190"/>
                <a:gd name="csY14" fmla="*/ 12881 h 23456"/>
                <a:gd name="csX15" fmla="*/ 21191 w 21190"/>
                <a:gd name="csY15" fmla="*/ 15856 h 234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190" h="23456">
                  <a:moveTo>
                    <a:pt x="21121" y="15856"/>
                  </a:moveTo>
                  <a:lnTo>
                    <a:pt x="21121" y="15856"/>
                  </a:lnTo>
                  <a:cubicBezTo>
                    <a:pt x="20071" y="18376"/>
                    <a:pt x="20386" y="21176"/>
                    <a:pt x="18321" y="23101"/>
                  </a:cubicBezTo>
                  <a:cubicBezTo>
                    <a:pt x="17446" y="23976"/>
                    <a:pt x="13456" y="22961"/>
                    <a:pt x="13456" y="22961"/>
                  </a:cubicBezTo>
                  <a:cubicBezTo>
                    <a:pt x="10796" y="21771"/>
                    <a:pt x="7400" y="20756"/>
                    <a:pt x="5615" y="18656"/>
                  </a:cubicBezTo>
                  <a:cubicBezTo>
                    <a:pt x="5020" y="18061"/>
                    <a:pt x="4880" y="17466"/>
                    <a:pt x="4425" y="16731"/>
                  </a:cubicBezTo>
                  <a:cubicBezTo>
                    <a:pt x="3830" y="16136"/>
                    <a:pt x="3095" y="15401"/>
                    <a:pt x="2500" y="14666"/>
                  </a:cubicBezTo>
                  <a:cubicBezTo>
                    <a:pt x="-300" y="9030"/>
                    <a:pt x="-755" y="10815"/>
                    <a:pt x="1170" y="6230"/>
                  </a:cubicBezTo>
                  <a:cubicBezTo>
                    <a:pt x="1310" y="5635"/>
                    <a:pt x="5475" y="1925"/>
                    <a:pt x="6945" y="910"/>
                  </a:cubicBezTo>
                  <a:cubicBezTo>
                    <a:pt x="8415" y="-140"/>
                    <a:pt x="8730" y="315"/>
                    <a:pt x="9605" y="35"/>
                  </a:cubicBezTo>
                  <a:cubicBezTo>
                    <a:pt x="10481" y="35"/>
                    <a:pt x="11216" y="-105"/>
                    <a:pt x="12126" y="175"/>
                  </a:cubicBezTo>
                  <a:cubicBezTo>
                    <a:pt x="13596" y="630"/>
                    <a:pt x="15241" y="1050"/>
                    <a:pt x="16571" y="1785"/>
                  </a:cubicBezTo>
                  <a:cubicBezTo>
                    <a:pt x="18356" y="2975"/>
                    <a:pt x="17761" y="6230"/>
                    <a:pt x="17761" y="6965"/>
                  </a:cubicBezTo>
                  <a:cubicBezTo>
                    <a:pt x="17306" y="7560"/>
                    <a:pt x="16291" y="7700"/>
                    <a:pt x="16431" y="8750"/>
                  </a:cubicBezTo>
                  <a:cubicBezTo>
                    <a:pt x="16431" y="9800"/>
                    <a:pt x="17026" y="12881"/>
                    <a:pt x="18216" y="12881"/>
                  </a:cubicBezTo>
                  <a:lnTo>
                    <a:pt x="21191" y="15856"/>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8" name="Freeform: Shape 1807">
              <a:extLst>
                <a:ext uri="{FF2B5EF4-FFF2-40B4-BE49-F238E27FC236}">
                  <a16:creationId xmlns:a16="http://schemas.microsoft.com/office/drawing/2014/main" id="{024EFF26-C5CC-6EDF-BB64-437281ADF4AB}"/>
                </a:ext>
              </a:extLst>
            </p:cNvPr>
            <p:cNvSpPr/>
            <p:nvPr/>
          </p:nvSpPr>
          <p:spPr>
            <a:xfrm>
              <a:off x="11123534" y="4214542"/>
              <a:ext cx="24887" cy="27233"/>
            </a:xfrm>
            <a:custGeom>
              <a:avLst/>
              <a:gdLst>
                <a:gd name="csX0" fmla="*/ 18665 w 24887"/>
                <a:gd name="csY0" fmla="*/ 27199 h 27233"/>
                <a:gd name="csX1" fmla="*/ 14849 w 24887"/>
                <a:gd name="csY1" fmla="*/ 26604 h 27233"/>
                <a:gd name="csX2" fmla="*/ 12889 w 24887"/>
                <a:gd name="csY2" fmla="*/ 25799 h 27233"/>
                <a:gd name="csX3" fmla="*/ 6064 w 24887"/>
                <a:gd name="csY3" fmla="*/ 21739 h 27233"/>
                <a:gd name="csX4" fmla="*/ 5014 w 24887"/>
                <a:gd name="csY4" fmla="*/ 20164 h 27233"/>
                <a:gd name="csX5" fmla="*/ 4699 w 24887"/>
                <a:gd name="csY5" fmla="*/ 19569 h 27233"/>
                <a:gd name="csX6" fmla="*/ 2879 w 24887"/>
                <a:gd name="csY6" fmla="*/ 17678 h 27233"/>
                <a:gd name="csX7" fmla="*/ 1129 w 24887"/>
                <a:gd name="csY7" fmla="*/ 14493 h 27233"/>
                <a:gd name="csX8" fmla="*/ 1024 w 24887"/>
                <a:gd name="csY8" fmla="*/ 8123 h 27233"/>
                <a:gd name="csX9" fmla="*/ 1339 w 24887"/>
                <a:gd name="csY9" fmla="*/ 7388 h 27233"/>
                <a:gd name="csX10" fmla="*/ 7744 w 24887"/>
                <a:gd name="csY10" fmla="*/ 1263 h 27233"/>
                <a:gd name="csX11" fmla="*/ 10614 w 24887"/>
                <a:gd name="csY11" fmla="*/ 178 h 27233"/>
                <a:gd name="csX12" fmla="*/ 11489 w 24887"/>
                <a:gd name="csY12" fmla="*/ 38 h 27233"/>
                <a:gd name="csX13" fmla="*/ 12084 w 24887"/>
                <a:gd name="csY13" fmla="*/ 38 h 27233"/>
                <a:gd name="csX14" fmla="*/ 14604 w 24887"/>
                <a:gd name="csY14" fmla="*/ 283 h 27233"/>
                <a:gd name="csX15" fmla="*/ 15059 w 24887"/>
                <a:gd name="csY15" fmla="*/ 423 h 27233"/>
                <a:gd name="csX16" fmla="*/ 19365 w 24887"/>
                <a:gd name="csY16" fmla="*/ 2068 h 27233"/>
                <a:gd name="csX17" fmla="*/ 21535 w 24887"/>
                <a:gd name="csY17" fmla="*/ 8508 h 27233"/>
                <a:gd name="csX18" fmla="*/ 21115 w 24887"/>
                <a:gd name="csY18" fmla="*/ 9978 h 27233"/>
                <a:gd name="csX19" fmla="*/ 20170 w 24887"/>
                <a:gd name="csY19" fmla="*/ 10853 h 27233"/>
                <a:gd name="csX20" fmla="*/ 20695 w 24887"/>
                <a:gd name="csY20" fmla="*/ 13058 h 27233"/>
                <a:gd name="csX21" fmla="*/ 21360 w 24887"/>
                <a:gd name="csY21" fmla="*/ 13478 h 27233"/>
                <a:gd name="csX22" fmla="*/ 24335 w 24887"/>
                <a:gd name="csY22" fmla="*/ 16418 h 27233"/>
                <a:gd name="csX23" fmla="*/ 24755 w 24887"/>
                <a:gd name="csY23" fmla="*/ 18448 h 27233"/>
                <a:gd name="csX24" fmla="*/ 24090 w 24887"/>
                <a:gd name="csY24" fmla="*/ 20864 h 27233"/>
                <a:gd name="csX25" fmla="*/ 21500 w 24887"/>
                <a:gd name="csY25" fmla="*/ 26359 h 27233"/>
                <a:gd name="csX26" fmla="*/ 18700 w 24887"/>
                <a:gd name="csY26" fmla="*/ 27234 h 27233"/>
                <a:gd name="csX27" fmla="*/ 4664 w 24887"/>
                <a:gd name="csY27" fmla="*/ 8963 h 27233"/>
                <a:gd name="csX28" fmla="*/ 4419 w 24887"/>
                <a:gd name="csY28" fmla="*/ 9593 h 27233"/>
                <a:gd name="csX29" fmla="*/ 3719 w 24887"/>
                <a:gd name="csY29" fmla="*/ 11483 h 27233"/>
                <a:gd name="csX30" fmla="*/ 4349 w 24887"/>
                <a:gd name="csY30" fmla="*/ 12638 h 27233"/>
                <a:gd name="csX31" fmla="*/ 6029 w 24887"/>
                <a:gd name="csY31" fmla="*/ 15718 h 27233"/>
                <a:gd name="csX32" fmla="*/ 7604 w 24887"/>
                <a:gd name="csY32" fmla="*/ 17293 h 27233"/>
                <a:gd name="csX33" fmla="*/ 8339 w 24887"/>
                <a:gd name="csY33" fmla="*/ 18483 h 27233"/>
                <a:gd name="csX34" fmla="*/ 8794 w 24887"/>
                <a:gd name="csY34" fmla="*/ 19218 h 27233"/>
                <a:gd name="csX35" fmla="*/ 14289 w 24887"/>
                <a:gd name="csY35" fmla="*/ 22369 h 27233"/>
                <a:gd name="csX36" fmla="*/ 16074 w 24887"/>
                <a:gd name="csY36" fmla="*/ 23104 h 27233"/>
                <a:gd name="csX37" fmla="*/ 19225 w 24887"/>
                <a:gd name="csY37" fmla="*/ 23419 h 27233"/>
                <a:gd name="csX38" fmla="*/ 20450 w 24887"/>
                <a:gd name="csY38" fmla="*/ 20024 h 27233"/>
                <a:gd name="csX39" fmla="*/ 20905 w 24887"/>
                <a:gd name="csY39" fmla="*/ 18168 h 27233"/>
                <a:gd name="csX40" fmla="*/ 19120 w 24887"/>
                <a:gd name="csY40" fmla="*/ 16418 h 27233"/>
                <a:gd name="csX41" fmla="*/ 16424 w 24887"/>
                <a:gd name="csY41" fmla="*/ 10608 h 27233"/>
                <a:gd name="csX42" fmla="*/ 17825 w 24887"/>
                <a:gd name="csY42" fmla="*/ 7913 h 27233"/>
                <a:gd name="csX43" fmla="*/ 17405 w 24887"/>
                <a:gd name="csY43" fmla="*/ 5183 h 27233"/>
                <a:gd name="csX44" fmla="*/ 13974 w 24887"/>
                <a:gd name="csY44" fmla="*/ 3923 h 27233"/>
                <a:gd name="csX45" fmla="*/ 13449 w 24887"/>
                <a:gd name="csY45" fmla="*/ 3748 h 27233"/>
                <a:gd name="csX46" fmla="*/ 12224 w 24887"/>
                <a:gd name="csY46" fmla="*/ 3643 h 27233"/>
                <a:gd name="csX47" fmla="*/ 11734 w 24887"/>
                <a:gd name="csY47" fmla="*/ 3643 h 27233"/>
                <a:gd name="csX48" fmla="*/ 10824 w 24887"/>
                <a:gd name="csY48" fmla="*/ 3783 h 27233"/>
                <a:gd name="csX49" fmla="*/ 9879 w 24887"/>
                <a:gd name="csY49" fmla="*/ 4203 h 27233"/>
                <a:gd name="csX50" fmla="*/ 4664 w 24887"/>
                <a:gd name="csY50" fmla="*/ 8858 h 27233"/>
                <a:gd name="csX51" fmla="*/ 20100 w 24887"/>
                <a:gd name="csY51" fmla="*/ 10363 h 27233"/>
                <a:gd name="csX52" fmla="*/ 20100 w 24887"/>
                <a:gd name="csY52" fmla="*/ 10503 h 27233"/>
                <a:gd name="csX53" fmla="*/ 20100 w 24887"/>
                <a:gd name="csY53" fmla="*/ 10363 h 272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4887" h="27233">
                  <a:moveTo>
                    <a:pt x="18665" y="27199"/>
                  </a:moveTo>
                  <a:cubicBezTo>
                    <a:pt x="17615" y="27199"/>
                    <a:pt x="16354" y="27024"/>
                    <a:pt x="14849" y="26604"/>
                  </a:cubicBezTo>
                  <a:cubicBezTo>
                    <a:pt x="14009" y="26289"/>
                    <a:pt x="13449" y="26044"/>
                    <a:pt x="12889" y="25799"/>
                  </a:cubicBezTo>
                  <a:cubicBezTo>
                    <a:pt x="10474" y="24819"/>
                    <a:pt x="7779" y="23699"/>
                    <a:pt x="6064" y="21739"/>
                  </a:cubicBezTo>
                  <a:cubicBezTo>
                    <a:pt x="5574" y="21249"/>
                    <a:pt x="5259" y="20654"/>
                    <a:pt x="5014" y="20164"/>
                  </a:cubicBezTo>
                  <a:cubicBezTo>
                    <a:pt x="4944" y="19989"/>
                    <a:pt x="4839" y="19814"/>
                    <a:pt x="4699" y="19569"/>
                  </a:cubicBezTo>
                  <a:cubicBezTo>
                    <a:pt x="4314" y="19288"/>
                    <a:pt x="3544" y="18483"/>
                    <a:pt x="2879" y="17678"/>
                  </a:cubicBezTo>
                  <a:cubicBezTo>
                    <a:pt x="2039" y="16033"/>
                    <a:pt x="1514" y="15158"/>
                    <a:pt x="1129" y="14493"/>
                  </a:cubicBezTo>
                  <a:cubicBezTo>
                    <a:pt x="-411" y="11868"/>
                    <a:pt x="-306" y="11273"/>
                    <a:pt x="1024" y="8123"/>
                  </a:cubicBezTo>
                  <a:lnTo>
                    <a:pt x="1339" y="7388"/>
                  </a:lnTo>
                  <a:cubicBezTo>
                    <a:pt x="1654" y="5953"/>
                    <a:pt x="7674" y="1298"/>
                    <a:pt x="7744" y="1263"/>
                  </a:cubicBezTo>
                  <a:cubicBezTo>
                    <a:pt x="9039" y="353"/>
                    <a:pt x="9844" y="213"/>
                    <a:pt x="10614" y="178"/>
                  </a:cubicBezTo>
                  <a:cubicBezTo>
                    <a:pt x="10789" y="108"/>
                    <a:pt x="11279" y="38"/>
                    <a:pt x="11489" y="38"/>
                  </a:cubicBezTo>
                  <a:lnTo>
                    <a:pt x="12084" y="38"/>
                  </a:lnTo>
                  <a:cubicBezTo>
                    <a:pt x="12784" y="-32"/>
                    <a:pt x="13624" y="-32"/>
                    <a:pt x="14604" y="283"/>
                  </a:cubicBezTo>
                  <a:lnTo>
                    <a:pt x="15059" y="423"/>
                  </a:lnTo>
                  <a:cubicBezTo>
                    <a:pt x="16424" y="843"/>
                    <a:pt x="18000" y="1298"/>
                    <a:pt x="19365" y="2068"/>
                  </a:cubicBezTo>
                  <a:cubicBezTo>
                    <a:pt x="21920" y="3748"/>
                    <a:pt x="21640" y="7073"/>
                    <a:pt x="21535" y="8508"/>
                  </a:cubicBezTo>
                  <a:cubicBezTo>
                    <a:pt x="21535" y="8928"/>
                    <a:pt x="21360" y="9663"/>
                    <a:pt x="21115" y="9978"/>
                  </a:cubicBezTo>
                  <a:cubicBezTo>
                    <a:pt x="20800" y="10398"/>
                    <a:pt x="20450" y="10643"/>
                    <a:pt x="20170" y="10853"/>
                  </a:cubicBezTo>
                  <a:cubicBezTo>
                    <a:pt x="20240" y="11658"/>
                    <a:pt x="20485" y="12603"/>
                    <a:pt x="20695" y="13058"/>
                  </a:cubicBezTo>
                  <a:cubicBezTo>
                    <a:pt x="20940" y="13128"/>
                    <a:pt x="21185" y="13303"/>
                    <a:pt x="21360" y="13478"/>
                  </a:cubicBezTo>
                  <a:lnTo>
                    <a:pt x="24335" y="16418"/>
                  </a:lnTo>
                  <a:cubicBezTo>
                    <a:pt x="24860" y="16943"/>
                    <a:pt x="25035" y="17748"/>
                    <a:pt x="24755" y="18448"/>
                  </a:cubicBezTo>
                  <a:cubicBezTo>
                    <a:pt x="24440" y="19218"/>
                    <a:pt x="24265" y="20059"/>
                    <a:pt x="24090" y="20864"/>
                  </a:cubicBezTo>
                  <a:cubicBezTo>
                    <a:pt x="23705" y="22684"/>
                    <a:pt x="23250" y="24714"/>
                    <a:pt x="21500" y="26359"/>
                  </a:cubicBezTo>
                  <a:cubicBezTo>
                    <a:pt x="20905" y="26954"/>
                    <a:pt x="19995" y="27234"/>
                    <a:pt x="18700" y="27234"/>
                  </a:cubicBezTo>
                  <a:close/>
                  <a:moveTo>
                    <a:pt x="4664" y="8963"/>
                  </a:moveTo>
                  <a:lnTo>
                    <a:pt x="4419" y="9593"/>
                  </a:lnTo>
                  <a:cubicBezTo>
                    <a:pt x="4069" y="10468"/>
                    <a:pt x="3719" y="11273"/>
                    <a:pt x="3719" y="11483"/>
                  </a:cubicBezTo>
                  <a:cubicBezTo>
                    <a:pt x="3719" y="11623"/>
                    <a:pt x="4069" y="12148"/>
                    <a:pt x="4349" y="12638"/>
                  </a:cubicBezTo>
                  <a:cubicBezTo>
                    <a:pt x="4769" y="13338"/>
                    <a:pt x="5329" y="14318"/>
                    <a:pt x="6029" y="15718"/>
                  </a:cubicBezTo>
                  <a:cubicBezTo>
                    <a:pt x="6379" y="16103"/>
                    <a:pt x="7079" y="16768"/>
                    <a:pt x="7604" y="17293"/>
                  </a:cubicBezTo>
                  <a:cubicBezTo>
                    <a:pt x="8059" y="17958"/>
                    <a:pt x="8199" y="18203"/>
                    <a:pt x="8339" y="18483"/>
                  </a:cubicBezTo>
                  <a:cubicBezTo>
                    <a:pt x="8514" y="18868"/>
                    <a:pt x="8619" y="19043"/>
                    <a:pt x="8794" y="19218"/>
                  </a:cubicBezTo>
                  <a:cubicBezTo>
                    <a:pt x="10019" y="20619"/>
                    <a:pt x="12189" y="21529"/>
                    <a:pt x="14289" y="22369"/>
                  </a:cubicBezTo>
                  <a:cubicBezTo>
                    <a:pt x="14884" y="22614"/>
                    <a:pt x="15514" y="22859"/>
                    <a:pt x="16074" y="23104"/>
                  </a:cubicBezTo>
                  <a:cubicBezTo>
                    <a:pt x="17124" y="23349"/>
                    <a:pt x="18735" y="23524"/>
                    <a:pt x="19225" y="23419"/>
                  </a:cubicBezTo>
                  <a:cubicBezTo>
                    <a:pt x="19855" y="22754"/>
                    <a:pt x="20100" y="21529"/>
                    <a:pt x="20450" y="20024"/>
                  </a:cubicBezTo>
                  <a:cubicBezTo>
                    <a:pt x="20590" y="19394"/>
                    <a:pt x="20730" y="18763"/>
                    <a:pt x="20905" y="18168"/>
                  </a:cubicBezTo>
                  <a:lnTo>
                    <a:pt x="19120" y="16418"/>
                  </a:lnTo>
                  <a:cubicBezTo>
                    <a:pt x="16914" y="15578"/>
                    <a:pt x="16424" y="11728"/>
                    <a:pt x="16424" y="10608"/>
                  </a:cubicBezTo>
                  <a:cubicBezTo>
                    <a:pt x="16214" y="9208"/>
                    <a:pt x="17265" y="8333"/>
                    <a:pt x="17825" y="7913"/>
                  </a:cubicBezTo>
                  <a:cubicBezTo>
                    <a:pt x="17965" y="5988"/>
                    <a:pt x="17685" y="5358"/>
                    <a:pt x="17405" y="5183"/>
                  </a:cubicBezTo>
                  <a:cubicBezTo>
                    <a:pt x="16494" y="4693"/>
                    <a:pt x="15234" y="4308"/>
                    <a:pt x="13974" y="3923"/>
                  </a:cubicBezTo>
                  <a:lnTo>
                    <a:pt x="13449" y="3748"/>
                  </a:lnTo>
                  <a:cubicBezTo>
                    <a:pt x="13099" y="3608"/>
                    <a:pt x="12784" y="3678"/>
                    <a:pt x="12224" y="3643"/>
                  </a:cubicBezTo>
                  <a:lnTo>
                    <a:pt x="11734" y="3643"/>
                  </a:lnTo>
                  <a:cubicBezTo>
                    <a:pt x="11349" y="3748"/>
                    <a:pt x="11034" y="3783"/>
                    <a:pt x="10824" y="3783"/>
                  </a:cubicBezTo>
                  <a:cubicBezTo>
                    <a:pt x="10544" y="3783"/>
                    <a:pt x="10439" y="3783"/>
                    <a:pt x="9879" y="4203"/>
                  </a:cubicBezTo>
                  <a:cubicBezTo>
                    <a:pt x="8584" y="5113"/>
                    <a:pt x="5224" y="8123"/>
                    <a:pt x="4664" y="8858"/>
                  </a:cubicBezTo>
                  <a:close/>
                  <a:moveTo>
                    <a:pt x="20100" y="10363"/>
                  </a:moveTo>
                  <a:lnTo>
                    <a:pt x="20100" y="10503"/>
                  </a:lnTo>
                  <a:lnTo>
                    <a:pt x="20100" y="10363"/>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09" name="Freeform: Shape 1808">
              <a:extLst>
                <a:ext uri="{FF2B5EF4-FFF2-40B4-BE49-F238E27FC236}">
                  <a16:creationId xmlns:a16="http://schemas.microsoft.com/office/drawing/2014/main" id="{FA380176-5786-94B8-EE83-A891BBA6CC8D}"/>
                </a:ext>
              </a:extLst>
            </p:cNvPr>
            <p:cNvSpPr/>
            <p:nvPr/>
          </p:nvSpPr>
          <p:spPr>
            <a:xfrm>
              <a:off x="11048359" y="4278031"/>
              <a:ext cx="30561" cy="21896"/>
            </a:xfrm>
            <a:custGeom>
              <a:avLst/>
              <a:gdLst>
                <a:gd name="csX0" fmla="*/ 9275 w 30561"/>
                <a:gd name="csY0" fmla="*/ 20833 h 21896"/>
                <a:gd name="csX1" fmla="*/ 7665 w 30561"/>
                <a:gd name="csY1" fmla="*/ 20098 h 21896"/>
                <a:gd name="csX2" fmla="*/ 5600 w 30561"/>
                <a:gd name="csY2" fmla="*/ 19818 h 21896"/>
                <a:gd name="csX3" fmla="*/ 1610 w 30561"/>
                <a:gd name="csY3" fmla="*/ 19818 h 21896"/>
                <a:gd name="csX4" fmla="*/ 0 w 30561"/>
                <a:gd name="csY4" fmla="*/ 9912 h 21896"/>
                <a:gd name="csX5" fmla="*/ 455 w 30561"/>
                <a:gd name="csY5" fmla="*/ 8582 h 21896"/>
                <a:gd name="csX6" fmla="*/ 2240 w 30561"/>
                <a:gd name="csY6" fmla="*/ 7707 h 21896"/>
                <a:gd name="csX7" fmla="*/ 4025 w 30561"/>
                <a:gd name="csY7" fmla="*/ 6517 h 21896"/>
                <a:gd name="csX8" fmla="*/ 8470 w 30561"/>
                <a:gd name="csY8" fmla="*/ 5187 h 21896"/>
                <a:gd name="csX9" fmla="*/ 9520 w 30561"/>
                <a:gd name="csY9" fmla="*/ 3717 h 21896"/>
                <a:gd name="csX10" fmla="*/ 13056 w 30561"/>
                <a:gd name="csY10" fmla="*/ 2107 h 21896"/>
                <a:gd name="csX11" fmla="*/ 22226 w 30561"/>
                <a:gd name="csY11" fmla="*/ 917 h 21896"/>
                <a:gd name="csX12" fmla="*/ 30206 w 30561"/>
                <a:gd name="csY12" fmla="*/ 12293 h 21896"/>
                <a:gd name="csX13" fmla="*/ 28596 w 30561"/>
                <a:gd name="csY13" fmla="*/ 19853 h 21896"/>
                <a:gd name="csX14" fmla="*/ 26076 w 30561"/>
                <a:gd name="csY14" fmla="*/ 20728 h 21896"/>
                <a:gd name="csX15" fmla="*/ 24291 w 30561"/>
                <a:gd name="csY15" fmla="*/ 21603 h 21896"/>
                <a:gd name="csX16" fmla="*/ 19426 w 30561"/>
                <a:gd name="csY16" fmla="*/ 21463 h 21896"/>
                <a:gd name="csX17" fmla="*/ 18236 w 30561"/>
                <a:gd name="csY17" fmla="*/ 21743 h 21896"/>
                <a:gd name="csX18" fmla="*/ 8015 w 30561"/>
                <a:gd name="csY18" fmla="*/ 21603 h 218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30561" h="21896">
                  <a:moveTo>
                    <a:pt x="9275" y="20833"/>
                  </a:moveTo>
                  <a:cubicBezTo>
                    <a:pt x="7490" y="21288"/>
                    <a:pt x="8225" y="20378"/>
                    <a:pt x="7665" y="20098"/>
                  </a:cubicBezTo>
                  <a:cubicBezTo>
                    <a:pt x="6930" y="19958"/>
                    <a:pt x="6335" y="19818"/>
                    <a:pt x="5600" y="19818"/>
                  </a:cubicBezTo>
                  <a:cubicBezTo>
                    <a:pt x="4270" y="19678"/>
                    <a:pt x="1610" y="19818"/>
                    <a:pt x="1610" y="19818"/>
                  </a:cubicBezTo>
                  <a:cubicBezTo>
                    <a:pt x="1015" y="16563"/>
                    <a:pt x="420" y="13168"/>
                    <a:pt x="0" y="9912"/>
                  </a:cubicBezTo>
                  <a:cubicBezTo>
                    <a:pt x="0" y="9457"/>
                    <a:pt x="0" y="9037"/>
                    <a:pt x="455" y="8582"/>
                  </a:cubicBezTo>
                  <a:cubicBezTo>
                    <a:pt x="910" y="8127"/>
                    <a:pt x="1645" y="8127"/>
                    <a:pt x="2240" y="7707"/>
                  </a:cubicBezTo>
                  <a:cubicBezTo>
                    <a:pt x="2975" y="7427"/>
                    <a:pt x="3430" y="6972"/>
                    <a:pt x="4025" y="6517"/>
                  </a:cubicBezTo>
                  <a:cubicBezTo>
                    <a:pt x="5495" y="6062"/>
                    <a:pt x="7140" y="5922"/>
                    <a:pt x="8470" y="5187"/>
                  </a:cubicBezTo>
                  <a:cubicBezTo>
                    <a:pt x="9065" y="4907"/>
                    <a:pt x="8925" y="4137"/>
                    <a:pt x="9520" y="3717"/>
                  </a:cubicBezTo>
                  <a:cubicBezTo>
                    <a:pt x="10570" y="3122"/>
                    <a:pt x="13056" y="2107"/>
                    <a:pt x="13056" y="2107"/>
                  </a:cubicBezTo>
                  <a:cubicBezTo>
                    <a:pt x="24606" y="182"/>
                    <a:pt x="19426" y="-868"/>
                    <a:pt x="22226" y="917"/>
                  </a:cubicBezTo>
                  <a:cubicBezTo>
                    <a:pt x="25026" y="2527"/>
                    <a:pt x="29191" y="9037"/>
                    <a:pt x="30206" y="12293"/>
                  </a:cubicBezTo>
                  <a:cubicBezTo>
                    <a:pt x="31256" y="15408"/>
                    <a:pt x="29751" y="18068"/>
                    <a:pt x="28596" y="19853"/>
                  </a:cubicBezTo>
                  <a:cubicBezTo>
                    <a:pt x="27721" y="20133"/>
                    <a:pt x="26811" y="20448"/>
                    <a:pt x="26076" y="20728"/>
                  </a:cubicBezTo>
                  <a:cubicBezTo>
                    <a:pt x="25481" y="21008"/>
                    <a:pt x="24886" y="21463"/>
                    <a:pt x="24291" y="21603"/>
                  </a:cubicBezTo>
                  <a:cubicBezTo>
                    <a:pt x="20896" y="22338"/>
                    <a:pt x="22226" y="21463"/>
                    <a:pt x="19426" y="21463"/>
                  </a:cubicBezTo>
                  <a:cubicBezTo>
                    <a:pt x="19146" y="21463"/>
                    <a:pt x="20161" y="21743"/>
                    <a:pt x="18236" y="21743"/>
                  </a:cubicBezTo>
                  <a:cubicBezTo>
                    <a:pt x="16311" y="21743"/>
                    <a:pt x="11446" y="21603"/>
                    <a:pt x="8015" y="21603"/>
                  </a:cubicBezTo>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10" name="Freeform: Shape 1809">
              <a:extLst>
                <a:ext uri="{FF2B5EF4-FFF2-40B4-BE49-F238E27FC236}">
                  <a16:creationId xmlns:a16="http://schemas.microsoft.com/office/drawing/2014/main" id="{3A1C3345-195A-276C-4BAE-203D96BBE4C1}"/>
                </a:ext>
              </a:extLst>
            </p:cNvPr>
            <p:cNvSpPr/>
            <p:nvPr/>
          </p:nvSpPr>
          <p:spPr>
            <a:xfrm>
              <a:off x="11046469" y="4276225"/>
              <a:ext cx="34285" cy="25578"/>
            </a:xfrm>
            <a:custGeom>
              <a:avLst/>
              <a:gdLst>
                <a:gd name="csX0" fmla="*/ 24116 w 34285"/>
                <a:gd name="csY0" fmla="*/ 25509 h 25578"/>
                <a:gd name="csX1" fmla="*/ 22611 w 34285"/>
                <a:gd name="csY1" fmla="*/ 25264 h 25578"/>
                <a:gd name="csX2" fmla="*/ 21946 w 34285"/>
                <a:gd name="csY2" fmla="*/ 25089 h 25578"/>
                <a:gd name="csX3" fmla="*/ 16241 w 34285"/>
                <a:gd name="csY3" fmla="*/ 25299 h 25578"/>
                <a:gd name="csX4" fmla="*/ 9835 w 34285"/>
                <a:gd name="csY4" fmla="*/ 25229 h 25578"/>
                <a:gd name="csX5" fmla="*/ 9835 w 34285"/>
                <a:gd name="csY5" fmla="*/ 24529 h 25578"/>
                <a:gd name="csX6" fmla="*/ 8365 w 34285"/>
                <a:gd name="csY6" fmla="*/ 23549 h 25578"/>
                <a:gd name="csX7" fmla="*/ 7455 w 34285"/>
                <a:gd name="csY7" fmla="*/ 23479 h 25578"/>
                <a:gd name="csX8" fmla="*/ 3570 w 34285"/>
                <a:gd name="csY8" fmla="*/ 23479 h 25578"/>
                <a:gd name="csX9" fmla="*/ 3465 w 34285"/>
                <a:gd name="csY9" fmla="*/ 23479 h 25578"/>
                <a:gd name="csX10" fmla="*/ 1645 w 34285"/>
                <a:gd name="csY10" fmla="*/ 21974 h 25578"/>
                <a:gd name="csX11" fmla="*/ 0 w 34285"/>
                <a:gd name="csY11" fmla="*/ 11963 h 25578"/>
                <a:gd name="csX12" fmla="*/ 945 w 34285"/>
                <a:gd name="csY12" fmla="*/ 9093 h 25578"/>
                <a:gd name="csX13" fmla="*/ 2520 w 34285"/>
                <a:gd name="csY13" fmla="*/ 8183 h 25578"/>
                <a:gd name="csX14" fmla="*/ 3360 w 34285"/>
                <a:gd name="csY14" fmla="*/ 7763 h 25578"/>
                <a:gd name="csX15" fmla="*/ 4305 w 34285"/>
                <a:gd name="csY15" fmla="*/ 7168 h 25578"/>
                <a:gd name="csX16" fmla="*/ 4725 w 34285"/>
                <a:gd name="csY16" fmla="*/ 6853 h 25578"/>
                <a:gd name="csX17" fmla="*/ 5320 w 34285"/>
                <a:gd name="csY17" fmla="*/ 6538 h 25578"/>
                <a:gd name="csX18" fmla="*/ 6965 w 34285"/>
                <a:gd name="csY18" fmla="*/ 6118 h 25578"/>
                <a:gd name="csX19" fmla="*/ 9135 w 34285"/>
                <a:gd name="csY19" fmla="*/ 5488 h 25578"/>
                <a:gd name="csX20" fmla="*/ 10220 w 34285"/>
                <a:gd name="csY20" fmla="*/ 4018 h 25578"/>
                <a:gd name="csX21" fmla="*/ 14176 w 34285"/>
                <a:gd name="csY21" fmla="*/ 2163 h 25578"/>
                <a:gd name="csX22" fmla="*/ 21911 w 34285"/>
                <a:gd name="csY22" fmla="*/ 238 h 25578"/>
                <a:gd name="csX23" fmla="*/ 24571 w 34285"/>
                <a:gd name="csY23" fmla="*/ 763 h 25578"/>
                <a:gd name="csX24" fmla="*/ 25061 w 34285"/>
                <a:gd name="csY24" fmla="*/ 1148 h 25578"/>
                <a:gd name="csX25" fmla="*/ 33846 w 34285"/>
                <a:gd name="csY25" fmla="*/ 13538 h 25578"/>
                <a:gd name="csX26" fmla="*/ 31991 w 34285"/>
                <a:gd name="csY26" fmla="*/ 22674 h 25578"/>
                <a:gd name="csX27" fmla="*/ 31011 w 34285"/>
                <a:gd name="csY27" fmla="*/ 23409 h 25578"/>
                <a:gd name="csX28" fmla="*/ 28596 w 34285"/>
                <a:gd name="csY28" fmla="*/ 24249 h 25578"/>
                <a:gd name="csX29" fmla="*/ 28281 w 34285"/>
                <a:gd name="csY29" fmla="*/ 24459 h 25578"/>
                <a:gd name="csX30" fmla="*/ 26636 w 34285"/>
                <a:gd name="csY30" fmla="*/ 25229 h 25578"/>
                <a:gd name="csX31" fmla="*/ 24151 w 34285"/>
                <a:gd name="csY31" fmla="*/ 25579 h 25578"/>
                <a:gd name="csX32" fmla="*/ 21211 w 34285"/>
                <a:gd name="csY32" fmla="*/ 21379 h 25578"/>
                <a:gd name="csX33" fmla="*/ 23801 w 34285"/>
                <a:gd name="csY33" fmla="*/ 21764 h 25578"/>
                <a:gd name="csX34" fmla="*/ 25691 w 34285"/>
                <a:gd name="csY34" fmla="*/ 21589 h 25578"/>
                <a:gd name="csX35" fmla="*/ 26356 w 34285"/>
                <a:gd name="csY35" fmla="*/ 21239 h 25578"/>
                <a:gd name="csX36" fmla="*/ 27021 w 34285"/>
                <a:gd name="csY36" fmla="*/ 20854 h 25578"/>
                <a:gd name="csX37" fmla="*/ 29191 w 34285"/>
                <a:gd name="csY37" fmla="*/ 20084 h 25578"/>
                <a:gd name="csX38" fmla="*/ 30276 w 34285"/>
                <a:gd name="csY38" fmla="*/ 14659 h 25578"/>
                <a:gd name="csX39" fmla="*/ 23136 w 34285"/>
                <a:gd name="csY39" fmla="*/ 4298 h 25578"/>
                <a:gd name="csX40" fmla="*/ 22646 w 34285"/>
                <a:gd name="csY40" fmla="*/ 3983 h 25578"/>
                <a:gd name="csX41" fmla="*/ 15226 w 34285"/>
                <a:gd name="csY41" fmla="*/ 5733 h 25578"/>
                <a:gd name="csX42" fmla="*/ 12531 w 34285"/>
                <a:gd name="csY42" fmla="*/ 6993 h 25578"/>
                <a:gd name="csX43" fmla="*/ 11130 w 34285"/>
                <a:gd name="csY43" fmla="*/ 8673 h 25578"/>
                <a:gd name="csX44" fmla="*/ 7805 w 34285"/>
                <a:gd name="csY44" fmla="*/ 9758 h 25578"/>
                <a:gd name="csX45" fmla="*/ 6720 w 34285"/>
                <a:gd name="csY45" fmla="*/ 10003 h 25578"/>
                <a:gd name="csX46" fmla="*/ 4970 w 34285"/>
                <a:gd name="csY46" fmla="*/ 11158 h 25578"/>
                <a:gd name="csX47" fmla="*/ 3780 w 34285"/>
                <a:gd name="csY47" fmla="*/ 11718 h 25578"/>
                <a:gd name="csX48" fmla="*/ 5040 w 34285"/>
                <a:gd name="csY48" fmla="*/ 19769 h 25578"/>
                <a:gd name="csX49" fmla="*/ 7735 w 34285"/>
                <a:gd name="csY49" fmla="*/ 19839 h 25578"/>
                <a:gd name="csX50" fmla="*/ 9625 w 34285"/>
                <a:gd name="csY50" fmla="*/ 20084 h 25578"/>
                <a:gd name="csX51" fmla="*/ 10395 w 34285"/>
                <a:gd name="csY51" fmla="*/ 20329 h 25578"/>
                <a:gd name="csX52" fmla="*/ 11550 w 34285"/>
                <a:gd name="csY52" fmla="*/ 21624 h 25578"/>
                <a:gd name="csX53" fmla="*/ 16346 w 34285"/>
                <a:gd name="csY53" fmla="*/ 21694 h 25578"/>
                <a:gd name="csX54" fmla="*/ 20231 w 34285"/>
                <a:gd name="csY54" fmla="*/ 21764 h 25578"/>
                <a:gd name="csX55" fmla="*/ 21246 w 34285"/>
                <a:gd name="csY55" fmla="*/ 21449 h 25578"/>
                <a:gd name="csX56" fmla="*/ 10570 w 34285"/>
                <a:gd name="csY56" fmla="*/ 21519 h 25578"/>
                <a:gd name="csX57" fmla="*/ 11445 w 34285"/>
                <a:gd name="csY57" fmla="*/ 21519 h 25578"/>
                <a:gd name="csX58" fmla="*/ 10360 w 34285"/>
                <a:gd name="csY58" fmla="*/ 20889 h 25578"/>
                <a:gd name="csX59" fmla="*/ 10570 w 34285"/>
                <a:gd name="csY59" fmla="*/ 21519 h 25578"/>
                <a:gd name="csX60" fmla="*/ 9380 w 34285"/>
                <a:gd name="csY60" fmla="*/ 5348 h 25578"/>
                <a:gd name="csX61" fmla="*/ 9380 w 34285"/>
                <a:gd name="csY61" fmla="*/ 5348 h 25578"/>
                <a:gd name="csX62" fmla="*/ 9380 w 34285"/>
                <a:gd name="csY62" fmla="*/ 5348 h 255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Lst>
              <a:rect l="l" t="t" r="r" b="b"/>
              <a:pathLst>
                <a:path w="34285" h="25578">
                  <a:moveTo>
                    <a:pt x="24116" y="25509"/>
                  </a:moveTo>
                  <a:cubicBezTo>
                    <a:pt x="23521" y="25509"/>
                    <a:pt x="23136" y="25404"/>
                    <a:pt x="22611" y="25264"/>
                  </a:cubicBezTo>
                  <a:cubicBezTo>
                    <a:pt x="22436" y="25194"/>
                    <a:pt x="22261" y="25159"/>
                    <a:pt x="21946" y="25089"/>
                  </a:cubicBezTo>
                  <a:cubicBezTo>
                    <a:pt x="20511" y="25754"/>
                    <a:pt x="18936" y="25334"/>
                    <a:pt x="16241" y="25299"/>
                  </a:cubicBezTo>
                  <a:cubicBezTo>
                    <a:pt x="14176" y="25264"/>
                    <a:pt x="11760" y="25229"/>
                    <a:pt x="9835" y="25229"/>
                  </a:cubicBezTo>
                  <a:lnTo>
                    <a:pt x="9835" y="24529"/>
                  </a:lnTo>
                  <a:cubicBezTo>
                    <a:pt x="9100" y="24389"/>
                    <a:pt x="8645" y="23969"/>
                    <a:pt x="8365" y="23549"/>
                  </a:cubicBezTo>
                  <a:cubicBezTo>
                    <a:pt x="8050" y="23479"/>
                    <a:pt x="7770" y="23479"/>
                    <a:pt x="7455" y="23479"/>
                  </a:cubicBezTo>
                  <a:cubicBezTo>
                    <a:pt x="6265" y="23339"/>
                    <a:pt x="4270" y="23444"/>
                    <a:pt x="3570" y="23479"/>
                  </a:cubicBezTo>
                  <a:lnTo>
                    <a:pt x="3465" y="23479"/>
                  </a:lnTo>
                  <a:cubicBezTo>
                    <a:pt x="2555" y="23479"/>
                    <a:pt x="1820" y="22849"/>
                    <a:pt x="1645" y="21974"/>
                  </a:cubicBezTo>
                  <a:cubicBezTo>
                    <a:pt x="1050" y="18684"/>
                    <a:pt x="455" y="15254"/>
                    <a:pt x="0" y="11963"/>
                  </a:cubicBezTo>
                  <a:cubicBezTo>
                    <a:pt x="0" y="11123"/>
                    <a:pt x="0" y="10073"/>
                    <a:pt x="945" y="9093"/>
                  </a:cubicBezTo>
                  <a:cubicBezTo>
                    <a:pt x="1505" y="8533"/>
                    <a:pt x="2100" y="8358"/>
                    <a:pt x="2520" y="8183"/>
                  </a:cubicBezTo>
                  <a:cubicBezTo>
                    <a:pt x="2660" y="8078"/>
                    <a:pt x="3185" y="7868"/>
                    <a:pt x="3360" y="7763"/>
                  </a:cubicBezTo>
                  <a:cubicBezTo>
                    <a:pt x="3675" y="7623"/>
                    <a:pt x="3885" y="7483"/>
                    <a:pt x="4305" y="7168"/>
                  </a:cubicBezTo>
                  <a:lnTo>
                    <a:pt x="4725" y="6853"/>
                  </a:lnTo>
                  <a:cubicBezTo>
                    <a:pt x="4725" y="6853"/>
                    <a:pt x="5110" y="6608"/>
                    <a:pt x="5320" y="6538"/>
                  </a:cubicBezTo>
                  <a:cubicBezTo>
                    <a:pt x="5880" y="6363"/>
                    <a:pt x="6405" y="6258"/>
                    <a:pt x="6965" y="6118"/>
                  </a:cubicBezTo>
                  <a:cubicBezTo>
                    <a:pt x="7770" y="5943"/>
                    <a:pt x="8505" y="5768"/>
                    <a:pt x="9135" y="5488"/>
                  </a:cubicBezTo>
                  <a:cubicBezTo>
                    <a:pt x="9345" y="5033"/>
                    <a:pt x="9625" y="4473"/>
                    <a:pt x="10220" y="4018"/>
                  </a:cubicBezTo>
                  <a:cubicBezTo>
                    <a:pt x="11550" y="3283"/>
                    <a:pt x="14176" y="2163"/>
                    <a:pt x="14176" y="2163"/>
                  </a:cubicBezTo>
                  <a:cubicBezTo>
                    <a:pt x="19951" y="1148"/>
                    <a:pt x="21491" y="483"/>
                    <a:pt x="21911" y="238"/>
                  </a:cubicBezTo>
                  <a:cubicBezTo>
                    <a:pt x="22716" y="-217"/>
                    <a:pt x="23976" y="-7"/>
                    <a:pt x="24571" y="763"/>
                  </a:cubicBezTo>
                  <a:cubicBezTo>
                    <a:pt x="24571" y="763"/>
                    <a:pt x="24676" y="903"/>
                    <a:pt x="25061" y="1148"/>
                  </a:cubicBezTo>
                  <a:cubicBezTo>
                    <a:pt x="28281" y="3038"/>
                    <a:pt x="32691" y="10003"/>
                    <a:pt x="33846" y="13538"/>
                  </a:cubicBezTo>
                  <a:cubicBezTo>
                    <a:pt x="35107" y="17354"/>
                    <a:pt x="33391" y="20574"/>
                    <a:pt x="31991" y="22674"/>
                  </a:cubicBezTo>
                  <a:cubicBezTo>
                    <a:pt x="31746" y="23024"/>
                    <a:pt x="31396" y="23269"/>
                    <a:pt x="31011" y="23409"/>
                  </a:cubicBezTo>
                  <a:cubicBezTo>
                    <a:pt x="30171" y="23689"/>
                    <a:pt x="29296" y="23969"/>
                    <a:pt x="28596" y="24249"/>
                  </a:cubicBezTo>
                  <a:lnTo>
                    <a:pt x="28281" y="24459"/>
                  </a:lnTo>
                  <a:cubicBezTo>
                    <a:pt x="27791" y="24739"/>
                    <a:pt x="27266" y="25054"/>
                    <a:pt x="26636" y="25229"/>
                  </a:cubicBezTo>
                  <a:cubicBezTo>
                    <a:pt x="25516" y="25474"/>
                    <a:pt x="24746" y="25579"/>
                    <a:pt x="24151" y="25579"/>
                  </a:cubicBezTo>
                  <a:close/>
                  <a:moveTo>
                    <a:pt x="21211" y="21379"/>
                  </a:moveTo>
                  <a:cubicBezTo>
                    <a:pt x="22576" y="21379"/>
                    <a:pt x="23241" y="21554"/>
                    <a:pt x="23801" y="21764"/>
                  </a:cubicBezTo>
                  <a:cubicBezTo>
                    <a:pt x="24011" y="21869"/>
                    <a:pt x="24186" y="21939"/>
                    <a:pt x="25691" y="21589"/>
                  </a:cubicBezTo>
                  <a:cubicBezTo>
                    <a:pt x="25761" y="21589"/>
                    <a:pt x="26111" y="21379"/>
                    <a:pt x="26356" y="21239"/>
                  </a:cubicBezTo>
                  <a:lnTo>
                    <a:pt x="27021" y="20854"/>
                  </a:lnTo>
                  <a:cubicBezTo>
                    <a:pt x="27756" y="20574"/>
                    <a:pt x="28456" y="20294"/>
                    <a:pt x="29191" y="20084"/>
                  </a:cubicBezTo>
                  <a:cubicBezTo>
                    <a:pt x="30171" y="18509"/>
                    <a:pt x="30941" y="16689"/>
                    <a:pt x="30276" y="14659"/>
                  </a:cubicBezTo>
                  <a:cubicBezTo>
                    <a:pt x="29296" y="11578"/>
                    <a:pt x="25341" y="5593"/>
                    <a:pt x="23136" y="4298"/>
                  </a:cubicBezTo>
                  <a:cubicBezTo>
                    <a:pt x="22961" y="4193"/>
                    <a:pt x="22786" y="4053"/>
                    <a:pt x="22646" y="3983"/>
                  </a:cubicBezTo>
                  <a:cubicBezTo>
                    <a:pt x="21526" y="4403"/>
                    <a:pt x="19426" y="4998"/>
                    <a:pt x="15226" y="5733"/>
                  </a:cubicBezTo>
                  <a:cubicBezTo>
                    <a:pt x="15226" y="5733"/>
                    <a:pt x="13546" y="6468"/>
                    <a:pt x="12531" y="6993"/>
                  </a:cubicBezTo>
                  <a:cubicBezTo>
                    <a:pt x="12286" y="7553"/>
                    <a:pt x="11971" y="8253"/>
                    <a:pt x="11130" y="8673"/>
                  </a:cubicBezTo>
                  <a:cubicBezTo>
                    <a:pt x="10080" y="9268"/>
                    <a:pt x="8855" y="9548"/>
                    <a:pt x="7805" y="9758"/>
                  </a:cubicBezTo>
                  <a:lnTo>
                    <a:pt x="6720" y="10003"/>
                  </a:lnTo>
                  <a:cubicBezTo>
                    <a:pt x="6090" y="10493"/>
                    <a:pt x="5635" y="10843"/>
                    <a:pt x="4970" y="11158"/>
                  </a:cubicBezTo>
                  <a:cubicBezTo>
                    <a:pt x="4550" y="11438"/>
                    <a:pt x="4095" y="11578"/>
                    <a:pt x="3780" y="11718"/>
                  </a:cubicBezTo>
                  <a:cubicBezTo>
                    <a:pt x="4095" y="14238"/>
                    <a:pt x="4550" y="17004"/>
                    <a:pt x="5040" y="19769"/>
                  </a:cubicBezTo>
                  <a:cubicBezTo>
                    <a:pt x="5880" y="19734"/>
                    <a:pt x="7000" y="19769"/>
                    <a:pt x="7735" y="19839"/>
                  </a:cubicBezTo>
                  <a:cubicBezTo>
                    <a:pt x="8225" y="19734"/>
                    <a:pt x="8890" y="19944"/>
                    <a:pt x="9625" y="20084"/>
                  </a:cubicBezTo>
                  <a:cubicBezTo>
                    <a:pt x="9800" y="20119"/>
                    <a:pt x="10255" y="20259"/>
                    <a:pt x="10395" y="20329"/>
                  </a:cubicBezTo>
                  <a:cubicBezTo>
                    <a:pt x="11095" y="20679"/>
                    <a:pt x="11410" y="21239"/>
                    <a:pt x="11550" y="21624"/>
                  </a:cubicBezTo>
                  <a:cubicBezTo>
                    <a:pt x="13126" y="21624"/>
                    <a:pt x="14841" y="21659"/>
                    <a:pt x="16346" y="21694"/>
                  </a:cubicBezTo>
                  <a:cubicBezTo>
                    <a:pt x="17991" y="21694"/>
                    <a:pt x="19286" y="21694"/>
                    <a:pt x="20231" y="21764"/>
                  </a:cubicBezTo>
                  <a:cubicBezTo>
                    <a:pt x="20546" y="21589"/>
                    <a:pt x="20896" y="21449"/>
                    <a:pt x="21246" y="21449"/>
                  </a:cubicBezTo>
                  <a:close/>
                  <a:moveTo>
                    <a:pt x="10570" y="21519"/>
                  </a:moveTo>
                  <a:cubicBezTo>
                    <a:pt x="10850" y="21519"/>
                    <a:pt x="11165" y="21519"/>
                    <a:pt x="11445" y="21519"/>
                  </a:cubicBezTo>
                  <a:cubicBezTo>
                    <a:pt x="11200" y="21134"/>
                    <a:pt x="10815" y="20959"/>
                    <a:pt x="10360" y="20889"/>
                  </a:cubicBezTo>
                  <a:lnTo>
                    <a:pt x="10570" y="21519"/>
                  </a:lnTo>
                  <a:close/>
                  <a:moveTo>
                    <a:pt x="9380" y="5348"/>
                  </a:moveTo>
                  <a:cubicBezTo>
                    <a:pt x="9380" y="5348"/>
                    <a:pt x="9380" y="5348"/>
                    <a:pt x="9380" y="5348"/>
                  </a:cubicBezTo>
                  <a:cubicBezTo>
                    <a:pt x="9380" y="5348"/>
                    <a:pt x="9380" y="5348"/>
                    <a:pt x="9380" y="5348"/>
                  </a:cubicBez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12" name="Freeform: Shape 1811">
              <a:extLst>
                <a:ext uri="{FF2B5EF4-FFF2-40B4-BE49-F238E27FC236}">
                  <a16:creationId xmlns:a16="http://schemas.microsoft.com/office/drawing/2014/main" id="{EF01B053-D6B2-8558-F1C9-75F12933E41B}"/>
                </a:ext>
              </a:extLst>
            </p:cNvPr>
            <p:cNvSpPr/>
            <p:nvPr/>
          </p:nvSpPr>
          <p:spPr>
            <a:xfrm>
              <a:off x="11123913" y="4303435"/>
              <a:ext cx="18729" cy="23733"/>
            </a:xfrm>
            <a:custGeom>
              <a:avLst/>
              <a:gdLst>
                <a:gd name="csX0" fmla="*/ 11390 w 18729"/>
                <a:gd name="csY0" fmla="*/ 23675 h 23733"/>
                <a:gd name="csX1" fmla="*/ 14365 w 18729"/>
                <a:gd name="csY1" fmla="*/ 21889 h 23733"/>
                <a:gd name="csX2" fmla="*/ 18670 w 18729"/>
                <a:gd name="csY2" fmla="*/ 5614 h 23733"/>
                <a:gd name="csX3" fmla="*/ 16885 w 18729"/>
                <a:gd name="csY3" fmla="*/ 2639 h 23733"/>
                <a:gd name="csX4" fmla="*/ 7400 w 18729"/>
                <a:gd name="csY4" fmla="*/ 119 h 23733"/>
                <a:gd name="csX5" fmla="*/ 4425 w 18729"/>
                <a:gd name="csY5" fmla="*/ 1904 h 23733"/>
                <a:gd name="csX6" fmla="*/ 120 w 18729"/>
                <a:gd name="csY6" fmla="*/ 18039 h 23733"/>
                <a:gd name="csX7" fmla="*/ 1730 w 18729"/>
                <a:gd name="csY7" fmla="*/ 21154 h 23733"/>
                <a:gd name="csX8" fmla="*/ 11355 w 18729"/>
                <a:gd name="csY8" fmla="*/ 23675 h 237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729" h="23733">
                  <a:moveTo>
                    <a:pt x="11390" y="23675"/>
                  </a:moveTo>
                  <a:cubicBezTo>
                    <a:pt x="12720" y="23955"/>
                    <a:pt x="14050" y="23220"/>
                    <a:pt x="14365" y="21889"/>
                  </a:cubicBezTo>
                  <a:lnTo>
                    <a:pt x="18670" y="5614"/>
                  </a:lnTo>
                  <a:cubicBezTo>
                    <a:pt x="18950" y="4284"/>
                    <a:pt x="18215" y="2954"/>
                    <a:pt x="16885" y="2639"/>
                  </a:cubicBezTo>
                  <a:lnTo>
                    <a:pt x="7400" y="119"/>
                  </a:lnTo>
                  <a:cubicBezTo>
                    <a:pt x="6070" y="-336"/>
                    <a:pt x="4740" y="574"/>
                    <a:pt x="4425" y="1904"/>
                  </a:cubicBezTo>
                  <a:lnTo>
                    <a:pt x="120" y="18039"/>
                  </a:lnTo>
                  <a:cubicBezTo>
                    <a:pt x="-335" y="19369"/>
                    <a:pt x="575" y="20699"/>
                    <a:pt x="1730" y="21154"/>
                  </a:cubicBezTo>
                  <a:lnTo>
                    <a:pt x="11355" y="23675"/>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1813" name="Freeform: Shape 1812">
              <a:extLst>
                <a:ext uri="{FF2B5EF4-FFF2-40B4-BE49-F238E27FC236}">
                  <a16:creationId xmlns:a16="http://schemas.microsoft.com/office/drawing/2014/main" id="{8F0285F7-30CE-E3A3-25A6-5A18294C9E69}"/>
                </a:ext>
              </a:extLst>
            </p:cNvPr>
            <p:cNvSpPr/>
            <p:nvPr/>
          </p:nvSpPr>
          <p:spPr>
            <a:xfrm>
              <a:off x="11122105" y="4301647"/>
              <a:ext cx="22373" cy="27423"/>
            </a:xfrm>
            <a:custGeom>
              <a:avLst/>
              <a:gdLst>
                <a:gd name="csX0" fmla="*/ 13793 w 22373"/>
                <a:gd name="csY0" fmla="*/ 27388 h 27423"/>
                <a:gd name="csX1" fmla="*/ 12813 w 22373"/>
                <a:gd name="csY1" fmla="*/ 27283 h 27423"/>
                <a:gd name="csX2" fmla="*/ 12743 w 22373"/>
                <a:gd name="csY2" fmla="*/ 27283 h 27423"/>
                <a:gd name="csX3" fmla="*/ 3117 w 22373"/>
                <a:gd name="csY3" fmla="*/ 24763 h 27423"/>
                <a:gd name="csX4" fmla="*/ 212 w 22373"/>
                <a:gd name="csY4" fmla="*/ 19268 h 27423"/>
                <a:gd name="csX5" fmla="*/ 4447 w 22373"/>
                <a:gd name="csY5" fmla="*/ 3272 h 27423"/>
                <a:gd name="csX6" fmla="*/ 6512 w 22373"/>
                <a:gd name="csY6" fmla="*/ 542 h 27423"/>
                <a:gd name="csX7" fmla="*/ 9803 w 22373"/>
                <a:gd name="csY7" fmla="*/ 227 h 27423"/>
                <a:gd name="csX8" fmla="*/ 19148 w 22373"/>
                <a:gd name="csY8" fmla="*/ 2712 h 27423"/>
                <a:gd name="csX9" fmla="*/ 22263 w 22373"/>
                <a:gd name="csY9" fmla="*/ 7857 h 27423"/>
                <a:gd name="csX10" fmla="*/ 17958 w 22373"/>
                <a:gd name="csY10" fmla="*/ 24203 h 27423"/>
                <a:gd name="csX11" fmla="*/ 15998 w 22373"/>
                <a:gd name="csY11" fmla="*/ 26828 h 27423"/>
                <a:gd name="csX12" fmla="*/ 13793 w 22373"/>
                <a:gd name="csY12" fmla="*/ 27423 h 27423"/>
                <a:gd name="csX13" fmla="*/ 13618 w 22373"/>
                <a:gd name="csY13" fmla="*/ 23678 h 27423"/>
                <a:gd name="csX14" fmla="*/ 14353 w 22373"/>
                <a:gd name="csY14" fmla="*/ 23293 h 27423"/>
                <a:gd name="csX15" fmla="*/ 18658 w 22373"/>
                <a:gd name="csY15" fmla="*/ 6947 h 27423"/>
                <a:gd name="csX16" fmla="*/ 18273 w 22373"/>
                <a:gd name="csY16" fmla="*/ 6282 h 27423"/>
                <a:gd name="csX17" fmla="*/ 8717 w 22373"/>
                <a:gd name="csY17" fmla="*/ 3762 h 27423"/>
                <a:gd name="csX18" fmla="*/ 8052 w 22373"/>
                <a:gd name="csY18" fmla="*/ 4147 h 27423"/>
                <a:gd name="csX19" fmla="*/ 3747 w 22373"/>
                <a:gd name="csY19" fmla="*/ 20353 h 27423"/>
                <a:gd name="csX20" fmla="*/ 4237 w 22373"/>
                <a:gd name="csY20" fmla="*/ 21263 h 27423"/>
                <a:gd name="csX21" fmla="*/ 13653 w 22373"/>
                <a:gd name="csY21" fmla="*/ 23713 h 274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22373" h="27423">
                  <a:moveTo>
                    <a:pt x="13793" y="27388"/>
                  </a:moveTo>
                  <a:cubicBezTo>
                    <a:pt x="13478" y="27388"/>
                    <a:pt x="13128" y="27353"/>
                    <a:pt x="12813" y="27283"/>
                  </a:cubicBezTo>
                  <a:cubicBezTo>
                    <a:pt x="12813" y="27283"/>
                    <a:pt x="12778" y="27283"/>
                    <a:pt x="12743" y="27283"/>
                  </a:cubicBezTo>
                  <a:lnTo>
                    <a:pt x="3117" y="24763"/>
                  </a:lnTo>
                  <a:cubicBezTo>
                    <a:pt x="702" y="23853"/>
                    <a:pt x="-523" y="21438"/>
                    <a:pt x="212" y="19268"/>
                  </a:cubicBezTo>
                  <a:lnTo>
                    <a:pt x="4447" y="3272"/>
                  </a:lnTo>
                  <a:cubicBezTo>
                    <a:pt x="4692" y="2152"/>
                    <a:pt x="5427" y="1137"/>
                    <a:pt x="6512" y="542"/>
                  </a:cubicBezTo>
                  <a:cubicBezTo>
                    <a:pt x="7527" y="-53"/>
                    <a:pt x="8682" y="-158"/>
                    <a:pt x="9803" y="227"/>
                  </a:cubicBezTo>
                  <a:lnTo>
                    <a:pt x="19148" y="2712"/>
                  </a:lnTo>
                  <a:cubicBezTo>
                    <a:pt x="21388" y="3202"/>
                    <a:pt x="22788" y="5477"/>
                    <a:pt x="22263" y="7857"/>
                  </a:cubicBezTo>
                  <a:lnTo>
                    <a:pt x="17958" y="24203"/>
                  </a:lnTo>
                  <a:cubicBezTo>
                    <a:pt x="17713" y="25288"/>
                    <a:pt x="17013" y="26233"/>
                    <a:pt x="15998" y="26828"/>
                  </a:cubicBezTo>
                  <a:cubicBezTo>
                    <a:pt x="15333" y="27248"/>
                    <a:pt x="14563" y="27423"/>
                    <a:pt x="13793" y="27423"/>
                  </a:cubicBezTo>
                  <a:close/>
                  <a:moveTo>
                    <a:pt x="13618" y="23678"/>
                  </a:moveTo>
                  <a:cubicBezTo>
                    <a:pt x="13863" y="23678"/>
                    <a:pt x="14283" y="23608"/>
                    <a:pt x="14353" y="23293"/>
                  </a:cubicBezTo>
                  <a:lnTo>
                    <a:pt x="18658" y="6947"/>
                  </a:lnTo>
                  <a:cubicBezTo>
                    <a:pt x="18728" y="6702"/>
                    <a:pt x="18588" y="6352"/>
                    <a:pt x="18273" y="6282"/>
                  </a:cubicBezTo>
                  <a:lnTo>
                    <a:pt x="8717" y="3762"/>
                  </a:lnTo>
                  <a:cubicBezTo>
                    <a:pt x="8192" y="3832"/>
                    <a:pt x="8087" y="3972"/>
                    <a:pt x="8052" y="4147"/>
                  </a:cubicBezTo>
                  <a:lnTo>
                    <a:pt x="3747" y="20353"/>
                  </a:lnTo>
                  <a:cubicBezTo>
                    <a:pt x="3607" y="20773"/>
                    <a:pt x="3957" y="21158"/>
                    <a:pt x="4237" y="21263"/>
                  </a:cubicBezTo>
                  <a:lnTo>
                    <a:pt x="13653" y="23713"/>
                  </a:lnTo>
                  <a:close/>
                </a:path>
              </a:pathLst>
            </a:custGeom>
            <a:solidFill>
              <a:schemeClr val="bg2">
                <a:lumMod val="50000"/>
              </a:schemeClr>
            </a:solidFill>
            <a:ln w="3500" cap="flat">
              <a:noFill/>
              <a:prstDash val="solid"/>
              <a:miter/>
            </a:ln>
          </p:spPr>
          <p:txBody>
            <a:bodyPr/>
            <a:lstStyle/>
            <a:p>
              <a:endParaRPr lang="en-GB">
                <a:solidFill>
                  <a:schemeClr val="bg2">
                    <a:lumMod val="50000"/>
                  </a:schemeClr>
                </a:solidFill>
              </a:endParaRPr>
            </a:p>
          </p:txBody>
        </p:sp>
        <p:sp>
          <p:nvSpPr>
            <p:cNvPr id="2122" name="Oval 2121">
              <a:extLst>
                <a:ext uri="{FF2B5EF4-FFF2-40B4-BE49-F238E27FC236}">
                  <a16:creationId xmlns:a16="http://schemas.microsoft.com/office/drawing/2014/main" id="{BDCD2490-F9C5-19A5-CF61-9E81AE2D6642}"/>
                </a:ext>
              </a:extLst>
            </p:cNvPr>
            <p:cNvSpPr/>
            <p:nvPr/>
          </p:nvSpPr>
          <p:spPr>
            <a:xfrm rot="19455977">
              <a:off x="11010935" y="4161966"/>
              <a:ext cx="183514" cy="179934"/>
            </a:xfrm>
            <a:prstGeom prst="ellipse">
              <a:avLst/>
            </a:prstGeom>
            <a:solidFill>
              <a:schemeClr val="accent4">
                <a:lumMod val="75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lumMod val="75000"/>
                  </a:schemeClr>
                </a:solidFill>
                <a:effectLst/>
                <a:uLnTx/>
                <a:uFillTx/>
                <a:latin typeface="Calibi "/>
              </a:endParaRPr>
            </a:p>
          </p:txBody>
        </p:sp>
      </p:grpSp>
    </p:spTree>
    <p:extLst>
      <p:ext uri="{BB962C8B-B14F-4D97-AF65-F5344CB8AC3E}">
        <p14:creationId xmlns:p14="http://schemas.microsoft.com/office/powerpoint/2010/main" val="207839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ster">
  <a:themeElements>
    <a:clrScheme name="EpiCentral">
      <a:dk1>
        <a:srgbClr val="656665"/>
      </a:dk1>
      <a:lt1>
        <a:srgbClr val="FFFFFF"/>
      </a:lt1>
      <a:dk2>
        <a:srgbClr val="590995"/>
      </a:dk2>
      <a:lt2>
        <a:srgbClr val="28ABE1"/>
      </a:lt2>
      <a:accent1>
        <a:srgbClr val="FF2B28"/>
      </a:accent1>
      <a:accent2>
        <a:srgbClr val="F35FAC"/>
      </a:accent2>
      <a:accent3>
        <a:srgbClr val="570995"/>
      </a:accent3>
      <a:accent4>
        <a:srgbClr val="28ABE1"/>
      </a:accent4>
      <a:accent5>
        <a:srgbClr val="FF2B28"/>
      </a:accent5>
      <a:accent6>
        <a:srgbClr val="F35FAC"/>
      </a:accent6>
      <a:hlink>
        <a:srgbClr val="6360DB"/>
      </a:hlink>
      <a:folHlink>
        <a:srgbClr val="8C8AC2"/>
      </a:folHlink>
    </a:clrScheme>
    <a:fontScheme name="EpiCentral PPT">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C6E304E6C9847448629359ADD98C8B4" ma:contentTypeVersion="19" ma:contentTypeDescription="Create a new document." ma:contentTypeScope="" ma:versionID="00ecd46e6567c00d35f73039b1a239d0">
  <xsd:schema xmlns:xsd="http://www.w3.org/2001/XMLSchema" xmlns:xs="http://www.w3.org/2001/XMLSchema" xmlns:p="http://schemas.microsoft.com/office/2006/metadata/properties" xmlns:ns2="44a56295-c29e-4898-8136-a54736c65b82" xmlns:ns3="82d58f64-ac48-4d4d-892d-553fd5842fa2" xmlns:ns4="0045b12c-ac5e-48dd-9a19-1f18f2481997" targetNamespace="http://schemas.microsoft.com/office/2006/metadata/properties" ma:root="true" ma:fieldsID="5fa89476e22f9948a01d05b8cdbea968" ns2:_="" ns3:_="" ns4:_="">
    <xsd:import namespace="44a56295-c29e-4898-8136-a54736c65b82"/>
    <xsd:import namespace="82d58f64-ac48-4d4d-892d-553fd5842fa2"/>
    <xsd:import namespace="0045b12c-ac5e-48dd-9a19-1f18f2481997"/>
    <xsd:element name="properties">
      <xsd:complexType>
        <xsd:sequence>
          <xsd:element name="documentManagement">
            <xsd:complexType>
              <xsd:all>
                <xsd:element ref="ns2:Descriptions" minOccurs="0"/>
                <xsd:element ref="ns2:Keyword"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LengthInSeconds" minOccurs="0"/>
                <xsd:element ref="ns4:SharedWithUsers" minOccurs="0"/>
                <xsd:element ref="ns4:SharedWithDetail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a56295-c29e-4898-8136-a54736c65b82" elementFormDefault="qualified">
    <xsd:import namespace="http://schemas.microsoft.com/office/2006/documentManagement/types"/>
    <xsd:import namespace="http://schemas.microsoft.com/office/infopath/2007/PartnerControls"/>
    <xsd:element name="Descriptions" ma:index="8" nillable="true" ma:displayName="Descriptions" ma:description="Describe your document to make it appear at the top of search results" ma:internalName="Descriptions">
      <xsd:simpleType>
        <xsd:restriction base="dms:Note">
          <xsd:maxLength value="255"/>
        </xsd:restriction>
      </xsd:simpleType>
    </xsd:element>
    <xsd:element name="Keyword" ma:index="9" nillable="true" ma:displayName="Keyword" ma:description="Enter list of terms separated by semi-colon(;)" ma:internalName="Keyword">
      <xsd:simpleType>
        <xsd:restriction base="dms:Text">
          <xsd:maxLength value="255"/>
        </xsd:restriction>
      </xsd:simpleType>
    </xsd:element>
    <xsd:element name="TaxCatchAll" ma:index="25" nillable="true" ma:displayName="Taxonomy Catch All Column" ma:hidden="true" ma:list="{6d8e7a40-2093-412d-b2c7-963d2af015cc}" ma:internalName="TaxCatchAll" ma:showField="CatchAllData" ma:web="0045b12c-ac5e-48dd-9a19-1f18f248199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2d58f64-ac48-4d4d-892d-553fd5842f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1ee89e71-04cd-405e-9ca3-99e020c1694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045b12c-ac5e-48dd-9a19-1f18f2481997"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c4038ed-d345-4947-b061-34ef88336004">
      <Terms xmlns="http://schemas.microsoft.com/office/infopath/2007/PartnerControls"/>
    </lcf76f155ced4ddcb4097134ff3c332f>
    <TaxCatchAll xmlns="e6dd1411-ccec-4e4f-b73c-9c678b3207a5" xsi:nil="true"/>
    <Notes xmlns="cc4038ed-d345-4947-b061-34ef88336004"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9EDB2018631BED4A840EC223877EC215" ma:contentTypeVersion="20" ma:contentTypeDescription="Create a new document." ma:contentTypeScope="" ma:versionID="818a267e187174811a86b0954e511f0a">
  <xsd:schema xmlns:xsd="http://www.w3.org/2001/XMLSchema" xmlns:xs="http://www.w3.org/2001/XMLSchema" xmlns:p="http://schemas.microsoft.com/office/2006/metadata/properties" xmlns:ns2="cc4038ed-d345-4947-b061-34ef88336004" xmlns:ns3="e6dd1411-ccec-4e4f-b73c-9c678b3207a5" targetNamespace="http://schemas.microsoft.com/office/2006/metadata/properties" ma:root="true" ma:fieldsID="7b445fb931b7340559072efe8ded3f65" ns2:_="" ns3:_="">
    <xsd:import namespace="cc4038ed-d345-4947-b061-34ef88336004"/>
    <xsd:import namespace="e6dd1411-ccec-4e4f-b73c-9c678b3207a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element ref="ns2:Not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4038ed-d345-4947-b061-34ef883360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b30fe8e-fdf3-4e6d-ac15-22a0b67e7bf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Notes" ma:index="26" nillable="true" ma:displayName="Notes" ma:format="Dropdown" ma:internalName="Note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dd1411-ccec-4e4f-b73c-9c678b3207a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97b5cc3-8ee5-412d-b10c-5a30ea3786b9}" ma:internalName="TaxCatchAll" ma:showField="CatchAllData" ma:web="e6dd1411-ccec-4e4f-b73c-9c678b3207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48B0EB-9DA5-4141-8E62-10E17CE7AED2}">
  <ds:schemaRefs>
    <ds:schemaRef ds:uri="http://schemas.microsoft.com/sharepoint/v3/contenttype/forms"/>
  </ds:schemaRefs>
</ds:datastoreItem>
</file>

<file path=customXml/itemProps2.xml><?xml version="1.0" encoding="utf-8"?>
<ds:datastoreItem xmlns:ds="http://schemas.openxmlformats.org/officeDocument/2006/customXml" ds:itemID="{054BB334-E4A1-4C4D-B4D4-37B1860024E6}"/>
</file>

<file path=customXml/itemProps3.xml><?xml version="1.0" encoding="utf-8"?>
<ds:datastoreItem xmlns:ds="http://schemas.openxmlformats.org/officeDocument/2006/customXml" ds:itemID="{9BAD4A95-2A94-42AF-9E97-D5DFE458DA15}">
  <ds:schemaRefs>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http://purl.org/dc/elements/1.1/"/>
    <ds:schemaRef ds:uri="18ce686f-ec55-47ba-93ac-4e1affdd0871"/>
    <ds:schemaRef ds:uri="http://schemas.microsoft.com/office/2006/metadata/properties"/>
    <ds:schemaRef ds:uri="f0fe46a7-c1fe-44cb-b57a-c90be0d90d64"/>
    <ds:schemaRef ds:uri="http://www.w3.org/XML/1998/namespace"/>
    <ds:schemaRef ds:uri="http://purl.org/dc/dcmitype/"/>
  </ds:schemaRefs>
</ds:datastoreItem>
</file>

<file path=customXml/itemProps4.xml><?xml version="1.0" encoding="utf-8"?>
<ds:datastoreItem xmlns:ds="http://schemas.openxmlformats.org/officeDocument/2006/customXml" ds:itemID="{B0147126-1BD9-4010-937C-EB931DC7A425}"/>
</file>

<file path=docProps/app.xml><?xml version="1.0" encoding="utf-8"?>
<Properties xmlns="http://schemas.openxmlformats.org/officeDocument/2006/extended-properties" xmlns:vt="http://schemas.openxmlformats.org/officeDocument/2006/docPropsVTypes">
  <TotalTime>112</TotalTime>
  <Words>994</Words>
  <Application>Microsoft Office PowerPoint</Application>
  <PresentationFormat>Widescreen</PresentationFormat>
  <Paragraphs>104</Paragraphs>
  <Slides>5</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ptos</vt:lpstr>
      <vt:lpstr>Arial</vt:lpstr>
      <vt:lpstr>Calibi </vt:lpstr>
      <vt:lpstr>Calibri</vt:lpstr>
      <vt:lpstr>Cambria</vt:lpstr>
      <vt:lpstr>Roboto</vt:lpstr>
      <vt:lpstr>1_Master</vt:lpstr>
      <vt:lpstr>think-cell Slide</vt:lpstr>
      <vt:lpstr>Patient data on the role of epithelial cytokines in eosinophilic esophagitis (EoE)</vt:lpstr>
      <vt:lpstr>Esophageal epithelial-driven inflammation drives EoE</vt:lpstr>
      <vt:lpstr>Epithelial cytokines are overexpressed in patients with EoE </vt:lpstr>
      <vt:lpstr>Epithelial cytokines are overexpressed in patients with EoE  (continued)</vt:lpstr>
      <vt:lpstr>Genetic TSLP polymorphisms are observed in patients with EoE</vt:lpstr>
    </vt:vector>
  </TitlesOfParts>
  <Company>Helios Globa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m Clark</dc:creator>
  <cp:lastModifiedBy>Jasmin Boyd</cp:lastModifiedBy>
  <cp:revision>1</cp:revision>
  <dcterms:created xsi:type="dcterms:W3CDTF">2025-09-24T09:57:47Z</dcterms:created>
  <dcterms:modified xsi:type="dcterms:W3CDTF">2026-04-22T13: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DB2018631BED4A840EC223877EC215</vt:lpwstr>
  </property>
  <property fmtid="{D5CDD505-2E9C-101B-9397-08002B2CF9AE}" pid="3" name="MediaServiceImageTags">
    <vt:lpwstr/>
  </property>
  <property fmtid="{D5CDD505-2E9C-101B-9397-08002B2CF9AE}" pid="4" name="MSIP_Label_b387e451-72c8-4fc0-985a-fb25e0413282_Enabled">
    <vt:lpwstr>true</vt:lpwstr>
  </property>
  <property fmtid="{D5CDD505-2E9C-101B-9397-08002B2CF9AE}" pid="5" name="MSIP_Label_b387e451-72c8-4fc0-985a-fb25e0413282_SetDate">
    <vt:lpwstr>2026-03-11T15:09:24Z</vt:lpwstr>
  </property>
  <property fmtid="{D5CDD505-2E9C-101B-9397-08002B2CF9AE}" pid="6" name="MSIP_Label_b387e451-72c8-4fc0-985a-fb25e0413282_Method">
    <vt:lpwstr>Privileged</vt:lpwstr>
  </property>
  <property fmtid="{D5CDD505-2E9C-101B-9397-08002B2CF9AE}" pid="7" name="MSIP_Label_b387e451-72c8-4fc0-985a-fb25e0413282_Name">
    <vt:lpwstr>Internal Use Only Medical and Scientific Affairs</vt:lpwstr>
  </property>
  <property fmtid="{D5CDD505-2E9C-101B-9397-08002B2CF9AE}" pid="8" name="MSIP_Label_b387e451-72c8-4fc0-985a-fb25e0413282_SiteId">
    <vt:lpwstr>4b4266a6-1368-41af-ad5a-59eb634f7ad8</vt:lpwstr>
  </property>
  <property fmtid="{D5CDD505-2E9C-101B-9397-08002B2CF9AE}" pid="9" name="MSIP_Label_b387e451-72c8-4fc0-985a-fb25e0413282_ActionId">
    <vt:lpwstr>c7c5c98d-0084-4563-b366-9c55c14695c1</vt:lpwstr>
  </property>
  <property fmtid="{D5CDD505-2E9C-101B-9397-08002B2CF9AE}" pid="10" name="MSIP_Label_b387e451-72c8-4fc0-985a-fb25e0413282_ContentBits">
    <vt:lpwstr>2</vt:lpwstr>
  </property>
  <property fmtid="{D5CDD505-2E9C-101B-9397-08002B2CF9AE}" pid="11" name="MSIP_Label_b387e451-72c8-4fc0-985a-fb25e0413282_Tag">
    <vt:lpwstr>10, 0, 1, 1</vt:lpwstr>
  </property>
  <property fmtid="{D5CDD505-2E9C-101B-9397-08002B2CF9AE}" pid="12" name="ClassificationContentMarkingFooterLocations">
    <vt:lpwstr>1_Master:9</vt:lpwstr>
  </property>
  <property fmtid="{D5CDD505-2E9C-101B-9397-08002B2CF9AE}" pid="13" name="ClassificationContentMarkingFooterText">
    <vt:lpwstr>Internal Use Only Medical and Scientific Affairs</vt:lpwstr>
  </property>
</Properties>
</file>